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7.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notesSlides/notesSlide30.xml" ContentType="application/vnd.openxmlformats-officedocument.presentationml.notesSlide+xml"/>
  <Override PartName="/ppt/charts/chart2.xml" ContentType="application/vnd.openxmlformats-officedocument.drawingml.chart+xml"/>
  <Override PartName="/ppt/notesSlides/notesSlide3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32.xml" ContentType="application/vnd.openxmlformats-officedocument.presentationml.notesSlide+xml"/>
  <Override PartName="/ppt/charts/chart5.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4.xml" ContentType="application/vnd.openxmlformats-officedocument.presentationml.notesSlide+xml"/>
  <Override PartName="/ppt/charts/chart10.xml" ContentType="application/vnd.openxmlformats-officedocument.drawingml.chart+xml"/>
  <Override PartName="/ppt/notesSlides/notesSlide35.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6.xml" ContentType="application/vnd.openxmlformats-officedocument.presentationml.notesSlide+xml"/>
  <Override PartName="/ppt/charts/chart13.xml" ContentType="application/vnd.openxmlformats-officedocument.drawingml.chart+xml"/>
  <Override PartName="/ppt/notesSlides/notesSlide3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8.xml" ContentType="application/vnd.openxmlformats-officedocument.presentationml.notesSlide+xml"/>
  <Override PartName="/ppt/charts/chart18.xml" ContentType="application/vnd.openxmlformats-officedocument.drawingml.chart+xml"/>
  <Override PartName="/ppt/notesSlides/notesSlide39.xml" ContentType="application/vnd.openxmlformats-officedocument.presentationml.notesSlide+xml"/>
  <Override PartName="/ppt/charts/chart19.xml" ContentType="application/vnd.openxmlformats-officedocument.drawingml.chart+xml"/>
  <Override PartName="/ppt/notesSlides/notesSlide4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41.xml" ContentType="application/vnd.openxmlformats-officedocument.presentationml.notesSlide+xml"/>
  <Override PartName="/ppt/charts/chart24.xml" ContentType="application/vnd.openxmlformats-officedocument.drawingml.chart+xml"/>
  <Override PartName="/ppt/notesSlides/notesSlide42.xml" ContentType="application/vnd.openxmlformats-officedocument.presentationml.notesSlide+xml"/>
  <Override PartName="/ppt/charts/chart25.xml" ContentType="application/vnd.openxmlformats-officedocument.drawingml.chart+xml"/>
  <Override PartName="/ppt/notesSlides/notesSlide43.xml" ContentType="application/vnd.openxmlformats-officedocument.presentationml.notesSlide+xml"/>
  <Override PartName="/ppt/charts/chart26.xml" ContentType="application/vnd.openxmlformats-officedocument.drawingml.chart+xml"/>
  <Override PartName="/ppt/notesSlides/notesSlide4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heme/themeOverride1.xml" ContentType="application/vnd.openxmlformats-officedocument.themeOverride+xml"/>
  <Override PartName="/ppt/charts/chart30.xml" ContentType="application/vnd.openxmlformats-officedocument.drawingml.chart+xml"/>
  <Override PartName="/ppt/notesSlides/notesSlide45.xml" ContentType="application/vnd.openxmlformats-officedocument.presentationml.notesSlide+xml"/>
  <Override PartName="/ppt/charts/chart31.xml" ContentType="application/vnd.openxmlformats-officedocument.drawingml.chart+xml"/>
  <Override PartName="/ppt/notesSlides/notesSlide46.xml" ContentType="application/vnd.openxmlformats-officedocument.presentationml.notesSlide+xml"/>
  <Override PartName="/ppt/charts/chart32.xml" ContentType="application/vnd.openxmlformats-officedocument.drawingml.chart+xml"/>
  <Override PartName="/ppt/notesSlides/notesSlide47.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8.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9.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5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5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5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53.xml" ContentType="application/vnd.openxmlformats-officedocument.presentationml.notesSlide+xml"/>
  <Override PartName="/ppt/charts/chart45.xml" ContentType="application/vnd.openxmlformats-officedocument.drawingml.chart+xml"/>
  <Override PartName="/ppt/notesSlides/notesSlide54.xml" ContentType="application/vnd.openxmlformats-officedocument.presentationml.notesSlide+xml"/>
  <Override PartName="/ppt/charts/chart46.xml" ContentType="application/vnd.openxmlformats-officedocument.drawingml.chart+xml"/>
  <Override PartName="/ppt/theme/themeOverride2.xml" ContentType="application/vnd.openxmlformats-officedocument.themeOverride+xml"/>
  <Override PartName="/ppt/charts/chart47.xml" ContentType="application/vnd.openxmlformats-officedocument.drawingml.chart+xml"/>
  <Override PartName="/ppt/charts/style2.xml" ContentType="application/vnd.ms-office.chartstyle+xml"/>
  <Override PartName="/ppt/charts/colors2.xml" ContentType="application/vnd.ms-office.chartcolorstyle+xml"/>
  <Override PartName="/ppt/charts/chart48.xml" ContentType="application/vnd.openxmlformats-officedocument.drawingml.chart+xml"/>
  <Override PartName="/ppt/charts/style3.xml" ContentType="application/vnd.ms-office.chartstyle+xml"/>
  <Override PartName="/ppt/charts/colors3.xml" ContentType="application/vnd.ms-office.chartcolorstyle+xml"/>
  <Override PartName="/ppt/charts/chart49.xml" ContentType="application/vnd.openxmlformats-officedocument.drawingml.chart+xml"/>
  <Override PartName="/ppt/charts/style4.xml" ContentType="application/vnd.ms-office.chartstyle+xml"/>
  <Override PartName="/ppt/charts/colors4.xml" ContentType="application/vnd.ms-office.chartcolorstyle+xml"/>
  <Override PartName="/ppt/charts/chart50.xml" ContentType="application/vnd.openxmlformats-officedocument.drawingml.chart+xml"/>
  <Override PartName="/ppt/charts/style5.xml" ContentType="application/vnd.ms-office.chartstyle+xml"/>
  <Override PartName="/ppt/charts/colors5.xml" ContentType="application/vnd.ms-office.chartcolorstyle+xml"/>
  <Override PartName="/ppt/charts/chart51.xml" ContentType="application/vnd.openxmlformats-officedocument.drawingml.chart+xml"/>
  <Override PartName="/ppt/charts/style6.xml" ContentType="application/vnd.ms-office.chartstyle+xml"/>
  <Override PartName="/ppt/charts/colors6.xml" ContentType="application/vnd.ms-office.chartcolorstyle+xml"/>
  <Override PartName="/ppt/charts/chart52.xml" ContentType="application/vnd.openxmlformats-officedocument.drawingml.chart+xml"/>
  <Override PartName="/ppt/charts/style7.xml" ContentType="application/vnd.ms-office.chartstyle+xml"/>
  <Override PartName="/ppt/charts/colors7.xml" ContentType="application/vnd.ms-office.chartcolorstyle+xml"/>
  <Override PartName="/ppt/charts/chart53.xml" ContentType="application/vnd.openxmlformats-officedocument.drawingml.chart+xml"/>
  <Override PartName="/ppt/charts/style8.xml" ContentType="application/vnd.ms-office.chartstyle+xml"/>
  <Override PartName="/ppt/charts/colors8.xml" ContentType="application/vnd.ms-office.chartcolorstyle+xml"/>
  <Override PartName="/ppt/charts/chart54.xml" ContentType="application/vnd.openxmlformats-officedocument.drawingml.chart+xml"/>
  <Override PartName="/ppt/charts/style9.xml" ContentType="application/vnd.ms-office.chartstyle+xml"/>
  <Override PartName="/ppt/charts/colors9.xml" ContentType="application/vnd.ms-office.chartcolorstyle+xml"/>
  <Override PartName="/ppt/charts/chart5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6.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5.xml" ContentType="application/vnd.openxmlformats-officedocument.presentationml.notesSlide+xml"/>
  <Override PartName="/ppt/charts/chart57.xml" ContentType="application/vnd.openxmlformats-officedocument.drawingml.chart+xml"/>
  <Override PartName="/ppt/notesSlides/notesSlide56.xml" ContentType="application/vnd.openxmlformats-officedocument.presentationml.notesSlide+xml"/>
  <Override PartName="/ppt/charts/chart58.xml" ContentType="application/vnd.openxmlformats-officedocument.drawingml.chart+xml"/>
  <Override PartName="/ppt/notesSlides/notesSlide57.xml" ContentType="application/vnd.openxmlformats-officedocument.presentationml.notesSlide+xml"/>
  <Override PartName="/ppt/charts/chart59.xml" ContentType="application/vnd.openxmlformats-officedocument.drawingml.chart+xml"/>
  <Override PartName="/ppt/notesSlides/notesSlide58.xml" ContentType="application/vnd.openxmlformats-officedocument.presentationml.notesSlide+xml"/>
  <Override PartName="/ppt/charts/chart60.xml" ContentType="application/vnd.openxmlformats-officedocument.drawingml.chart+xml"/>
  <Override PartName="/ppt/charts/chart61.xml" ContentType="application/vnd.openxmlformats-officedocument.drawingml.chart+xml"/>
  <Override PartName="/ppt/notesSlides/notesSlide59.xml" ContentType="application/vnd.openxmlformats-officedocument.presentationml.notesSlide+xml"/>
  <Override PartName="/ppt/charts/chart62.xml" ContentType="application/vnd.openxmlformats-officedocument.drawingml.chart+xml"/>
  <Override PartName="/ppt/notesSlides/notesSlide60.xml" ContentType="application/vnd.openxmlformats-officedocument.presentationml.notesSlide+xml"/>
  <Override PartName="/ppt/charts/chart63.xml" ContentType="application/vnd.openxmlformats-officedocument.drawingml.chart+xml"/>
  <Override PartName="/ppt/notesSlides/notesSlide61.xml" ContentType="application/vnd.openxmlformats-officedocument.presentationml.notesSlide+xml"/>
  <Override PartName="/ppt/charts/chart64.xml" ContentType="application/vnd.openxmlformats-officedocument.drawingml.chart+xml"/>
  <Override PartName="/ppt/charts/chart65.xml" ContentType="application/vnd.openxmlformats-officedocument.drawingml.chart+xml"/>
  <Override PartName="/ppt/notesSlides/notesSlide62.xml" ContentType="application/vnd.openxmlformats-officedocument.presentationml.notesSlide+xml"/>
  <Override PartName="/ppt/charts/chart66.xml" ContentType="application/vnd.openxmlformats-officedocument.drawingml.chart+xml"/>
  <Override PartName="/ppt/notesSlides/notesSlide63.xml" ContentType="application/vnd.openxmlformats-officedocument.presentationml.notesSlide+xml"/>
  <Override PartName="/ppt/charts/chart67.xml" ContentType="application/vnd.openxmlformats-officedocument.drawingml.chart+xml"/>
  <Override PartName="/ppt/notesSlides/notesSlide64.xml" ContentType="application/vnd.openxmlformats-officedocument.presentationml.notesSlide+xml"/>
  <Override PartName="/ppt/charts/chart68.xml" ContentType="application/vnd.openxmlformats-officedocument.drawingml.chart+xml"/>
  <Override PartName="/ppt/notesSlides/notesSlide65.xml" ContentType="application/vnd.openxmlformats-officedocument.presentationml.notesSlide+xml"/>
  <Override PartName="/ppt/charts/chart69.xml" ContentType="application/vnd.openxmlformats-officedocument.drawingml.chart+xml"/>
  <Override PartName="/ppt/notesSlides/notesSlide66.xml" ContentType="application/vnd.openxmlformats-officedocument.presentationml.notesSlide+xml"/>
  <Override PartName="/ppt/charts/chart70.xml" ContentType="application/vnd.openxmlformats-officedocument.drawingml.chart+xml"/>
  <Override PartName="/ppt/notesSlides/notesSlide67.xml" ContentType="application/vnd.openxmlformats-officedocument.presentationml.notesSlide+xml"/>
  <Override PartName="/ppt/charts/chart71.xml" ContentType="application/vnd.openxmlformats-officedocument.drawingml.chart+xml"/>
  <Override PartName="/ppt/notesSlides/notesSlide68.xml" ContentType="application/vnd.openxmlformats-officedocument.presentationml.notesSlide+xml"/>
  <Override PartName="/ppt/charts/chart72.xml" ContentType="application/vnd.openxmlformats-officedocument.drawingml.chart+xml"/>
  <Override PartName="/ppt/notesSlides/notesSlide69.xml" ContentType="application/vnd.openxmlformats-officedocument.presentationml.notesSlide+xml"/>
  <Override PartName="/ppt/charts/chart73.xml" ContentType="application/vnd.openxmlformats-officedocument.drawingml.chart+xml"/>
  <Override PartName="/ppt/notesSlides/notesSlide70.xml" ContentType="application/vnd.openxmlformats-officedocument.presentationml.notesSlide+xml"/>
  <Override PartName="/ppt/charts/chart74.xml" ContentType="application/vnd.openxmlformats-officedocument.drawingml.chart+xml"/>
  <Override PartName="/ppt/notesSlides/notesSlide71.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notesSlides/notesSlide72.xml" ContentType="application/vnd.openxmlformats-officedocument.presentationml.notesSlide+xml"/>
  <Override PartName="/ppt/charts/chart80.xml" ContentType="application/vnd.openxmlformats-officedocument.drawingml.chart+xml"/>
  <Override PartName="/ppt/notesSlides/notesSlide73.xml" ContentType="application/vnd.openxmlformats-officedocument.presentationml.notesSlide+xml"/>
  <Override PartName="/ppt/charts/chart81.xml" ContentType="application/vnd.openxmlformats-officedocument.drawingml.chart+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6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charts/chart82.xml" ContentType="application/vnd.openxmlformats-officedocument.drawingml.chart+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3" r:id="rId1"/>
  </p:sldMasterIdLst>
  <p:notesMasterIdLst>
    <p:notesMasterId r:id="rId302"/>
  </p:notesMasterIdLst>
  <p:handoutMasterIdLst>
    <p:handoutMasterId r:id="rId303"/>
  </p:handoutMasterIdLst>
  <p:sldIdLst>
    <p:sldId id="671" r:id="rId2"/>
    <p:sldId id="437" r:id="rId3"/>
    <p:sldId id="668" r:id="rId4"/>
    <p:sldId id="669" r:id="rId5"/>
    <p:sldId id="440" r:id="rId6"/>
    <p:sldId id="441" r:id="rId7"/>
    <p:sldId id="442" r:id="rId8"/>
    <p:sldId id="443" r:id="rId9"/>
    <p:sldId id="444" r:id="rId10"/>
    <p:sldId id="445" r:id="rId11"/>
    <p:sldId id="446" r:id="rId12"/>
    <p:sldId id="447" r:id="rId13"/>
    <p:sldId id="448" r:id="rId14"/>
    <p:sldId id="449" r:id="rId15"/>
    <p:sldId id="450" r:id="rId16"/>
    <p:sldId id="451" r:id="rId17"/>
    <p:sldId id="452" r:id="rId18"/>
    <p:sldId id="453" r:id="rId19"/>
    <p:sldId id="454" r:id="rId20"/>
    <p:sldId id="455" r:id="rId21"/>
    <p:sldId id="456" r:id="rId22"/>
    <p:sldId id="457" r:id="rId23"/>
    <p:sldId id="458" r:id="rId24"/>
    <p:sldId id="459" r:id="rId25"/>
    <p:sldId id="460" r:id="rId26"/>
    <p:sldId id="461" r:id="rId27"/>
    <p:sldId id="462" r:id="rId28"/>
    <p:sldId id="463" r:id="rId29"/>
    <p:sldId id="464" r:id="rId30"/>
    <p:sldId id="465" r:id="rId31"/>
    <p:sldId id="466" r:id="rId32"/>
    <p:sldId id="467" r:id="rId33"/>
    <p:sldId id="468" r:id="rId34"/>
    <p:sldId id="469" r:id="rId35"/>
    <p:sldId id="470" r:id="rId36"/>
    <p:sldId id="471" r:id="rId37"/>
    <p:sldId id="472" r:id="rId38"/>
    <p:sldId id="473" r:id="rId39"/>
    <p:sldId id="474" r:id="rId40"/>
    <p:sldId id="475" r:id="rId41"/>
    <p:sldId id="476" r:id="rId42"/>
    <p:sldId id="477" r:id="rId43"/>
    <p:sldId id="673" r:id="rId44"/>
    <p:sldId id="479" r:id="rId45"/>
    <p:sldId id="480" r:id="rId46"/>
    <p:sldId id="481" r:id="rId47"/>
    <p:sldId id="482" r:id="rId48"/>
    <p:sldId id="483" r:id="rId49"/>
    <p:sldId id="484" r:id="rId50"/>
    <p:sldId id="485" r:id="rId51"/>
    <p:sldId id="486" r:id="rId52"/>
    <p:sldId id="487" r:id="rId53"/>
    <p:sldId id="488" r:id="rId54"/>
    <p:sldId id="489" r:id="rId55"/>
    <p:sldId id="667" r:id="rId56"/>
    <p:sldId id="491" r:id="rId57"/>
    <p:sldId id="492" r:id="rId58"/>
    <p:sldId id="493" r:id="rId59"/>
    <p:sldId id="494" r:id="rId60"/>
    <p:sldId id="495" r:id="rId61"/>
    <p:sldId id="497" r:id="rId62"/>
    <p:sldId id="498" r:id="rId63"/>
    <p:sldId id="499" r:id="rId64"/>
    <p:sldId id="674" r:id="rId65"/>
    <p:sldId id="535" r:id="rId66"/>
    <p:sldId id="536" r:id="rId67"/>
    <p:sldId id="537" r:id="rId68"/>
    <p:sldId id="538" r:id="rId69"/>
    <p:sldId id="539" r:id="rId70"/>
    <p:sldId id="540" r:id="rId71"/>
    <p:sldId id="541" r:id="rId72"/>
    <p:sldId id="523" r:id="rId73"/>
    <p:sldId id="524" r:id="rId74"/>
    <p:sldId id="525" r:id="rId75"/>
    <p:sldId id="526" r:id="rId76"/>
    <p:sldId id="527" r:id="rId77"/>
    <p:sldId id="528" r:id="rId78"/>
    <p:sldId id="529" r:id="rId79"/>
    <p:sldId id="530" r:id="rId80"/>
    <p:sldId id="531" r:id="rId81"/>
    <p:sldId id="532" r:id="rId82"/>
    <p:sldId id="533" r:id="rId83"/>
    <p:sldId id="534" r:id="rId84"/>
    <p:sldId id="509" r:id="rId85"/>
    <p:sldId id="510" r:id="rId86"/>
    <p:sldId id="511" r:id="rId87"/>
    <p:sldId id="675" r:id="rId88"/>
    <p:sldId id="512" r:id="rId89"/>
    <p:sldId id="513" r:id="rId90"/>
    <p:sldId id="514" r:id="rId91"/>
    <p:sldId id="515" r:id="rId92"/>
    <p:sldId id="518" r:id="rId93"/>
    <p:sldId id="519" r:id="rId94"/>
    <p:sldId id="520" r:id="rId95"/>
    <p:sldId id="522" r:id="rId96"/>
    <p:sldId id="516" r:id="rId97"/>
    <p:sldId id="517" r:id="rId98"/>
    <p:sldId id="542" r:id="rId99"/>
    <p:sldId id="543" r:id="rId100"/>
    <p:sldId id="544" r:id="rId101"/>
    <p:sldId id="545" r:id="rId102"/>
    <p:sldId id="546" r:id="rId103"/>
    <p:sldId id="547" r:id="rId104"/>
    <p:sldId id="548" r:id="rId105"/>
    <p:sldId id="549" r:id="rId106"/>
    <p:sldId id="550" r:id="rId107"/>
    <p:sldId id="551" r:id="rId108"/>
    <p:sldId id="552" r:id="rId109"/>
    <p:sldId id="553" r:id="rId110"/>
    <p:sldId id="554" r:id="rId111"/>
    <p:sldId id="555" r:id="rId112"/>
    <p:sldId id="556" r:id="rId113"/>
    <p:sldId id="557" r:id="rId114"/>
    <p:sldId id="558" r:id="rId115"/>
    <p:sldId id="559" r:id="rId116"/>
    <p:sldId id="676" r:id="rId117"/>
    <p:sldId id="683" r:id="rId118"/>
    <p:sldId id="685" r:id="rId119"/>
    <p:sldId id="684" r:id="rId120"/>
    <p:sldId id="560" r:id="rId121"/>
    <p:sldId id="561" r:id="rId122"/>
    <p:sldId id="562" r:id="rId123"/>
    <p:sldId id="563" r:id="rId124"/>
    <p:sldId id="564" r:id="rId125"/>
    <p:sldId id="565" r:id="rId126"/>
    <p:sldId id="566" r:id="rId127"/>
    <p:sldId id="567" r:id="rId128"/>
    <p:sldId id="568" r:id="rId129"/>
    <p:sldId id="569" r:id="rId130"/>
    <p:sldId id="570" r:id="rId131"/>
    <p:sldId id="571" r:id="rId132"/>
    <p:sldId id="572" r:id="rId133"/>
    <p:sldId id="573" r:id="rId134"/>
    <p:sldId id="574" r:id="rId135"/>
    <p:sldId id="575" r:id="rId136"/>
    <p:sldId id="576" r:id="rId137"/>
    <p:sldId id="577" r:id="rId138"/>
    <p:sldId id="578" r:id="rId139"/>
    <p:sldId id="579" r:id="rId140"/>
    <p:sldId id="677" r:id="rId141"/>
    <p:sldId id="735" r:id="rId142"/>
    <p:sldId id="736" r:id="rId143"/>
    <p:sldId id="737" r:id="rId144"/>
    <p:sldId id="738" r:id="rId145"/>
    <p:sldId id="739" r:id="rId146"/>
    <p:sldId id="740" r:id="rId147"/>
    <p:sldId id="741" r:id="rId148"/>
    <p:sldId id="742" r:id="rId149"/>
    <p:sldId id="743" r:id="rId150"/>
    <p:sldId id="744" r:id="rId151"/>
    <p:sldId id="745" r:id="rId152"/>
    <p:sldId id="746" r:id="rId153"/>
    <p:sldId id="747" r:id="rId154"/>
    <p:sldId id="748" r:id="rId155"/>
    <p:sldId id="749" r:id="rId156"/>
    <p:sldId id="750" r:id="rId157"/>
    <p:sldId id="751" r:id="rId158"/>
    <p:sldId id="752" r:id="rId159"/>
    <p:sldId id="753" r:id="rId160"/>
    <p:sldId id="754" r:id="rId161"/>
    <p:sldId id="755" r:id="rId162"/>
    <p:sldId id="756" r:id="rId163"/>
    <p:sldId id="757" r:id="rId164"/>
    <p:sldId id="758" r:id="rId165"/>
    <p:sldId id="759" r:id="rId166"/>
    <p:sldId id="760" r:id="rId167"/>
    <p:sldId id="678" r:id="rId168"/>
    <p:sldId id="581" r:id="rId169"/>
    <p:sldId id="582" r:id="rId170"/>
    <p:sldId id="583" r:id="rId171"/>
    <p:sldId id="584" r:id="rId172"/>
    <p:sldId id="585" r:id="rId173"/>
    <p:sldId id="586" r:id="rId174"/>
    <p:sldId id="587" r:id="rId175"/>
    <p:sldId id="588" r:id="rId176"/>
    <p:sldId id="589" r:id="rId177"/>
    <p:sldId id="590" r:id="rId178"/>
    <p:sldId id="591" r:id="rId179"/>
    <p:sldId id="592" r:id="rId180"/>
    <p:sldId id="593" r:id="rId181"/>
    <p:sldId id="594" r:id="rId182"/>
    <p:sldId id="595" r:id="rId183"/>
    <p:sldId id="596" r:id="rId184"/>
    <p:sldId id="597" r:id="rId185"/>
    <p:sldId id="598" r:id="rId186"/>
    <p:sldId id="599" r:id="rId187"/>
    <p:sldId id="600" r:id="rId188"/>
    <p:sldId id="601" r:id="rId189"/>
    <p:sldId id="602" r:id="rId190"/>
    <p:sldId id="603" r:id="rId191"/>
    <p:sldId id="604" r:id="rId192"/>
    <p:sldId id="605" r:id="rId193"/>
    <p:sldId id="606" r:id="rId194"/>
    <p:sldId id="607" r:id="rId195"/>
    <p:sldId id="608" r:id="rId196"/>
    <p:sldId id="609" r:id="rId197"/>
    <p:sldId id="610" r:id="rId198"/>
    <p:sldId id="611" r:id="rId199"/>
    <p:sldId id="612" r:id="rId200"/>
    <p:sldId id="613" r:id="rId201"/>
    <p:sldId id="614" r:id="rId202"/>
    <p:sldId id="615" r:id="rId203"/>
    <p:sldId id="616" r:id="rId204"/>
    <p:sldId id="617" r:id="rId205"/>
    <p:sldId id="618" r:id="rId206"/>
    <p:sldId id="619" r:id="rId207"/>
    <p:sldId id="620" r:id="rId208"/>
    <p:sldId id="621" r:id="rId209"/>
    <p:sldId id="622" r:id="rId210"/>
    <p:sldId id="623" r:id="rId211"/>
    <p:sldId id="624" r:id="rId212"/>
    <p:sldId id="625" r:id="rId213"/>
    <p:sldId id="626" r:id="rId214"/>
    <p:sldId id="627" r:id="rId215"/>
    <p:sldId id="628" r:id="rId216"/>
    <p:sldId id="629" r:id="rId217"/>
    <p:sldId id="630" r:id="rId218"/>
    <p:sldId id="679" r:id="rId219"/>
    <p:sldId id="665" r:id="rId220"/>
    <p:sldId id="680" r:id="rId221"/>
    <p:sldId id="686" r:id="rId222"/>
    <p:sldId id="687" r:id="rId223"/>
    <p:sldId id="688" r:id="rId224"/>
    <p:sldId id="689" r:id="rId225"/>
    <p:sldId id="690" r:id="rId226"/>
    <p:sldId id="691" r:id="rId227"/>
    <p:sldId id="692" r:id="rId228"/>
    <p:sldId id="693" r:id="rId229"/>
    <p:sldId id="694" r:id="rId230"/>
    <p:sldId id="695" r:id="rId231"/>
    <p:sldId id="696" r:id="rId232"/>
    <p:sldId id="697" r:id="rId233"/>
    <p:sldId id="698" r:id="rId234"/>
    <p:sldId id="699" r:id="rId235"/>
    <p:sldId id="700" r:id="rId236"/>
    <p:sldId id="701" r:id="rId237"/>
    <p:sldId id="702" r:id="rId238"/>
    <p:sldId id="703" r:id="rId239"/>
    <p:sldId id="704" r:id="rId240"/>
    <p:sldId id="705" r:id="rId241"/>
    <p:sldId id="706" r:id="rId242"/>
    <p:sldId id="707" r:id="rId243"/>
    <p:sldId id="708" r:id="rId244"/>
    <p:sldId id="709" r:id="rId245"/>
    <p:sldId id="710" r:id="rId246"/>
    <p:sldId id="711" r:id="rId247"/>
    <p:sldId id="712" r:id="rId248"/>
    <p:sldId id="713" r:id="rId249"/>
    <p:sldId id="714" r:id="rId250"/>
    <p:sldId id="715" r:id="rId251"/>
    <p:sldId id="716" r:id="rId252"/>
    <p:sldId id="717" r:id="rId253"/>
    <p:sldId id="718" r:id="rId254"/>
    <p:sldId id="719" r:id="rId255"/>
    <p:sldId id="720" r:id="rId256"/>
    <p:sldId id="721" r:id="rId257"/>
    <p:sldId id="722" r:id="rId258"/>
    <p:sldId id="723" r:id="rId259"/>
    <p:sldId id="724" r:id="rId260"/>
    <p:sldId id="725" r:id="rId261"/>
    <p:sldId id="726" r:id="rId262"/>
    <p:sldId id="727" r:id="rId263"/>
    <p:sldId id="728" r:id="rId264"/>
    <p:sldId id="729" r:id="rId265"/>
    <p:sldId id="730" r:id="rId266"/>
    <p:sldId id="731" r:id="rId267"/>
    <p:sldId id="732" r:id="rId268"/>
    <p:sldId id="733" r:id="rId269"/>
    <p:sldId id="734" r:id="rId270"/>
    <p:sldId id="682" r:id="rId271"/>
    <p:sldId id="413" r:id="rId272"/>
    <p:sldId id="414" r:id="rId273"/>
    <p:sldId id="415" r:id="rId274"/>
    <p:sldId id="416" r:id="rId275"/>
    <p:sldId id="417" r:id="rId276"/>
    <p:sldId id="418" r:id="rId277"/>
    <p:sldId id="419" r:id="rId278"/>
    <p:sldId id="420" r:id="rId279"/>
    <p:sldId id="421" r:id="rId280"/>
    <p:sldId id="761" r:id="rId281"/>
    <p:sldId id="422" r:id="rId282"/>
    <p:sldId id="423" r:id="rId283"/>
    <p:sldId id="424" r:id="rId284"/>
    <p:sldId id="425" r:id="rId285"/>
    <p:sldId id="426" r:id="rId286"/>
    <p:sldId id="427" r:id="rId287"/>
    <p:sldId id="428" r:id="rId288"/>
    <p:sldId id="429" r:id="rId289"/>
    <p:sldId id="430" r:id="rId290"/>
    <p:sldId id="431" r:id="rId291"/>
    <p:sldId id="432" r:id="rId292"/>
    <p:sldId id="632" r:id="rId293"/>
    <p:sldId id="438" r:id="rId294"/>
    <p:sldId id="633" r:id="rId295"/>
    <p:sldId id="634" r:id="rId296"/>
    <p:sldId id="635" r:id="rId297"/>
    <p:sldId id="636" r:id="rId298"/>
    <p:sldId id="637" r:id="rId299"/>
    <p:sldId id="638" r:id="rId300"/>
    <p:sldId id="639" r:id="rId301"/>
  </p:sldIdLst>
  <p:sldSz cx="9144000" cy="6858000" type="screen4x3"/>
  <p:notesSz cx="7315200" cy="9601200"/>
  <p:custDataLst>
    <p:tags r:id="rId30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4955"/>
    <a:srgbClr val="046A38"/>
    <a:srgbClr val="62B5E5"/>
    <a:srgbClr val="575757"/>
    <a:srgbClr val="FFCD00"/>
    <a:srgbClr val="DB291C"/>
    <a:srgbClr val="0076A8"/>
    <a:srgbClr val="3C8A2E"/>
    <a:srgbClr val="000000"/>
    <a:srgbClr val="ED8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21" autoAdjust="0"/>
    <p:restoredTop sz="94984" autoAdjust="0"/>
  </p:normalViewPr>
  <p:slideViewPr>
    <p:cSldViewPr snapToGrid="0" showGuides="1">
      <p:cViewPr varScale="1">
        <p:scale>
          <a:sx n="82" d="100"/>
          <a:sy n="82" d="100"/>
        </p:scale>
        <p:origin x="1491" y="6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83822"/>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303" Type="http://schemas.openxmlformats.org/officeDocument/2006/relationships/handoutMaster" Target="handoutMasters/handoutMaster1.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268" Type="http://schemas.openxmlformats.org/officeDocument/2006/relationships/slide" Target="slides/slide267.xml"/><Relationship Id="rId289" Type="http://schemas.openxmlformats.org/officeDocument/2006/relationships/slide" Target="slides/slide288.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tags" Target="tags/tag1.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presProps" Target="presProps.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viewProps" Target="viewProps.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slide" Target="slides/slide239.xml"/><Relationship Id="rId245" Type="http://schemas.openxmlformats.org/officeDocument/2006/relationships/slide" Target="slides/slide244.xml"/><Relationship Id="rId261" Type="http://schemas.openxmlformats.org/officeDocument/2006/relationships/slide" Target="slides/slide260.xml"/><Relationship Id="rId266" Type="http://schemas.openxmlformats.org/officeDocument/2006/relationships/slide" Target="slides/slide265.xml"/><Relationship Id="rId287" Type="http://schemas.openxmlformats.org/officeDocument/2006/relationships/slide" Target="slides/slide286.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282" Type="http://schemas.openxmlformats.org/officeDocument/2006/relationships/slide" Target="slides/slide28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72" Type="http://schemas.openxmlformats.org/officeDocument/2006/relationships/slide" Target="slides/slide271.xml"/><Relationship Id="rId293" Type="http://schemas.openxmlformats.org/officeDocument/2006/relationships/slide" Target="slides/slide292.xml"/><Relationship Id="rId302" Type="http://schemas.openxmlformats.org/officeDocument/2006/relationships/notesMaster" Target="notesMasters/notesMaster1.xml"/><Relationship Id="rId30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262" Type="http://schemas.openxmlformats.org/officeDocument/2006/relationships/slide" Target="slides/slide261.xml"/><Relationship Id="rId283" Type="http://schemas.openxmlformats.org/officeDocument/2006/relationships/slide" Target="slides/slide28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tableStyles" Target="tableStyle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2.xml"/><Relationship Id="rId1" Type="http://schemas.microsoft.com/office/2011/relationships/chartStyle" Target="style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3.xml"/><Relationship Id="rId1" Type="http://schemas.microsoft.com/office/2011/relationships/chartStyle" Target="style3.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xml"/><Relationship Id="rId1" Type="http://schemas.microsoft.com/office/2011/relationships/chartStyle" Target="style5.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6.xml"/><Relationship Id="rId1" Type="http://schemas.microsoft.com/office/2011/relationships/chartStyle" Target="style6.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7.xml"/><Relationship Id="rId1" Type="http://schemas.microsoft.com/office/2011/relationships/chartStyle" Target="style7.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8.xml"/><Relationship Id="rId1" Type="http://schemas.microsoft.com/office/2011/relationships/chartStyle" Target="style8.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9.xml"/><Relationship Id="rId1" Type="http://schemas.microsoft.com/office/2011/relationships/chartStyle" Target="style9.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0.xml"/><Relationship Id="rId1" Type="http://schemas.microsoft.com/office/2011/relationships/chartStyle" Target="style10.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1.xml"/><Relationship Id="rId1" Type="http://schemas.microsoft.com/office/2011/relationships/chartStyle" Target="style11.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accent6">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7E28-41E1-8893-EE63C6FB2537}"/>
            </c:ext>
          </c:extLst>
        </c:ser>
        <c:ser>
          <c:idx val="1"/>
          <c:order val="1"/>
          <c:tx>
            <c:strRef>
              <c:f>Sheet1!$C$1</c:f>
              <c:strCache>
                <c:ptCount val="1"/>
                <c:pt idx="0">
                  <c:v>Righ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7E28-41E1-8893-EE63C6FB2537}"/>
            </c:ext>
          </c:extLst>
        </c:ser>
        <c:dLbls>
          <c:dLblPos val="ctr"/>
          <c:showLegendKey val="0"/>
          <c:showVal val="1"/>
          <c:showCatName val="0"/>
          <c:showSerName val="0"/>
          <c:showPercent val="0"/>
          <c:showBubbleSize val="0"/>
        </c:dLbls>
        <c:gapWidth val="111"/>
        <c:overlap val="100"/>
        <c:axId val="19605120"/>
        <c:axId val="19597040"/>
      </c:barChart>
      <c:catAx>
        <c:axId val="1960512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597040"/>
        <c:crossesAt val="0"/>
        <c:auto val="0"/>
        <c:lblAlgn val="ctr"/>
        <c:lblOffset val="100"/>
        <c:noMultiLvlLbl val="0"/>
      </c:catAx>
      <c:valAx>
        <c:axId val="19597040"/>
        <c:scaling>
          <c:orientation val="minMax"/>
        </c:scaling>
        <c:delete val="0"/>
        <c:axPos val="b"/>
        <c:majorGridlines>
          <c:spPr>
            <a:ln w="6350" cap="flat" cmpd="sng" algn="ctr">
              <a:solidFill>
                <a:srgbClr val="BBBCBC"/>
              </a:solidFill>
              <a:round/>
            </a:ln>
            <a:effectLst/>
          </c:spPr>
        </c:majorGridlines>
        <c:numFmt formatCode="General" sourceLinked="1"/>
        <c:majorTickMark val="none"/>
        <c:minorTickMark val="none"/>
        <c:tickLblPos val="none"/>
        <c:spPr>
          <a:noFill/>
          <a:ln w="6350">
            <a:solidFill>
              <a:srgbClr val="BBBCBC"/>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05120"/>
        <c:crosses val="max"/>
        <c:crossBetween val="between"/>
      </c:valAx>
      <c:spPr>
        <a:noFill/>
        <a:ln>
          <a:noFill/>
        </a:ln>
        <a:effectLst/>
      </c:spPr>
    </c:plotArea>
    <c:legend>
      <c:legendPos val="b"/>
      <c:layout>
        <c:manualLayout>
          <c:xMode val="edge"/>
          <c:yMode val="edge"/>
          <c:x val="0.477069179493467"/>
          <c:y val="0.93199527183804198"/>
          <c:w val="0.22497770573968801"/>
          <c:h val="5.34727599081886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lumMod val="60000"/>
                <a:lumOff val="40000"/>
              </a:schemeClr>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dLbl>
              <c:idx val="0"/>
              <c:numFmt formatCode="#,##0.0" sourceLinked="0"/>
              <c:spPr>
                <a:noFill/>
                <a:ln>
                  <a:noFill/>
                </a:ln>
                <a:effectLst/>
              </c:spPr>
              <c:txPr>
                <a:bodyPr/>
                <a:lstStyle/>
                <a:p>
                  <a:pPr>
                    <a:defRPr lang="en-US" sz="800" b="0">
                      <a:solidFill>
                        <a:schemeClr val="tx1"/>
                      </a:solidFill>
                      <a:latin typeface="+mn-lt"/>
                      <a:ea typeface="+mn-lt"/>
                      <a:cs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8843-4C4A-A58D-9BDA53EF773F}"/>
                </c:ext>
              </c:extLst>
            </c:dLbl>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hlink"/>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4"/>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5"/>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6"/>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ln w="6350">
            <a:solidFill>
              <a:srgbClr val="BBBCBC"/>
            </a:solidFill>
            <a:prstDash val="solid"/>
          </a:ln>
        </c:spPr>
        <c:crossAx val="-73719952"/>
        <c:crosses val="autoZero"/>
        <c:auto val="1"/>
        <c:lblAlgn val="ctr"/>
        <c:lblOffset val="100"/>
        <c:noMultiLvlLbl val="0"/>
      </c:catAx>
      <c:valAx>
        <c:axId val="-7371995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21872976"/>
        <c:crosses val="autoZero"/>
        <c:crossBetween val="between"/>
      </c:valAx>
      <c:spPr>
        <a:noFill/>
        <a:ln>
          <a:noFill/>
        </a:ln>
        <a:effectLst/>
        <a:ex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04887041268998E-2"/>
          <c:y val="7.5298561258053107E-2"/>
          <c:w val="0.91985683607730895"/>
          <c:h val="0.73907720847835101"/>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940-4B4E-A5A7-46C153BD9CC1}"/>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940-4B4E-A5A7-46C153BD9CC1}"/>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940-4B4E-A5A7-46C153BD9CC1}"/>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B940-4B4E-A5A7-46C153BD9CC1}"/>
            </c:ext>
          </c:extLst>
        </c:ser>
        <c:ser>
          <c:idx val="4"/>
          <c:order val="4"/>
          <c:tx>
            <c:strRef>
              <c:f>Sheet1!$F$1</c:f>
              <c:strCache>
                <c:ptCount val="1"/>
                <c:pt idx="0">
                  <c:v>Series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B940-4B4E-A5A7-46C153BD9CC1}"/>
            </c:ext>
          </c:extLst>
        </c:ser>
        <c:ser>
          <c:idx val="5"/>
          <c:order val="5"/>
          <c:tx>
            <c:strRef>
              <c:f>Sheet1!$G$1</c:f>
              <c:strCache>
                <c:ptCount val="1"/>
                <c:pt idx="0">
                  <c:v>Series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B940-4B4E-A5A7-46C153BD9CC1}"/>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B940-4B4E-A5A7-46C153BD9CC1}"/>
            </c:ext>
          </c:extLst>
        </c:ser>
        <c:dLbls>
          <c:dLblPos val="ctr"/>
          <c:showLegendKey val="0"/>
          <c:showVal val="1"/>
          <c:showCatName val="0"/>
          <c:showSerName val="0"/>
          <c:showPercent val="0"/>
          <c:showBubbleSize val="0"/>
        </c:dLbls>
        <c:gapWidth val="104"/>
        <c:overlap val="100"/>
        <c:axId val="120974000"/>
        <c:axId val="121571472"/>
      </c:barChart>
      <c:catAx>
        <c:axId val="120974000"/>
        <c:scaling>
          <c:orientation val="minMax"/>
        </c:scaling>
        <c:delete val="0"/>
        <c:axPos val="l"/>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1571472"/>
        <c:crosses val="autoZero"/>
        <c:auto val="1"/>
        <c:lblAlgn val="ctr"/>
        <c:lblOffset val="100"/>
        <c:noMultiLvlLbl val="0"/>
      </c:catAx>
      <c:valAx>
        <c:axId val="121571472"/>
        <c:scaling>
          <c:orientation val="minMax"/>
        </c:scaling>
        <c:delete val="0"/>
        <c:axPos val="b"/>
        <c:majorGridlines>
          <c:spPr>
            <a:ln w="6350" cap="flat" cmpd="sng" algn="ctr">
              <a:solidFill>
                <a:srgbClr val="BBBCBC"/>
              </a:solidFill>
              <a:round/>
            </a:ln>
            <a:effectLst/>
          </c:spPr>
        </c:majorGridlines>
        <c:numFmt formatCode="General" sourceLinked="1"/>
        <c:majorTickMark val="none"/>
        <c:minorTickMark val="none"/>
        <c:tickLblPos val="nextTo"/>
        <c:spPr>
          <a:noFill/>
          <a:ln w="6350">
            <a:solidFill>
              <a:srgbClr val="BBBCBC"/>
            </a:solid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974000"/>
        <c:crosses val="autoZero"/>
        <c:crossBetween val="between"/>
      </c:valAx>
      <c:spPr>
        <a:noFill/>
        <a:ln>
          <a:noFill/>
        </a:ln>
        <a:effectLst/>
      </c:spPr>
    </c:plotArea>
    <c:legend>
      <c:legendPos val="b"/>
      <c:layout>
        <c:manualLayout>
          <c:xMode val="edge"/>
          <c:yMode val="edge"/>
          <c:x val="1.36934195511601E-2"/>
          <c:y val="0.90834585351862496"/>
          <c:w val="0.96900801756028099"/>
          <c:h val="5.34727599081886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1"/>
            </a:solidFill>
            <a:ln w="12700">
              <a:no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213360"/>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4.8873605736569098E-2"/>
          <c:y val="2.2694186329080199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BBBCBC"/>
                </a:solidFill>
              </a:defRPr>
            </a:pPr>
            <a:endParaRPr lang="en-US"/>
          </a:p>
        </c:txPr>
        <c:crossAx val="111293184"/>
        <c:crosses val="autoZero"/>
        <c:crossBetween val="midCat"/>
      </c:valAx>
      <c:spPr>
        <a:noFill/>
        <a:ln>
          <a:noFill/>
        </a:ln>
        <a:effectLst/>
      </c:spPr>
    </c:plotArea>
    <c:legend>
      <c:legendPos val="b"/>
      <c:layout>
        <c:manualLayout>
          <c:xMode val="edge"/>
          <c:yMode val="edge"/>
          <c:x val="0.21220948894127101"/>
          <c:y val="0.87235245963385499"/>
          <c:w val="0.61379758262701201"/>
          <c:h val="0.11175560353446699"/>
        </c:manualLayout>
      </c:layout>
      <c:overlay val="0"/>
      <c:spPr>
        <a:noFill/>
        <a:ln>
          <a:noFill/>
        </a:ln>
        <a:effectLst/>
      </c:spPr>
      <c:txPr>
        <a:bodyPr rot="0" vert="horz"/>
        <a:lstStyle/>
        <a:p>
          <a:pPr>
            <a:defRPr>
              <a:solidFill>
                <a:srgbClr val="BBBCBC"/>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tx2">
                <a:lumMod val="60000"/>
                <a:lumOff val="40000"/>
              </a:schemeClr>
            </a:solidFill>
            <a:ln w="12700">
              <a:noFill/>
            </a:ln>
          </c:spPr>
          <c:invertIfNegative val="0"/>
          <c:dLbls>
            <c:numFmt formatCode="#,##0.0" sourceLinked="0"/>
            <c:spPr>
              <a:noFill/>
              <a:ln>
                <a:noFill/>
              </a:ln>
              <a:effectLst/>
            </c:spPr>
            <c:txPr>
              <a:bodyPr/>
              <a:lstStyle/>
              <a:p>
                <a:pPr>
                  <a:defRPr sz="9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FFA-4FAF-BBB5-D3983343901C}"/>
            </c:ext>
          </c:extLst>
        </c:ser>
        <c:ser>
          <c:idx val="1"/>
          <c:order val="1"/>
          <c:tx>
            <c:strRef>
              <c:f>Sheet1!$C$1</c:f>
              <c:strCache>
                <c:ptCount val="1"/>
                <c:pt idx="0">
                  <c:v>Series 2</c:v>
                </c:pt>
              </c:strCache>
            </c:strRef>
          </c:tx>
          <c:spPr>
            <a:solidFill>
              <a:schemeClr val="tx2">
                <a:lumMod val="40000"/>
                <a:lumOff val="60000"/>
              </a:schemeClr>
            </a:solidFill>
            <a:ln w="12700">
              <a:noFill/>
            </a:ln>
          </c:spPr>
          <c:invertIfNegative val="0"/>
          <c:dLbls>
            <c:numFmt formatCode="#,##0.0" sourceLinked="0"/>
            <c:spPr>
              <a:noFill/>
              <a:ln>
                <a:noFill/>
              </a:ln>
              <a:effectLst/>
            </c:spPr>
            <c:txPr>
              <a:bodyPr/>
              <a:lstStyle/>
              <a:p>
                <a:pPr>
                  <a:defRPr sz="9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FFA-4FAF-BBB5-D3983343901C}"/>
            </c:ext>
          </c:extLst>
        </c:ser>
        <c:ser>
          <c:idx val="2"/>
          <c:order val="2"/>
          <c:tx>
            <c:strRef>
              <c:f>Sheet1!$D$1</c:f>
              <c:strCache>
                <c:ptCount val="1"/>
                <c:pt idx="0">
                  <c:v>Series 3</c:v>
                </c:pt>
              </c:strCache>
            </c:strRef>
          </c:tx>
          <c:spPr>
            <a:solidFill>
              <a:schemeClr val="tx2">
                <a:lumMod val="20000"/>
                <a:lumOff val="80000"/>
              </a:schemeClr>
            </a:solidFill>
            <a:ln w="12700">
              <a:noFill/>
            </a:ln>
          </c:spPr>
          <c:invertIfNegative val="0"/>
          <c:dLbls>
            <c:numFmt formatCode="#,##0.0" sourceLinked="0"/>
            <c:spPr>
              <a:noFill/>
              <a:ln>
                <a:noFill/>
              </a:ln>
              <a:effectLst/>
            </c:spPr>
            <c:txPr>
              <a:bodyPr/>
              <a:lstStyle/>
              <a:p>
                <a:pPr>
                  <a:defRPr sz="9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FFA-4FAF-BBB5-D3983343901C}"/>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9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5FFA-4FAF-BBB5-D3983343901C}"/>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9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9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0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0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0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tx2">
                  <a:lumMod val="60000"/>
                  <a:lumOff val="40000"/>
                </a:schemeClr>
              </a:solidFill>
              <a:ln w="9525">
                <a:noFill/>
                <a:prstDash val="solid"/>
              </a:ln>
            </c:spPr>
            <c:extLst>
              <c:ext xmlns:c16="http://schemas.microsoft.com/office/drawing/2014/chart" uri="{C3380CC4-5D6E-409C-BE32-E72D297353CC}">
                <c16:uniqueId val="{00000001-154A-4E83-A2E4-AB021B2DDCC4}"/>
              </c:ext>
            </c:extLst>
          </c:dPt>
          <c:dPt>
            <c:idx val="1"/>
            <c:bubble3D val="0"/>
            <c:spPr>
              <a:solidFill>
                <a:schemeClr val="tx2">
                  <a:lumMod val="75000"/>
                </a:schemeClr>
              </a:solidFill>
              <a:ln w="9525">
                <a:noFill/>
                <a:prstDash val="solid"/>
              </a:ln>
            </c:spPr>
            <c:extLst>
              <c:ext xmlns:c16="http://schemas.microsoft.com/office/drawing/2014/chart" uri="{C3380CC4-5D6E-409C-BE32-E72D297353CC}">
                <c16:uniqueId val="{00000003-154A-4E83-A2E4-AB021B2DDCC4}"/>
              </c:ext>
            </c:extLst>
          </c:dPt>
          <c:dPt>
            <c:idx val="2"/>
            <c:bubble3D val="0"/>
            <c:spPr>
              <a:solidFill>
                <a:schemeClr val="accent4"/>
              </a:solidFill>
              <a:ln w="9525">
                <a:noFill/>
                <a:prstDash val="solid"/>
              </a:ln>
            </c:spPr>
            <c:extLst>
              <c:ext xmlns:c16="http://schemas.microsoft.com/office/drawing/2014/chart" uri="{C3380CC4-5D6E-409C-BE32-E72D297353CC}">
                <c16:uniqueId val="{00000005-154A-4E83-A2E4-AB021B2DDCC4}"/>
              </c:ext>
            </c:extLst>
          </c:dPt>
          <c:dPt>
            <c:idx val="3"/>
            <c:bubble3D val="0"/>
            <c:spPr>
              <a:solidFill>
                <a:schemeClr val="tx2">
                  <a:lumMod val="40000"/>
                  <a:lumOff val="60000"/>
                </a:schemeClr>
              </a:solidFill>
              <a:ln w="12700">
                <a:noFill/>
              </a:ln>
            </c:spPr>
            <c:extLst>
              <c:ext xmlns:c16="http://schemas.microsoft.com/office/drawing/2014/chart" uri="{C3380CC4-5D6E-409C-BE32-E72D297353CC}">
                <c16:uniqueId val="{00000007-154A-4E83-A2E4-AB021B2DDCC4}"/>
              </c:ext>
            </c:extLst>
          </c:dPt>
          <c:dPt>
            <c:idx val="4"/>
            <c:bubble3D val="0"/>
            <c:spPr>
              <a:solidFill>
                <a:schemeClr val="accent5"/>
              </a:solidFill>
              <a:ln w="12700">
                <a:noFill/>
              </a:ln>
            </c:spPr>
            <c:extLst>
              <c:ext xmlns:c16="http://schemas.microsoft.com/office/drawing/2014/chart" uri="{C3380CC4-5D6E-409C-BE32-E72D297353CC}">
                <c16:uniqueId val="{00000009-154A-4E83-A2E4-AB021B2DDCC4}"/>
              </c:ext>
            </c:extLst>
          </c:dPt>
          <c:dPt>
            <c:idx val="5"/>
            <c:bubble3D val="0"/>
            <c:spPr>
              <a:solidFill>
                <a:schemeClr val="accent6"/>
              </a:solidFill>
              <a:ln w="12700">
                <a:noFill/>
              </a:ln>
            </c:spPr>
            <c:extLst>
              <c:ext xmlns:c16="http://schemas.microsoft.com/office/drawing/2014/chart" uri="{C3380CC4-5D6E-409C-BE32-E72D297353CC}">
                <c16:uniqueId val="{0000000B-154A-4E83-A2E4-AB021B2DDCC4}"/>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54A-4E83-A2E4-AB021B2DDCC4}"/>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54A-4E83-A2E4-AB021B2DDCC4}"/>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54A-4E83-A2E4-AB021B2DDCC4}"/>
              </c:ext>
            </c:extLst>
          </c:dPt>
          <c:dLbls>
            <c:dLbl>
              <c:idx val="0"/>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4A-4E83-A2E4-AB021B2DDCC4}"/>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54A-4E83-A2E4-AB021B2DDCC4}"/>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54A-4E83-A2E4-AB021B2DDCC4}"/>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54A-4E83-A2E4-AB021B2DDCC4}"/>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54A-4E83-A2E4-AB021B2DDCC4}"/>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276-4D69-B289-E4DFFE30842E}"/>
              </c:ext>
            </c:extLst>
          </c:dPt>
          <c:dPt>
            <c:idx val="1"/>
            <c:bubble3D val="0"/>
            <c:spPr>
              <a:solidFill>
                <a:schemeClr val="accent1"/>
              </a:solidFill>
              <a:ln w="9525">
                <a:noFill/>
                <a:prstDash val="solid"/>
              </a:ln>
            </c:spPr>
            <c:extLst>
              <c:ext xmlns:c16="http://schemas.microsoft.com/office/drawing/2014/chart" uri="{C3380CC4-5D6E-409C-BE32-E72D297353CC}">
                <c16:uniqueId val="{00000003-2276-4D69-B289-E4DFFE30842E}"/>
              </c:ext>
            </c:extLst>
          </c:dPt>
          <c:dPt>
            <c:idx val="2"/>
            <c:bubble3D val="0"/>
            <c:spPr>
              <a:solidFill>
                <a:schemeClr val="accent3"/>
              </a:solidFill>
              <a:ln w="9525">
                <a:noFill/>
                <a:prstDash val="solid"/>
              </a:ln>
            </c:spPr>
            <c:extLst>
              <c:ext xmlns:c16="http://schemas.microsoft.com/office/drawing/2014/chart" uri="{C3380CC4-5D6E-409C-BE32-E72D297353CC}">
                <c16:uniqueId val="{00000005-2276-4D69-B289-E4DFFE30842E}"/>
              </c:ext>
            </c:extLst>
          </c:dPt>
          <c:dPt>
            <c:idx val="3"/>
            <c:bubble3D val="0"/>
            <c:spPr>
              <a:solidFill>
                <a:schemeClr val="accent2"/>
              </a:solidFill>
              <a:ln w="12700">
                <a:noFill/>
              </a:ln>
            </c:spPr>
            <c:extLst>
              <c:ext xmlns:c16="http://schemas.microsoft.com/office/drawing/2014/chart" uri="{C3380CC4-5D6E-409C-BE32-E72D297353CC}">
                <c16:uniqueId val="{00000007-2276-4D69-B289-E4DFFE30842E}"/>
              </c:ext>
            </c:extLst>
          </c:dPt>
          <c:dPt>
            <c:idx val="4"/>
            <c:bubble3D val="0"/>
            <c:spPr>
              <a:solidFill>
                <a:schemeClr val="accent5"/>
              </a:solidFill>
              <a:ln w="12700">
                <a:noFill/>
              </a:ln>
            </c:spPr>
            <c:extLst>
              <c:ext xmlns:c16="http://schemas.microsoft.com/office/drawing/2014/chart" uri="{C3380CC4-5D6E-409C-BE32-E72D297353CC}">
                <c16:uniqueId val="{00000009-2276-4D69-B289-E4DFFE30842E}"/>
              </c:ext>
            </c:extLst>
          </c:dPt>
          <c:dPt>
            <c:idx val="5"/>
            <c:bubble3D val="0"/>
            <c:spPr>
              <a:solidFill>
                <a:schemeClr val="accent6"/>
              </a:solidFill>
              <a:ln w="12700">
                <a:noFill/>
              </a:ln>
            </c:spPr>
            <c:extLst>
              <c:ext xmlns:c16="http://schemas.microsoft.com/office/drawing/2014/chart" uri="{C3380CC4-5D6E-409C-BE32-E72D297353CC}">
                <c16:uniqueId val="{0000000B-2276-4D69-B289-E4DFFE30842E}"/>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276-4D69-B289-E4DFFE30842E}"/>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276-4D69-B289-E4DFFE30842E}"/>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276-4D69-B289-E4DFFE30842E}"/>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276-4D69-B289-E4DFFE30842E}"/>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76-4D69-B289-E4DFFE30842E}"/>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276-4D69-B289-E4DFFE30842E}"/>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5358-4ADB-98E4-DA2BAEBA1FA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5358-4ADB-98E4-DA2BAEBA1FAA}"/>
              </c:ext>
            </c:extLst>
          </c:dPt>
          <c:dPt>
            <c:idx val="2"/>
            <c:bubble3D val="0"/>
            <c:spPr>
              <a:solidFill>
                <a:schemeClr val="accent4"/>
              </a:solidFill>
              <a:ln w="9525">
                <a:noFill/>
                <a:prstDash val="solid"/>
              </a:ln>
            </c:spPr>
            <c:extLst>
              <c:ext xmlns:c16="http://schemas.microsoft.com/office/drawing/2014/chart" uri="{C3380CC4-5D6E-409C-BE32-E72D297353CC}">
                <c16:uniqueId val="{00000005-5358-4ADB-98E4-DA2BAEBA1FA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5358-4ADB-98E4-DA2BAEBA1FAA}"/>
              </c:ext>
            </c:extLst>
          </c:dPt>
          <c:dPt>
            <c:idx val="4"/>
            <c:bubble3D val="0"/>
            <c:spPr>
              <a:solidFill>
                <a:schemeClr val="accent5"/>
              </a:solidFill>
              <a:ln w="12700">
                <a:noFill/>
              </a:ln>
            </c:spPr>
            <c:extLst>
              <c:ext xmlns:c16="http://schemas.microsoft.com/office/drawing/2014/chart" uri="{C3380CC4-5D6E-409C-BE32-E72D297353CC}">
                <c16:uniqueId val="{00000009-5358-4ADB-98E4-DA2BAEBA1FAA}"/>
              </c:ext>
            </c:extLst>
          </c:dPt>
          <c:dPt>
            <c:idx val="5"/>
            <c:bubble3D val="0"/>
            <c:spPr>
              <a:solidFill>
                <a:schemeClr val="accent6"/>
              </a:solidFill>
              <a:ln w="12700">
                <a:noFill/>
              </a:ln>
            </c:spPr>
            <c:extLst>
              <c:ext xmlns:c16="http://schemas.microsoft.com/office/drawing/2014/chart" uri="{C3380CC4-5D6E-409C-BE32-E72D297353CC}">
                <c16:uniqueId val="{0000000B-5358-4ADB-98E4-DA2BAEBA1FA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5358-4ADB-98E4-DA2BAEBA1FA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5358-4ADB-98E4-DA2BAEBA1FA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5358-4ADB-98E4-DA2BAEBA1FA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58-4ADB-98E4-DA2BAEBA1FAA}"/>
                </c:ext>
              </c:extLst>
            </c:dLbl>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58-4ADB-98E4-DA2BAEBA1FA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58-4ADB-98E4-DA2BAEBA1FA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58-4ADB-98E4-DA2BAEBA1FA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5358-4ADB-98E4-DA2BAEBA1FA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F59-40C5-8C71-112C1896584D}"/>
              </c:ext>
            </c:extLst>
          </c:dPt>
          <c:dPt>
            <c:idx val="1"/>
            <c:bubble3D val="0"/>
            <c:spPr>
              <a:solidFill>
                <a:schemeClr val="accent1"/>
              </a:solidFill>
              <a:ln w="9525">
                <a:noFill/>
                <a:prstDash val="solid"/>
              </a:ln>
            </c:spPr>
            <c:extLst>
              <c:ext xmlns:c16="http://schemas.microsoft.com/office/drawing/2014/chart" uri="{C3380CC4-5D6E-409C-BE32-E72D297353CC}">
                <c16:uniqueId val="{00000003-2F59-40C5-8C71-112C1896584D}"/>
              </c:ext>
            </c:extLst>
          </c:dPt>
          <c:dPt>
            <c:idx val="2"/>
            <c:bubble3D val="0"/>
            <c:spPr>
              <a:solidFill>
                <a:schemeClr val="accent3"/>
              </a:solidFill>
              <a:ln w="9525">
                <a:noFill/>
                <a:prstDash val="solid"/>
              </a:ln>
            </c:spPr>
            <c:extLst>
              <c:ext xmlns:c16="http://schemas.microsoft.com/office/drawing/2014/chart" uri="{C3380CC4-5D6E-409C-BE32-E72D297353CC}">
                <c16:uniqueId val="{00000005-2F59-40C5-8C71-112C1896584D}"/>
              </c:ext>
            </c:extLst>
          </c:dPt>
          <c:dPt>
            <c:idx val="3"/>
            <c:bubble3D val="0"/>
            <c:spPr>
              <a:solidFill>
                <a:schemeClr val="accent2"/>
              </a:solidFill>
              <a:ln w="12700">
                <a:noFill/>
              </a:ln>
            </c:spPr>
            <c:extLst>
              <c:ext xmlns:c16="http://schemas.microsoft.com/office/drawing/2014/chart" uri="{C3380CC4-5D6E-409C-BE32-E72D297353CC}">
                <c16:uniqueId val="{00000007-2F59-40C5-8C71-112C1896584D}"/>
              </c:ext>
            </c:extLst>
          </c:dPt>
          <c:dPt>
            <c:idx val="4"/>
            <c:bubble3D val="0"/>
            <c:spPr>
              <a:solidFill>
                <a:schemeClr val="accent5"/>
              </a:solidFill>
              <a:ln w="12700">
                <a:noFill/>
              </a:ln>
            </c:spPr>
            <c:extLst>
              <c:ext xmlns:c16="http://schemas.microsoft.com/office/drawing/2014/chart" uri="{C3380CC4-5D6E-409C-BE32-E72D297353CC}">
                <c16:uniqueId val="{00000009-2F59-40C5-8C71-112C1896584D}"/>
              </c:ext>
            </c:extLst>
          </c:dPt>
          <c:dPt>
            <c:idx val="5"/>
            <c:bubble3D val="0"/>
            <c:spPr>
              <a:solidFill>
                <a:schemeClr val="accent6"/>
              </a:solidFill>
              <a:ln w="12700">
                <a:noFill/>
              </a:ln>
            </c:spPr>
            <c:extLst>
              <c:ext xmlns:c16="http://schemas.microsoft.com/office/drawing/2014/chart" uri="{C3380CC4-5D6E-409C-BE32-E72D297353CC}">
                <c16:uniqueId val="{0000000B-2F59-40C5-8C71-112C1896584D}"/>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F59-40C5-8C71-112C1896584D}"/>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F59-40C5-8C71-112C1896584D}"/>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F59-40C5-8C71-112C1896584D}"/>
              </c:ext>
            </c:extLst>
          </c:dPt>
          <c:dLbls>
            <c:dLbl>
              <c:idx val="0"/>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59-40C5-8C71-112C1896584D}"/>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9-40C5-8C71-112C1896584D}"/>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9-40C5-8C71-112C1896584D}"/>
                </c:ext>
              </c:extLst>
            </c:dLbl>
            <c:dLbl>
              <c:idx val="3"/>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59-40C5-8C71-112C1896584D}"/>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F59-40C5-8C71-112C1896584D}"/>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a:ex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A5-46B8-A334-EF2E35F2056B}"/>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DA5-46B8-A334-EF2E35F2056B}"/>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DA5-46B8-A334-EF2E35F2056B}"/>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CDA5-46B8-A334-EF2E35F2056B}"/>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9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450076454568"/>
          <c:y val="3.3601683788311999E-2"/>
          <c:w val="0.80953532774569303"/>
          <c:h val="0.75102754082822998"/>
        </c:manualLayout>
      </c:layout>
      <c:barChart>
        <c:barDir val="col"/>
        <c:grouping val="percentStacked"/>
        <c:varyColors val="0"/>
        <c:ser>
          <c:idx val="0"/>
          <c:order val="0"/>
          <c:tx>
            <c:strRef>
              <c:f>Sheet1!$B$1</c:f>
              <c:strCache>
                <c:ptCount val="1"/>
                <c:pt idx="0">
                  <c:v>Label 1</c:v>
                </c:pt>
              </c:strCache>
            </c:strRef>
          </c:tx>
          <c:spPr>
            <a:solidFill>
              <a:schemeClr val="accent6"/>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c:v>
                </c:pt>
                <c:pt idx="1">
                  <c:v>1.5</c:v>
                </c:pt>
              </c:numCache>
            </c:numRef>
          </c:val>
          <c:extLst>
            <c:ext xmlns:c16="http://schemas.microsoft.com/office/drawing/2014/chart" uri="{C3380CC4-5D6E-409C-BE32-E72D297353CC}">
              <c16:uniqueId val="{00000000-1A7E-4E4A-BA0C-D724FCF5C051}"/>
            </c:ext>
          </c:extLst>
        </c:ser>
        <c:ser>
          <c:idx val="1"/>
          <c:order val="1"/>
          <c:tx>
            <c:strRef>
              <c:f>Sheet1!$C$1</c:f>
              <c:strCache>
                <c:ptCount val="1"/>
                <c:pt idx="0">
                  <c:v>Label 2</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000000000000001</c:v>
                </c:pt>
                <c:pt idx="1">
                  <c:v>1.6</c:v>
                </c:pt>
              </c:numCache>
            </c:numRef>
          </c:val>
          <c:extLst>
            <c:ext xmlns:c16="http://schemas.microsoft.com/office/drawing/2014/chart" uri="{C3380CC4-5D6E-409C-BE32-E72D297353CC}">
              <c16:uniqueId val="{00000001-1A7E-4E4A-BA0C-D724FCF5C051}"/>
            </c:ext>
          </c:extLst>
        </c:ser>
        <c:ser>
          <c:idx val="2"/>
          <c:order val="2"/>
          <c:tx>
            <c:strRef>
              <c:f>Sheet1!$D$1</c:f>
              <c:strCache>
                <c:ptCount val="1"/>
                <c:pt idx="0">
                  <c:v>Label 3</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c:v>
                </c:pt>
                <c:pt idx="1">
                  <c:v>1.5</c:v>
                </c:pt>
              </c:numCache>
            </c:numRef>
          </c:val>
          <c:extLst>
            <c:ext xmlns:c16="http://schemas.microsoft.com/office/drawing/2014/chart" uri="{C3380CC4-5D6E-409C-BE32-E72D297353CC}">
              <c16:uniqueId val="{00000002-1A7E-4E4A-BA0C-D724FCF5C051}"/>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1000000000000001</c:v>
                </c:pt>
                <c:pt idx="1">
                  <c:v>1.6</c:v>
                </c:pt>
              </c:numCache>
            </c:numRef>
          </c:val>
          <c:extLst>
            <c:ext xmlns:c16="http://schemas.microsoft.com/office/drawing/2014/chart" uri="{C3380CC4-5D6E-409C-BE32-E72D297353CC}">
              <c16:uniqueId val="{00000003-1A7E-4E4A-BA0C-D724FCF5C051}"/>
            </c:ext>
          </c:extLst>
        </c:ser>
        <c:dLbls>
          <c:dLblPos val="ctr"/>
          <c:showLegendKey val="0"/>
          <c:showVal val="1"/>
          <c:showCatName val="0"/>
          <c:showSerName val="0"/>
          <c:showPercent val="0"/>
          <c:showBubbleSize val="0"/>
        </c:dLbls>
        <c:gapWidth val="75"/>
        <c:overlap val="100"/>
        <c:axId val="20234480"/>
        <c:axId val="20233024"/>
      </c:barChart>
      <c:catAx>
        <c:axId val="20234480"/>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20233024"/>
        <c:crosses val="autoZero"/>
        <c:auto val="1"/>
        <c:lblAlgn val="ctr"/>
        <c:lblOffset val="100"/>
        <c:noMultiLvlLbl val="0"/>
      </c:catAx>
      <c:valAx>
        <c:axId val="20233024"/>
        <c:scaling>
          <c:orientation val="minMax"/>
        </c:scaling>
        <c:delete val="0"/>
        <c:axPos val="l"/>
        <c:majorGridlines>
          <c:spPr>
            <a:ln w="6350">
              <a:solidFill>
                <a:srgbClr val="BBBCBC"/>
              </a:solidFill>
            </a:ln>
          </c:spPr>
        </c:majorGridlines>
        <c:numFmt formatCode="0%"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20234480"/>
        <c:crosses val="autoZero"/>
        <c:crossBetween val="between"/>
      </c:valAx>
      <c:spPr>
        <a:ln>
          <a:noFill/>
        </a:ln>
      </c:spPr>
    </c:plotArea>
    <c:legend>
      <c:legendPos val="b"/>
      <c:layout>
        <c:manualLayout>
          <c:xMode val="edge"/>
          <c:yMode val="edge"/>
          <c:x val="0.214012530351089"/>
          <c:y val="0.89759511199060404"/>
          <c:w val="0.64935576234788805"/>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123A-4DBE-861A-7DD127B55683}"/>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123A-4DBE-861A-7DD127B55683}"/>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123A-4DBE-861A-7DD127B55683}"/>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123A-4DBE-861A-7DD127B55683}"/>
              </c:ext>
            </c:extLst>
          </c:dPt>
          <c:dPt>
            <c:idx val="4"/>
            <c:bubble3D val="0"/>
            <c:spPr>
              <a:solidFill>
                <a:schemeClr val="accent5"/>
              </a:solidFill>
              <a:ln w="12700">
                <a:noFill/>
              </a:ln>
            </c:spPr>
            <c:extLst>
              <c:ext xmlns:c16="http://schemas.microsoft.com/office/drawing/2014/chart" uri="{C3380CC4-5D6E-409C-BE32-E72D297353CC}">
                <c16:uniqueId val="{00000009-123A-4DBE-861A-7DD127B55683}"/>
              </c:ext>
            </c:extLst>
          </c:dPt>
          <c:dPt>
            <c:idx val="5"/>
            <c:bubble3D val="0"/>
            <c:spPr>
              <a:solidFill>
                <a:schemeClr val="accent6"/>
              </a:solidFill>
              <a:ln w="12700">
                <a:noFill/>
              </a:ln>
            </c:spPr>
            <c:extLst>
              <c:ext xmlns:c16="http://schemas.microsoft.com/office/drawing/2014/chart" uri="{C3380CC4-5D6E-409C-BE32-E72D297353CC}">
                <c16:uniqueId val="{0000000B-123A-4DBE-861A-7DD127B55683}"/>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23A-4DBE-861A-7DD127B55683}"/>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23A-4DBE-861A-7DD127B55683}"/>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23A-4DBE-861A-7DD127B55683}"/>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3A-4DBE-861A-7DD127B55683}"/>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A-4DBE-861A-7DD127B55683}"/>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3A-4DBE-861A-7DD127B55683}"/>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23A-4DBE-861A-7DD127B55683}"/>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0578741059101"/>
          <c:y val="4.6153842659460598E-2"/>
          <c:w val="0.74666673509772996"/>
          <c:h val="0.74067278991117402"/>
        </c:manualLayout>
      </c:layout>
      <c:barChart>
        <c:barDir val="bar"/>
        <c:grouping val="clustered"/>
        <c:varyColors val="0"/>
        <c:ser>
          <c:idx val="0"/>
          <c:order val="0"/>
          <c:tx>
            <c:strRef>
              <c:f>Sheet1!$B$1</c:f>
              <c:strCache>
                <c:ptCount val="1"/>
                <c:pt idx="0">
                  <c:v>Label 1</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0-8B2C-4F13-9CDC-C8CF55FA5FF2}"/>
            </c:ext>
          </c:extLst>
        </c:ser>
        <c:dLbls>
          <c:dLblPos val="outEnd"/>
          <c:showLegendKey val="0"/>
          <c:showVal val="1"/>
          <c:showCatName val="0"/>
          <c:showSerName val="0"/>
          <c:showPercent val="0"/>
          <c:showBubbleSize val="0"/>
        </c:dLbls>
        <c:gapWidth val="150"/>
        <c:axId val="17576624"/>
        <c:axId val="18137472"/>
      </c:barChart>
      <c:catAx>
        <c:axId val="17576624"/>
        <c:scaling>
          <c:orientation val="minMax"/>
        </c:scaling>
        <c:delete val="0"/>
        <c:axPos val="l"/>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8137472"/>
        <c:crosses val="autoZero"/>
        <c:auto val="1"/>
        <c:lblAlgn val="ctr"/>
        <c:lblOffset val="100"/>
        <c:noMultiLvlLbl val="0"/>
      </c:catAx>
      <c:valAx>
        <c:axId val="18137472"/>
        <c:scaling>
          <c:orientation val="minMax"/>
          <c:min val="0"/>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7576624"/>
        <c:crosses val="autoZero"/>
        <c:crossBetween val="between"/>
      </c:valAx>
      <c:spPr>
        <a:noFill/>
        <a:ln>
          <a:noFill/>
        </a:ln>
        <a:effectLst/>
        <a:extLst>
          <a:ext uri="{91240B29-F687-4F45-9708-019B960494DF}">
            <a14:hiddenLine xmlns:a14="http://schemas.microsoft.com/office/drawing/2010/main">
              <a:solidFill>
                <a:prstClr val="white"/>
              </a:solidFill>
            </a14:hiddenLine>
          </a:ext>
        </a:extLst>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9348473135243897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explosion val="6"/>
            <c:spPr>
              <a:solidFill>
                <a:schemeClr val="accent5"/>
              </a:solidFill>
              <a:ln w="9525">
                <a:noFill/>
                <a:prstDash val="solid"/>
              </a:ln>
            </c:spPr>
            <c:extLst>
              <c:ext xmlns:c16="http://schemas.microsoft.com/office/drawing/2014/chart" uri="{C3380CC4-5D6E-409C-BE32-E72D297353CC}">
                <c16:uniqueId val="{00000001-827A-407C-8107-C397F54B8E77}"/>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827A-407C-8107-C397F54B8E77}"/>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827A-407C-8107-C397F54B8E77}"/>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827A-407C-8107-C397F54B8E77}"/>
              </c:ext>
            </c:extLst>
          </c:dPt>
          <c:dPt>
            <c:idx val="4"/>
            <c:bubble3D val="0"/>
            <c:spPr>
              <a:solidFill>
                <a:schemeClr val="accent5"/>
              </a:solidFill>
              <a:ln w="12700">
                <a:noFill/>
              </a:ln>
            </c:spPr>
            <c:extLst>
              <c:ext xmlns:c16="http://schemas.microsoft.com/office/drawing/2014/chart" uri="{C3380CC4-5D6E-409C-BE32-E72D297353CC}">
                <c16:uniqueId val="{00000009-827A-407C-8107-C397F54B8E77}"/>
              </c:ext>
            </c:extLst>
          </c:dPt>
          <c:dPt>
            <c:idx val="5"/>
            <c:bubble3D val="0"/>
            <c:spPr>
              <a:solidFill>
                <a:schemeClr val="accent6"/>
              </a:solidFill>
              <a:ln w="12700">
                <a:noFill/>
              </a:ln>
            </c:spPr>
            <c:extLst>
              <c:ext xmlns:c16="http://schemas.microsoft.com/office/drawing/2014/chart" uri="{C3380CC4-5D6E-409C-BE32-E72D297353CC}">
                <c16:uniqueId val="{0000000B-827A-407C-8107-C397F54B8E7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827A-407C-8107-C397F54B8E7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827A-407C-8107-C397F54B8E7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827A-407C-8107-C397F54B8E77}"/>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7A-407C-8107-C397F54B8E77}"/>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7A-407C-8107-C397F54B8E77}"/>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7A-407C-8107-C397F54B8E77}"/>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45</c:v>
                </c:pt>
                <c:pt idx="1">
                  <c:v>20</c:v>
                </c:pt>
                <c:pt idx="2">
                  <c:v>20</c:v>
                </c:pt>
                <c:pt idx="3">
                  <c:v>15</c:v>
                </c:pt>
              </c:numCache>
            </c:numRef>
          </c:val>
          <c:extLst>
            <c:ext xmlns:c16="http://schemas.microsoft.com/office/drawing/2014/chart" uri="{C3380CC4-5D6E-409C-BE32-E72D297353CC}">
              <c16:uniqueId val="{00000012-827A-407C-8107-C397F54B8E77}"/>
            </c:ext>
          </c:extLst>
        </c:ser>
        <c:dLbls>
          <c:showLegendKey val="0"/>
          <c:showVal val="1"/>
          <c:showCatName val="0"/>
          <c:showSerName val="0"/>
          <c:showPercent val="0"/>
          <c:showBubbleSize val="0"/>
          <c:showLeaderLines val="1"/>
        </c:dLbls>
        <c:firstSliceAng val="0"/>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3-95F1-4260-B279-E552471124F2}"/>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1-7B32-4F8F-9855-F7C3EE92CA7C}"/>
              </c:ext>
            </c:extLst>
          </c:dPt>
          <c:dPt>
            <c:idx val="3"/>
            <c:bubble3D val="0"/>
            <c:spPr>
              <a:solidFill>
                <a:schemeClr val="accent6">
                  <a:lumMod val="50000"/>
                </a:schemeClr>
              </a:solidFill>
              <a:ln w="19050">
                <a:noFill/>
              </a:ln>
              <a:effectLst/>
            </c:spPr>
            <c:extLst>
              <c:ext xmlns:c16="http://schemas.microsoft.com/office/drawing/2014/chart" uri="{C3380CC4-5D6E-409C-BE32-E72D297353CC}">
                <c16:uniqueId val="{00000002-7B32-4F8F-9855-F7C3EE92CA7C}"/>
              </c:ext>
            </c:extLst>
          </c:dPt>
          <c:dPt>
            <c:idx val="4"/>
            <c:bubble3D val="0"/>
            <c:spPr>
              <a:solidFill>
                <a:schemeClr val="accent1"/>
              </a:solidFill>
              <a:ln w="19050">
                <a:noFill/>
              </a:ln>
              <a:effectLst/>
            </c:spPr>
            <c:extLst>
              <c:ext xmlns:c16="http://schemas.microsoft.com/office/drawing/2014/chart" uri="{C3380CC4-5D6E-409C-BE32-E72D297353CC}">
                <c16:uniqueId val="{00000003-7B32-4F8F-9855-F7C3EE92CA7C}"/>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dLbl>
              <c:idx val="5"/>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7B32-4F8F-9855-F7C3EE92CA7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83A-45E8-8D86-E86E15E2B93D}"/>
                </c:ext>
              </c:extLst>
            </c:dLbl>
            <c:dLbl>
              <c:idx val="2"/>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dLbl>
              <c:idx val="0"/>
              <c:spPr>
                <a:noFill/>
                <a:ln>
                  <a:noFill/>
                </a:ln>
                <a:effectLst/>
              </c:spPr>
              <c:txPr>
                <a:bodyPr wrap="square" lIns="38100" tIns="19050" rIns="38100" bIns="19050" anchor="ctr">
                  <a:spAutoFit/>
                </a:bodyPr>
                <a:lstStyle/>
                <a:p>
                  <a:pPr>
                    <a:defRPr>
                      <a:solidFill>
                        <a:schemeClr val="tx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C-3A92-4DA9-873B-66387F6B75C2}"/>
                </c:ext>
              </c:extLst>
            </c:dLbl>
            <c:dLbl>
              <c:idx val="2"/>
              <c:spPr>
                <a:noFill/>
                <a:ln>
                  <a:noFill/>
                </a:ln>
                <a:effectLst/>
              </c:spPr>
              <c:txPr>
                <a:bodyPr wrap="square" lIns="38100" tIns="19050" rIns="38100" bIns="19050" anchor="ctr">
                  <a:spAutoFit/>
                </a:bodyPr>
                <a:lstStyle/>
                <a:p>
                  <a:pPr>
                    <a:defRPr>
                      <a:solidFill>
                        <a:schemeClr val="tx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6F2B-47FC-B7DE-DE38531C07A4}"/>
                </c:ext>
              </c:extLst>
            </c:dLbl>
            <c:spPr>
              <a:noFill/>
              <a:ln>
                <a:noFill/>
              </a:ln>
              <a:effectLst/>
            </c:spPr>
            <c:txPr>
              <a:bodyPr wrap="square" lIns="38100" tIns="19050" rIns="38100" bIns="19050" anchor="ctr">
                <a:spAutoFit/>
              </a:bodyPr>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8340827421012202E-2"/>
          <c:w val="0.95869666919250196"/>
          <c:h val="0.72619393166915902"/>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smooth val="0"/>
        <c:axId val="20326288"/>
        <c:axId val="20028608"/>
      </c:lineChart>
      <c:catAx>
        <c:axId val="20326288"/>
        <c:scaling>
          <c:orientation val="minMax"/>
        </c:scaling>
        <c:delete val="0"/>
        <c:axPos val="b"/>
        <c:numFmt formatCode="General" sourceLinked="1"/>
        <c:majorTickMark val="none"/>
        <c:minorTickMark val="out"/>
        <c:tickLblPos val="nextTo"/>
        <c:spPr>
          <a:noFill/>
          <a:ln w="6350" cap="flat" cmpd="sng" algn="ctr">
            <a:solidFill>
              <a:srgbClr val="BBBCBC"/>
            </a:solidFill>
            <a:round/>
          </a:ln>
          <a:effectLst/>
        </c:spPr>
        <c:txPr>
          <a:bodyPr rot="-60000000" vert="horz"/>
          <a:lstStyle/>
          <a:p>
            <a:pPr>
              <a:defRPr>
                <a:solidFill>
                  <a:srgbClr val="53565A"/>
                </a:solidFill>
              </a:defRPr>
            </a:pPr>
            <a:endParaRPr lang="en-US"/>
          </a:p>
        </c:txPr>
        <c:crossAx val="20028608"/>
        <c:crosses val="autoZero"/>
        <c:auto val="1"/>
        <c:lblAlgn val="ctr"/>
        <c:lblOffset val="100"/>
        <c:noMultiLvlLbl val="0"/>
      </c:catAx>
      <c:valAx>
        <c:axId val="2002860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53565A"/>
                </a:solidFill>
              </a:defRPr>
            </a:pPr>
            <a:endParaRPr lang="en-US"/>
          </a:p>
        </c:txPr>
        <c:crossAx val="20326288"/>
        <c:crosses val="autoZero"/>
        <c:crossBetween val="between"/>
      </c:valAx>
      <c:spPr>
        <a:noFill/>
        <a:ln>
          <a:noFill/>
        </a:ln>
        <a:effectLst/>
      </c:spPr>
    </c:plotArea>
    <c:legend>
      <c:legendPos val="b"/>
      <c:layout>
        <c:manualLayout>
          <c:xMode val="edge"/>
          <c:yMode val="edge"/>
          <c:x val="0.182498060697909"/>
          <c:y val="0.89440328669917601"/>
          <c:w val="0.65171466935413902"/>
          <c:h val="5.2533915721784702E-2"/>
        </c:manualLayout>
      </c:layout>
      <c:overlay val="0"/>
      <c:spPr>
        <a:noFill/>
        <a:ln>
          <a:noFill/>
        </a:ln>
        <a:effectLst/>
      </c:spPr>
      <c:txPr>
        <a:bodyPr rot="0" vert="horz"/>
        <a:lstStyle/>
        <a:p>
          <a:pPr>
            <a:defRPr>
              <a:solidFill>
                <a:srgbClr val="53565A"/>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7408"/>
        <c:axId val="110447456"/>
      </c:lineChart>
      <c:catAx>
        <c:axId val="11046740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47456"/>
        <c:crosses val="autoZero"/>
        <c:auto val="1"/>
        <c:lblAlgn val="ctr"/>
        <c:lblOffset val="100"/>
        <c:noMultiLvlLbl val="0"/>
      </c:catAx>
      <c:valAx>
        <c:axId val="11044745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7408"/>
        <c:crosses val="autoZero"/>
        <c:crossBetween val="between"/>
      </c:valAx>
      <c:spPr>
        <a:noFill/>
        <a:ln>
          <a:noFill/>
        </a:ln>
        <a:effectLst/>
      </c:spPr>
    </c:plotArea>
    <c:legend>
      <c:legendPos val="b"/>
      <c:layout>
        <c:manualLayout>
          <c:xMode val="edge"/>
          <c:yMode val="edge"/>
          <c:x val="7.7265887848482095E-2"/>
          <c:y val="0.890838661303284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tx2">
                  <a:lumMod val="20000"/>
                  <a:lumOff val="8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3436160"/>
        <c:axId val="114370720"/>
      </c:lineChart>
      <c:catAx>
        <c:axId val="1234361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4370720"/>
        <c:crosses val="autoZero"/>
        <c:auto val="1"/>
        <c:lblAlgn val="ctr"/>
        <c:lblOffset val="100"/>
        <c:noMultiLvlLbl val="0"/>
      </c:catAx>
      <c:valAx>
        <c:axId val="114370720"/>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3436160"/>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1462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rgbClr val="EBFC4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tx2">
                <a:lumMod val="20000"/>
                <a:lumOff val="80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3"/>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3"/>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E54-4CD3-A68E-81591172A83A}"/>
                </c:ext>
              </c:extLst>
            </c:dLbl>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tx2">
                <a:lumMod val="20000"/>
                <a:lumOff val="80000"/>
              </a:schemeClr>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2"/>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9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5"/>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9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900" b="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bg2"/>
              </a:solidFill>
            </a:ln>
          </c:spPr>
          <c:marker>
            <c:symbol val="none"/>
          </c:marker>
          <c:dLbls>
            <c:spPr>
              <a:noFill/>
              <a:ln>
                <a:noFill/>
              </a:ln>
              <a:effectLst/>
            </c:spPr>
            <c:txPr>
              <a:bodyPr/>
              <a:lstStyle/>
              <a:p>
                <a:pPr>
                  <a:defRPr sz="900" b="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3"/>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2"/>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25-40DB-AE22-7886877A7F28}"/>
                </c:ext>
              </c:extLst>
            </c:dLbl>
            <c:dLbl>
              <c:idx val="1"/>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25-40DB-AE22-7886877A7F28}"/>
                </c:ext>
              </c:extLst>
            </c:dLbl>
            <c:dLbl>
              <c:idx val="2"/>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225-40DB-AE22-7886877A7F28}"/>
                </c:ext>
              </c:extLst>
            </c:dLbl>
            <c:dLbl>
              <c:idx val="3"/>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225-40DB-AE22-7886877A7F28}"/>
                </c:ext>
              </c:extLst>
            </c:dLbl>
            <c:dLbl>
              <c:idx val="4"/>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25-40DB-AE22-7886877A7F28}"/>
                </c:ext>
              </c:extLst>
            </c:dLbl>
            <c:dLbl>
              <c:idx val="5"/>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25-40DB-AE22-7886877A7F28}"/>
                </c:ext>
              </c:extLst>
            </c:dLbl>
            <c:dLbl>
              <c:idx val="6"/>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25-40DB-AE22-7886877A7F28}"/>
                </c:ext>
              </c:extLst>
            </c:dLbl>
            <c:dLbl>
              <c:idx val="7"/>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225-40DB-AE22-7886877A7F28}"/>
                </c:ext>
              </c:extLst>
            </c:dLbl>
            <c:dLbl>
              <c:idx val="8"/>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225-40DB-AE22-7886877A7F28}"/>
                </c:ext>
              </c:extLst>
            </c:dLbl>
            <c:dLbl>
              <c:idx val="9"/>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225-40DB-AE22-7886877A7F28}"/>
                </c:ext>
              </c:extLst>
            </c:dLbl>
            <c:dLbl>
              <c:idx val="1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225-40DB-AE22-7886877A7F28}"/>
                </c:ext>
              </c:extLst>
            </c:dLbl>
            <c:spPr>
              <a:noFill/>
              <a:ln>
                <a:noFill/>
              </a:ln>
              <a:effectLst/>
            </c:spPr>
            <c:txPr>
              <a:bodyPr/>
              <a:lstStyle/>
              <a:p>
                <a:pPr>
                  <a:defRPr sz="9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880-453F-AE51-8DF3A158D51A}"/>
                </c:ext>
              </c:extLst>
            </c:dLbl>
            <c:spPr>
              <a:noFill/>
              <a:ln>
                <a:noFill/>
              </a:ln>
              <a:effectLst/>
            </c:spPr>
            <c:txPr>
              <a:bodyPr/>
              <a:lstStyle/>
              <a:p>
                <a:pPr>
                  <a:defRPr sz="9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900" b="0">
                        <a:solidFill>
                          <a:srgbClr val="53565A"/>
                        </a:solidFill>
                      </a:defRPr>
                    </a:pPr>
                    <a:r>
                      <a:rPr lang="en-US" sz="9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880-453F-AE51-8DF3A158D51A}"/>
                </c:ext>
              </c:extLst>
            </c:dLbl>
            <c:spPr>
              <a:noFill/>
              <a:ln>
                <a:noFill/>
              </a:ln>
              <a:effectLst/>
            </c:spPr>
            <c:txPr>
              <a:bodyPr/>
              <a:lstStyle/>
              <a:p>
                <a:pPr>
                  <a:defRPr sz="9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1"/>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228182546036801"/>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52E0-49E1-9A2C-06BEDC7C2AA2}"/>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D1F3-48FC-8817-AD54B2A16166}"/>
                </c:ext>
              </c:extLst>
            </c:dLbl>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D1F3-48FC-8817-AD54B2A16166}"/>
                </c:ext>
              </c:extLst>
            </c:dLbl>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52E0-49E1-9A2C-06BEDC7C2AA2}"/>
                </c:ext>
              </c:extLst>
            </c:dLbl>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D1F3-48FC-8817-AD54B2A16166}"/>
                </c:ext>
              </c:extLst>
            </c:dLbl>
            <c:dLbl>
              <c:idx val="4"/>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D1F3-48FC-8817-AD54B2A1616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52E0-49E1-9A2C-06BEDC7C2AA2}"/>
            </c:ext>
          </c:extLst>
        </c:ser>
        <c:dLbls>
          <c:showLegendKey val="0"/>
          <c:showVal val="0"/>
          <c:showCatName val="0"/>
          <c:showSerName val="0"/>
          <c:showPercent val="0"/>
          <c:showBubbleSize val="0"/>
        </c:dLbls>
        <c:gapWidth val="52"/>
        <c:axId val="110777888"/>
        <c:axId val="110779936"/>
      </c:barChart>
      <c:catAx>
        <c:axId val="110777888"/>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10779936"/>
        <c:crosses val="autoZero"/>
        <c:auto val="0"/>
        <c:lblAlgn val="ctr"/>
        <c:lblOffset val="100"/>
        <c:noMultiLvlLbl val="0"/>
      </c:catAx>
      <c:valAx>
        <c:axId val="110779936"/>
        <c:scaling>
          <c:orientation val="minMax"/>
        </c:scaling>
        <c:delete val="1"/>
        <c:axPos val="l"/>
        <c:numFmt formatCode="0.00%" sourceLinked="1"/>
        <c:majorTickMark val="none"/>
        <c:minorTickMark val="none"/>
        <c:tickLblPos val="nextTo"/>
        <c:crossAx val="110777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986610282608597E-2"/>
          <c:y val="5.3709418173403502E-2"/>
          <c:w val="0.91481314550618498"/>
          <c:h val="0.83803518603065796"/>
        </c:manualLayout>
      </c:layout>
      <c:scatterChart>
        <c:scatterStyle val="lineMarker"/>
        <c:varyColors val="0"/>
        <c:ser>
          <c:idx val="0"/>
          <c:order val="0"/>
          <c:tx>
            <c:strRef>
              <c:f>Sheet1!$B$1</c:f>
              <c:strCache>
                <c:ptCount val="1"/>
                <c:pt idx="0">
                  <c:v>Y values</c:v>
                </c:pt>
              </c:strCache>
            </c:strRef>
          </c:tx>
          <c:spPr>
            <a:ln w="19050" cap="rnd">
              <a:noFill/>
              <a:round/>
            </a:ln>
            <a:effectLst/>
          </c:spPr>
          <c:marker>
            <c:symbol val="square"/>
            <c:size val="5"/>
            <c:spPr>
              <a:solidFill>
                <a:schemeClr val="accent1"/>
              </a:solidFill>
              <a:ln w="38100" cap="sq" cmpd="sng">
                <a:solidFill>
                  <a:schemeClr val="accent1"/>
                </a:solidFill>
                <a:miter lim="800000"/>
              </a:ln>
              <a:effectLst/>
            </c:spPr>
          </c:marker>
          <c:dLbls>
            <c:dLbl>
              <c:idx val="0"/>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7F-4AD5-ACD2-9FE9B63A9A0C}"/>
                </c:ext>
              </c:extLst>
            </c:dLbl>
            <c:dLbl>
              <c:idx val="1"/>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7F-4AD5-ACD2-9FE9B63A9A0C}"/>
                </c:ext>
              </c:extLst>
            </c:dLbl>
            <c:dLbl>
              <c:idx val="2"/>
              <c:tx>
                <c:rich>
                  <a:bodyPr/>
                  <a:lstStyle/>
                  <a:p>
                    <a:r>
                      <a:rPr lang="en-US" dirty="0"/>
                      <a:t>xxx</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7F-4AD5-ACD2-9FE9B63A9A0C}"/>
                </c:ext>
              </c:extLst>
            </c:dLbl>
            <c:dLbl>
              <c:idx val="3"/>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7F-4AD5-ACD2-9FE9B63A9A0C}"/>
                </c:ext>
              </c:extLst>
            </c:dLbl>
            <c:dLbl>
              <c:idx val="4"/>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7F-4AD5-ACD2-9FE9B63A9A0C}"/>
                </c:ext>
              </c:extLst>
            </c:dLbl>
            <c:dLbl>
              <c:idx val="5"/>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D7F-4AD5-ACD2-9FE9B63A9A0C}"/>
                </c:ext>
              </c:extLst>
            </c:dLbl>
            <c:dLbl>
              <c:idx val="6"/>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D7F-4AD5-ACD2-9FE9B63A9A0C}"/>
                </c:ext>
              </c:extLst>
            </c:dLbl>
            <c:dLbl>
              <c:idx val="7"/>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D7F-4AD5-ACD2-9FE9B63A9A0C}"/>
                </c:ext>
              </c:extLst>
            </c:dLbl>
            <c:dLbl>
              <c:idx val="8"/>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D7F-4AD5-ACD2-9FE9B63A9A0C}"/>
                </c:ext>
              </c:extLst>
            </c:dLbl>
            <c:dLbl>
              <c:idx val="9"/>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D7F-4AD5-ACD2-9FE9B63A9A0C}"/>
                </c:ext>
              </c:extLst>
            </c:dLbl>
            <c:dLbl>
              <c:idx val="10"/>
              <c:tx>
                <c:rich>
                  <a:bodyPr/>
                  <a:lstStyle/>
                  <a:p>
                    <a:r>
                      <a:rPr lang="en-US"/>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D7F-4AD5-ACD2-9FE9B63A9A0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4D7F-4AD5-ACD2-9FE9B63A9A0C}"/>
            </c:ext>
          </c:extLst>
        </c:ser>
        <c:dLbls>
          <c:showLegendKey val="0"/>
          <c:showVal val="0"/>
          <c:showCatName val="0"/>
          <c:showSerName val="0"/>
          <c:showPercent val="0"/>
          <c:showBubbleSize val="0"/>
        </c:dLbls>
        <c:axId val="110991872"/>
        <c:axId val="110995440"/>
      </c:scatterChart>
      <c:valAx>
        <c:axId val="11099187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995440"/>
        <c:crosses val="autoZero"/>
        <c:crossBetween val="midCat"/>
      </c:valAx>
      <c:valAx>
        <c:axId val="110995440"/>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99187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26/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26/2019</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77593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41638381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2</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3</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4</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6</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8</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4</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5</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428414185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0</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1</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2</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3</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4</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5</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6</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17</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35</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352869714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36</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37</a:t>
            </a:fld>
            <a:endParaRPr lang="en-US"/>
          </a:p>
        </p:txBody>
      </p:sp>
    </p:spTree>
    <p:extLst>
      <p:ext uri="{BB962C8B-B14F-4D97-AF65-F5344CB8AC3E}">
        <p14:creationId xmlns:p14="http://schemas.microsoft.com/office/powerpoint/2010/main" val="149997781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38</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0</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1</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2</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3</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4</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5</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7</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8</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49</a:t>
            </a:fld>
            <a:endParaRPr lang="en-US"/>
          </a:p>
        </p:txBody>
      </p:sp>
    </p:spTree>
    <p:extLst>
      <p:ext uri="{BB962C8B-B14F-4D97-AF65-F5344CB8AC3E}">
        <p14:creationId xmlns:p14="http://schemas.microsoft.com/office/powerpoint/2010/main" val="167405926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0</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2</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3</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4</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5</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6</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7</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8</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1</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9</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1</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4</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2</a:t>
            </a:fld>
            <a:endParaRPr lang="en-GB"/>
          </a:p>
        </p:txBody>
      </p:sp>
    </p:spTree>
    <p:extLst>
      <p:ext uri="{BB962C8B-B14F-4D97-AF65-F5344CB8AC3E}">
        <p14:creationId xmlns:p14="http://schemas.microsoft.com/office/powerpoint/2010/main" val="2923715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4</a:t>
            </a:fld>
            <a:endParaRPr lang="en-GB"/>
          </a:p>
        </p:txBody>
      </p:sp>
    </p:spTree>
    <p:extLst>
      <p:ext uri="{BB962C8B-B14F-4D97-AF65-F5344CB8AC3E}">
        <p14:creationId xmlns:p14="http://schemas.microsoft.com/office/powerpoint/2010/main" val="249168296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5</a:t>
            </a:fld>
            <a:endParaRPr lang="en-GB"/>
          </a:p>
        </p:txBody>
      </p:sp>
    </p:spTree>
    <p:extLst>
      <p:ext uri="{BB962C8B-B14F-4D97-AF65-F5344CB8AC3E}">
        <p14:creationId xmlns:p14="http://schemas.microsoft.com/office/powerpoint/2010/main" val="237444666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6</a:t>
            </a:fld>
            <a:endParaRPr lang="en-GB"/>
          </a:p>
        </p:txBody>
      </p:sp>
    </p:spTree>
    <p:extLst>
      <p:ext uri="{BB962C8B-B14F-4D97-AF65-F5344CB8AC3E}">
        <p14:creationId xmlns:p14="http://schemas.microsoft.com/office/powerpoint/2010/main" val="37434812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7</a:t>
            </a:fld>
            <a:endParaRPr lang="en-GB"/>
          </a:p>
        </p:txBody>
      </p:sp>
    </p:spTree>
    <p:extLst>
      <p:ext uri="{BB962C8B-B14F-4D97-AF65-F5344CB8AC3E}">
        <p14:creationId xmlns:p14="http://schemas.microsoft.com/office/powerpoint/2010/main" val="125513793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8</a:t>
            </a:fld>
            <a:endParaRPr lang="en-GB"/>
          </a:p>
        </p:txBody>
      </p:sp>
    </p:spTree>
    <p:extLst>
      <p:ext uri="{BB962C8B-B14F-4D97-AF65-F5344CB8AC3E}">
        <p14:creationId xmlns:p14="http://schemas.microsoft.com/office/powerpoint/2010/main" val="64605689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99</a:t>
            </a:fld>
            <a:endParaRPr lang="en-GB"/>
          </a:p>
        </p:txBody>
      </p:sp>
    </p:spTree>
    <p:extLst>
      <p:ext uri="{BB962C8B-B14F-4D97-AF65-F5344CB8AC3E}">
        <p14:creationId xmlns:p14="http://schemas.microsoft.com/office/powerpoint/2010/main" val="302031495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00</a:t>
            </a:fld>
            <a:endParaRPr lang="en-GB"/>
          </a:p>
        </p:txBody>
      </p:sp>
    </p:spTree>
    <p:extLst>
      <p:ext uri="{BB962C8B-B14F-4D97-AF65-F5344CB8AC3E}">
        <p14:creationId xmlns:p14="http://schemas.microsoft.com/office/powerpoint/2010/main" val="1890923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3</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5</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30720137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9</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0</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4</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8</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0</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4</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5</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5770549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10721345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936859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8</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9</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0</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1</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2</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3</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2952667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258984335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0</a:t>
            </a:fld>
            <a:endParaRPr lang="en-US" dirty="0"/>
          </a:p>
        </p:txBody>
      </p:sp>
    </p:spTree>
    <p:extLst>
      <p:ext uri="{BB962C8B-B14F-4D97-AF65-F5344CB8AC3E}">
        <p14:creationId xmlns:p14="http://schemas.microsoft.com/office/powerpoint/2010/main" val="29505636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1</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2</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3</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4</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5</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8</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226443133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202044601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1564733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Tree>
    <p:extLst>
      <p:ext uri="{BB962C8B-B14F-4D97-AF65-F5344CB8AC3E}">
        <p14:creationId xmlns:p14="http://schemas.microsoft.com/office/powerpoint/2010/main" val="201589944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4923943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15314054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8917801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9514497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4547224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93700" y="1700213"/>
            <a:ext cx="6970268"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564514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49371"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3863808" y="1701800"/>
            <a:ext cx="4886492" cy="4679950"/>
          </a:xfrm>
        </p:spPr>
        <p:txBody>
          <a:bodyPr/>
          <a:lstStyle/>
          <a:p>
            <a:endParaRPr lang="en-US"/>
          </a:p>
        </p:txBody>
      </p:sp>
      <p:sp>
        <p:nvSpPr>
          <p:cNvPr id="6" name="Content Placeholder 3"/>
          <p:cNvSpPr>
            <a:spLocks noGrp="1"/>
          </p:cNvSpPr>
          <p:nvPr>
            <p:ph sz="quarter" idx="10"/>
          </p:nvPr>
        </p:nvSpPr>
        <p:spPr>
          <a:xfrm>
            <a:off x="393700" y="1700213"/>
            <a:ext cx="30623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96175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396000" y="1700213"/>
            <a:ext cx="83543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0188372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32089182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79690512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3700" y="1700213"/>
            <a:ext cx="8356600"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8600669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0505836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
        <p:nvSpPr>
          <p:cNvPr id="7" name="TextBox 6"/>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406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8719139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
        <p:nvSpPr>
          <p:cNvPr id="11" name="TextBox 10"/>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06205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95422" y="295683"/>
            <a:ext cx="8382818"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95422" y="651600"/>
            <a:ext cx="8382818"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93700" y="1700212"/>
            <a:ext cx="3961722"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5" name="Content Placeholder 3"/>
          <p:cNvSpPr>
            <a:spLocks noGrp="1"/>
          </p:cNvSpPr>
          <p:nvPr>
            <p:ph sz="quarter" idx="20"/>
          </p:nvPr>
        </p:nvSpPr>
        <p:spPr>
          <a:xfrm>
            <a:off x="4786154" y="1700212"/>
            <a:ext cx="3964145"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val="20118328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93700" y="1700212"/>
            <a:ext cx="3961722"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3" name="Content Placeholder 3"/>
          <p:cNvSpPr>
            <a:spLocks noGrp="1"/>
          </p:cNvSpPr>
          <p:nvPr>
            <p:ph sz="quarter" idx="20"/>
          </p:nvPr>
        </p:nvSpPr>
        <p:spPr>
          <a:xfrm>
            <a:off x="4788000" y="1700213"/>
            <a:ext cx="3962300"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val="35667776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95422" y="1700213"/>
            <a:ext cx="396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3" name="Chart Placeholder 2"/>
          <p:cNvSpPr>
            <a:spLocks noGrp="1"/>
          </p:cNvSpPr>
          <p:nvPr>
            <p:ph type="chart" sz="quarter" idx="21"/>
          </p:nvPr>
        </p:nvSpPr>
        <p:spPr>
          <a:xfrm>
            <a:off x="4755917" y="2125013"/>
            <a:ext cx="3994383" cy="3996000"/>
          </a:xfrm>
        </p:spPr>
        <p:txBody>
          <a:bodyPr/>
          <a:lstStyle/>
          <a:p>
            <a:endParaRPr lang="en-GB" dirty="0"/>
          </a:p>
        </p:txBody>
      </p:sp>
      <p:sp>
        <p:nvSpPr>
          <p:cNvPr id="6" name="Text Placeholder 5"/>
          <p:cNvSpPr>
            <a:spLocks noGrp="1"/>
          </p:cNvSpPr>
          <p:nvPr>
            <p:ph type="body" sz="quarter" idx="22"/>
          </p:nvPr>
        </p:nvSpPr>
        <p:spPr>
          <a:xfrm>
            <a:off x="4755917" y="1700213"/>
            <a:ext cx="3989454"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91080" y="6121013"/>
            <a:ext cx="8359220"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408989373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a:t>Click to edit Master text styles</a:t>
            </a:r>
          </a:p>
        </p:txBody>
      </p:sp>
    </p:spTree>
    <p:extLst>
      <p:ext uri="{BB962C8B-B14F-4D97-AF65-F5344CB8AC3E}">
        <p14:creationId xmlns:p14="http://schemas.microsoft.com/office/powerpoint/2010/main" val="37854541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a:t>Click to edit Master text styles</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a:t>Click to edit Master text styles</a:t>
            </a:r>
          </a:p>
        </p:txBody>
      </p:sp>
      <p:sp>
        <p:nvSpPr>
          <p:cNvPr id="10" name="TextBox 9"/>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10733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
        <p:nvSpPr>
          <p:cNvPr id="2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541310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93700" y="1700213"/>
            <a:ext cx="32639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Content Placeholder 3"/>
          <p:cNvSpPr>
            <a:spLocks noGrp="1"/>
          </p:cNvSpPr>
          <p:nvPr>
            <p:ph sz="quarter" idx="16"/>
          </p:nvPr>
        </p:nvSpPr>
        <p:spPr>
          <a:xfrm>
            <a:off x="3879515" y="1700213"/>
            <a:ext cx="487078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085233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2" y="1700212"/>
            <a:ext cx="3066888"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p:txBody>
      </p:sp>
      <p:sp>
        <p:nvSpPr>
          <p:cNvPr id="8" name="Content Placeholder 3"/>
          <p:cNvSpPr>
            <a:spLocks noGrp="1"/>
          </p:cNvSpPr>
          <p:nvPr>
            <p:ph sz="quarter" idx="16"/>
          </p:nvPr>
        </p:nvSpPr>
        <p:spPr>
          <a:xfrm>
            <a:off x="393700" y="1700212"/>
            <a:ext cx="4862299"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2262731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Picture Placeholder 6"/>
          <p:cNvSpPr>
            <a:spLocks noGrp="1"/>
          </p:cNvSpPr>
          <p:nvPr>
            <p:ph type="pic" sz="quarter" idx="13"/>
          </p:nvPr>
        </p:nvSpPr>
        <p:spPr>
          <a:xfrm>
            <a:off x="395287" y="1700213"/>
            <a:ext cx="2034000" cy="1260000"/>
          </a:xfrm>
        </p:spPr>
        <p:txBody>
          <a:bodyPr lIns="0" tIns="0" rIns="0" bIns="0">
            <a:noAutofit/>
          </a:bodyPr>
          <a:lstStyle/>
          <a:p>
            <a:r>
              <a:rPr lang="en-US" dirty="0"/>
              <a:t>Click icon to add picture</a:t>
            </a:r>
            <a:endParaRPr lang="en-GB" dirty="0"/>
          </a:p>
        </p:txBody>
      </p:sp>
      <p:sp>
        <p:nvSpPr>
          <p:cNvPr id="5" name="Picture Placeholder 6"/>
          <p:cNvSpPr>
            <a:spLocks noGrp="1"/>
          </p:cNvSpPr>
          <p:nvPr>
            <p:ph type="pic" sz="quarter" idx="14"/>
          </p:nvPr>
        </p:nvSpPr>
        <p:spPr>
          <a:xfrm>
            <a:off x="2502000" y="1700213"/>
            <a:ext cx="2034000" cy="1260000"/>
          </a:xfrm>
        </p:spPr>
        <p:txBody>
          <a:bodyPr lIns="0" tIns="0" rIns="0" bIns="0">
            <a:noAutofit/>
          </a:bodyPr>
          <a:lstStyle/>
          <a:p>
            <a:r>
              <a:rPr lang="en-US"/>
              <a:t>Click icon to add picture</a:t>
            </a:r>
            <a:endParaRPr lang="en-GB"/>
          </a:p>
        </p:txBody>
      </p:sp>
      <p:sp>
        <p:nvSpPr>
          <p:cNvPr id="6" name="Picture Placeholder 6"/>
          <p:cNvSpPr>
            <a:spLocks noGrp="1"/>
          </p:cNvSpPr>
          <p:nvPr>
            <p:ph type="pic" sz="quarter" idx="15"/>
          </p:nvPr>
        </p:nvSpPr>
        <p:spPr>
          <a:xfrm>
            <a:off x="4607360" y="1700213"/>
            <a:ext cx="2034000" cy="1260000"/>
          </a:xfrm>
        </p:spPr>
        <p:txBody>
          <a:bodyPr lIns="0" tIns="0" rIns="0" bIns="0">
            <a:noAutofit/>
          </a:bodyPr>
          <a:lstStyle/>
          <a:p>
            <a:r>
              <a:rPr lang="en-US"/>
              <a:t>Click icon to add picture</a:t>
            </a:r>
            <a:endParaRPr lang="en-GB"/>
          </a:p>
        </p:txBody>
      </p:sp>
      <p:sp>
        <p:nvSpPr>
          <p:cNvPr id="7" name="Picture Placeholder 6"/>
          <p:cNvSpPr>
            <a:spLocks noGrp="1"/>
          </p:cNvSpPr>
          <p:nvPr>
            <p:ph type="pic" sz="quarter" idx="16"/>
          </p:nvPr>
        </p:nvSpPr>
        <p:spPr>
          <a:xfrm>
            <a:off x="6713999" y="1700213"/>
            <a:ext cx="2034000" cy="1260000"/>
          </a:xfrm>
        </p:spPr>
        <p:txBody>
          <a:bodyPr lIns="0" tIns="0" rIns="0" bIns="0">
            <a:noAutofit/>
          </a:bodyPr>
          <a:lstStyle/>
          <a:p>
            <a:r>
              <a:rPr lang="en-US" dirty="0"/>
              <a:t>Click icon to add picture</a:t>
            </a:r>
            <a:endParaRPr lang="en-GB" dirty="0"/>
          </a:p>
        </p:txBody>
      </p:sp>
      <p:sp>
        <p:nvSpPr>
          <p:cNvPr id="9" name="Text Placeholder 8"/>
          <p:cNvSpPr>
            <a:spLocks noGrp="1"/>
          </p:cNvSpPr>
          <p:nvPr>
            <p:ph type="body" sz="quarter" idx="17"/>
          </p:nvPr>
        </p:nvSpPr>
        <p:spPr>
          <a:xfrm>
            <a:off x="393700" y="3124200"/>
            <a:ext cx="202288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Text Placeholder 8"/>
          <p:cNvSpPr>
            <a:spLocks noGrp="1"/>
          </p:cNvSpPr>
          <p:nvPr>
            <p:ph type="body" sz="quarter" idx="20"/>
          </p:nvPr>
        </p:nvSpPr>
        <p:spPr>
          <a:xfrm>
            <a:off x="6727413" y="3108510"/>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8"/>
          <p:cNvSpPr>
            <a:spLocks noGrp="1"/>
          </p:cNvSpPr>
          <p:nvPr>
            <p:ph type="body" sz="quarter" idx="21" hasCustomPrompt="1"/>
          </p:nvPr>
        </p:nvSpPr>
        <p:spPr>
          <a:xfrm>
            <a:off x="396000" y="651600"/>
            <a:ext cx="8352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229315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395288"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4644000"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395288"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4644000"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95288" y="1880213"/>
            <a:ext cx="1476000" cy="1476000"/>
          </a:xfrm>
        </p:spPr>
        <p:txBody>
          <a:bodyPr/>
          <a:lstStyle>
            <a:lvl1pPr>
              <a:defRPr/>
            </a:lvl1pPr>
          </a:lstStyle>
          <a:p>
            <a:r>
              <a:rPr lang="en-GB" dirty="0"/>
              <a:t>Click icon to add picture</a:t>
            </a:r>
          </a:p>
        </p:txBody>
      </p:sp>
      <p:sp>
        <p:nvSpPr>
          <p:cNvPr id="9" name="Picture Placeholder 11"/>
          <p:cNvSpPr>
            <a:spLocks noGrp="1"/>
          </p:cNvSpPr>
          <p:nvPr>
            <p:ph type="pic" sz="quarter" idx="27"/>
          </p:nvPr>
        </p:nvSpPr>
        <p:spPr>
          <a:xfrm>
            <a:off x="4644000" y="1880213"/>
            <a:ext cx="1476000" cy="1476000"/>
          </a:xfrm>
        </p:spPr>
        <p:txBody>
          <a:bodyPr/>
          <a:lstStyle>
            <a:lvl1pPr>
              <a:defRPr/>
            </a:lvl1pPr>
          </a:lstStyle>
          <a:p>
            <a:r>
              <a:rPr lang="en-GB" dirty="0"/>
              <a:t>Click icon to add picture</a:t>
            </a:r>
          </a:p>
        </p:txBody>
      </p:sp>
      <p:sp>
        <p:nvSpPr>
          <p:cNvPr id="10" name="Picture Placeholder 11"/>
          <p:cNvSpPr>
            <a:spLocks noGrp="1"/>
          </p:cNvSpPr>
          <p:nvPr>
            <p:ph type="pic" sz="quarter" idx="29"/>
          </p:nvPr>
        </p:nvSpPr>
        <p:spPr>
          <a:xfrm>
            <a:off x="395288" y="4256213"/>
            <a:ext cx="1476000" cy="1476000"/>
          </a:xfrm>
        </p:spPr>
        <p:txBody>
          <a:bodyPr/>
          <a:lstStyle>
            <a:lvl1pPr>
              <a:defRPr/>
            </a:lvl1pPr>
          </a:lstStyle>
          <a:p>
            <a:r>
              <a:rPr lang="en-GB" dirty="0"/>
              <a:t>Click icon to add picture</a:t>
            </a:r>
          </a:p>
        </p:txBody>
      </p:sp>
      <p:sp>
        <p:nvSpPr>
          <p:cNvPr id="11" name="Picture Placeholder 11"/>
          <p:cNvSpPr>
            <a:spLocks noGrp="1"/>
          </p:cNvSpPr>
          <p:nvPr>
            <p:ph type="pic" sz="quarter" idx="31"/>
          </p:nvPr>
        </p:nvSpPr>
        <p:spPr>
          <a:xfrm>
            <a:off x="4644000" y="4256213"/>
            <a:ext cx="1476000" cy="1476000"/>
          </a:xfrm>
        </p:spPr>
        <p:txBody>
          <a:bodyPr/>
          <a:lstStyle>
            <a:lvl1pPr>
              <a:defRPr/>
            </a:lvl1pPr>
          </a:lstStyle>
          <a:p>
            <a:r>
              <a:rPr lang="en-GB" dirty="0"/>
              <a:t>Click icon to add picture</a:t>
            </a:r>
          </a:p>
        </p:txBody>
      </p:sp>
      <p:sp>
        <p:nvSpPr>
          <p:cNvPr id="13" name="Text Placeholder 12"/>
          <p:cNvSpPr>
            <a:spLocks noGrp="1"/>
          </p:cNvSpPr>
          <p:nvPr>
            <p:ph type="body" sz="quarter" idx="32"/>
          </p:nvPr>
        </p:nvSpPr>
        <p:spPr>
          <a:xfrm>
            <a:off x="2024644" y="1880213"/>
            <a:ext cx="2466000"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4" name="Text Placeholder 12"/>
          <p:cNvSpPr>
            <a:spLocks noGrp="1"/>
          </p:cNvSpPr>
          <p:nvPr>
            <p:ph type="body" sz="quarter" idx="33"/>
          </p:nvPr>
        </p:nvSpPr>
        <p:spPr>
          <a:xfrm>
            <a:off x="6273356" y="1880213"/>
            <a:ext cx="2476944"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5" name="Text Placeholder 12"/>
          <p:cNvSpPr>
            <a:spLocks noGrp="1"/>
          </p:cNvSpPr>
          <p:nvPr>
            <p:ph type="body" sz="quarter" idx="34"/>
          </p:nvPr>
        </p:nvSpPr>
        <p:spPr>
          <a:xfrm>
            <a:off x="2024644" y="4256213"/>
            <a:ext cx="2466000"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6" name="Text Placeholder 12"/>
          <p:cNvSpPr>
            <a:spLocks noGrp="1"/>
          </p:cNvSpPr>
          <p:nvPr>
            <p:ph type="body" sz="quarter" idx="35"/>
          </p:nvPr>
        </p:nvSpPr>
        <p:spPr>
          <a:xfrm>
            <a:off x="6273356" y="4256213"/>
            <a:ext cx="2476944"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5324450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Picture Placeholder 7"/>
          <p:cNvSpPr>
            <a:spLocks noGrp="1"/>
          </p:cNvSpPr>
          <p:nvPr>
            <p:ph type="pic" sz="quarter" idx="13"/>
          </p:nvPr>
        </p:nvSpPr>
        <p:spPr>
          <a:xfrm>
            <a:off x="393700" y="1700213"/>
            <a:ext cx="2754313" cy="1971675"/>
          </a:xfrm>
        </p:spPr>
        <p:txBody>
          <a:bodyPr/>
          <a:lstStyle/>
          <a:p>
            <a:r>
              <a:rPr lang="en-US"/>
              <a:t>Click icon to add picture</a:t>
            </a:r>
            <a:endParaRPr lang="en-GB"/>
          </a:p>
        </p:txBody>
      </p:sp>
      <p:sp>
        <p:nvSpPr>
          <p:cNvPr id="5" name="Picture Placeholder 7"/>
          <p:cNvSpPr>
            <a:spLocks noGrp="1"/>
          </p:cNvSpPr>
          <p:nvPr>
            <p:ph type="pic" sz="quarter" idx="14"/>
          </p:nvPr>
        </p:nvSpPr>
        <p:spPr>
          <a:xfrm>
            <a:off x="6004798" y="1700213"/>
            <a:ext cx="2745501" cy="1971675"/>
          </a:xfrm>
        </p:spPr>
        <p:txBody>
          <a:bodyPr/>
          <a:lstStyle/>
          <a:p>
            <a:r>
              <a:rPr lang="en-US" dirty="0"/>
              <a:t>Click icon to add picture</a:t>
            </a:r>
            <a:endParaRPr lang="en-GB" dirty="0"/>
          </a:p>
        </p:txBody>
      </p:sp>
      <p:sp>
        <p:nvSpPr>
          <p:cNvPr id="6" name="Picture Placeholder 7"/>
          <p:cNvSpPr>
            <a:spLocks noGrp="1"/>
          </p:cNvSpPr>
          <p:nvPr>
            <p:ph type="pic" sz="quarter" idx="15"/>
          </p:nvPr>
        </p:nvSpPr>
        <p:spPr>
          <a:xfrm>
            <a:off x="3204806" y="1700213"/>
            <a:ext cx="2743200" cy="1971675"/>
          </a:xfrm>
        </p:spPr>
        <p:txBody>
          <a:bodyPr/>
          <a:lstStyle/>
          <a:p>
            <a:r>
              <a:rPr lang="en-US"/>
              <a:t>Click icon to add picture</a:t>
            </a:r>
            <a:endParaRPr lang="en-GB"/>
          </a:p>
        </p:txBody>
      </p:sp>
      <p:sp>
        <p:nvSpPr>
          <p:cNvPr id="9" name="Text Placeholder 18"/>
          <p:cNvSpPr>
            <a:spLocks noGrp="1"/>
          </p:cNvSpPr>
          <p:nvPr>
            <p:ph idx="1" hasCustomPrompt="1"/>
          </p:nvPr>
        </p:nvSpPr>
        <p:spPr>
          <a:xfrm>
            <a:off x="396000" y="3832225"/>
            <a:ext cx="27432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6004798" y="3832225"/>
            <a:ext cx="2745501"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236846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58991306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5158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756797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95288"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8"/>
          <p:cNvSpPr>
            <a:spLocks noGrp="1"/>
          </p:cNvSpPr>
          <p:nvPr>
            <p:ph type="body" sz="quarter" idx="23"/>
          </p:nvPr>
        </p:nvSpPr>
        <p:spPr>
          <a:xfrm>
            <a:off x="4660581"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Rectangle 11"/>
          <p:cNvSpPr/>
          <p:nvPr userDrawn="1"/>
        </p:nvSpPr>
        <p:spPr>
          <a:xfrm>
            <a:off x="393699"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4660581"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01437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3240000" y="1705968"/>
            <a:ext cx="265543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393700" y="1700213"/>
            <a:ext cx="264432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6105981" y="1705968"/>
            <a:ext cx="2644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3244283" y="1784680"/>
            <a:ext cx="265543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8"/>
          </p:nvPr>
        </p:nvSpPr>
        <p:spPr>
          <a:xfrm>
            <a:off x="396000" y="1784680"/>
            <a:ext cx="26420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19"/>
          </p:nvPr>
        </p:nvSpPr>
        <p:spPr>
          <a:xfrm>
            <a:off x="6105980" y="1784680"/>
            <a:ext cx="26443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6952603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98766472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289247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a:t>Click to add subtitle</a:t>
            </a:r>
          </a:p>
        </p:txBody>
      </p:sp>
      <p:sp>
        <p:nvSpPr>
          <p:cNvPr id="9" name="TextBox 8"/>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95751209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136913117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97369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02701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479951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69854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5287" y="4211955"/>
            <a:ext cx="6377653" cy="2169796"/>
          </a:xfrm>
        </p:spPr>
        <p:txBody>
          <a:bodyPr anchor="b" anchorCtr="0"/>
          <a:lstStyle>
            <a:lvl1pPr>
              <a:lnSpc>
                <a:spcPct val="100000"/>
              </a:lnSpc>
              <a:spcAft>
                <a:spcPts val="600"/>
              </a:spcAft>
              <a:defRPr sz="900"/>
            </a:lvl1pPr>
          </a:lstStyle>
          <a:p>
            <a:pPr lvl="0"/>
            <a:r>
              <a:rPr lang="en-US"/>
              <a:t>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4813"/>
            <a:ext cx="1674000" cy="313154"/>
          </a:xfrm>
          <a:prstGeom prst="rect">
            <a:avLst/>
          </a:prstGeom>
        </p:spPr>
      </p:pic>
      <p:sp>
        <p:nvSpPr>
          <p:cNvPr id="3" name="Picture Placeholder 2"/>
          <p:cNvSpPr>
            <a:spLocks noGrp="1"/>
          </p:cNvSpPr>
          <p:nvPr>
            <p:ph type="pic" sz="quarter" idx="14" hasCustomPrompt="1"/>
          </p:nvPr>
        </p:nvSpPr>
        <p:spPr>
          <a:xfrm>
            <a:off x="7028136" y="4535905"/>
            <a:ext cx="1509640" cy="140149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7028137" y="6018028"/>
            <a:ext cx="1509639" cy="363722"/>
          </a:xfrm>
        </p:spPr>
        <p:txBody>
          <a:bodyPr anchor="b" anchorCtr="0"/>
          <a:lstStyle>
            <a:lvl1pPr>
              <a:lnSpc>
                <a:spcPct val="100000"/>
              </a:lnSpc>
              <a:defRPr sz="950"/>
            </a:lvl1pPr>
          </a:lstStyle>
          <a:p>
            <a:pPr lvl="0"/>
            <a:r>
              <a:rPr lang="en-US"/>
              <a:t>Edit Master text styles</a:t>
            </a:r>
          </a:p>
        </p:txBody>
      </p:sp>
    </p:spTree>
    <p:extLst>
      <p:ext uri="{BB962C8B-B14F-4D97-AF65-F5344CB8AC3E}">
        <p14:creationId xmlns:p14="http://schemas.microsoft.com/office/powerpoint/2010/main" val="3994679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6000" y="1705669"/>
            <a:ext cx="78859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60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4386572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7311899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73754912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5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3"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96000" y="295683"/>
            <a:ext cx="8352000" cy="1244192"/>
          </a:xfrm>
          <a:prstGeom prst="rect">
            <a:avLst/>
          </a:prstGeom>
        </p:spPr>
        <p:txBody>
          <a:bodyPr vert="horz" lIns="0" tIns="0" rIns="0" bIns="0" rtlCol="0" anchor="t" anchorCtr="0">
            <a:noAutofit/>
          </a:bodyPr>
          <a:lstStyle/>
          <a:p>
            <a:r>
              <a:rPr lang="en-US" dirty="0"/>
              <a:t>Click to edit Master title style</a:t>
            </a:r>
          </a:p>
        </p:txBody>
      </p:sp>
      <p:sp>
        <p:nvSpPr>
          <p:cNvPr id="19" name="Text Placeholder 18"/>
          <p:cNvSpPr>
            <a:spLocks noGrp="1"/>
          </p:cNvSpPr>
          <p:nvPr>
            <p:ph type="body" idx="1"/>
          </p:nvPr>
        </p:nvSpPr>
        <p:spPr>
          <a:xfrm>
            <a:off x="393700" y="1700213"/>
            <a:ext cx="8356600" cy="468153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9" name="TextBox 8"/>
          <p:cNvSpPr txBox="1"/>
          <p:nvPr userDrawn="1"/>
        </p:nvSpPr>
        <p:spPr>
          <a:xfrm>
            <a:off x="4751388" y="64897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GB" sz="650" dirty="0">
                <a:solidFill>
                  <a:schemeClr val="tx1"/>
                </a:solidFill>
              </a:rPr>
              <a:t>PowerPoint Timesaver</a:t>
            </a:r>
          </a:p>
        </p:txBody>
      </p:sp>
    </p:spTree>
    <p:extLst>
      <p:ext uri="{BB962C8B-B14F-4D97-AF65-F5344CB8AC3E}">
        <p14:creationId xmlns:p14="http://schemas.microsoft.com/office/powerpoint/2010/main" val="272715626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56" r:id="rId3"/>
    <p:sldLayoutId id="2147483857"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58" r:id="rId36"/>
    <p:sldLayoutId id="2147483847" r:id="rId37"/>
    <p:sldLayoutId id="2147483848" r:id="rId38"/>
    <p:sldLayoutId id="2147483849" r:id="rId39"/>
    <p:sldLayoutId id="2147483850" r:id="rId40"/>
    <p:sldLayoutId id="2147483851" r:id="rId41"/>
    <p:sldLayoutId id="2147483852" r:id="rId42"/>
    <p:sldLayoutId id="2147483860" r:id="rId43"/>
    <p:sldLayoutId id="2147483853" r:id="rId44"/>
    <p:sldLayoutId id="2147483854" r:id="rId45"/>
    <p:sldLayoutId id="2147483859" r:id="rId46"/>
    <p:sldLayoutId id="2147483855" r:id="rId4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53.xml"/></Relationships>
</file>

<file path=ppt/slides/_rels/slide100.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58.xml"/><Relationship Id="rId1" Type="http://schemas.openxmlformats.org/officeDocument/2006/relationships/slideLayout" Target="../slideLayouts/slideLayout28.xml"/><Relationship Id="rId4" Type="http://schemas.openxmlformats.org/officeDocument/2006/relationships/chart" Target="../charts/chart61.xml"/></Relationships>
</file>

<file path=ppt/slides/_rels/slide101.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9.xml"/><Relationship Id="rId1" Type="http://schemas.openxmlformats.org/officeDocument/2006/relationships/slideLayout" Target="../slideLayouts/slideLayout27.xml"/></Relationships>
</file>

<file path=ppt/slides/_rels/slide102.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60.xml"/><Relationship Id="rId1" Type="http://schemas.openxmlformats.org/officeDocument/2006/relationships/slideLayout" Target="../slideLayouts/slideLayout21.xml"/></Relationships>
</file>

<file path=ppt/slides/_rels/slide103.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61.xml"/><Relationship Id="rId1" Type="http://schemas.openxmlformats.org/officeDocument/2006/relationships/slideLayout" Target="../slideLayouts/slideLayout28.xml"/><Relationship Id="rId4" Type="http://schemas.openxmlformats.org/officeDocument/2006/relationships/chart" Target="../charts/chart65.xml"/></Relationships>
</file>

<file path=ppt/slides/_rels/slide104.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62.xml"/><Relationship Id="rId1" Type="http://schemas.openxmlformats.org/officeDocument/2006/relationships/slideLayout" Target="../slideLayouts/slideLayout27.xml"/></Relationships>
</file>

<file path=ppt/slides/_rels/slide105.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63.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64.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5.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6.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111.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112.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113.xml.rels><?xml version="1.0" encoding="UTF-8" standalone="yes"?>
<Relationships xmlns="http://schemas.openxmlformats.org/package/2006/relationships"><Relationship Id="rId3" Type="http://schemas.openxmlformats.org/officeDocument/2006/relationships/chart" Target="../charts/chart75.xml"/><Relationship Id="rId7" Type="http://schemas.openxmlformats.org/officeDocument/2006/relationships/chart" Target="../charts/chart79.xml"/><Relationship Id="rId2" Type="http://schemas.openxmlformats.org/officeDocument/2006/relationships/notesSlide" Target="../notesSlides/notesSlide71.xml"/><Relationship Id="rId1" Type="http://schemas.openxmlformats.org/officeDocument/2006/relationships/slideLayout" Target="../slideLayouts/slideLayout35.xml"/><Relationship Id="rId6" Type="http://schemas.openxmlformats.org/officeDocument/2006/relationships/chart" Target="../charts/chart78.xml"/><Relationship Id="rId5" Type="http://schemas.openxmlformats.org/officeDocument/2006/relationships/chart" Target="../charts/chart77.xml"/><Relationship Id="rId4" Type="http://schemas.openxmlformats.org/officeDocument/2006/relationships/chart" Target="../charts/chart76.xml"/></Relationships>
</file>

<file path=ppt/slides/_rels/slide114.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72.xml"/><Relationship Id="rId1" Type="http://schemas.openxmlformats.org/officeDocument/2006/relationships/slideLayout" Target="../slideLayouts/slideLayout28.xml"/></Relationships>
</file>

<file path=ppt/slides/_rels/slide115.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5.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5.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5.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5.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5.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5.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5.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6.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5.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5.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5.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5.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5.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5.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5.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5.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notesSlide" Target="../notesSlides/notesSlide99.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5.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5.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5.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5.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4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4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5.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5.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5.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5.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5.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5.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35.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5.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5.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5.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5.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35.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5.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5.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6.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5.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5.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5.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5.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35.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6.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35.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36.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35.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35.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35.xml"/></Relationships>
</file>

<file path=ppt/slides/_rels/slide19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notesSlide" Target="../notesSlides/notesSlide142.xml"/><Relationship Id="rId5" Type="http://schemas.openxmlformats.org/officeDocument/2006/relationships/slideLayout" Target="../slideLayouts/slideLayout36.xml"/><Relationship Id="rId4" Type="http://schemas.openxmlformats.org/officeDocument/2006/relationships/tags" Target="../tags/tag8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35.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35.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5.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5.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5.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5.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35.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slide" Target="slide82.xml"/><Relationship Id="rId68" Type="http://schemas.openxmlformats.org/officeDocument/2006/relationships/slide" Target="slide202.xml"/><Relationship Id="rId84" Type="http://schemas.openxmlformats.org/officeDocument/2006/relationships/slide" Target="slide198.xml"/><Relationship Id="rId89" Type="http://schemas.openxmlformats.org/officeDocument/2006/relationships/slide" Target="slide238.xml"/><Relationship Id="rId7" Type="http://schemas.openxmlformats.org/officeDocument/2006/relationships/tags" Target="../tags/tag9.xml"/><Relationship Id="rId71" Type="http://schemas.openxmlformats.org/officeDocument/2006/relationships/slide" Target="slide118.xml"/><Relationship Id="rId92" Type="http://schemas.openxmlformats.org/officeDocument/2006/relationships/slide" Target="slide220.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slide" Target="slide65.xml"/><Relationship Id="rId58" Type="http://schemas.openxmlformats.org/officeDocument/2006/relationships/slide" Target="slide55.xml"/><Relationship Id="rId66" Type="http://schemas.openxmlformats.org/officeDocument/2006/relationships/slide" Target="slide50.xml"/><Relationship Id="rId74" Type="http://schemas.openxmlformats.org/officeDocument/2006/relationships/slide" Target="slide205.xml"/><Relationship Id="rId79" Type="http://schemas.openxmlformats.org/officeDocument/2006/relationships/slide" Target="slide117.xml"/><Relationship Id="rId87" Type="http://schemas.openxmlformats.org/officeDocument/2006/relationships/slide" Target="slide235.xml"/><Relationship Id="rId102" Type="http://schemas.openxmlformats.org/officeDocument/2006/relationships/slide" Target="slide293.xml"/><Relationship Id="rId5" Type="http://schemas.openxmlformats.org/officeDocument/2006/relationships/tags" Target="../tags/tag7.xml"/><Relationship Id="rId61" Type="http://schemas.openxmlformats.org/officeDocument/2006/relationships/slide" Target="slide168.xml"/><Relationship Id="rId82" Type="http://schemas.openxmlformats.org/officeDocument/2006/relationships/slide" Target="slide139.xml"/><Relationship Id="rId90" Type="http://schemas.openxmlformats.org/officeDocument/2006/relationships/slide" Target="slide247.xml"/><Relationship Id="rId95" Type="http://schemas.openxmlformats.org/officeDocument/2006/relationships/slide" Target="slide116.xml"/><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slide" Target="slide22.xml"/><Relationship Id="rId64" Type="http://schemas.openxmlformats.org/officeDocument/2006/relationships/slide" Target="slide84.xml"/><Relationship Id="rId69" Type="http://schemas.openxmlformats.org/officeDocument/2006/relationships/slide" Target="slide96.xml"/><Relationship Id="rId77" Type="http://schemas.openxmlformats.org/officeDocument/2006/relationships/slide" Target="slide109.xml"/><Relationship Id="rId100" Type="http://schemas.openxmlformats.org/officeDocument/2006/relationships/slide" Target="slide21.xml"/><Relationship Id="rId8" Type="http://schemas.openxmlformats.org/officeDocument/2006/relationships/tags" Target="../tags/tag10.xml"/><Relationship Id="rId51" Type="http://schemas.openxmlformats.org/officeDocument/2006/relationships/slideLayout" Target="../slideLayouts/slideLayout45.xml"/><Relationship Id="rId72" Type="http://schemas.openxmlformats.org/officeDocument/2006/relationships/slide" Target="slide132.xml"/><Relationship Id="rId80" Type="http://schemas.openxmlformats.org/officeDocument/2006/relationships/slide" Target="slide124.xml"/><Relationship Id="rId85" Type="http://schemas.openxmlformats.org/officeDocument/2006/relationships/slide" Target="slide221.xml"/><Relationship Id="rId93" Type="http://schemas.openxmlformats.org/officeDocument/2006/relationships/slide" Target="slide270.xml"/><Relationship Id="rId98" Type="http://schemas.openxmlformats.org/officeDocument/2006/relationships/slide" Target="slide29.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slide" Target="slide141.xml"/><Relationship Id="rId67" Type="http://schemas.openxmlformats.org/officeDocument/2006/relationships/slide" Target="slide165.xml"/><Relationship Id="rId103" Type="http://schemas.openxmlformats.org/officeDocument/2006/relationships/slide" Target="slide219.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slide" Target="slide72.xml"/><Relationship Id="rId62" Type="http://schemas.openxmlformats.org/officeDocument/2006/relationships/slide" Target="slide173.xml"/><Relationship Id="rId70" Type="http://schemas.openxmlformats.org/officeDocument/2006/relationships/slide" Target="slide98.xml"/><Relationship Id="rId75" Type="http://schemas.openxmlformats.org/officeDocument/2006/relationships/slide" Target="slide208.xml"/><Relationship Id="rId83" Type="http://schemas.openxmlformats.org/officeDocument/2006/relationships/slide" Target="slide15.xml"/><Relationship Id="rId88" Type="http://schemas.openxmlformats.org/officeDocument/2006/relationships/slide" Target="slide244.xml"/><Relationship Id="rId91" Type="http://schemas.openxmlformats.org/officeDocument/2006/relationships/slide" Target="slide167.xml"/><Relationship Id="rId96" Type="http://schemas.openxmlformats.org/officeDocument/2006/relationships/slide" Target="slide64.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slide" Target="slide44.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notesSlide" Target="../notesSlides/notesSlide1.xml"/><Relationship Id="rId60" Type="http://schemas.openxmlformats.org/officeDocument/2006/relationships/slide" Target="slide157.xml"/><Relationship Id="rId65" Type="http://schemas.openxmlformats.org/officeDocument/2006/relationships/slide" Target="slide40.xml"/><Relationship Id="rId73" Type="http://schemas.openxmlformats.org/officeDocument/2006/relationships/slide" Target="slide136.xml"/><Relationship Id="rId78" Type="http://schemas.openxmlformats.org/officeDocument/2006/relationships/slide" Target="slide213.xml"/><Relationship Id="rId81" Type="http://schemas.openxmlformats.org/officeDocument/2006/relationships/slide" Target="slide134.xml"/><Relationship Id="rId86" Type="http://schemas.openxmlformats.org/officeDocument/2006/relationships/slide" Target="slide228.xml"/><Relationship Id="rId94" Type="http://schemas.openxmlformats.org/officeDocument/2006/relationships/slide" Target="slide140.xml"/><Relationship Id="rId99" Type="http://schemas.openxmlformats.org/officeDocument/2006/relationships/slide" Target="slide4.xml"/><Relationship Id="rId101" Type="http://schemas.openxmlformats.org/officeDocument/2006/relationships/slide" Target="slide218.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slide" Target="slide6.xml"/><Relationship Id="rId76" Type="http://schemas.openxmlformats.org/officeDocument/2006/relationships/slide" Target="slide105.xml"/><Relationship Id="rId97" Type="http://schemas.openxmlformats.org/officeDocument/2006/relationships/slide" Target="slide43.xml"/><Relationship Id="rId104" Type="http://schemas.openxmlformats.org/officeDocument/2006/relationships/slide" Target="slide26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6.xml"/></Relationships>
</file>

<file path=ppt/slides/_rels/slide201.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notesSlide" Target="../notesSlides/notesSlide152.xml"/><Relationship Id="rId4" Type="http://schemas.openxmlformats.org/officeDocument/2006/relationships/slideLayout" Target="../slideLayouts/slideLayout35.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5.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5.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5.xml"/></Relationships>
</file>

<file path=ppt/slides/_rels/slide205.xml.rels><?xml version="1.0" encoding="UTF-8" standalone="yes"?>
<Relationships xmlns="http://schemas.openxmlformats.org/package/2006/relationships"><Relationship Id="rId8" Type="http://schemas.openxmlformats.org/officeDocument/2006/relationships/notesSlide" Target="../notesSlides/notesSlide156.xml"/><Relationship Id="rId3" Type="http://schemas.openxmlformats.org/officeDocument/2006/relationships/tags" Target="../tags/tag93.xml"/><Relationship Id="rId7" Type="http://schemas.openxmlformats.org/officeDocument/2006/relationships/slideLayout" Target="../slideLayouts/slideLayout35.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5.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5.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5.xml"/></Relationships>
</file>

<file path=ppt/slides/_rels/slide20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gif"/><Relationship Id="rId7" Type="http://schemas.openxmlformats.org/officeDocument/2006/relationships/image" Target="../media/image11.gif"/><Relationship Id="rId2" Type="http://schemas.openxmlformats.org/officeDocument/2006/relationships/notesSlide" Target="../notesSlides/notesSlide160.xml"/><Relationship Id="rId1" Type="http://schemas.openxmlformats.org/officeDocument/2006/relationships/slideLayout" Target="../slideLayouts/slideLayout35.xml"/><Relationship Id="rId6" Type="http://schemas.openxmlformats.org/officeDocument/2006/relationships/image" Target="../media/image10.gif"/><Relationship Id="rId5" Type="http://schemas.openxmlformats.org/officeDocument/2006/relationships/image" Target="../media/image9.gif"/><Relationship Id="rId4" Type="http://schemas.openxmlformats.org/officeDocument/2006/relationships/image" Target="../media/image8.gi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5.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5.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6.xml"/></Relationships>
</file>

<file path=ppt/slides/_rels/slide213.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notesSlide" Target="../notesSlides/notesSlide164.xml"/><Relationship Id="rId5" Type="http://schemas.openxmlformats.org/officeDocument/2006/relationships/slideLayout" Target="../slideLayouts/slideLayout35.xml"/><Relationship Id="rId4" Type="http://schemas.openxmlformats.org/officeDocument/2006/relationships/tags" Target="../tags/tag100.xml"/></Relationships>
</file>

<file path=ppt/slides/_rels/slide214.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notesSlide" Target="../notesSlides/notesSlide165.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slideLayout" Target="../slideLayouts/slideLayout35.xml"/><Relationship Id="rId5" Type="http://schemas.openxmlformats.org/officeDocument/2006/relationships/tags" Target="../tags/tag105.xml"/><Relationship Id="rId4" Type="http://schemas.openxmlformats.org/officeDocument/2006/relationships/tags" Target="../tags/tag104.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5.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5.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png"/><Relationship Id="rId1" Type="http://schemas.openxmlformats.org/officeDocument/2006/relationships/slideLayout" Target="../slideLayouts/slideLayout45.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55.xml"/><Relationship Id="rId1" Type="http://schemas.openxmlformats.org/officeDocument/2006/relationships/tags" Target="../tags/tag54.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slideLayout" Target="../slideLayouts/slideLayout35.xml"/><Relationship Id="rId4" Type="http://schemas.openxmlformats.org/officeDocument/2006/relationships/tags" Target="../tags/tag59.xml"/><Relationship Id="rId9" Type="http://schemas.openxmlformats.org/officeDocument/2006/relationships/tags" Target="../tags/tag64.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5.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5.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5.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5.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5.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5.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5.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5.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5.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35.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35.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5.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35.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5.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5.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5.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35.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5.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5.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5.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5.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35.xml"/></Relationships>
</file>

<file path=ppt/slides/_rels/slide26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notesSlide" Target="../notesSlides/notesSlide193.xml"/><Relationship Id="rId1" Type="http://schemas.openxmlformats.org/officeDocument/2006/relationships/slideLayout" Target="../slideLayouts/slideLayout35.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5.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5.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5.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5.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2.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notesSlide" Target="../notesSlides/notesSlide199.xml"/><Relationship Id="rId1" Type="http://schemas.openxmlformats.org/officeDocument/2006/relationships/slideLayout" Target="../slideLayouts/slideLayout47.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4.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42.xml"/></Relationships>
</file>

<file path=ppt/slides/_rels/slide295.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19.xml"/></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19.xml"/></Relationships>
</file>

<file path=ppt/slides/_rels/slide297.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hyperlink" Target="https://brandspace.deloitte.com/" TargetMode="External"/><Relationship Id="rId7" Type="http://schemas.openxmlformats.org/officeDocument/2006/relationships/image" Target="../media/image32.png"/><Relationship Id="rId2" Type="http://schemas.openxmlformats.org/officeDocument/2006/relationships/notesSlide" Target="../notesSlides/notesSlide203.xml"/><Relationship Id="rId1" Type="http://schemas.openxmlformats.org/officeDocument/2006/relationships/slideLayout" Target="../slideLayouts/slideLayout25.xml"/><Relationship Id="rId6" Type="http://schemas.openxmlformats.org/officeDocument/2006/relationships/image" Target="../media/image31.png"/><Relationship Id="rId5" Type="http://schemas.openxmlformats.org/officeDocument/2006/relationships/hyperlink" Target="http://www.brandspace.deloitte.com/" TargetMode="External"/><Relationship Id="rId4" Type="http://schemas.openxmlformats.org/officeDocument/2006/relationships/hyperlink" Target="https://brandspace.deloitte.com/content/index/guid/global_vendor_agreements?parent=35" TargetMode="External"/></Relationships>
</file>

<file path=ppt/slides/_rels/slide298.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204.xml"/><Relationship Id="rId1" Type="http://schemas.openxmlformats.org/officeDocument/2006/relationships/slideLayout" Target="../slideLayouts/slideLayout2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29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5.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06.xml"/><Relationship Id="rId1" Type="http://schemas.openxmlformats.org/officeDocument/2006/relationships/slideLayout" Target="../slideLayouts/slideLayout25.xml"/><Relationship Id="rId4" Type="http://schemas.openxmlformats.org/officeDocument/2006/relationships/image" Target="../media/image41.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slideLayout" Target="../slideLayouts/slideLayout35.xml"/><Relationship Id="rId5" Type="http://schemas.openxmlformats.org/officeDocument/2006/relationships/tags" Target="../tags/tag6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76.xml"/><Relationship Id="rId1" Type="http://schemas.openxmlformats.org/officeDocument/2006/relationships/tags" Target="../tags/tag7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1.xml"/><Relationship Id="rId2" Type="http://schemas.openxmlformats.org/officeDocument/2006/relationships/tags" Target="../tags/tag7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6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1.xml"/><Relationship Id="rId1" Type="http://schemas.openxmlformats.org/officeDocument/2006/relationships/slideLayout" Target="../slideLayouts/slideLayout28.xml"/><Relationship Id="rId4" Type="http://schemas.openxmlformats.org/officeDocument/2006/relationships/chart" Target="../charts/chart4.xml"/></Relationships>
</file>

<file path=ppt/slides/_rels/slide6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3.xml"/><Relationship Id="rId1" Type="http://schemas.openxmlformats.org/officeDocument/2006/relationships/slideLayout" Target="../slideLayouts/slideLayout35.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7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7.xml"/><Relationship Id="rId1" Type="http://schemas.openxmlformats.org/officeDocument/2006/relationships/slideLayout" Target="../slideLayouts/slideLayout3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7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0.xml"/><Relationship Id="rId1" Type="http://schemas.openxmlformats.org/officeDocument/2006/relationships/slideLayout" Target="../slideLayouts/slideLayout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7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44.xml"/><Relationship Id="rId1" Type="http://schemas.openxmlformats.org/officeDocument/2006/relationships/slideLayout" Target="../slideLayouts/slideLayout28.xml"/><Relationship Id="rId4" Type="http://schemas.openxmlformats.org/officeDocument/2006/relationships/chart" Target="../charts/chart28.xml"/></Relationships>
</file>

<file path=ppt/slides/_rels/slide8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29.xml"/></Relationships>
</file>

<file path=ppt/slides/_rels/slide8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8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7.xml"/><Relationship Id="rId1" Type="http://schemas.openxmlformats.org/officeDocument/2006/relationships/slideLayout" Target="../slideLayouts/slideLayout28.xml"/><Relationship Id="rId4" Type="http://schemas.openxmlformats.org/officeDocument/2006/relationships/chart" Target="../charts/chart34.xml"/></Relationships>
</file>

<file path=ppt/slides/_rels/slide8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8.xml"/><Relationship Id="rId1" Type="http://schemas.openxmlformats.org/officeDocument/2006/relationships/slideLayout" Target="../slideLayouts/slideLayout28.xml"/><Relationship Id="rId4" Type="http://schemas.openxmlformats.org/officeDocument/2006/relationships/chart" Target="../charts/chart36.xml"/></Relationships>
</file>

<file path=ppt/slides/_rels/slide8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9.xml"/><Relationship Id="rId1" Type="http://schemas.openxmlformats.org/officeDocument/2006/relationships/slideLayout" Target="../slideLayouts/slideLayout29.xml"/><Relationship Id="rId4" Type="http://schemas.openxmlformats.org/officeDocument/2006/relationships/chart" Target="../charts/chart38.xml"/></Relationships>
</file>

<file path=ppt/slides/_rels/slide88.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80.xml"/><Relationship Id="rId7" Type="http://schemas.openxmlformats.org/officeDocument/2006/relationships/chart" Target="../charts/chart39.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notesSlide" Target="../notesSlides/notesSlide50.xml"/><Relationship Id="rId5" Type="http://schemas.openxmlformats.org/officeDocument/2006/relationships/slideLayout" Target="../slideLayouts/slideLayout28.xml"/><Relationship Id="rId4" Type="http://schemas.openxmlformats.org/officeDocument/2006/relationships/tags" Target="../tags/tag81.xml"/></Relationships>
</file>

<file path=ppt/slides/_rels/slide8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51.xml"/><Relationship Id="rId1" Type="http://schemas.openxmlformats.org/officeDocument/2006/relationships/slideLayout" Target="../slideLayouts/slideLayout28.xml"/><Relationship Id="rId4" Type="http://schemas.openxmlformats.org/officeDocument/2006/relationships/chart" Target="../charts/char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0.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2.xml"/><Relationship Id="rId1" Type="http://schemas.openxmlformats.org/officeDocument/2006/relationships/slideLayout" Target="../slideLayouts/slideLayout28.xml"/><Relationship Id="rId4" Type="http://schemas.openxmlformats.org/officeDocument/2006/relationships/chart" Target="../charts/chart44.xml"/></Relationships>
</file>

<file path=ppt/slides/_rels/slide91.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23.xml"/><Relationship Id="rId4" Type="http://schemas.openxmlformats.org/officeDocument/2006/relationships/chart" Target="../charts/chart49.xml"/></Relationships>
</file>

<file path=ppt/slides/_rels/slide94.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4.xml"/><Relationship Id="rId4" Type="http://schemas.openxmlformats.org/officeDocument/2006/relationships/chart" Target="../charts/chart52.xml"/></Relationships>
</file>

<file path=ppt/slides/_rels/slide95.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23.xml"/><Relationship Id="rId4" Type="http://schemas.openxmlformats.org/officeDocument/2006/relationships/chart" Target="../charts/chart55.xml"/></Relationships>
</file>

<file path=ppt/slides/_rels/slide96.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5.xml"/><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5219" t="7741" r="6662" b="8907"/>
          <a:stretch/>
        </p:blipFill>
        <p:spPr>
          <a:xfrm>
            <a:off x="1925297" y="866433"/>
            <a:ext cx="5293403" cy="5007007"/>
          </a:xfrm>
        </p:spPr>
      </p:pic>
      <p:sp>
        <p:nvSpPr>
          <p:cNvPr id="3" name="Title 2"/>
          <p:cNvSpPr>
            <a:spLocks noGrp="1"/>
          </p:cNvSpPr>
          <p:nvPr>
            <p:ph type="ctrTitle"/>
          </p:nvPr>
        </p:nvSpPr>
        <p:spPr/>
        <p:txBody>
          <a:bodyPr/>
          <a:lstStyle/>
          <a:p>
            <a:r>
              <a:rPr lang="en-GB"/>
              <a:t>Timesaver</a:t>
            </a:r>
            <a:endParaRPr lang="en-GB" dirty="0"/>
          </a:p>
        </p:txBody>
      </p:sp>
      <p:sp>
        <p:nvSpPr>
          <p:cNvPr id="4" name="Subtitle 3"/>
          <p:cNvSpPr>
            <a:spLocks noGrp="1"/>
          </p:cNvSpPr>
          <p:nvPr>
            <p:ph type="subTitle" idx="1"/>
          </p:nvPr>
        </p:nvSpPr>
        <p:spPr/>
        <p:txBody>
          <a:bodyPr/>
          <a:lstStyle/>
          <a:p>
            <a:r>
              <a:rPr lang="en-US"/>
              <a:t>Charts, tables, diagrams, </a:t>
            </a:r>
            <a:br>
              <a:rPr lang="en-US"/>
            </a:br>
            <a:r>
              <a:rPr lang="en-US"/>
              <a:t>icons and more</a:t>
            </a:r>
            <a:endParaRPr lang="en-GB" dirty="0"/>
          </a:p>
        </p:txBody>
      </p:sp>
      <p:sp>
        <p:nvSpPr>
          <p:cNvPr id="5" name="Text Placeholder 4"/>
          <p:cNvSpPr>
            <a:spLocks noGrp="1"/>
          </p:cNvSpPr>
          <p:nvPr>
            <p:ph type="body" sz="quarter" idx="10"/>
          </p:nvPr>
        </p:nvSpPr>
        <p:spPr/>
        <p:txBody>
          <a:bodyPr/>
          <a:lstStyle/>
          <a:p>
            <a:r>
              <a:rPr lang="en-GB" dirty="0"/>
              <a:t>Feb 2019</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sp>
        <p:nvSpPr>
          <p:cNvPr id="2" name="Title 1"/>
          <p:cNvSpPr>
            <a:spLocks noGrp="1"/>
          </p:cNvSpPr>
          <p:nvPr>
            <p:ph type="title"/>
          </p:nvPr>
        </p:nvSpPr>
        <p:spPr/>
        <p:txBody>
          <a:bodyPr/>
          <a:lstStyle/>
          <a:p>
            <a:r>
              <a:rPr lang="en-US"/>
              <a:t>Tables</a:t>
            </a:r>
            <a:endParaRPr lang="en-GB" dirty="0"/>
          </a:p>
        </p:txBody>
      </p:sp>
      <p:graphicFrame>
        <p:nvGraphicFramePr>
          <p:cNvPr id="9" name="Group 3"/>
          <p:cNvGraphicFramePr>
            <a:graphicFrameLocks noGrp="1"/>
          </p:cNvGraphicFramePr>
          <p:nvPr>
            <p:ph type="chart" sz="quarter" idx="15"/>
            <p:custDataLst>
              <p:tags r:id="rId1"/>
            </p:custDataLst>
            <p:extLst>
              <p:ext uri="{D42A27DB-BD31-4B8C-83A1-F6EECF244321}">
                <p14:modId xmlns:p14="http://schemas.microsoft.com/office/powerpoint/2010/main" val="2912903669"/>
              </p:ext>
            </p:extLst>
          </p:nvPr>
        </p:nvGraphicFramePr>
        <p:xfrm>
          <a:off x="390525" y="2052638"/>
          <a:ext cx="8359585" cy="3809824"/>
        </p:xfrm>
        <a:graphic>
          <a:graphicData uri="http://schemas.openxmlformats.org/drawingml/2006/table">
            <a:tbl>
              <a:tblPr/>
              <a:tblGrid>
                <a:gridCol w="1366921">
                  <a:extLst>
                    <a:ext uri="{9D8B030D-6E8A-4147-A177-3AD203B41FA5}">
                      <a16:colId xmlns:a16="http://schemas.microsoft.com/office/drawing/2014/main" val="20000"/>
                    </a:ext>
                  </a:extLst>
                </a:gridCol>
                <a:gridCol w="874083">
                  <a:extLst>
                    <a:ext uri="{9D8B030D-6E8A-4147-A177-3AD203B41FA5}">
                      <a16:colId xmlns:a16="http://schemas.microsoft.com/office/drawing/2014/main" val="20001"/>
                    </a:ext>
                  </a:extLst>
                </a:gridCol>
                <a:gridCol w="874083">
                  <a:extLst>
                    <a:ext uri="{9D8B030D-6E8A-4147-A177-3AD203B41FA5}">
                      <a16:colId xmlns:a16="http://schemas.microsoft.com/office/drawing/2014/main" val="20002"/>
                    </a:ext>
                  </a:extLst>
                </a:gridCol>
                <a:gridCol w="874083">
                  <a:extLst>
                    <a:ext uri="{9D8B030D-6E8A-4147-A177-3AD203B41FA5}">
                      <a16:colId xmlns:a16="http://schemas.microsoft.com/office/drawing/2014/main" val="20003"/>
                    </a:ext>
                  </a:extLst>
                </a:gridCol>
                <a:gridCol w="874083">
                  <a:extLst>
                    <a:ext uri="{9D8B030D-6E8A-4147-A177-3AD203B41FA5}">
                      <a16:colId xmlns:a16="http://schemas.microsoft.com/office/drawing/2014/main" val="20004"/>
                    </a:ext>
                  </a:extLst>
                </a:gridCol>
                <a:gridCol w="874083">
                  <a:extLst>
                    <a:ext uri="{9D8B030D-6E8A-4147-A177-3AD203B41FA5}">
                      <a16:colId xmlns:a16="http://schemas.microsoft.com/office/drawing/2014/main" val="20005"/>
                    </a:ext>
                  </a:extLst>
                </a:gridCol>
                <a:gridCol w="874083">
                  <a:extLst>
                    <a:ext uri="{9D8B030D-6E8A-4147-A177-3AD203B41FA5}">
                      <a16:colId xmlns:a16="http://schemas.microsoft.com/office/drawing/2014/main" val="20006"/>
                    </a:ext>
                  </a:extLst>
                </a:gridCol>
                <a:gridCol w="874083">
                  <a:extLst>
                    <a:ext uri="{9D8B030D-6E8A-4147-A177-3AD203B41FA5}">
                      <a16:colId xmlns:a16="http://schemas.microsoft.com/office/drawing/2014/main" val="20007"/>
                    </a:ext>
                  </a:extLst>
                </a:gridCol>
                <a:gridCol w="874083">
                  <a:extLst>
                    <a:ext uri="{9D8B030D-6E8A-4147-A177-3AD203B41FA5}">
                      <a16:colId xmlns:a16="http://schemas.microsoft.com/office/drawing/2014/main" val="20008"/>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kern="1200" cap="none" normalizeH="0" baseline="0" dirty="0">
                          <a:ln>
                            <a:noFill/>
                          </a:ln>
                          <a:solidFill>
                            <a:schemeClr val="accent1"/>
                          </a:solidFill>
                          <a:effectLst/>
                          <a:latin typeface="+mn-lt"/>
                          <a:ea typeface="+mn-ea"/>
                          <a:cs typeface="+mn-cs"/>
                        </a:rPr>
                        <a:t>Column</a:t>
                      </a:r>
                    </a:p>
                  </a:txBody>
                  <a:tcPr marL="91561" marR="91561" marT="91440" marB="91440"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u="none" strike="noStrike" cap="none" normalizeH="0" baseline="0" dirty="0">
                          <a:ln>
                            <a:noFill/>
                          </a:ln>
                          <a:solidFill>
                            <a:schemeClr val="tx1"/>
                          </a:solidFill>
                          <a:effectLst/>
                        </a:rPr>
                        <a:t>Row description</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u="none" strike="noStrike" cap="none" normalizeH="0" baseline="0" dirty="0">
                          <a:ln>
                            <a:noFill/>
                          </a:ln>
                          <a:solidFill>
                            <a:schemeClr val="tx1"/>
                          </a:solidFill>
                          <a:effectLst/>
                        </a:rPr>
                        <a:t>xx</a:t>
                      </a:r>
                      <a:endParaRPr kumimoji="0" lang="en-US" sz="1000" b="0" i="0" u="none" strike="noStrike" cap="none" normalizeH="0" baseline="0" dirty="0">
                        <a:ln>
                          <a:noFill/>
                        </a:ln>
                        <a:solidFill>
                          <a:schemeClr val="tx1"/>
                        </a:solidFill>
                        <a:effectLst/>
                        <a:latin typeface="Arial" charset="0"/>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type="body" sz="quarter" idx="18"/>
          </p:nvPr>
        </p:nvSpPr>
        <p:spPr/>
        <p:txBody>
          <a:bodyPr/>
          <a:lstStyle/>
          <a:p>
            <a:r>
              <a:rPr lang="en-US"/>
              <a:t>Table title runs here</a:t>
            </a:r>
            <a:endParaRPr lang="en-US" dirty="0"/>
          </a:p>
        </p:txBody>
      </p:sp>
      <p:sp>
        <p:nvSpPr>
          <p:cNvPr id="34" name="Text Placeholder 33"/>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1803670322"/>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sp>
        <p:nvSpPr>
          <p:cNvPr id="3" name="Text Placeholder 2"/>
          <p:cNvSpPr>
            <a:spLocks noGrp="1"/>
          </p:cNvSpPr>
          <p:nvPr>
            <p:ph type="body" sz="quarter" idx="13"/>
          </p:nvPr>
        </p:nvSpPr>
        <p:spPr/>
        <p:txBody>
          <a:bodyPr/>
          <a:lstStyle/>
          <a:p>
            <a:pPr lvl="0"/>
            <a:r>
              <a:rPr lang="en-US" altLang="ja-JP"/>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7" name="Text Placeholder 6"/>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1967262412"/>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a:t>Standard color format (units)</a:t>
            </a:r>
            <a:endParaRPr lang="en-US" dirty="0"/>
          </a:p>
        </p:txBody>
      </p:sp>
    </p:spTree>
    <p:extLst>
      <p:ext uri="{BB962C8B-B14F-4D97-AF65-F5344CB8AC3E}">
        <p14:creationId xmlns:p14="http://schemas.microsoft.com/office/powerpoint/2010/main" val="324884155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p>
          <a:p>
            <a:endParaRPr lang="en-US" dirty="0"/>
          </a:p>
        </p:txBody>
      </p:sp>
      <p:graphicFrame>
        <p:nvGraphicFramePr>
          <p:cNvPr id="24" name="Chart Placeholder 19"/>
          <p:cNvGraphicFramePr>
            <a:graphicFrameLocks noGrp="1"/>
          </p:cNvGraphicFramePr>
          <p:nvPr>
            <p:ph type="chart" sz="quarter" idx="21"/>
            <p:extLst>
              <p:ext uri="{D42A27DB-BD31-4B8C-83A1-F6EECF244321}">
                <p14:modId xmlns:p14="http://schemas.microsoft.com/office/powerpoint/2010/main" val="2198542999"/>
              </p:ext>
            </p:extLst>
          </p:nvPr>
        </p:nvGraphicFramePr>
        <p:xfrm>
          <a:off x="4756150" y="2125663"/>
          <a:ext cx="399415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a:t>Chart title runs here (units)</a:t>
            </a:r>
            <a:endParaRPr lang="en-US" dirty="0"/>
          </a:p>
        </p:txBody>
      </p:sp>
      <p:sp>
        <p:nvSpPr>
          <p:cNvPr id="3" name="Text Placeholder 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21" name="Text Placeholder 20"/>
          <p:cNvSpPr>
            <a:spLocks noGrp="1"/>
          </p:cNvSpPr>
          <p:nvPr>
            <p:ph type="body" sz="quarter" idx="23"/>
          </p:nvPr>
        </p:nvSpPr>
        <p:spPr/>
        <p:txBody>
          <a:bodyPr>
            <a:normAutofit lnSpcReduction="10000"/>
          </a:bodyPr>
          <a:lstStyle/>
          <a:p>
            <a:r>
              <a:rPr lang="en-US"/>
              <a:t>Source: </a:t>
            </a:r>
          </a:p>
          <a:p>
            <a:r>
              <a:rPr lang="en-US"/>
              <a:t>Note: </a:t>
            </a:r>
            <a:endParaRPr lang="en-US" dirty="0"/>
          </a:p>
        </p:txBody>
      </p:sp>
      <p:sp>
        <p:nvSpPr>
          <p:cNvPr id="9" name="Text Placeholder 8"/>
          <p:cNvSpPr txBox="1">
            <a:spLocks/>
          </p:cNvSpPr>
          <p:nvPr/>
        </p:nvSpPr>
        <p:spPr>
          <a:xfrm>
            <a:off x="376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kumimoji="0" lang="en-GB" sz="3000" b="0" i="0" u="none" strike="noStrike" kern="1200" cap="none" spc="0" normalizeH="0" baseline="0" noProof="0" dirty="0">
              <a:ln>
                <a:noFill/>
              </a:ln>
              <a:solidFill>
                <a:srgbClr val="81BC00"/>
              </a:solidFill>
              <a:effectLst/>
              <a:uLnTx/>
              <a:uFillTx/>
              <a:latin typeface="Arial"/>
            </a:endParaRPr>
          </a:p>
        </p:txBody>
      </p:sp>
    </p:spTree>
    <p:extLst>
      <p:ext uri="{BB962C8B-B14F-4D97-AF65-F5344CB8AC3E}">
        <p14:creationId xmlns:p14="http://schemas.microsoft.com/office/powerpoint/2010/main" val="168348192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1100629765"/>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a:t>Chart title runs here (units)</a:t>
            </a:r>
            <a:endParaRPr lang="en-US" dirty="0"/>
          </a:p>
        </p:txBody>
      </p:sp>
      <p:sp>
        <p:nvSpPr>
          <p:cNvPr id="19" name="Text Placeholder 18"/>
          <p:cNvSpPr>
            <a:spLocks noGrp="1"/>
          </p:cNvSpPr>
          <p:nvPr>
            <p:ph type="body" sz="quarter" idx="23"/>
          </p:nvPr>
        </p:nvSpPr>
        <p:spPr/>
        <p:txBody>
          <a:bodyPr>
            <a:normAutofit lnSpcReduction="10000"/>
          </a:bodyPr>
          <a:lstStyle/>
          <a:p>
            <a:r>
              <a:rPr lang="en-US"/>
              <a:t>Source: </a:t>
            </a:r>
          </a:p>
          <a:p>
            <a:r>
              <a:rPr lang="en-US"/>
              <a:t>Note: </a:t>
            </a:r>
            <a:endParaRPr lang="en-US" dirty="0"/>
          </a:p>
        </p:txBody>
      </p:sp>
      <p:sp>
        <p:nvSpPr>
          <p:cNvPr id="6" name="Text Placeholder 8"/>
          <p:cNvSpPr txBox="1">
            <a:spLocks/>
          </p:cNvSpPr>
          <p:nvPr/>
        </p:nvSpPr>
        <p:spPr>
          <a:xfrm>
            <a:off x="376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kumimoji="0" lang="en-GB" sz="3000" b="0" i="0" u="none" strike="noStrike" kern="1200" cap="none" spc="0" normalizeH="0" baseline="0" noProof="0" dirty="0">
              <a:ln>
                <a:noFill/>
              </a:ln>
              <a:solidFill>
                <a:srgbClr val="81BC00"/>
              </a:solidFill>
              <a:effectLst/>
              <a:uLnTx/>
              <a:uFillTx/>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1339469377"/>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3" name="Text Placeholder 2"/>
          <p:cNvSpPr>
            <a:spLocks noGrp="1"/>
          </p:cNvSpPr>
          <p:nvPr>
            <p:ph type="body" sz="quarter" idx="13"/>
          </p:nvPr>
        </p:nvSpPr>
        <p:spPr/>
        <p:txBody>
          <a:bodyPr/>
          <a:lstStyle/>
          <a:p>
            <a:pPr lvl="0"/>
            <a:r>
              <a:rPr lang="en-US" altLang="ja-JP"/>
              <a:t>Two</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
        <p:nvSpPr>
          <p:cNvPr id="6" name="Text Placeholder 5"/>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2775358086"/>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a:t>Chart title runs here (units)</a:t>
            </a:r>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p>
          <a:p>
            <a:endParaRPr lang="en-US" dirty="0"/>
          </a:p>
        </p:txBody>
      </p:sp>
      <p:graphicFrame>
        <p:nvGraphicFramePr>
          <p:cNvPr id="24" name="Chart Placeholder 22"/>
          <p:cNvGraphicFramePr>
            <a:graphicFrameLocks noGrp="1"/>
          </p:cNvGraphicFramePr>
          <p:nvPr>
            <p:ph type="chart" sz="quarter" idx="21"/>
            <p:extLst>
              <p:ext uri="{D42A27DB-BD31-4B8C-83A1-F6EECF244321}">
                <p14:modId xmlns:p14="http://schemas.microsoft.com/office/powerpoint/2010/main" val="3335607984"/>
              </p:ext>
            </p:extLst>
          </p:nvPr>
        </p:nvGraphicFramePr>
        <p:xfrm>
          <a:off x="4756150" y="2125663"/>
          <a:ext cx="399415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13" name="Text Placeholder 1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
        <p:nvSpPr>
          <p:cNvPr id="14" name="Text Placeholder 13"/>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sp>
        <p:nvSpPr>
          <p:cNvPr id="12" name="Title 11"/>
          <p:cNvSpPr>
            <a:spLocks noGrp="1"/>
          </p:cNvSpPr>
          <p:nvPr>
            <p:ph type="title"/>
          </p:nvPr>
        </p:nvSpPr>
        <p:spPr/>
        <p:txBody>
          <a:bodyPr/>
          <a:lstStyle/>
          <a:p>
            <a:r>
              <a:rPr lang="en-US" altLang="ja-JP"/>
              <a:t>Waterfall </a:t>
            </a:r>
            <a:endParaRPr lang="en-US"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3763674279"/>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6" name="Text Placeholder 15"/>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433030765"/>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sp>
        <p:nvSpPr>
          <p:cNvPr id="12" name="Title 11"/>
          <p:cNvSpPr>
            <a:spLocks noGrp="1"/>
          </p:cNvSpPr>
          <p:nvPr>
            <p:ph type="title"/>
          </p:nvPr>
        </p:nvSpPr>
        <p:spPr/>
        <p:txBody>
          <a:bodyPr/>
          <a:lstStyle/>
          <a:p>
            <a:r>
              <a:rPr lang="en-US" altLang="ja-JP"/>
              <a:t>Waterfall </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183025194"/>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a:t>Chart title runs here (units)</a:t>
            </a:r>
            <a:endParaRPr lang="en-US" dirty="0"/>
          </a:p>
        </p:txBody>
      </p:sp>
      <p:sp>
        <p:nvSpPr>
          <p:cNvPr id="18" name="Text Placeholder 17"/>
          <p:cNvSpPr>
            <a:spLocks noGrp="1"/>
          </p:cNvSpPr>
          <p:nvPr>
            <p:ph type="body" sz="quarter" idx="23"/>
          </p:nvPr>
        </p:nvSpPr>
        <p:spPr/>
        <p:txBody>
          <a:bodyPr>
            <a:normAutofit lnSpcReduction="10000"/>
          </a:bodyPr>
          <a:lstStyle/>
          <a:p>
            <a:r>
              <a:rPr lang="en-US" dirty="0"/>
              <a:t>Source: </a:t>
            </a:r>
          </a:p>
          <a:p>
            <a:r>
              <a:rPr lang="en-US" dirty="0"/>
              <a:t>Note: </a:t>
            </a:r>
          </a:p>
        </p:txBody>
      </p:sp>
    </p:spTree>
    <p:extLst>
      <p:ext uri="{BB962C8B-B14F-4D97-AF65-F5344CB8AC3E}">
        <p14:creationId xmlns:p14="http://schemas.microsoft.com/office/powerpoint/2010/main" val="89599142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sp>
        <p:nvSpPr>
          <p:cNvPr id="12" name="Title 11"/>
          <p:cNvSpPr>
            <a:spLocks noGrp="1"/>
          </p:cNvSpPr>
          <p:nvPr>
            <p:ph type="title"/>
          </p:nvPr>
        </p:nvSpPr>
        <p:spPr/>
        <p:txBody>
          <a:bodyPr/>
          <a:lstStyle/>
          <a:p>
            <a:r>
              <a:rPr lang="en-US" altLang="ja-JP"/>
              <a:t>Waterfall </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404289696"/>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type="body" sz="quarter" idx="18"/>
          </p:nvPr>
        </p:nvSpPr>
        <p:spPr/>
        <p:txBody>
          <a:bodyPr/>
          <a:lstStyle/>
          <a:p>
            <a:r>
              <a:rPr lang="en-US"/>
              <a:t>Chart title runs here (units)</a:t>
            </a:r>
            <a:endParaRPr lang="en-US" dirty="0"/>
          </a:p>
        </p:txBody>
      </p:sp>
      <p:sp>
        <p:nvSpPr>
          <p:cNvPr id="10" name="Text Placeholder 9"/>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sp>
        <p:nvSpPr>
          <p:cNvPr id="12" name="Title 11"/>
          <p:cNvSpPr>
            <a:spLocks noGrp="1"/>
          </p:cNvSpPr>
          <p:nvPr>
            <p:ph type="title"/>
          </p:nvPr>
        </p:nvSpPr>
        <p:spPr/>
        <p:txBody>
          <a:bodyPr/>
          <a:lstStyle/>
          <a:p>
            <a:r>
              <a:rPr lang="en-US" altLang="ja-JP"/>
              <a:t>Waterfall </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036505491"/>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graphicFrame>
        <p:nvGraphicFramePr>
          <p:cNvPr id="20" name="Chart Placeholder 15"/>
          <p:cNvGraphicFramePr>
            <a:graphicFrameLocks noGrp="1"/>
          </p:cNvGraphicFramePr>
          <p:nvPr>
            <p:ph type="chart" sz="quarter" idx="15"/>
            <p:extLst>
              <p:ext uri="{D42A27DB-BD31-4B8C-83A1-F6EECF244321}">
                <p14:modId xmlns:p14="http://schemas.microsoft.com/office/powerpoint/2010/main" val="711306590"/>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a:t>Chart title runs here (units)</a:t>
            </a:r>
            <a:endParaRPr lang="en-US" dirty="0"/>
          </a:p>
        </p:txBody>
      </p:sp>
      <p:sp>
        <p:nvSpPr>
          <p:cNvPr id="7" name="Text Placeholder 6"/>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sp>
        <p:nvSpPr>
          <p:cNvPr id="2" name="Title 1"/>
          <p:cNvSpPr>
            <a:spLocks noGrp="1"/>
          </p:cNvSpPr>
          <p:nvPr>
            <p:ph type="title"/>
          </p:nvPr>
        </p:nvSpPr>
        <p:spPr/>
        <p:txBody>
          <a:bodyPr/>
          <a:lstStyle/>
          <a:p>
            <a:r>
              <a:rPr lang="en-US"/>
              <a:t>Tables</a:t>
            </a:r>
            <a:endParaRPr lang="en-GB" dirty="0"/>
          </a:p>
        </p:txBody>
      </p:sp>
      <p:graphicFrame>
        <p:nvGraphicFramePr>
          <p:cNvPr id="8" name="Group 3"/>
          <p:cNvGraphicFramePr>
            <a:graphicFrameLocks noGrp="1"/>
          </p:cNvGraphicFramePr>
          <p:nvPr>
            <p:ph type="chart" sz="quarter" idx="15"/>
            <p:extLst>
              <p:ext uri="{D42A27DB-BD31-4B8C-83A1-F6EECF244321}">
                <p14:modId xmlns:p14="http://schemas.microsoft.com/office/powerpoint/2010/main" val="2921912805"/>
              </p:ext>
            </p:extLst>
          </p:nvPr>
        </p:nvGraphicFramePr>
        <p:xfrm>
          <a:off x="390525" y="2052638"/>
          <a:ext cx="8359585" cy="3799056"/>
        </p:xfrm>
        <a:graphic>
          <a:graphicData uri="http://schemas.openxmlformats.org/drawingml/2006/table">
            <a:tbl>
              <a:tblPr/>
              <a:tblGrid>
                <a:gridCol w="2193357">
                  <a:extLst>
                    <a:ext uri="{9D8B030D-6E8A-4147-A177-3AD203B41FA5}">
                      <a16:colId xmlns:a16="http://schemas.microsoft.com/office/drawing/2014/main" val="20000"/>
                    </a:ext>
                  </a:extLst>
                </a:gridCol>
                <a:gridCol w="1541557">
                  <a:extLst>
                    <a:ext uri="{9D8B030D-6E8A-4147-A177-3AD203B41FA5}">
                      <a16:colId xmlns:a16="http://schemas.microsoft.com/office/drawing/2014/main" val="20001"/>
                    </a:ext>
                  </a:extLst>
                </a:gridCol>
                <a:gridCol w="1541557">
                  <a:extLst>
                    <a:ext uri="{9D8B030D-6E8A-4147-A177-3AD203B41FA5}">
                      <a16:colId xmlns:a16="http://schemas.microsoft.com/office/drawing/2014/main" val="20002"/>
                    </a:ext>
                  </a:extLst>
                </a:gridCol>
                <a:gridCol w="1541557">
                  <a:extLst>
                    <a:ext uri="{9D8B030D-6E8A-4147-A177-3AD203B41FA5}">
                      <a16:colId xmlns:a16="http://schemas.microsoft.com/office/drawing/2014/main" val="20003"/>
                    </a:ext>
                  </a:extLst>
                </a:gridCol>
                <a:gridCol w="1541557">
                  <a:extLst>
                    <a:ext uri="{9D8B030D-6E8A-4147-A177-3AD203B41FA5}">
                      <a16:colId xmlns:a16="http://schemas.microsoft.com/office/drawing/2014/main" val="20004"/>
                    </a:ext>
                  </a:extLst>
                </a:gridCol>
              </a:tblGrid>
              <a:tr h="49871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200" b="0" dirty="0">
                        <a:solidFill>
                          <a:schemeClr val="tx1"/>
                        </a:solidFill>
                      </a:endParaRPr>
                    </a:p>
                  </a:txBody>
                  <a:tcPr marL="91561" marR="91561"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91561" marR="91561" marT="91440" marB="9144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Subtotal</a:t>
                      </a:r>
                      <a:endParaRPr kumimoji="0" lang="en-US" sz="1000" b="0" i="0" u="none" strike="noStrike" cap="none" normalizeH="0" baseline="0" dirty="0">
                        <a:ln>
                          <a:noFill/>
                        </a:ln>
                        <a:solidFill>
                          <a:schemeClr val="tx1"/>
                        </a:solidFill>
                        <a:effectLst/>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Row</a:t>
                      </a:r>
                      <a:r>
                        <a:rPr lang="en-US" sz="1000" b="0" baseline="0" dirty="0">
                          <a:solidFill>
                            <a:schemeClr val="tx1"/>
                          </a:solidFill>
                          <a:latin typeface="+mn-lt"/>
                        </a:rPr>
                        <a:t> title</a:t>
                      </a:r>
                      <a:endParaRPr lang="en-US" sz="1000" b="0" dirty="0">
                        <a:solidFill>
                          <a:schemeClr val="tx1"/>
                        </a:solidFill>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Subtotal</a:t>
                      </a:r>
                      <a:endParaRPr kumimoji="0" lang="en-US" sz="1000" b="0" i="0" u="none" strike="noStrike" cap="none" normalizeH="0" baseline="0" dirty="0">
                        <a:ln>
                          <a:noFill/>
                        </a:ln>
                        <a:solidFill>
                          <a:schemeClr val="tx1"/>
                        </a:solidFill>
                        <a:effectLst/>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cap="none" normalizeH="0" baseline="0" dirty="0">
                          <a:ln>
                            <a:noFill/>
                          </a:ln>
                          <a:solidFill>
                            <a:schemeClr val="tx1"/>
                          </a:solidFill>
                          <a:effectLst/>
                          <a:latin typeface="+mn-lt"/>
                        </a:rPr>
                        <a:t>Total</a:t>
                      </a:r>
                      <a:endParaRPr kumimoji="0" lang="en-US" sz="1000" b="0" i="0" u="none" strike="noStrike" cap="none" normalizeH="0" baseline="0" dirty="0">
                        <a:ln>
                          <a:noFill/>
                        </a:ln>
                        <a:solidFill>
                          <a:schemeClr val="tx1"/>
                        </a:solidFill>
                        <a:effectLst/>
                        <a:latin typeface="+mn-lt"/>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00" b="0" u="none" strike="noStrike" kern="1200" cap="none" normalizeH="0" baseline="0" dirty="0">
                          <a:ln>
                            <a:noFill/>
                          </a:ln>
                          <a:solidFill>
                            <a:schemeClr val="tx1"/>
                          </a:solidFill>
                          <a:effectLst/>
                          <a:latin typeface="+mn-lt"/>
                        </a:rPr>
                        <a:t>xx</a:t>
                      </a:r>
                      <a:endParaRPr kumimoji="0" lang="en-US" sz="1000" b="0" i="0" u="none" strike="noStrike" kern="1200" cap="none" normalizeH="0" baseline="0" dirty="0">
                        <a:ln>
                          <a:noFill/>
                        </a:ln>
                        <a:solidFill>
                          <a:schemeClr val="tx1"/>
                        </a:solidFill>
                        <a:effectLst/>
                        <a:latin typeface="+mn-lt"/>
                        <a:ea typeface="+mn-ea"/>
                        <a:cs typeface="+mn-cs"/>
                      </a:endParaRPr>
                    </a:p>
                  </a:txBody>
                  <a:tcPr marL="91561" marR="91561" marT="91440" marB="91440" anchor="ctr" horzOverflow="overflow">
                    <a:lnL w="12700" cmpd="sng">
                      <a:noFill/>
                      <a:prstDash val="solid"/>
                    </a:lnL>
                    <a:lnR w="12700" cmpd="sng">
                      <a:noFill/>
                      <a:prstDash val="soli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type="body" sz="quarter" idx="18"/>
          </p:nvPr>
        </p:nvSpPr>
        <p:spPr/>
        <p:txBody>
          <a:bodyPr/>
          <a:lstStyle/>
          <a:p>
            <a:r>
              <a:rPr lang="en-US"/>
              <a:t>Table title runs here</a:t>
            </a:r>
            <a:endParaRPr lang="en-US"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graphicFrame>
        <p:nvGraphicFramePr>
          <p:cNvPr id="17" name="Chart Placeholder 16"/>
          <p:cNvGraphicFramePr>
            <a:graphicFrameLocks noGrp="1"/>
          </p:cNvGraphicFramePr>
          <p:nvPr>
            <p:ph type="chart" sz="quarter" idx="15"/>
            <p:extLst>
              <p:ext uri="{D42A27DB-BD31-4B8C-83A1-F6EECF244321}">
                <p14:modId xmlns:p14="http://schemas.microsoft.com/office/powerpoint/2010/main" val="2661966124"/>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p:cNvSpPr>
            <a:spLocks noGrp="1"/>
          </p:cNvSpPr>
          <p:nvPr>
            <p:ph type="body" sz="quarter" idx="18"/>
          </p:nvPr>
        </p:nvSpPr>
        <p:spPr/>
        <p:txBody>
          <a:bodyPr/>
          <a:lstStyle/>
          <a:p>
            <a:r>
              <a:rPr lang="en-US"/>
              <a:t>Chart title runs here (units)</a:t>
            </a:r>
            <a:endParaRPr lang="en-US" dirty="0"/>
          </a:p>
        </p:txBody>
      </p:sp>
      <p:sp>
        <p:nvSpPr>
          <p:cNvPr id="7" name="Text Placeholder 6"/>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2" name="Title 1"/>
          <p:cNvSpPr>
            <a:spLocks noGrp="1"/>
          </p:cNvSpPr>
          <p:nvPr>
            <p:ph type="title"/>
          </p:nvPr>
        </p:nvSpPr>
        <p:spPr/>
        <p:txBody>
          <a:bodyPr/>
          <a:lstStyle/>
          <a:p>
            <a:r>
              <a:rPr lang="en-US"/>
              <a:t>Scatter chart</a:t>
            </a:r>
            <a:r>
              <a:rPr lang="en-US" altLang="ja-JP"/>
              <a:t> </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58372772"/>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a:t>Chart title runs here (units)</a:t>
            </a:r>
            <a:endParaRPr lang="en-US" dirty="0"/>
          </a:p>
        </p:txBody>
      </p:sp>
      <p:sp>
        <p:nvSpPr>
          <p:cNvPr id="18" name="Text Placeholder 17"/>
          <p:cNvSpPr>
            <a:spLocks noGrp="1"/>
          </p:cNvSpPr>
          <p:nvPr>
            <p:ph type="body" sz="quarter" idx="23"/>
          </p:nvPr>
        </p:nvSpPr>
        <p:spPr/>
        <p:txBody>
          <a:bodyPr>
            <a:normAutofit lnSpcReduction="10000"/>
          </a:bodyPr>
          <a:lstStyle/>
          <a:p>
            <a:r>
              <a:rPr lang="en-US"/>
              <a:t>Source:</a:t>
            </a:r>
          </a:p>
          <a:p>
            <a:r>
              <a:rPr lang="en-US"/>
              <a:t>Note: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06623703"/>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Elbow Connector 41"/>
          <p:cNvCxnSpPr>
            <a:stCxn id="44" idx="3"/>
            <a:endCxn id="53" idx="1"/>
          </p:cNvCxnSpPr>
          <p:nvPr/>
        </p:nvCxnSpPr>
        <p:spPr>
          <a:xfrm flipV="1">
            <a:off x="5718519" y="2885020"/>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5718519"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2743200"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2743200"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sp>
        <p:nvSpPr>
          <p:cNvPr id="45" name="Rectangle 10"/>
          <p:cNvSpPr>
            <a:spLocks noChangeArrowheads="1"/>
          </p:cNvSpPr>
          <p:nvPr/>
        </p:nvSpPr>
        <p:spPr bwMode="auto">
          <a:xfrm>
            <a:off x="7049386" y="0"/>
            <a:ext cx="2094614" cy="607071"/>
          </a:xfrm>
          <a:prstGeom prst="rect">
            <a:avLst/>
          </a:prstGeom>
          <a:solidFill>
            <a:srgbClr val="FFCD00"/>
          </a:solidFill>
          <a:ln w="6350" algn="ctr">
            <a:noFill/>
            <a:miter lim="800000"/>
            <a:headEnd/>
            <a:tailEnd/>
          </a:ln>
        </p:spPr>
        <p:txBody>
          <a:bodyPr wrap="square" lIns="72000" tIns="72000" rIns="72000" bIns="72000">
            <a:spAutoFit/>
          </a:bodyPr>
          <a:lstStyle/>
          <a:p>
            <a:pPr>
              <a:tabLst>
                <a:tab pos="180975" algn="l"/>
                <a:tab pos="542925" algn="l"/>
                <a:tab pos="893763" algn="l"/>
                <a:tab pos="1254125" algn="l"/>
                <a:tab pos="1616075" algn="l"/>
              </a:tabLst>
              <a:defRPr/>
            </a:pPr>
            <a:r>
              <a:rPr lang="en-US" altLang="ja-JP" sz="1000" b="1" dirty="0">
                <a:ea typeface="ＭＳ Ｐゴシック" pitchFamily="50" charset="-128"/>
                <a:cs typeface="+mn-cs"/>
              </a:rPr>
              <a:t>Tip! </a:t>
            </a:r>
            <a:r>
              <a:rPr lang="en-US" altLang="ja-JP" sz="1000" dirty="0">
                <a:ea typeface="ＭＳ Ｐゴシック" pitchFamily="50" charset="-128"/>
                <a:cs typeface="+mn-cs"/>
              </a:rPr>
              <a:t>You can use these marks on the </a:t>
            </a:r>
            <a:r>
              <a:rPr lang="en-US" sz="1000" dirty="0">
                <a:ea typeface="ＭＳ Ｐゴシック" pitchFamily="50" charset="-128"/>
                <a:cs typeface="+mn-cs"/>
              </a:rPr>
              <a:t>driver tree charts</a:t>
            </a:r>
            <a:r>
              <a:rPr lang="en-US" altLang="ja-JP" sz="1000" dirty="0">
                <a:ea typeface="ＭＳ Ｐゴシック" pitchFamily="50" charset="-128"/>
                <a:cs typeface="+mn-cs"/>
              </a:rPr>
              <a:t>.</a:t>
            </a:r>
          </a:p>
          <a:p>
            <a:pPr>
              <a:tabLst>
                <a:tab pos="180975" algn="l"/>
                <a:tab pos="542925" algn="l"/>
                <a:tab pos="893763" algn="l"/>
                <a:tab pos="1254125" algn="l"/>
                <a:tab pos="1616075" algn="l"/>
              </a:tabLst>
              <a:defRPr/>
            </a:pPr>
            <a:r>
              <a:rPr lang="en-US" altLang="ja-JP" sz="1000" dirty="0">
                <a:ea typeface="ＭＳ Ｐゴシック" pitchFamily="50" charset="-128"/>
                <a:cs typeface="+mn-cs"/>
              </a:rPr>
              <a:t>	</a:t>
            </a:r>
            <a:r>
              <a:rPr lang="en-US" altLang="ja-JP" sz="1000" b="1" dirty="0">
                <a:ea typeface="ＭＳ Ｐゴシック" pitchFamily="50" charset="-128"/>
                <a:cs typeface="+mn-cs"/>
              </a:rPr>
              <a:t>X	+	-	/	</a:t>
            </a:r>
            <a:r>
              <a:rPr lang="en-US" altLang="ja-JP" sz="1000" b="1" i="1" dirty="0">
                <a:ea typeface="ＭＳ Ｐゴシック" pitchFamily="50" charset="-128"/>
                <a:cs typeface="+mn-cs"/>
              </a:rPr>
              <a:t>f</a:t>
            </a:r>
            <a:endParaRPr lang="en-US" sz="1000" b="1" i="1" dirty="0">
              <a:ea typeface="ＭＳ Ｐゴシック" pitchFamily="50" charset="-128"/>
              <a:cs typeface="+mn-cs"/>
            </a:endParaRPr>
          </a:p>
        </p:txBody>
      </p:sp>
      <p:sp>
        <p:nvSpPr>
          <p:cNvPr id="48" name="Rectangle 47"/>
          <p:cNvSpPr>
            <a:spLocks noChangeArrowheads="1"/>
          </p:cNvSpPr>
          <p:nvPr/>
        </p:nvSpPr>
        <p:spPr bwMode="auto">
          <a:xfrm>
            <a:off x="3341079" y="4492505"/>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aphicFrame>
        <p:nvGraphicFramePr>
          <p:cNvPr id="51" name="Chart 50"/>
          <p:cNvGraphicFramePr/>
          <p:nvPr>
            <p:extLst>
              <p:ext uri="{D42A27DB-BD31-4B8C-83A1-F6EECF244321}">
                <p14:modId xmlns:p14="http://schemas.microsoft.com/office/powerpoint/2010/main" val="2591570249"/>
              </p:ext>
            </p:extLst>
          </p:nvPr>
        </p:nvGraphicFramePr>
        <p:xfrm>
          <a:off x="3440013" y="4557277"/>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3341079" y="4224003"/>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14" name="Rectangle 13"/>
          <p:cNvSpPr>
            <a:spLocks noChangeArrowheads="1"/>
          </p:cNvSpPr>
          <p:nvPr/>
        </p:nvSpPr>
        <p:spPr bwMode="auto">
          <a:xfrm>
            <a:off x="365760" y="36262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aphicFrame>
        <p:nvGraphicFramePr>
          <p:cNvPr id="37" name="Chart 36"/>
          <p:cNvGraphicFramePr/>
          <p:nvPr>
            <p:extLst>
              <p:ext uri="{D42A27DB-BD31-4B8C-83A1-F6EECF244321}">
                <p14:modId xmlns:p14="http://schemas.microsoft.com/office/powerpoint/2010/main" val="3649376711"/>
              </p:ext>
            </p:extLst>
          </p:nvPr>
        </p:nvGraphicFramePr>
        <p:xfrm>
          <a:off x="464694" y="3690991"/>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365760" y="33577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44" name="Rectangle 43"/>
          <p:cNvSpPr>
            <a:spLocks noChangeArrowheads="1"/>
          </p:cNvSpPr>
          <p:nvPr/>
        </p:nvSpPr>
        <p:spPr bwMode="auto">
          <a:xfrm>
            <a:off x="3341079" y="2759933"/>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aphicFrame>
        <p:nvGraphicFramePr>
          <p:cNvPr id="46" name="Chart 45"/>
          <p:cNvGraphicFramePr/>
          <p:nvPr>
            <p:extLst>
              <p:ext uri="{D42A27DB-BD31-4B8C-83A1-F6EECF244321}">
                <p14:modId xmlns:p14="http://schemas.microsoft.com/office/powerpoint/2010/main" val="606012657"/>
              </p:ext>
            </p:extLst>
          </p:nvPr>
        </p:nvGraphicFramePr>
        <p:xfrm>
          <a:off x="3440013" y="2824705"/>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3341079" y="2487429"/>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53" name="Rectangle 52"/>
          <p:cNvSpPr>
            <a:spLocks noChangeArrowheads="1"/>
          </p:cNvSpPr>
          <p:nvPr/>
        </p:nvSpPr>
        <p:spPr bwMode="auto">
          <a:xfrm>
            <a:off x="6404610" y="2244940"/>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aphicFrame>
        <p:nvGraphicFramePr>
          <p:cNvPr id="54" name="Chart 53"/>
          <p:cNvGraphicFramePr/>
          <p:nvPr>
            <p:extLst>
              <p:ext uri="{D42A27DB-BD31-4B8C-83A1-F6EECF244321}">
                <p14:modId xmlns:p14="http://schemas.microsoft.com/office/powerpoint/2010/main" val="2468881122"/>
              </p:ext>
            </p:extLst>
          </p:nvPr>
        </p:nvGraphicFramePr>
        <p:xfrm>
          <a:off x="6503544" y="2309712"/>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6404610" y="1976438"/>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60" name="Rectangle 59"/>
          <p:cNvSpPr>
            <a:spLocks noChangeArrowheads="1"/>
          </p:cNvSpPr>
          <p:nvPr/>
        </p:nvSpPr>
        <p:spPr bwMode="auto">
          <a:xfrm>
            <a:off x="6404610" y="39584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aphicFrame>
        <p:nvGraphicFramePr>
          <p:cNvPr id="61" name="Chart 60"/>
          <p:cNvGraphicFramePr/>
          <p:nvPr>
            <p:extLst>
              <p:ext uri="{D42A27DB-BD31-4B8C-83A1-F6EECF244321}">
                <p14:modId xmlns:p14="http://schemas.microsoft.com/office/powerpoint/2010/main" val="3140278644"/>
              </p:ext>
            </p:extLst>
          </p:nvPr>
        </p:nvGraphicFramePr>
        <p:xfrm>
          <a:off x="6503544" y="4023191"/>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6404610" y="36899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29" name="Text Placeholder 27"/>
          <p:cNvSpPr txBox="1">
            <a:spLocks/>
          </p:cNvSpPr>
          <p:nvPr/>
        </p:nvSpPr>
        <p:spPr>
          <a:xfrm>
            <a:off x="391081" y="6121013"/>
            <a:ext cx="8359220" cy="256647"/>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30" name="Text Placeholder 5"/>
          <p:cNvSpPr txBox="1">
            <a:spLocks/>
          </p:cNvSpPr>
          <p:nvPr/>
        </p:nvSpPr>
        <p:spPr>
          <a:xfrm>
            <a:off x="376239" y="1664208"/>
            <a:ext cx="8391524" cy="3571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Chart title runs here (units)</a:t>
            </a:r>
            <a:endParaRPr lang="en-US" dirty="0"/>
          </a:p>
        </p:txBody>
      </p:sp>
    </p:spTree>
    <p:extLst>
      <p:ext uri="{BB962C8B-B14F-4D97-AF65-F5344CB8AC3E}">
        <p14:creationId xmlns:p14="http://schemas.microsoft.com/office/powerpoint/2010/main" val="3874490536"/>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35"/>
          <p:cNvSpPr>
            <a:spLocks noGrp="1"/>
          </p:cNvSpPr>
          <p:nvPr>
            <p:ph type="body" sz="quarter" idx="13"/>
          </p:nvPr>
        </p:nvSpPr>
        <p:spPr/>
        <p:txBody>
          <a:bodyPr/>
          <a:lstStyle/>
          <a:p>
            <a:r>
              <a:rPr lang="en-GB"/>
              <a:t>Single </a:t>
            </a:r>
            <a:r>
              <a:rPr lang="en-US"/>
              <a:t>color</a:t>
            </a:r>
            <a:r>
              <a:rPr lang="en-GB"/>
              <a:t> highlight</a:t>
            </a:r>
            <a:endParaRPr lang="en-GB" dirty="0"/>
          </a:p>
        </p:txBody>
      </p:sp>
      <p:sp>
        <p:nvSpPr>
          <p:cNvPr id="2" name="Title 1"/>
          <p:cNvSpPr>
            <a:spLocks noGrp="1"/>
          </p:cNvSpPr>
          <p:nvPr>
            <p:ph type="title"/>
          </p:nvPr>
        </p:nvSpPr>
        <p:spPr/>
        <p:txBody>
          <a:bodyPr/>
          <a:lstStyle/>
          <a:p>
            <a:r>
              <a:rPr lang="en-US"/>
              <a:t>Column chart with infographics</a:t>
            </a:r>
            <a:endParaRPr lang="en-US" dirty="0"/>
          </a:p>
        </p:txBody>
      </p:sp>
      <p:sp>
        <p:nvSpPr>
          <p:cNvPr id="42" name="Text Placeholder 41"/>
          <p:cNvSpPr>
            <a:spLocks noGrp="1"/>
          </p:cNvSpPr>
          <p:nvPr>
            <p:ph type="body" sz="quarter" idx="23"/>
          </p:nvPr>
        </p:nvSpPr>
        <p:spPr/>
        <p:txBody>
          <a:bodyPr>
            <a:normAutofit lnSpcReduction="10000"/>
          </a:bodyPr>
          <a:lstStyle/>
          <a:p>
            <a:r>
              <a:rPr lang="en-US" dirty="0"/>
              <a:t>Source:</a:t>
            </a:r>
          </a:p>
          <a:p>
            <a:r>
              <a:rPr lang="en-US" dirty="0"/>
              <a:t>Note:</a:t>
            </a:r>
          </a:p>
        </p:txBody>
      </p:sp>
      <p:sp>
        <p:nvSpPr>
          <p:cNvPr id="58" name="Text Placeholder 57"/>
          <p:cNvSpPr>
            <a:spLocks noGrp="1"/>
          </p:cNvSpPr>
          <p:nvPr>
            <p:ph type="body" sz="quarter" idx="25"/>
          </p:nvPr>
        </p:nvSpPr>
        <p:spPr/>
        <p:txBody>
          <a:bodyPr/>
          <a:lstStyle/>
          <a:p>
            <a:r>
              <a:rPr lang="en-US" dirty="0"/>
              <a:t>Chart title runs here</a:t>
            </a:r>
          </a:p>
        </p:txBody>
      </p:sp>
      <p:graphicFrame>
        <p:nvGraphicFramePr>
          <p:cNvPr id="59" name="Chart Placeholder 25"/>
          <p:cNvGraphicFramePr>
            <a:graphicFrameLocks noGrp="1"/>
          </p:cNvGraphicFramePr>
          <p:nvPr>
            <p:ph type="chart" sz="quarter" idx="24"/>
            <p:extLst>
              <p:ext uri="{D42A27DB-BD31-4B8C-83A1-F6EECF244321}">
                <p14:modId xmlns:p14="http://schemas.microsoft.com/office/powerpoint/2010/main" val="1439309165"/>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p:cNvGrpSpPr/>
          <p:nvPr/>
        </p:nvGrpSpPr>
        <p:grpSpPr>
          <a:xfrm>
            <a:off x="522933" y="2331330"/>
            <a:ext cx="3733852" cy="1759494"/>
            <a:chOff x="478972" y="2331330"/>
            <a:chExt cx="3733852" cy="1759494"/>
          </a:xfrm>
        </p:grpSpPr>
        <p:cxnSp>
          <p:nvCxnSpPr>
            <p:cNvPr id="18" name="Straight Connector 17"/>
            <p:cNvCxnSpPr/>
            <p:nvPr/>
          </p:nvCxnSpPr>
          <p:spPr bwMode="gray">
            <a:xfrm>
              <a:off x="2340252" y="2704488"/>
              <a:ext cx="0" cy="50812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rot="5400000">
              <a:off x="3254010" y="3358510"/>
              <a:ext cx="1463040" cy="158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rot="5400000">
              <a:off x="2842455" y="3014681"/>
              <a:ext cx="640080" cy="158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rot="5400000">
              <a:off x="1083669" y="3092769"/>
              <a:ext cx="868680" cy="158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rot="5400000">
              <a:off x="123472" y="3223485"/>
              <a:ext cx="1143000" cy="158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 name="Freeform 337"/>
            <p:cNvSpPr>
              <a:spLocks noChangeAspect="1" noEditPoints="1"/>
            </p:cNvSpPr>
            <p:nvPr/>
          </p:nvSpPr>
          <p:spPr bwMode="auto">
            <a:xfrm>
              <a:off x="1304435" y="234618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997"/>
            <p:cNvSpPr>
              <a:spLocks noChangeAspect="1" noEditPoints="1"/>
            </p:cNvSpPr>
            <p:nvPr/>
          </p:nvSpPr>
          <p:spPr bwMode="auto">
            <a:xfrm>
              <a:off x="2955361" y="2342448"/>
              <a:ext cx="432000" cy="432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315"/>
            <p:cNvSpPr>
              <a:spLocks noChangeAspect="1" noEditPoints="1"/>
            </p:cNvSpPr>
            <p:nvPr/>
          </p:nvSpPr>
          <p:spPr bwMode="auto">
            <a:xfrm>
              <a:off x="2129898" y="2342448"/>
              <a:ext cx="432000" cy="432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333"/>
            <p:cNvSpPr>
              <a:spLocks noChangeAspect="1" noEditPoints="1"/>
            </p:cNvSpPr>
            <p:nvPr/>
          </p:nvSpPr>
          <p:spPr bwMode="auto">
            <a:xfrm>
              <a:off x="3780824" y="2331330"/>
              <a:ext cx="432000" cy="432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538"/>
            <p:cNvSpPr>
              <a:spLocks noChangeAspect="1" noEditPoints="1"/>
            </p:cNvSpPr>
            <p:nvPr/>
          </p:nvSpPr>
          <p:spPr bwMode="auto">
            <a:xfrm>
              <a:off x="478972" y="2357848"/>
              <a:ext cx="432000" cy="432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866337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ingle color and grey</a:t>
            </a:r>
          </a:p>
        </p:txBody>
      </p:sp>
      <p:sp>
        <p:nvSpPr>
          <p:cNvPr id="14337" name="Rectangle 2"/>
          <p:cNvSpPr>
            <a:spLocks noGrp="1" noChangeArrowheads="1"/>
          </p:cNvSpPr>
          <p:nvPr>
            <p:ph type="title"/>
          </p:nvPr>
        </p:nvSpPr>
        <p:spPr/>
        <p:txBody>
          <a:bodyPr/>
          <a:lstStyle/>
          <a:p>
            <a:r>
              <a:rPr lang="en-US"/>
              <a:t>Scatter chart</a:t>
            </a:r>
            <a:endParaRPr lang="en-US"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3352884671"/>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a:t>Chart title runs here (units)</a:t>
            </a:r>
          </a:p>
          <a:p>
            <a:endParaRPr lang="en-US" dirty="0"/>
          </a:p>
        </p:txBody>
      </p:sp>
      <p:sp>
        <p:nvSpPr>
          <p:cNvPr id="4" name="Text Placeholder 3"/>
          <p:cNvSpPr>
            <a:spLocks noGrp="1"/>
          </p:cNvSpPr>
          <p:nvPr>
            <p:ph type="body" sz="quarter" idx="23"/>
          </p:nvPr>
        </p:nvSpPr>
        <p:spPr/>
        <p:txBody>
          <a:bodyPr>
            <a:normAutofit lnSpcReduction="10000"/>
          </a:bodyPr>
          <a:lstStyle/>
          <a:p>
            <a:r>
              <a:rPr lang="en-US" dirty="0"/>
              <a:t>Source:</a:t>
            </a:r>
          </a:p>
          <a:p>
            <a:r>
              <a:rPr lang="en-US" dirty="0"/>
              <a:t>Note:</a:t>
            </a:r>
          </a:p>
          <a:p>
            <a:endParaRPr lang="en-US" dirty="0"/>
          </a:p>
        </p:txBody>
      </p:sp>
    </p:spTree>
    <p:extLst>
      <p:ext uri="{BB962C8B-B14F-4D97-AF65-F5344CB8AC3E}">
        <p14:creationId xmlns:p14="http://schemas.microsoft.com/office/powerpoint/2010/main" val="335831970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hapes</a:t>
            </a:r>
          </a:p>
        </p:txBody>
      </p:sp>
    </p:spTree>
    <p:extLst>
      <p:ext uri="{BB962C8B-B14F-4D97-AF65-F5344CB8AC3E}">
        <p14:creationId xmlns:p14="http://schemas.microsoft.com/office/powerpoint/2010/main" val="3405882392"/>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364331" y="4768265"/>
            <a:ext cx="1527048" cy="548640"/>
          </a:xfrm>
          <a:prstGeom prst="chevron">
            <a:avLst>
              <a:gd name="adj" fmla="val 32606"/>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5" name="AutoShape 24"/>
          <p:cNvSpPr>
            <a:spLocks noChangeArrowheads="1"/>
          </p:cNvSpPr>
          <p:nvPr/>
        </p:nvSpPr>
        <p:spPr bwMode="gray">
          <a:xfrm>
            <a:off x="1741989" y="4768265"/>
            <a:ext cx="1527048" cy="548640"/>
          </a:xfrm>
          <a:prstGeom prst="chevron">
            <a:avLst>
              <a:gd name="adj" fmla="val 3237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6" name="AutoShape 25"/>
          <p:cNvSpPr>
            <a:spLocks noChangeArrowheads="1"/>
          </p:cNvSpPr>
          <p:nvPr/>
        </p:nvSpPr>
        <p:spPr bwMode="gray">
          <a:xfrm>
            <a:off x="3119647" y="4768265"/>
            <a:ext cx="1527048" cy="548640"/>
          </a:xfrm>
          <a:prstGeom prst="chevron">
            <a:avLst>
              <a:gd name="adj" fmla="val 3237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7" name="AutoShape 26"/>
          <p:cNvSpPr>
            <a:spLocks noChangeArrowheads="1"/>
          </p:cNvSpPr>
          <p:nvPr/>
        </p:nvSpPr>
        <p:spPr bwMode="gray">
          <a:xfrm>
            <a:off x="4497305" y="4768265"/>
            <a:ext cx="1527048" cy="548640"/>
          </a:xfrm>
          <a:prstGeom prst="chevron">
            <a:avLst>
              <a:gd name="adj" fmla="val 3237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8" name="AutoShape 27"/>
          <p:cNvSpPr>
            <a:spLocks noChangeArrowheads="1"/>
          </p:cNvSpPr>
          <p:nvPr/>
        </p:nvSpPr>
        <p:spPr bwMode="gray">
          <a:xfrm>
            <a:off x="5874963" y="4768265"/>
            <a:ext cx="1527048" cy="548640"/>
          </a:xfrm>
          <a:prstGeom prst="chevron">
            <a:avLst>
              <a:gd name="adj" fmla="val 3237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9" name="AutoShape 28"/>
          <p:cNvSpPr>
            <a:spLocks noChangeArrowheads="1"/>
          </p:cNvSpPr>
          <p:nvPr/>
        </p:nvSpPr>
        <p:spPr bwMode="gray">
          <a:xfrm>
            <a:off x="7252621" y="4768265"/>
            <a:ext cx="1527048" cy="548640"/>
          </a:xfrm>
          <a:prstGeom prst="chevron">
            <a:avLst>
              <a:gd name="adj" fmla="val 3237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0" name="AutoShape 3"/>
          <p:cNvSpPr>
            <a:spLocks noChangeArrowheads="1"/>
          </p:cNvSpPr>
          <p:nvPr/>
        </p:nvSpPr>
        <p:spPr bwMode="gray">
          <a:xfrm>
            <a:off x="364331" y="1611785"/>
            <a:ext cx="8415338" cy="548640"/>
          </a:xfrm>
          <a:prstGeom prst="chevron">
            <a:avLst>
              <a:gd name="adj" fmla="val 32576"/>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1" name="AutoShape 5"/>
          <p:cNvSpPr>
            <a:spLocks noChangeArrowheads="1"/>
          </p:cNvSpPr>
          <p:nvPr/>
        </p:nvSpPr>
        <p:spPr bwMode="gray">
          <a:xfrm>
            <a:off x="364331" y="2243081"/>
            <a:ext cx="4279392" cy="548640"/>
          </a:xfrm>
          <a:prstGeom prst="chevron">
            <a:avLst>
              <a:gd name="adj" fmla="val 32565"/>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2" name="AutoShape 6"/>
          <p:cNvSpPr>
            <a:spLocks noChangeArrowheads="1"/>
          </p:cNvSpPr>
          <p:nvPr/>
        </p:nvSpPr>
        <p:spPr bwMode="gray">
          <a:xfrm>
            <a:off x="4500277" y="2243081"/>
            <a:ext cx="4279392" cy="548640"/>
          </a:xfrm>
          <a:prstGeom prst="chevron">
            <a:avLst>
              <a:gd name="adj" fmla="val 32435"/>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3" name="AutoShape 8"/>
          <p:cNvSpPr>
            <a:spLocks noChangeArrowheads="1"/>
          </p:cNvSpPr>
          <p:nvPr/>
        </p:nvSpPr>
        <p:spPr bwMode="gray">
          <a:xfrm>
            <a:off x="364331" y="2874377"/>
            <a:ext cx="2898648" cy="548640"/>
          </a:xfrm>
          <a:prstGeom prst="chevron">
            <a:avLst>
              <a:gd name="adj" fmla="val 32411"/>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4" name="AutoShape 9"/>
          <p:cNvSpPr>
            <a:spLocks noChangeArrowheads="1"/>
          </p:cNvSpPr>
          <p:nvPr/>
        </p:nvSpPr>
        <p:spPr bwMode="gray">
          <a:xfrm>
            <a:off x="3122676" y="2874377"/>
            <a:ext cx="2898648" cy="548640"/>
          </a:xfrm>
          <a:prstGeom prst="chevron">
            <a:avLst>
              <a:gd name="adj" fmla="val 3255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5" name="AutoShape 10"/>
          <p:cNvSpPr>
            <a:spLocks noChangeArrowheads="1"/>
          </p:cNvSpPr>
          <p:nvPr/>
        </p:nvSpPr>
        <p:spPr bwMode="gray">
          <a:xfrm>
            <a:off x="5881021" y="2874377"/>
            <a:ext cx="2898648" cy="548640"/>
          </a:xfrm>
          <a:prstGeom prst="chevron">
            <a:avLst>
              <a:gd name="adj" fmla="val 32406"/>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6" name="AutoShape 12"/>
          <p:cNvSpPr>
            <a:spLocks noChangeArrowheads="1"/>
          </p:cNvSpPr>
          <p:nvPr/>
        </p:nvSpPr>
        <p:spPr bwMode="gray">
          <a:xfrm>
            <a:off x="364331" y="3505673"/>
            <a:ext cx="2212848" cy="548640"/>
          </a:xfrm>
          <a:prstGeom prst="chevron">
            <a:avLst>
              <a:gd name="adj" fmla="val 3237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7" name="AutoShape 13"/>
          <p:cNvSpPr>
            <a:spLocks noChangeArrowheads="1"/>
          </p:cNvSpPr>
          <p:nvPr/>
        </p:nvSpPr>
        <p:spPr bwMode="gray">
          <a:xfrm>
            <a:off x="2431828" y="3505673"/>
            <a:ext cx="2212848" cy="548640"/>
          </a:xfrm>
          <a:prstGeom prst="chevron">
            <a:avLst>
              <a:gd name="adj" fmla="val 3237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8" name="AutoShape 14"/>
          <p:cNvSpPr>
            <a:spLocks noChangeArrowheads="1"/>
          </p:cNvSpPr>
          <p:nvPr/>
        </p:nvSpPr>
        <p:spPr bwMode="gray">
          <a:xfrm>
            <a:off x="4499325" y="3505673"/>
            <a:ext cx="2212848" cy="548640"/>
          </a:xfrm>
          <a:prstGeom prst="chevron">
            <a:avLst>
              <a:gd name="adj" fmla="val 3237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19" name="AutoShape 15"/>
          <p:cNvSpPr>
            <a:spLocks noChangeArrowheads="1"/>
          </p:cNvSpPr>
          <p:nvPr/>
        </p:nvSpPr>
        <p:spPr bwMode="gray">
          <a:xfrm>
            <a:off x="6566821" y="3505673"/>
            <a:ext cx="2212848" cy="548640"/>
          </a:xfrm>
          <a:prstGeom prst="chevron">
            <a:avLst>
              <a:gd name="adj" fmla="val 32560"/>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0" name="AutoShape 17"/>
          <p:cNvSpPr>
            <a:spLocks noChangeArrowheads="1"/>
          </p:cNvSpPr>
          <p:nvPr/>
        </p:nvSpPr>
        <p:spPr bwMode="gray">
          <a:xfrm>
            <a:off x="364331" y="4136969"/>
            <a:ext cx="1801368" cy="548640"/>
          </a:xfrm>
          <a:prstGeom prst="chevron">
            <a:avLst>
              <a:gd name="adj" fmla="val 32555"/>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1" name="AutoShape 18"/>
          <p:cNvSpPr>
            <a:spLocks noChangeArrowheads="1"/>
          </p:cNvSpPr>
          <p:nvPr/>
        </p:nvSpPr>
        <p:spPr bwMode="gray">
          <a:xfrm>
            <a:off x="2017824" y="4136969"/>
            <a:ext cx="1801368" cy="548640"/>
          </a:xfrm>
          <a:prstGeom prst="chevron">
            <a:avLst>
              <a:gd name="adj" fmla="val 3238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2" name="AutoShape 19"/>
          <p:cNvSpPr>
            <a:spLocks noChangeArrowheads="1"/>
          </p:cNvSpPr>
          <p:nvPr/>
        </p:nvSpPr>
        <p:spPr bwMode="gray">
          <a:xfrm>
            <a:off x="3671317" y="4136969"/>
            <a:ext cx="1801368" cy="548640"/>
          </a:xfrm>
          <a:prstGeom prst="chevron">
            <a:avLst>
              <a:gd name="adj" fmla="val 32413"/>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3" name="AutoShape 20"/>
          <p:cNvSpPr>
            <a:spLocks noChangeArrowheads="1"/>
          </p:cNvSpPr>
          <p:nvPr/>
        </p:nvSpPr>
        <p:spPr bwMode="gray">
          <a:xfrm>
            <a:off x="5324810" y="4136969"/>
            <a:ext cx="1801368" cy="548640"/>
          </a:xfrm>
          <a:prstGeom prst="chevron">
            <a:avLst>
              <a:gd name="adj" fmla="val 3238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4" name="AutoShape 21"/>
          <p:cNvSpPr>
            <a:spLocks noChangeArrowheads="1"/>
          </p:cNvSpPr>
          <p:nvPr/>
        </p:nvSpPr>
        <p:spPr bwMode="gray">
          <a:xfrm>
            <a:off x="6978301" y="4136969"/>
            <a:ext cx="1801368" cy="548640"/>
          </a:xfrm>
          <a:prstGeom prst="chevron">
            <a:avLst>
              <a:gd name="adj" fmla="val 32299"/>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5" name="AutoShape 30"/>
          <p:cNvSpPr>
            <a:spLocks noChangeArrowheads="1"/>
          </p:cNvSpPr>
          <p:nvPr/>
        </p:nvSpPr>
        <p:spPr bwMode="gray">
          <a:xfrm>
            <a:off x="364331" y="5399560"/>
            <a:ext cx="1325880" cy="548640"/>
          </a:xfrm>
          <a:prstGeom prst="chevron">
            <a:avLst>
              <a:gd name="adj" fmla="val 3260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6" name="AutoShape 31"/>
          <p:cNvSpPr>
            <a:spLocks noChangeArrowheads="1"/>
          </p:cNvSpPr>
          <p:nvPr/>
        </p:nvSpPr>
        <p:spPr bwMode="gray">
          <a:xfrm>
            <a:off x="1545907"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7" name="AutoShape 32"/>
          <p:cNvSpPr>
            <a:spLocks noChangeArrowheads="1"/>
          </p:cNvSpPr>
          <p:nvPr/>
        </p:nvSpPr>
        <p:spPr bwMode="gray">
          <a:xfrm>
            <a:off x="2727483"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8" name="AutoShape 33"/>
          <p:cNvSpPr>
            <a:spLocks noChangeArrowheads="1"/>
          </p:cNvSpPr>
          <p:nvPr/>
        </p:nvSpPr>
        <p:spPr bwMode="gray">
          <a:xfrm>
            <a:off x="3909059"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29" name="AutoShape 34"/>
          <p:cNvSpPr>
            <a:spLocks noChangeArrowheads="1"/>
          </p:cNvSpPr>
          <p:nvPr/>
        </p:nvSpPr>
        <p:spPr bwMode="gray">
          <a:xfrm>
            <a:off x="5090635"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30" name="AutoShape 35"/>
          <p:cNvSpPr>
            <a:spLocks noChangeArrowheads="1"/>
          </p:cNvSpPr>
          <p:nvPr/>
        </p:nvSpPr>
        <p:spPr bwMode="gray">
          <a:xfrm>
            <a:off x="6272211"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
        <p:nvSpPr>
          <p:cNvPr id="31" name="AutoShape 36"/>
          <p:cNvSpPr>
            <a:spLocks noChangeArrowheads="1"/>
          </p:cNvSpPr>
          <p:nvPr/>
        </p:nvSpPr>
        <p:spPr bwMode="gray">
          <a:xfrm>
            <a:off x="7453789" y="5399560"/>
            <a:ext cx="1325880" cy="548640"/>
          </a:xfrm>
          <a:prstGeom prst="chevron">
            <a:avLst>
              <a:gd name="adj" fmla="val 32337"/>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ea typeface="+mn-ea"/>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96000" y="651600"/>
            <a:ext cx="8352000" cy="757255"/>
          </a:xfrm>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4" name="Text Placeholder 7"/>
          <p:cNvSpPr txBox="1">
            <a:spLocks/>
          </p:cNvSpPr>
          <p:nvPr/>
        </p:nvSpPr>
        <p:spPr>
          <a:xfrm>
            <a:off x="4755916" y="1665288"/>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dirty="0"/>
              <a:t>Chart title runs here</a:t>
            </a:r>
          </a:p>
        </p:txBody>
      </p:sp>
      <p:sp>
        <p:nvSpPr>
          <p:cNvPr id="5" name="Text Placeholder 7"/>
          <p:cNvSpPr txBox="1">
            <a:spLocks/>
          </p:cNvSpPr>
          <p:nvPr/>
        </p:nvSpPr>
        <p:spPr>
          <a:xfrm>
            <a:off x="396000" y="1665288"/>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dirty="0"/>
              <a:t>Chart title runs here</a:t>
            </a:r>
          </a:p>
        </p:txBody>
      </p:sp>
      <p:grpSp>
        <p:nvGrpSpPr>
          <p:cNvPr id="28" name="Group 25"/>
          <p:cNvGrpSpPr>
            <a:grpSpLocks noChangeAspect="1"/>
          </p:cNvGrpSpPr>
          <p:nvPr/>
        </p:nvGrpSpPr>
        <p:grpSpPr bwMode="auto">
          <a:xfrm>
            <a:off x="689610" y="1976440"/>
            <a:ext cx="3467100" cy="3474323"/>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grpSp>
      <p:grpSp>
        <p:nvGrpSpPr>
          <p:cNvPr id="39" name="Group 24"/>
          <p:cNvGrpSpPr>
            <a:grpSpLocks noChangeAspect="1"/>
          </p:cNvGrpSpPr>
          <p:nvPr/>
        </p:nvGrpSpPr>
        <p:grpSpPr bwMode="auto">
          <a:xfrm>
            <a:off x="4986568" y="1976438"/>
            <a:ext cx="3468544" cy="3468545"/>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grpSp>
      <p:sp>
        <p:nvSpPr>
          <p:cNvPr id="50" name="TextBox 49"/>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4262419536"/>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3497018" y="1441937"/>
            <a:ext cx="2160587" cy="2447925"/>
            <a:chOff x="3497018" y="1441937"/>
            <a:chExt cx="2160587" cy="2447925"/>
          </a:xfrm>
          <a:solidFill>
            <a:schemeClr val="accent6"/>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6" name="Rectangle 10"/>
            <p:cNvSpPr>
              <a:spLocks noChangeArrowheads="1"/>
            </p:cNvSpPr>
            <p:nvPr/>
          </p:nvSpPr>
          <p:spPr bwMode="blackWhite">
            <a:xfrm>
              <a:off x="3613191" y="2569062"/>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7" name="Rectangle 11"/>
            <p:cNvSpPr>
              <a:spLocks noChangeArrowheads="1"/>
            </p:cNvSpPr>
            <p:nvPr/>
          </p:nvSpPr>
          <p:spPr bwMode="blackWhite">
            <a:xfrm>
              <a:off x="5234822" y="2569062"/>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grpSp>
      <p:grpSp>
        <p:nvGrpSpPr>
          <p:cNvPr id="48" name="Group 47"/>
          <p:cNvGrpSpPr/>
          <p:nvPr/>
        </p:nvGrpSpPr>
        <p:grpSpPr>
          <a:xfrm>
            <a:off x="513203" y="1591773"/>
            <a:ext cx="2160588" cy="2159000"/>
            <a:chOff x="513203" y="1591773"/>
            <a:chExt cx="2160588" cy="2159000"/>
          </a:xfrm>
          <a:solidFill>
            <a:schemeClr val="accent6"/>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9" name="Rectangle 5"/>
            <p:cNvSpPr>
              <a:spLocks noChangeArrowheads="1"/>
            </p:cNvSpPr>
            <p:nvPr/>
          </p:nvSpPr>
          <p:spPr bwMode="auto">
            <a:xfrm>
              <a:off x="616410" y="2489100"/>
              <a:ext cx="321691"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0" name="Rectangle 6"/>
            <p:cNvSpPr>
              <a:spLocks noChangeArrowheads="1"/>
            </p:cNvSpPr>
            <p:nvPr/>
          </p:nvSpPr>
          <p:spPr bwMode="auto">
            <a:xfrm>
              <a:off x="1414589" y="1777900"/>
              <a:ext cx="321691"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1" name="Rectangle 7"/>
            <p:cNvSpPr>
              <a:spLocks noChangeArrowheads="1"/>
            </p:cNvSpPr>
            <p:nvPr/>
          </p:nvSpPr>
          <p:spPr bwMode="auto">
            <a:xfrm>
              <a:off x="1414589" y="3392388"/>
              <a:ext cx="321691"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0" name="Group 49"/>
          <p:cNvGrpSpPr/>
          <p:nvPr/>
        </p:nvGrpSpPr>
        <p:grpSpPr>
          <a:xfrm>
            <a:off x="6387366" y="1598367"/>
            <a:ext cx="2376488" cy="2217737"/>
            <a:chOff x="6387366" y="1598367"/>
            <a:chExt cx="2376488" cy="2217737"/>
          </a:xfrm>
          <a:solidFill>
            <a:schemeClr val="accent6"/>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5" name="Rectangle 33"/>
            <p:cNvSpPr>
              <a:spLocks noChangeArrowheads="1"/>
            </p:cNvSpPr>
            <p:nvPr/>
          </p:nvSpPr>
          <p:spPr bwMode="blackWhite">
            <a:xfrm>
              <a:off x="7366494" y="1810314"/>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16" name="Rectangle 37"/>
            <p:cNvSpPr>
              <a:spLocks noChangeArrowheads="1"/>
            </p:cNvSpPr>
            <p:nvPr/>
          </p:nvSpPr>
          <p:spPr bwMode="blackWhite">
            <a:xfrm>
              <a:off x="8262191" y="285407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17" name="Rectangle 38"/>
            <p:cNvSpPr>
              <a:spLocks noChangeArrowheads="1"/>
            </p:cNvSpPr>
            <p:nvPr/>
          </p:nvSpPr>
          <p:spPr bwMode="blackWhite">
            <a:xfrm>
              <a:off x="6878189" y="308267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grpSp>
      <p:grpSp>
        <p:nvGrpSpPr>
          <p:cNvPr id="51" name="Group 50"/>
          <p:cNvGrpSpPr/>
          <p:nvPr/>
        </p:nvGrpSpPr>
        <p:grpSpPr>
          <a:xfrm>
            <a:off x="6524013" y="3873012"/>
            <a:ext cx="2295525" cy="2525712"/>
            <a:chOff x="6524013" y="3873012"/>
            <a:chExt cx="2295525" cy="2525712"/>
          </a:xfrm>
          <a:solidFill>
            <a:schemeClr val="accent6"/>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4" name="Rectangle 34"/>
            <p:cNvSpPr>
              <a:spLocks noChangeArrowheads="1"/>
            </p:cNvSpPr>
            <p:nvPr/>
          </p:nvSpPr>
          <p:spPr bwMode="blackWhite">
            <a:xfrm>
              <a:off x="8037979" y="44333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25" name="Rectangle 39"/>
            <p:cNvSpPr>
              <a:spLocks noChangeArrowheads="1"/>
            </p:cNvSpPr>
            <p:nvPr/>
          </p:nvSpPr>
          <p:spPr bwMode="blackWhite">
            <a:xfrm>
              <a:off x="8343573" y="51191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26" name="Rectangle 40"/>
            <p:cNvSpPr>
              <a:spLocks noChangeArrowheads="1"/>
            </p:cNvSpPr>
            <p:nvPr/>
          </p:nvSpPr>
          <p:spPr bwMode="blackWhite">
            <a:xfrm>
              <a:off x="7810173" y="58049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27" name="Rectangle 41"/>
            <p:cNvSpPr>
              <a:spLocks noChangeArrowheads="1"/>
            </p:cNvSpPr>
            <p:nvPr/>
          </p:nvSpPr>
          <p:spPr bwMode="blackWhite">
            <a:xfrm>
              <a:off x="6971973" y="56525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28" name="Rectangle 42"/>
            <p:cNvSpPr>
              <a:spLocks noChangeArrowheads="1"/>
            </p:cNvSpPr>
            <p:nvPr/>
          </p:nvSpPr>
          <p:spPr bwMode="blackWhite">
            <a:xfrm>
              <a:off x="6743373" y="49667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29" name="Rectangle 43"/>
            <p:cNvSpPr>
              <a:spLocks noChangeArrowheads="1"/>
            </p:cNvSpPr>
            <p:nvPr/>
          </p:nvSpPr>
          <p:spPr bwMode="blackWhite">
            <a:xfrm>
              <a:off x="7164061" y="4292112"/>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grpSp>
      <p:grpSp>
        <p:nvGrpSpPr>
          <p:cNvPr id="52" name="Group 51"/>
          <p:cNvGrpSpPr/>
          <p:nvPr/>
        </p:nvGrpSpPr>
        <p:grpSpPr>
          <a:xfrm>
            <a:off x="3375025" y="3993662"/>
            <a:ext cx="2387600" cy="2282825"/>
            <a:chOff x="3375025" y="3993662"/>
            <a:chExt cx="2387600" cy="2282825"/>
          </a:xfrm>
          <a:solidFill>
            <a:schemeClr val="accent6"/>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5" name="Rectangle 35"/>
            <p:cNvSpPr>
              <a:spLocks noChangeArrowheads="1"/>
            </p:cNvSpPr>
            <p:nvPr/>
          </p:nvSpPr>
          <p:spPr bwMode="blackWhite">
            <a:xfrm>
              <a:off x="4925504" y="45095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36" name="Rectangle 44"/>
            <p:cNvSpPr>
              <a:spLocks noChangeArrowheads="1"/>
            </p:cNvSpPr>
            <p:nvPr/>
          </p:nvSpPr>
          <p:spPr bwMode="blackWhite">
            <a:xfrm>
              <a:off x="5078698" y="55001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37" name="Rectangle 45"/>
            <p:cNvSpPr>
              <a:spLocks noChangeArrowheads="1"/>
            </p:cNvSpPr>
            <p:nvPr/>
          </p:nvSpPr>
          <p:spPr bwMode="blackWhite">
            <a:xfrm>
              <a:off x="4240498" y="58811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38" name="Rectangle 46"/>
            <p:cNvSpPr>
              <a:spLocks noChangeArrowheads="1"/>
            </p:cNvSpPr>
            <p:nvPr/>
          </p:nvSpPr>
          <p:spPr bwMode="blackWhite">
            <a:xfrm>
              <a:off x="3630898" y="51953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39" name="Rectangle 47"/>
            <p:cNvSpPr>
              <a:spLocks noChangeArrowheads="1"/>
            </p:cNvSpPr>
            <p:nvPr/>
          </p:nvSpPr>
          <p:spPr bwMode="blackWhite">
            <a:xfrm>
              <a:off x="4011898" y="44333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grpSp>
      <p:grpSp>
        <p:nvGrpSpPr>
          <p:cNvPr id="53" name="Group 52"/>
          <p:cNvGrpSpPr/>
          <p:nvPr/>
        </p:nvGrpSpPr>
        <p:grpSpPr>
          <a:xfrm>
            <a:off x="338260" y="3874599"/>
            <a:ext cx="2509838" cy="2520950"/>
            <a:chOff x="338260" y="3874599"/>
            <a:chExt cx="2509838" cy="2520950"/>
          </a:xfrm>
          <a:solidFill>
            <a:schemeClr val="accent6"/>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4" name="Rectangle 36"/>
            <p:cNvSpPr>
              <a:spLocks noChangeArrowheads="1"/>
            </p:cNvSpPr>
            <p:nvPr/>
          </p:nvSpPr>
          <p:spPr bwMode="blackWhite">
            <a:xfrm>
              <a:off x="2047489" y="45857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45" name="Rectangle 48"/>
            <p:cNvSpPr>
              <a:spLocks noChangeArrowheads="1"/>
            </p:cNvSpPr>
            <p:nvPr/>
          </p:nvSpPr>
          <p:spPr bwMode="blackWhite">
            <a:xfrm>
              <a:off x="1057683" y="43571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46" name="Rectangle 49"/>
            <p:cNvSpPr>
              <a:spLocks noChangeArrowheads="1"/>
            </p:cNvSpPr>
            <p:nvPr/>
          </p:nvSpPr>
          <p:spPr bwMode="blackWhite">
            <a:xfrm>
              <a:off x="752883" y="55001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sp>
          <p:nvSpPr>
            <p:cNvPr id="47" name="Rectangle 50"/>
            <p:cNvSpPr>
              <a:spLocks noChangeArrowheads="1"/>
            </p:cNvSpPr>
            <p:nvPr/>
          </p:nvSpPr>
          <p:spPr bwMode="blackWhite">
            <a:xfrm>
              <a:off x="1819683" y="5728799"/>
              <a:ext cx="321691" cy="175433"/>
            </a:xfrm>
            <a:prstGeom prst="rect">
              <a:avLst/>
            </a:prstGeom>
            <a:grp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200"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4104065918"/>
              </p:ext>
            </p:extLst>
          </p:nvPr>
        </p:nvGraphicFramePr>
        <p:xfrm>
          <a:off x="374904" y="2505399"/>
          <a:ext cx="8394191" cy="2990525"/>
        </p:xfrm>
        <a:graphic>
          <a:graphicData uri="http://schemas.openxmlformats.org/drawingml/2006/table">
            <a:tbl>
              <a:tblPr>
                <a:tableStyleId>{5C22544A-7EE6-4342-B048-85BDC9FD1C3A}</a:tableStyleId>
              </a:tblPr>
              <a:tblGrid>
                <a:gridCol w="1625951">
                  <a:extLst>
                    <a:ext uri="{9D8B030D-6E8A-4147-A177-3AD203B41FA5}">
                      <a16:colId xmlns:a16="http://schemas.microsoft.com/office/drawing/2014/main" val="20000"/>
                    </a:ext>
                  </a:extLst>
                </a:gridCol>
                <a:gridCol w="1692060">
                  <a:extLst>
                    <a:ext uri="{9D8B030D-6E8A-4147-A177-3AD203B41FA5}">
                      <a16:colId xmlns:a16="http://schemas.microsoft.com/office/drawing/2014/main" val="20001"/>
                    </a:ext>
                  </a:extLst>
                </a:gridCol>
                <a:gridCol w="1692060">
                  <a:extLst>
                    <a:ext uri="{9D8B030D-6E8A-4147-A177-3AD203B41FA5}">
                      <a16:colId xmlns:a16="http://schemas.microsoft.com/office/drawing/2014/main" val="20002"/>
                    </a:ext>
                  </a:extLst>
                </a:gridCol>
                <a:gridCol w="1692060">
                  <a:extLst>
                    <a:ext uri="{9D8B030D-6E8A-4147-A177-3AD203B41FA5}">
                      <a16:colId xmlns:a16="http://schemas.microsoft.com/office/drawing/2014/main" val="20003"/>
                    </a:ext>
                  </a:extLst>
                </a:gridCol>
                <a:gridCol w="169206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0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0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2" name="Pentagon 11"/>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dirty="0">
                <a:solidFill>
                  <a:schemeClr val="tx1"/>
                </a:solidFill>
              </a:rPr>
              <a:t>Name of phase</a:t>
            </a:r>
          </a:p>
        </p:txBody>
      </p:sp>
      <p:sp>
        <p:nvSpPr>
          <p:cNvPr id="13" name="Chevron 12"/>
          <p:cNvSpPr/>
          <p:nvPr/>
        </p:nvSpPr>
        <p:spPr>
          <a:xfrm>
            <a:off x="3618150" y="1965706"/>
            <a:ext cx="1828800"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en-US" sz="1200" dirty="0">
                <a:solidFill>
                  <a:schemeClr val="tx1"/>
                </a:solidFill>
              </a:rPr>
              <a:t>Name of phase</a:t>
            </a:r>
          </a:p>
        </p:txBody>
      </p:sp>
      <p:sp>
        <p:nvSpPr>
          <p:cNvPr id="15" name="Chevron 14"/>
          <p:cNvSpPr/>
          <p:nvPr/>
        </p:nvSpPr>
        <p:spPr>
          <a:xfrm>
            <a:off x="5281604" y="1965706"/>
            <a:ext cx="1828800" cy="548640"/>
          </a:xfrm>
          <a:prstGeom prst="chevron">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en-US" sz="1200" dirty="0">
                <a:solidFill>
                  <a:schemeClr val="tx1"/>
                </a:solidFill>
              </a:rPr>
              <a:t>Name of phase</a:t>
            </a:r>
          </a:p>
        </p:txBody>
      </p:sp>
      <p:sp>
        <p:nvSpPr>
          <p:cNvPr id="17" name="Chevron 16"/>
          <p:cNvSpPr/>
          <p:nvPr/>
        </p:nvSpPr>
        <p:spPr>
          <a:xfrm>
            <a:off x="6945058" y="1965706"/>
            <a:ext cx="1828800"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en-US" sz="1200" dirty="0">
                <a:solidFill>
                  <a:schemeClr val="bg1"/>
                </a:solidFill>
              </a:rPr>
              <a:t>Name of phase</a:t>
            </a:r>
          </a:p>
        </p:txBody>
      </p:sp>
      <p:sp>
        <p:nvSpPr>
          <p:cNvPr id="20" name="Text Placeholder 14"/>
          <p:cNvSpPr txBox="1">
            <a:spLocks/>
          </p:cNvSpPr>
          <p:nvPr/>
        </p:nvSpPr>
        <p:spPr>
          <a:xfrm>
            <a:off x="395999" y="1700213"/>
            <a:ext cx="8352001" cy="3571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able title runs here</a:t>
            </a:r>
          </a:p>
        </p:txBody>
      </p:sp>
    </p:spTree>
    <p:extLst>
      <p:ext uri="{BB962C8B-B14F-4D97-AF65-F5344CB8AC3E}">
        <p14:creationId xmlns:p14="http://schemas.microsoft.com/office/powerpoint/2010/main" val="2506705745"/>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365125" y="1614318"/>
            <a:ext cx="1828800" cy="18288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2" name="Group 3"/>
          <p:cNvGrpSpPr>
            <a:grpSpLocks/>
          </p:cNvGrpSpPr>
          <p:nvPr/>
        </p:nvGrpSpPr>
        <p:grpSpPr bwMode="gray">
          <a:xfrm>
            <a:off x="2566742" y="1615246"/>
            <a:ext cx="1814411" cy="1813483"/>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8" name="Group 3"/>
          <p:cNvGrpSpPr>
            <a:grpSpLocks/>
          </p:cNvGrpSpPr>
          <p:nvPr/>
        </p:nvGrpSpPr>
        <p:grpSpPr bwMode="gray">
          <a:xfrm>
            <a:off x="4755370" y="1614318"/>
            <a:ext cx="1819502" cy="1824151"/>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78" name="Group 3"/>
          <p:cNvGrpSpPr>
            <a:grpSpLocks/>
          </p:cNvGrpSpPr>
          <p:nvPr/>
        </p:nvGrpSpPr>
        <p:grpSpPr bwMode="gray">
          <a:xfrm>
            <a:off x="6949232" y="1620022"/>
            <a:ext cx="1817383" cy="1817392"/>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04" name="Group 3"/>
          <p:cNvGrpSpPr>
            <a:grpSpLocks/>
          </p:cNvGrpSpPr>
          <p:nvPr/>
        </p:nvGrpSpPr>
        <p:grpSpPr bwMode="gray">
          <a:xfrm>
            <a:off x="1467103" y="3112724"/>
            <a:ext cx="1817644" cy="1817644"/>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1" name="Group 3"/>
          <p:cNvGrpSpPr>
            <a:grpSpLocks/>
          </p:cNvGrpSpPr>
          <p:nvPr/>
        </p:nvGrpSpPr>
        <p:grpSpPr bwMode="gray">
          <a:xfrm>
            <a:off x="3673848" y="3117373"/>
            <a:ext cx="1799048" cy="1798119"/>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9" name="Group 3"/>
          <p:cNvGrpSpPr>
            <a:grpSpLocks/>
          </p:cNvGrpSpPr>
          <p:nvPr/>
        </p:nvGrpSpPr>
        <p:grpSpPr bwMode="gray">
          <a:xfrm>
            <a:off x="5857348" y="3117373"/>
            <a:ext cx="1803697" cy="1808346"/>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28" name="Group 3"/>
          <p:cNvGrpSpPr>
            <a:grpSpLocks/>
          </p:cNvGrpSpPr>
          <p:nvPr/>
        </p:nvGrpSpPr>
        <p:grpSpPr bwMode="gray">
          <a:xfrm>
            <a:off x="2578377" y="4612970"/>
            <a:ext cx="1789752" cy="1792597"/>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38" name="Group 137"/>
          <p:cNvGrpSpPr>
            <a:grpSpLocks/>
          </p:cNvGrpSpPr>
          <p:nvPr/>
        </p:nvGrpSpPr>
        <p:grpSpPr bwMode="gray">
          <a:xfrm>
            <a:off x="4766503" y="4610201"/>
            <a:ext cx="1794915" cy="1803696"/>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5863742" y="3014936"/>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6"/>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ea typeface="+mn-ea"/>
              <a:cs typeface="Arial" pitchFamily="34" charset="0"/>
            </a:endParaRPr>
          </a:p>
        </p:txBody>
      </p:sp>
      <p:sp>
        <p:nvSpPr>
          <p:cNvPr id="25" name="Freeform 3"/>
          <p:cNvSpPr>
            <a:spLocks/>
          </p:cNvSpPr>
          <p:nvPr/>
        </p:nvSpPr>
        <p:spPr bwMode="blackWhite">
          <a:xfrm>
            <a:off x="5383956" y="1913539"/>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6"/>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ea typeface="+mn-ea"/>
              <a:cs typeface="Arial" pitchFamily="34" charset="0"/>
            </a:endParaRPr>
          </a:p>
        </p:txBody>
      </p:sp>
      <p:sp>
        <p:nvSpPr>
          <p:cNvPr id="26" name="Freeform 4"/>
          <p:cNvSpPr>
            <a:spLocks/>
          </p:cNvSpPr>
          <p:nvPr/>
        </p:nvSpPr>
        <p:spPr bwMode="blackWhite">
          <a:xfrm>
            <a:off x="1953092" y="1607905"/>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ea typeface="+mn-ea"/>
              <a:cs typeface="Arial" pitchFamily="34" charset="0"/>
            </a:endParaRPr>
          </a:p>
        </p:txBody>
      </p:sp>
      <p:sp>
        <p:nvSpPr>
          <p:cNvPr id="27" name="Freeform 5"/>
          <p:cNvSpPr>
            <a:spLocks/>
          </p:cNvSpPr>
          <p:nvPr/>
        </p:nvSpPr>
        <p:spPr bwMode="blackWhite">
          <a:xfrm>
            <a:off x="5035406" y="4337528"/>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6"/>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ea typeface="+mn-ea"/>
              <a:cs typeface="Arial" pitchFamily="34" charset="0"/>
            </a:endParaRPr>
          </a:p>
        </p:txBody>
      </p:sp>
      <p:sp>
        <p:nvSpPr>
          <p:cNvPr id="28" name="Freeform 7"/>
          <p:cNvSpPr>
            <a:spLocks/>
          </p:cNvSpPr>
          <p:nvPr/>
        </p:nvSpPr>
        <p:spPr bwMode="blackWhite">
          <a:xfrm rot="120000">
            <a:off x="3337003" y="2901938"/>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6"/>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ea typeface="+mn-ea"/>
              <a:cs typeface="Arial" pitchFamily="34" charset="0"/>
            </a:endParaRPr>
          </a:p>
        </p:txBody>
      </p:sp>
      <p:sp>
        <p:nvSpPr>
          <p:cNvPr id="29" name="Rectangle 8"/>
          <p:cNvSpPr>
            <a:spLocks noChangeArrowheads="1"/>
          </p:cNvSpPr>
          <p:nvPr/>
        </p:nvSpPr>
        <p:spPr bwMode="blackWhite">
          <a:xfrm>
            <a:off x="3661804" y="2374234"/>
            <a:ext cx="321690" cy="175433"/>
          </a:xfrm>
          <a:prstGeom prst="rect">
            <a:avLst/>
          </a:prstGeom>
          <a:noFill/>
          <a:ln w="9525">
            <a:noFill/>
            <a:miter lim="800000"/>
            <a:headEnd/>
            <a:tailEnd/>
          </a:ln>
        </p:spPr>
        <p:txBody>
          <a:bodyPr wrap="none" lIns="0" tIns="0" rIns="0" bIns="0" anchor="ctr">
            <a:spAutoFit/>
          </a:bodyPr>
          <a:lstStyle/>
          <a:p>
            <a:pPr algn="ctr" defTabSz="787400" eaLnBrk="1" hangingPunct="1">
              <a:lnSpc>
                <a:spcPct val="95000"/>
              </a:lnSpc>
              <a:spcBef>
                <a:spcPct val="80000"/>
              </a:spcBef>
              <a:buClr>
                <a:schemeClr val="bg1"/>
              </a:buClr>
            </a:pPr>
            <a:r>
              <a:rPr lang="en-GB" sz="1200" dirty="0">
                <a:ea typeface="+mn-ea"/>
                <a:cs typeface="Arial" pitchFamily="34" charset="0"/>
              </a:rPr>
              <a:t>Text</a:t>
            </a:r>
          </a:p>
        </p:txBody>
      </p:sp>
      <p:sp>
        <p:nvSpPr>
          <p:cNvPr id="30" name="Rectangle 9"/>
          <p:cNvSpPr>
            <a:spLocks noChangeArrowheads="1"/>
          </p:cNvSpPr>
          <p:nvPr/>
        </p:nvSpPr>
        <p:spPr bwMode="blackWhite">
          <a:xfrm>
            <a:off x="6015619" y="2630514"/>
            <a:ext cx="321690" cy="175433"/>
          </a:xfrm>
          <a:prstGeom prst="rect">
            <a:avLst/>
          </a:prstGeom>
          <a:noFill/>
          <a:ln w="9525">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GB" sz="1200" dirty="0">
                <a:solidFill>
                  <a:schemeClr val="bg1"/>
                </a:solidFill>
                <a:ea typeface="+mn-ea"/>
                <a:cs typeface="Arial" pitchFamily="34" charset="0"/>
              </a:rPr>
              <a:t>Text</a:t>
            </a:r>
          </a:p>
        </p:txBody>
      </p:sp>
      <p:sp>
        <p:nvSpPr>
          <p:cNvPr id="31" name="Rectangle 10"/>
          <p:cNvSpPr>
            <a:spLocks noChangeArrowheads="1"/>
          </p:cNvSpPr>
          <p:nvPr/>
        </p:nvSpPr>
        <p:spPr bwMode="blackWhite">
          <a:xfrm>
            <a:off x="6476314" y="3919544"/>
            <a:ext cx="321690" cy="175433"/>
          </a:xfrm>
          <a:prstGeom prst="rect">
            <a:avLst/>
          </a:prstGeom>
          <a:noFill/>
          <a:ln w="9525">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GB" sz="1200" dirty="0">
                <a:solidFill>
                  <a:schemeClr val="bg1"/>
                </a:solidFill>
                <a:ea typeface="+mn-ea"/>
                <a:cs typeface="Arial" pitchFamily="34" charset="0"/>
              </a:rPr>
              <a:t>Text</a:t>
            </a:r>
          </a:p>
        </p:txBody>
      </p:sp>
      <p:sp>
        <p:nvSpPr>
          <p:cNvPr id="32" name="Rectangle 11"/>
          <p:cNvSpPr>
            <a:spLocks noChangeArrowheads="1"/>
          </p:cNvSpPr>
          <p:nvPr/>
        </p:nvSpPr>
        <p:spPr bwMode="blackWhite">
          <a:xfrm>
            <a:off x="5641876" y="4988906"/>
            <a:ext cx="321690" cy="175433"/>
          </a:xfrm>
          <a:prstGeom prst="rect">
            <a:avLst/>
          </a:prstGeom>
          <a:noFill/>
          <a:ln w="9525">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GB" sz="1200" dirty="0">
                <a:solidFill>
                  <a:schemeClr val="bg1"/>
                </a:solidFill>
                <a:ea typeface="+mn-ea"/>
                <a:cs typeface="Arial" pitchFamily="34" charset="0"/>
              </a:rPr>
              <a:t>Text</a:t>
            </a:r>
          </a:p>
        </p:txBody>
      </p:sp>
      <p:sp>
        <p:nvSpPr>
          <p:cNvPr id="33" name="Rectangle 13"/>
          <p:cNvSpPr>
            <a:spLocks noChangeArrowheads="1"/>
          </p:cNvSpPr>
          <p:nvPr/>
        </p:nvSpPr>
        <p:spPr bwMode="blackWhite">
          <a:xfrm>
            <a:off x="3840920" y="3483257"/>
            <a:ext cx="321690" cy="175433"/>
          </a:xfrm>
          <a:prstGeom prst="rect">
            <a:avLst/>
          </a:prstGeom>
          <a:noFill/>
          <a:ln w="9525">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GB" sz="1200" dirty="0">
                <a:solidFill>
                  <a:schemeClr val="bg1"/>
                </a:solidFill>
                <a:ea typeface="+mn-ea"/>
                <a:cs typeface="Arial" pitchFamily="34" charset="0"/>
              </a:rPr>
              <a:t>Text</a:t>
            </a:r>
          </a:p>
        </p:txBody>
      </p:sp>
      <p:sp>
        <p:nvSpPr>
          <p:cNvPr id="34" name="Freeform 6"/>
          <p:cNvSpPr>
            <a:spLocks/>
          </p:cNvSpPr>
          <p:nvPr/>
        </p:nvSpPr>
        <p:spPr bwMode="blackWhite">
          <a:xfrm>
            <a:off x="3560267" y="4131588"/>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6"/>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ea typeface="+mn-ea"/>
              <a:cs typeface="Arial" pitchFamily="34" charset="0"/>
            </a:endParaRPr>
          </a:p>
        </p:txBody>
      </p:sp>
      <p:sp>
        <p:nvSpPr>
          <p:cNvPr id="35" name="Rectangle 12"/>
          <p:cNvSpPr>
            <a:spLocks noChangeArrowheads="1"/>
          </p:cNvSpPr>
          <p:nvPr/>
        </p:nvSpPr>
        <p:spPr bwMode="blackWhite">
          <a:xfrm>
            <a:off x="4358948" y="4703641"/>
            <a:ext cx="321690" cy="175433"/>
          </a:xfrm>
          <a:prstGeom prst="rect">
            <a:avLst/>
          </a:prstGeom>
          <a:noFill/>
          <a:ln w="9525">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GB" sz="1200" dirty="0">
                <a:solidFill>
                  <a:schemeClr val="bg1"/>
                </a:solidFill>
                <a:ea typeface="+mn-ea"/>
                <a:cs typeface="Arial" pitchFamily="34" charset="0"/>
              </a:rPr>
              <a:t>Text</a:t>
            </a:r>
          </a:p>
        </p:txBody>
      </p:sp>
      <p:sp>
        <p:nvSpPr>
          <p:cNvPr id="16" name="TextBox 15"/>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919114659"/>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2055341" y="1620240"/>
            <a:ext cx="2520950"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8" name="Freeform 19"/>
          <p:cNvSpPr>
            <a:spLocks/>
          </p:cNvSpPr>
          <p:nvPr/>
        </p:nvSpPr>
        <p:spPr bwMode="auto">
          <a:xfrm>
            <a:off x="4567238" y="1616763"/>
            <a:ext cx="2525712"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9" name="Freeform 20"/>
          <p:cNvSpPr>
            <a:spLocks/>
          </p:cNvSpPr>
          <p:nvPr/>
        </p:nvSpPr>
        <p:spPr bwMode="auto">
          <a:xfrm>
            <a:off x="4129645" y="2037807"/>
            <a:ext cx="879028"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chemeClr val="accent1">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1" name="Freeform 21"/>
          <p:cNvSpPr>
            <a:spLocks/>
          </p:cNvSpPr>
          <p:nvPr/>
        </p:nvSpPr>
        <p:spPr bwMode="auto">
          <a:xfrm>
            <a:off x="3086100" y="4142646"/>
            <a:ext cx="2967037"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2" name="Freeform 22"/>
          <p:cNvSpPr>
            <a:spLocks/>
          </p:cNvSpPr>
          <p:nvPr/>
        </p:nvSpPr>
        <p:spPr bwMode="auto">
          <a:xfrm>
            <a:off x="3112314" y="3335422"/>
            <a:ext cx="146050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chemeClr val="accent1">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3" name="Freeform 23"/>
          <p:cNvSpPr>
            <a:spLocks/>
          </p:cNvSpPr>
          <p:nvPr/>
        </p:nvSpPr>
        <p:spPr bwMode="auto">
          <a:xfrm>
            <a:off x="4565046" y="3338898"/>
            <a:ext cx="1467212"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chemeClr val="accent1">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4" name="Freeform 24"/>
          <p:cNvSpPr>
            <a:spLocks/>
          </p:cNvSpPr>
          <p:nvPr/>
        </p:nvSpPr>
        <p:spPr bwMode="auto">
          <a:xfrm>
            <a:off x="4148138" y="3280161"/>
            <a:ext cx="84296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5" name="Rectangle 24"/>
          <p:cNvSpPr/>
          <p:nvPr/>
        </p:nvSpPr>
        <p:spPr bwMode="gray">
          <a:xfrm>
            <a:off x="5635118" y="2810782"/>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3187193" y="2810782"/>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4408773" y="4972957"/>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4408773" y="3525157"/>
            <a:ext cx="3216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9" name="TextBox 28"/>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2825651" y="1739037"/>
            <a:ext cx="565172"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5">
              <a:lumMod val="75000"/>
            </a:schemeClr>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3" name="Oval 15"/>
          <p:cNvSpPr/>
          <p:nvPr/>
        </p:nvSpPr>
        <p:spPr bwMode="gray">
          <a:xfrm>
            <a:off x="3107341" y="1604129"/>
            <a:ext cx="1093293"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1">
              <a:lumMod val="60000"/>
              <a:lumOff val="40000"/>
            </a:schemeClr>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4" name="Oval 16"/>
          <p:cNvSpPr/>
          <p:nvPr/>
        </p:nvSpPr>
        <p:spPr bwMode="gray">
          <a:xfrm>
            <a:off x="2015840" y="1604129"/>
            <a:ext cx="1093292"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chemeClr val="accent3">
              <a:lumMod val="60000"/>
              <a:lumOff val="40000"/>
            </a:schemeClr>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5" name="Rectangle 64"/>
          <p:cNvSpPr/>
          <p:nvPr/>
        </p:nvSpPr>
        <p:spPr bwMode="gray">
          <a:xfrm>
            <a:off x="2271793" y="219780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3600054" y="219780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2435731" y="3510950"/>
            <a:ext cx="411480"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1468780" y="3308294"/>
            <a:ext cx="1174800"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accent6">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2644618" y="3308294"/>
            <a:ext cx="975168"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accent1">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3618404" y="3308294"/>
            <a:ext cx="1174800"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accent3">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3421884" y="3510950"/>
            <a:ext cx="394423"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2940120" y="3901966"/>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3" name="Rectangle 72"/>
          <p:cNvSpPr/>
          <p:nvPr/>
        </p:nvSpPr>
        <p:spPr bwMode="gray">
          <a:xfrm>
            <a:off x="1852964" y="3901966"/>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4" name="Rectangle 73"/>
          <p:cNvSpPr/>
          <p:nvPr/>
        </p:nvSpPr>
        <p:spPr bwMode="gray">
          <a:xfrm>
            <a:off x="4066301" y="3901966"/>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943829" y="4990089"/>
            <a:ext cx="1177041"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chemeClr val="accent5">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2116346" y="4990089"/>
            <a:ext cx="991699"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chemeClr val="accent6">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1922012" y="5196034"/>
            <a:ext cx="393192"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accent3">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3103521" y="4990089"/>
            <a:ext cx="991699"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2909187" y="5196034"/>
            <a:ext cx="393192"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accent1">
              <a:lumMod val="5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4090696" y="4990089"/>
            <a:ext cx="1177041"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3">
              <a:lumMod val="60000"/>
              <a:lumOff val="4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3896362" y="5196034"/>
            <a:ext cx="393192"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accent5">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1306024" y="558376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2448461" y="558376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3424523" y="558376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4522593" y="5583760"/>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6347430" y="1509173"/>
            <a:ext cx="1451560"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7" name="Freeform 4"/>
          <p:cNvSpPr>
            <a:spLocks/>
          </p:cNvSpPr>
          <p:nvPr/>
        </p:nvSpPr>
        <p:spPr bwMode="gray">
          <a:xfrm>
            <a:off x="5841403" y="2421733"/>
            <a:ext cx="122832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6367469" y="2335708"/>
            <a:ext cx="700021"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7065798" y="2418786"/>
            <a:ext cx="1128318"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7065798" y="2361045"/>
            <a:ext cx="699011"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6785620" y="2998511"/>
            <a:ext cx="573806"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6789185" y="2502694"/>
            <a:ext cx="554917"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6908458" y="1921927"/>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4" name="Rectangle 93"/>
          <p:cNvSpPr/>
          <p:nvPr/>
        </p:nvSpPr>
        <p:spPr bwMode="gray">
          <a:xfrm>
            <a:off x="6908458" y="2766917"/>
            <a:ext cx="3216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7571196" y="3087239"/>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6240197" y="3087239"/>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6324253" y="3964093"/>
            <a:ext cx="1384777"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6324253" y="5694966"/>
            <a:ext cx="1384777"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7549457" y="4472212"/>
            <a:ext cx="65071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7006647" y="4437066"/>
            <a:ext cx="72803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7006647" y="5154606"/>
            <a:ext cx="72803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7226347" y="4941378"/>
            <a:ext cx="333390"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5818514" y="4469831"/>
            <a:ext cx="649711"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6290111" y="4437066"/>
            <a:ext cx="725024"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6290111" y="5154606"/>
            <a:ext cx="725024"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6465844" y="4941378"/>
            <a:ext cx="332388"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6788810" y="4616517"/>
            <a:ext cx="440784"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6760212" y="4905742"/>
            <a:ext cx="503100"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6855797" y="5070763"/>
            <a:ext cx="321691"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6791973" y="5383014"/>
            <a:ext cx="439113"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10" name="Rectangle 109"/>
          <p:cNvSpPr/>
          <p:nvPr/>
        </p:nvSpPr>
        <p:spPr bwMode="gray">
          <a:xfrm>
            <a:off x="6855797" y="4169165"/>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6855797" y="6000838"/>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7744250" y="5070763"/>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5924749" y="5070763"/>
            <a:ext cx="321690"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a:t>Blades</a:t>
            </a:r>
            <a:endParaRPr lang="en-US" dirty="0"/>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grpSp>
        <p:nvGrpSpPr>
          <p:cNvPr id="16" name="Group 15"/>
          <p:cNvGrpSpPr/>
          <p:nvPr/>
        </p:nvGrpSpPr>
        <p:grpSpPr bwMode="gray">
          <a:xfrm>
            <a:off x="4859136" y="1976438"/>
            <a:ext cx="3723409" cy="3984625"/>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600" dirty="0">
                <a:ea typeface="+mn-ea"/>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600" dirty="0">
                <a:ea typeface="+mn-ea"/>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600" dirty="0">
                <a:ea typeface="+mn-ea"/>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600" dirty="0">
                <a:ea typeface="+mn-ea"/>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600" dirty="0">
                <a:ea typeface="+mn-ea"/>
                <a:cs typeface="Arial" pitchFamily="34" charset="0"/>
              </a:endParaRPr>
            </a:p>
          </p:txBody>
        </p:sp>
        <p:sp>
          <p:nvSpPr>
            <p:cNvPr id="22" name="Rectangle 9"/>
            <p:cNvSpPr>
              <a:spLocks noChangeArrowheads="1"/>
            </p:cNvSpPr>
            <p:nvPr/>
          </p:nvSpPr>
          <p:spPr bwMode="gray">
            <a:xfrm rot="5400000">
              <a:off x="4431481" y="2792288"/>
              <a:ext cx="1233487" cy="230112"/>
            </a:xfrm>
            <a:prstGeom prst="rect">
              <a:avLst/>
            </a:prstGeom>
            <a:noFill/>
            <a:ln w="9525">
              <a:noFill/>
              <a:miter lim="800000"/>
              <a:headEnd/>
              <a:tailEnd/>
            </a:ln>
          </p:spPr>
          <p:txBody>
            <a:bodyPr lIns="0" tIns="0" rIns="0" bIns="0" anchor="ctr" anchorCtr="0">
              <a:spAutoFit/>
            </a:bodyPr>
            <a:lstStyle/>
            <a:p>
              <a:pPr algn="ctr" defTabSz="787400" eaLnBrk="1" hangingPunct="1">
                <a:lnSpc>
                  <a:spcPct val="95000"/>
                </a:lnSpc>
                <a:spcBef>
                  <a:spcPct val="80000"/>
                </a:spcBef>
                <a:buClr>
                  <a:schemeClr val="tx2"/>
                </a:buClr>
              </a:pPr>
              <a:r>
                <a:rPr lang="en-GB" sz="1400" dirty="0">
                  <a:solidFill>
                    <a:schemeClr val="bg1"/>
                  </a:solidFill>
                  <a:ea typeface="+mn-ea"/>
                  <a:cs typeface="Arial" pitchFamily="34" charset="0"/>
                </a:rPr>
                <a:t>Text</a:t>
              </a:r>
            </a:p>
          </p:txBody>
        </p:sp>
        <p:sp>
          <p:nvSpPr>
            <p:cNvPr id="23" name="Rectangle 10"/>
            <p:cNvSpPr>
              <a:spLocks noChangeArrowheads="1"/>
            </p:cNvSpPr>
            <p:nvPr/>
          </p:nvSpPr>
          <p:spPr bwMode="gray">
            <a:xfrm>
              <a:off x="4811249" y="4260834"/>
              <a:ext cx="1175136" cy="230112"/>
            </a:xfrm>
            <a:prstGeom prst="rect">
              <a:avLst/>
            </a:prstGeom>
            <a:noFill/>
            <a:ln w="9525">
              <a:noFill/>
              <a:miter lim="800000"/>
              <a:headEnd/>
              <a:tailEnd/>
            </a:ln>
          </p:spPr>
          <p:txBody>
            <a:bodyPr lIns="0" tIns="0" rIns="0" bIns="0" anchor="ctr" anchorCtr="0">
              <a:spAutoFit/>
            </a:bodyPr>
            <a:lstStyle/>
            <a:p>
              <a:pPr algn="ctr" defTabSz="787400" eaLnBrk="1" hangingPunct="1">
                <a:lnSpc>
                  <a:spcPct val="95000"/>
                </a:lnSpc>
                <a:spcBef>
                  <a:spcPct val="80000"/>
                </a:spcBef>
                <a:buClr>
                  <a:schemeClr val="tx2"/>
                </a:buClr>
              </a:pPr>
              <a:r>
                <a:rPr lang="en-GB" sz="1400" dirty="0">
                  <a:ea typeface="+mn-ea"/>
                  <a:cs typeface="Arial" pitchFamily="34" charset="0"/>
                </a:rPr>
                <a:t>Text</a:t>
              </a:r>
            </a:p>
          </p:txBody>
        </p:sp>
        <p:sp>
          <p:nvSpPr>
            <p:cNvPr id="24" name="Rectangle 11"/>
            <p:cNvSpPr>
              <a:spLocks noChangeArrowheads="1"/>
            </p:cNvSpPr>
            <p:nvPr/>
          </p:nvSpPr>
          <p:spPr bwMode="gray">
            <a:xfrm rot="16200000" flipH="1">
              <a:off x="3471188" y="4630066"/>
              <a:ext cx="1228725" cy="230112"/>
            </a:xfrm>
            <a:prstGeom prst="rect">
              <a:avLst/>
            </a:prstGeom>
            <a:noFill/>
            <a:ln w="9525">
              <a:noFill/>
              <a:miter lim="800000"/>
              <a:headEnd/>
              <a:tailEnd/>
            </a:ln>
          </p:spPr>
          <p:txBody>
            <a:bodyPr lIns="0" tIns="0" rIns="0" bIns="0" anchor="ctr" anchorCtr="0">
              <a:spAutoFit/>
            </a:bodyPr>
            <a:lstStyle/>
            <a:p>
              <a:pPr algn="ctr" defTabSz="787400" eaLnBrk="1" hangingPunct="1">
                <a:lnSpc>
                  <a:spcPct val="95000"/>
                </a:lnSpc>
                <a:spcBef>
                  <a:spcPct val="80000"/>
                </a:spcBef>
                <a:buClr>
                  <a:schemeClr val="tx2"/>
                </a:buClr>
              </a:pPr>
              <a:r>
                <a:rPr lang="en-GB" sz="1400" dirty="0">
                  <a:ea typeface="+mn-ea"/>
                  <a:cs typeface="Arial" pitchFamily="34" charset="0"/>
                </a:rPr>
                <a:t>Text</a:t>
              </a:r>
            </a:p>
          </p:txBody>
        </p:sp>
        <p:sp>
          <p:nvSpPr>
            <p:cNvPr id="25" name="Rectangle 12"/>
            <p:cNvSpPr>
              <a:spLocks noChangeArrowheads="1"/>
            </p:cNvSpPr>
            <p:nvPr/>
          </p:nvSpPr>
          <p:spPr bwMode="gray">
            <a:xfrm>
              <a:off x="3147392" y="3189271"/>
              <a:ext cx="1172205" cy="230112"/>
            </a:xfrm>
            <a:prstGeom prst="rect">
              <a:avLst/>
            </a:prstGeom>
            <a:noFill/>
            <a:ln w="9525">
              <a:noFill/>
              <a:miter lim="800000"/>
              <a:headEnd/>
              <a:tailEnd/>
            </a:ln>
          </p:spPr>
          <p:txBody>
            <a:bodyPr lIns="0" tIns="0" rIns="0" bIns="0" anchor="ctr" anchorCtr="0">
              <a:spAutoFit/>
            </a:bodyPr>
            <a:lstStyle/>
            <a:p>
              <a:pPr algn="ctr" defTabSz="787400" eaLnBrk="1" hangingPunct="1">
                <a:lnSpc>
                  <a:spcPct val="95000"/>
                </a:lnSpc>
                <a:spcBef>
                  <a:spcPct val="80000"/>
                </a:spcBef>
                <a:buClr>
                  <a:schemeClr val="tx2"/>
                </a:buClr>
              </a:pPr>
              <a:r>
                <a:rPr lang="en-GB" sz="1400" dirty="0">
                  <a:ea typeface="+mn-ea"/>
                  <a:cs typeface="Arial" pitchFamily="34" charset="0"/>
                </a:rPr>
                <a:t>Text</a:t>
              </a:r>
            </a:p>
          </p:txBody>
        </p:sp>
      </p:grpSp>
      <p:sp>
        <p:nvSpPr>
          <p:cNvPr id="81" name="Text Placeholder 7"/>
          <p:cNvSpPr txBox="1">
            <a:spLocks/>
          </p:cNvSpPr>
          <p:nvPr/>
        </p:nvSpPr>
        <p:spPr>
          <a:xfrm>
            <a:off x="4755916" y="1665288"/>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dirty="0"/>
              <a:t>Chart title runs here</a:t>
            </a:r>
          </a:p>
        </p:txBody>
      </p:sp>
    </p:spTree>
    <p:extLst>
      <p:ext uri="{BB962C8B-B14F-4D97-AF65-F5344CB8AC3E}">
        <p14:creationId xmlns:p14="http://schemas.microsoft.com/office/powerpoint/2010/main" val="72767915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grpSp>
        <p:nvGrpSpPr>
          <p:cNvPr id="8" name="Group 7"/>
          <p:cNvGrpSpPr/>
          <p:nvPr/>
        </p:nvGrpSpPr>
        <p:grpSpPr>
          <a:xfrm>
            <a:off x="2523551" y="2092306"/>
            <a:ext cx="4096899" cy="3968463"/>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algn="ctr"/>
              <a:r>
                <a:rPr lang="en-US" sz="1400" dirty="0"/>
                <a:t>Text</a:t>
              </a:r>
            </a:p>
          </p:txBody>
        </p:sp>
      </p:grpSp>
      <p:sp>
        <p:nvSpPr>
          <p:cNvPr id="15" name="Rectangle 14"/>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9" name="TextBox 18"/>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
        <p:nvSpPr>
          <p:cNvPr id="20" name="TextBox 19"/>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solidFill>
                  <a:schemeClr val="tx2"/>
                </a:solidFill>
              </a:rPr>
              <a:t>Source: </a:t>
            </a:r>
          </a:p>
          <a:p>
            <a:pPr>
              <a:buSzPct val="25000"/>
            </a:pPr>
            <a:r>
              <a:rPr lang="en-US" sz="900" dirty="0">
                <a:solidFill>
                  <a:schemeClr val="tx2"/>
                </a:solidFill>
              </a:rPr>
              <a:t>Note: </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36" name="Oval 12"/>
          <p:cNvSpPr>
            <a:spLocks noChangeArrowheads="1"/>
          </p:cNvSpPr>
          <p:nvPr/>
        </p:nvSpPr>
        <p:spPr bwMode="blackWhite">
          <a:xfrm>
            <a:off x="2110023" y="3575255"/>
            <a:ext cx="374035" cy="369887"/>
          </a:xfrm>
          <a:prstGeom prst="ellipse">
            <a:avLst/>
          </a:prstGeom>
          <a:solidFill>
            <a:schemeClr val="accent1"/>
          </a:solidFill>
          <a:ln w="12700">
            <a:solidFill>
              <a:schemeClr val="bg1"/>
            </a:solidFill>
            <a:round/>
            <a:headEnd/>
            <a:tailEnd/>
          </a:ln>
        </p:spPr>
        <p:txBody>
          <a:bodyPr wrap="none" lIns="88900" tIns="88900" rIns="88900" bIns="88900" anchor="ctr"/>
          <a:lstStyle/>
          <a:p>
            <a:pPr algn="ctr" eaLnBrk="1" hangingPunct="1">
              <a:spcBef>
                <a:spcPct val="20000"/>
              </a:spcBef>
            </a:pPr>
            <a:endParaRPr lang="en-GB" sz="1400" dirty="0">
              <a:solidFill>
                <a:srgbClr val="FFFFFF"/>
              </a:solidFill>
              <a:ea typeface="+mn-ea"/>
              <a:cs typeface="Arial" pitchFamily="34" charset="0"/>
            </a:endParaRPr>
          </a:p>
        </p:txBody>
      </p:sp>
      <p:sp>
        <p:nvSpPr>
          <p:cNvPr id="37" name="Oval 36"/>
          <p:cNvSpPr>
            <a:spLocks noChangeArrowheads="1"/>
          </p:cNvSpPr>
          <p:nvPr/>
        </p:nvSpPr>
        <p:spPr bwMode="blackWhite">
          <a:xfrm>
            <a:off x="4861248" y="2772715"/>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ea typeface="+mn-ea"/>
                <a:cs typeface="Arial" pitchFamily="34" charset="0"/>
              </a:rPr>
              <a:t>Text</a:t>
            </a:r>
          </a:p>
        </p:txBody>
      </p:sp>
      <p:sp>
        <p:nvSpPr>
          <p:cNvPr id="38" name="Oval 37"/>
          <p:cNvSpPr>
            <a:spLocks noChangeArrowheads="1"/>
          </p:cNvSpPr>
          <p:nvPr/>
        </p:nvSpPr>
        <p:spPr bwMode="blackWhite">
          <a:xfrm>
            <a:off x="6083688" y="3834122"/>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ea typeface="+mn-ea"/>
                <a:cs typeface="Arial" pitchFamily="34" charset="0"/>
              </a:rPr>
              <a:t>Text</a:t>
            </a:r>
          </a:p>
        </p:txBody>
      </p:sp>
      <p:sp>
        <p:nvSpPr>
          <p:cNvPr id="39" name="Oval 38"/>
          <p:cNvSpPr>
            <a:spLocks noChangeArrowheads="1"/>
          </p:cNvSpPr>
          <p:nvPr/>
        </p:nvSpPr>
        <p:spPr bwMode="blackWhite">
          <a:xfrm>
            <a:off x="7290069" y="2265070"/>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ea typeface="+mn-ea"/>
                <a:cs typeface="Arial" pitchFamily="34" charset="0"/>
              </a:rPr>
              <a:t>Text</a:t>
            </a:r>
          </a:p>
        </p:txBody>
      </p:sp>
      <p:grpSp>
        <p:nvGrpSpPr>
          <p:cNvPr id="32" name="Group 31"/>
          <p:cNvGrpSpPr/>
          <p:nvPr/>
        </p:nvGrpSpPr>
        <p:grpSpPr>
          <a:xfrm>
            <a:off x="4665630" y="2171969"/>
            <a:ext cx="4114833" cy="2746375"/>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grpSp>
      <p:grpSp>
        <p:nvGrpSpPr>
          <p:cNvPr id="47" name="Group 46"/>
          <p:cNvGrpSpPr/>
          <p:nvPr/>
        </p:nvGrpSpPr>
        <p:grpSpPr>
          <a:xfrm>
            <a:off x="1592131" y="4015785"/>
            <a:ext cx="1405317" cy="1090202"/>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grpSp>
      <p:grpSp>
        <p:nvGrpSpPr>
          <p:cNvPr id="50" name="Group 49"/>
          <p:cNvGrpSpPr/>
          <p:nvPr/>
        </p:nvGrpSpPr>
        <p:grpSpPr>
          <a:xfrm flipV="1">
            <a:off x="1592131" y="2410010"/>
            <a:ext cx="1405317" cy="1090202"/>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grpSp>
      <p:grpSp>
        <p:nvGrpSpPr>
          <p:cNvPr id="53" name="Group 52"/>
          <p:cNvGrpSpPr/>
          <p:nvPr/>
        </p:nvGrpSpPr>
        <p:grpSpPr>
          <a:xfrm>
            <a:off x="927561" y="3080748"/>
            <a:ext cx="2731480" cy="546100"/>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grpSp>
      <p:grpSp>
        <p:nvGrpSpPr>
          <p:cNvPr id="56" name="Group 55"/>
          <p:cNvGrpSpPr/>
          <p:nvPr/>
        </p:nvGrpSpPr>
        <p:grpSpPr>
          <a:xfrm flipV="1">
            <a:off x="927561" y="3893850"/>
            <a:ext cx="2731480" cy="546100"/>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ea typeface="+mn-ea"/>
                <a:cs typeface="Arial" pitchFamily="34" charset="0"/>
              </a:endParaRPr>
            </a:p>
          </p:txBody>
        </p:sp>
      </p:grpSp>
      <p:sp>
        <p:nvSpPr>
          <p:cNvPr id="59" name="Oval 58"/>
          <p:cNvSpPr>
            <a:spLocks noChangeArrowheads="1"/>
          </p:cNvSpPr>
          <p:nvPr/>
        </p:nvSpPr>
        <p:spPr bwMode="blackWhite">
          <a:xfrm>
            <a:off x="2912301" y="4369798"/>
            <a:ext cx="1005840" cy="1005840"/>
          </a:xfrm>
          <a:prstGeom prst="ellipse">
            <a:avLst/>
          </a:prstGeom>
          <a:solidFill>
            <a:schemeClr val="accent4"/>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ea typeface="+mn-ea"/>
                <a:cs typeface="Arial" pitchFamily="34" charset="0"/>
              </a:rPr>
              <a:t>Text</a:t>
            </a:r>
          </a:p>
        </p:txBody>
      </p:sp>
      <p:sp>
        <p:nvSpPr>
          <p:cNvPr id="60" name="Oval 59"/>
          <p:cNvSpPr>
            <a:spLocks noChangeArrowheads="1"/>
          </p:cNvSpPr>
          <p:nvPr/>
        </p:nvSpPr>
        <p:spPr bwMode="blackWhite">
          <a:xfrm>
            <a:off x="673190" y="2174285"/>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ea typeface="+mn-ea"/>
                <a:cs typeface="Arial" pitchFamily="34" charset="0"/>
              </a:rPr>
              <a:t>Text</a:t>
            </a:r>
          </a:p>
        </p:txBody>
      </p:sp>
      <p:sp>
        <p:nvSpPr>
          <p:cNvPr id="61" name="Oval 60"/>
          <p:cNvSpPr>
            <a:spLocks noChangeArrowheads="1"/>
          </p:cNvSpPr>
          <p:nvPr/>
        </p:nvSpPr>
        <p:spPr bwMode="blackWhite">
          <a:xfrm>
            <a:off x="2912301" y="2174285"/>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ea typeface="+mn-ea"/>
                <a:cs typeface="Arial" pitchFamily="34" charset="0"/>
              </a:rPr>
              <a:t>Text</a:t>
            </a:r>
          </a:p>
        </p:txBody>
      </p:sp>
      <p:sp>
        <p:nvSpPr>
          <p:cNvPr id="62" name="Oval 61"/>
          <p:cNvSpPr>
            <a:spLocks noChangeArrowheads="1"/>
          </p:cNvSpPr>
          <p:nvPr/>
        </p:nvSpPr>
        <p:spPr bwMode="blackWhite">
          <a:xfrm>
            <a:off x="673190" y="4369798"/>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ea typeface="+mn-ea"/>
                <a:cs typeface="Arial" pitchFamily="34" charset="0"/>
              </a:rPr>
              <a:t>Text</a:t>
            </a:r>
          </a:p>
        </p:txBody>
      </p:sp>
      <p:sp>
        <p:nvSpPr>
          <p:cNvPr id="63" name="TextBox 62"/>
          <p:cNvSpPr txBox="1"/>
          <p:nvPr/>
        </p:nvSpPr>
        <p:spPr bwMode="gray">
          <a:xfrm>
            <a:off x="376237" y="1710506"/>
            <a:ext cx="3996613" cy="184666"/>
          </a:xfrm>
          <a:prstGeom prst="rect">
            <a:avLst/>
          </a:prstGeom>
          <a:noFill/>
        </p:spPr>
        <p:txBody>
          <a:bodyPr wrap="square" lIns="0" tIns="0" rIns="0" bIns="0" rtlCol="0">
            <a:spAutoFit/>
          </a:bodyPr>
          <a:lstStyle/>
          <a:p>
            <a:r>
              <a:rPr lang="en-US" sz="1200" dirty="0"/>
              <a:t>Chart title runs here</a:t>
            </a:r>
          </a:p>
        </p:txBody>
      </p:sp>
      <p:sp>
        <p:nvSpPr>
          <p:cNvPr id="64" name="TextBox 63"/>
          <p:cNvSpPr txBox="1"/>
          <p:nvPr/>
        </p:nvSpPr>
        <p:spPr bwMode="gray">
          <a:xfrm>
            <a:off x="4753396" y="1710506"/>
            <a:ext cx="3996613" cy="184666"/>
          </a:xfrm>
          <a:prstGeom prst="rect">
            <a:avLst/>
          </a:prstGeom>
          <a:noFill/>
        </p:spPr>
        <p:txBody>
          <a:bodyPr wrap="square" lIns="0" tIns="0" rIns="0" bIns="0" rtlCol="0">
            <a:spAutoFit/>
          </a:bodyPr>
          <a:lstStyle/>
          <a:p>
            <a:r>
              <a:rPr lang="en-US" sz="1200" dirty="0"/>
              <a:t>Chart title runs here</a:t>
            </a:r>
          </a:p>
        </p:txBody>
      </p:sp>
      <p:sp>
        <p:nvSpPr>
          <p:cNvPr id="68" name="TextBox 67"/>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Closed loop</a:t>
            </a:r>
            <a:endParaRPr lang="en-US" dirty="0"/>
          </a:p>
        </p:txBody>
      </p:sp>
      <p:sp>
        <p:nvSpPr>
          <p:cNvPr id="683009" name="Title 1"/>
          <p:cNvSpPr>
            <a:spLocks noGrp="1"/>
          </p:cNvSpPr>
          <p:nvPr>
            <p:ph type="title"/>
          </p:nvPr>
        </p:nvSpPr>
        <p:spPr/>
        <p:txBody>
          <a:bodyPr/>
          <a:lstStyle/>
          <a:p>
            <a:r>
              <a:rPr lang="en-US"/>
              <a:t>Spheres</a:t>
            </a:r>
            <a:endParaRPr lang="en-US" dirty="0"/>
          </a:p>
        </p:txBody>
      </p:sp>
      <p:sp>
        <p:nvSpPr>
          <p:cNvPr id="18" name="Arc 17"/>
          <p:cNvSpPr/>
          <p:nvPr/>
        </p:nvSpPr>
        <p:spPr>
          <a:xfrm>
            <a:off x="1987845" y="2331613"/>
            <a:ext cx="5188986" cy="3328395"/>
          </a:xfrm>
          <a:prstGeom prst="arc">
            <a:avLst>
              <a:gd name="adj1" fmla="val 8925647"/>
              <a:gd name="adj2" fmla="val 10686916"/>
            </a:avLst>
          </a:prstGeom>
          <a:ln w="952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eaLnBrk="1" fontAlgn="auto" hangingPunct="1">
              <a:spcBef>
                <a:spcPts val="0"/>
              </a:spcBef>
              <a:spcAft>
                <a:spcPts val="0"/>
              </a:spcAft>
            </a:pPr>
            <a:endParaRPr lang="en-US" sz="1800" dirty="0">
              <a:solidFill>
                <a:srgbClr val="000000"/>
              </a:solidFill>
            </a:endParaRPr>
          </a:p>
        </p:txBody>
      </p:sp>
      <p:sp>
        <p:nvSpPr>
          <p:cNvPr id="19" name="Arc 18"/>
          <p:cNvSpPr/>
          <p:nvPr/>
        </p:nvSpPr>
        <p:spPr>
          <a:xfrm>
            <a:off x="1987845" y="2331613"/>
            <a:ext cx="5188986" cy="3328395"/>
          </a:xfrm>
          <a:prstGeom prst="arc">
            <a:avLst>
              <a:gd name="adj1" fmla="val 3958186"/>
              <a:gd name="adj2" fmla="val 6805800"/>
            </a:avLst>
          </a:prstGeom>
          <a:ln w="952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eaLnBrk="1" fontAlgn="auto" hangingPunct="1">
              <a:spcBef>
                <a:spcPts val="0"/>
              </a:spcBef>
              <a:spcAft>
                <a:spcPts val="0"/>
              </a:spcAft>
            </a:pPr>
            <a:endParaRPr lang="en-US" sz="1800" dirty="0">
              <a:solidFill>
                <a:srgbClr val="000000"/>
              </a:solidFill>
            </a:endParaRPr>
          </a:p>
        </p:txBody>
      </p:sp>
      <p:sp>
        <p:nvSpPr>
          <p:cNvPr id="20" name="Arc 19"/>
          <p:cNvSpPr/>
          <p:nvPr/>
        </p:nvSpPr>
        <p:spPr>
          <a:xfrm>
            <a:off x="1987845" y="2331613"/>
            <a:ext cx="5188986" cy="3328395"/>
          </a:xfrm>
          <a:prstGeom prst="arc">
            <a:avLst>
              <a:gd name="adj1" fmla="val 11708954"/>
              <a:gd name="adj2" fmla="val 14396052"/>
            </a:avLst>
          </a:prstGeom>
          <a:ln w="952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eaLnBrk="1" fontAlgn="auto" hangingPunct="1">
              <a:spcBef>
                <a:spcPts val="0"/>
              </a:spcBef>
              <a:spcAft>
                <a:spcPts val="0"/>
              </a:spcAft>
            </a:pPr>
            <a:endParaRPr lang="en-US" sz="1800" dirty="0">
              <a:solidFill>
                <a:srgbClr val="000000"/>
              </a:solidFill>
            </a:endParaRPr>
          </a:p>
        </p:txBody>
      </p:sp>
      <p:sp>
        <p:nvSpPr>
          <p:cNvPr id="21" name="Arc 20"/>
          <p:cNvSpPr/>
          <p:nvPr/>
        </p:nvSpPr>
        <p:spPr>
          <a:xfrm>
            <a:off x="1987845" y="2331613"/>
            <a:ext cx="5188986" cy="3328395"/>
          </a:xfrm>
          <a:prstGeom prst="arc">
            <a:avLst>
              <a:gd name="adj1" fmla="val 21586303"/>
              <a:gd name="adj2" fmla="val 1737383"/>
            </a:avLst>
          </a:prstGeom>
          <a:ln w="952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eaLnBrk="1" fontAlgn="auto" hangingPunct="1">
              <a:spcBef>
                <a:spcPts val="0"/>
              </a:spcBef>
              <a:spcAft>
                <a:spcPts val="0"/>
              </a:spcAft>
            </a:pPr>
            <a:endParaRPr lang="en-US" sz="1800" dirty="0">
              <a:solidFill>
                <a:srgbClr val="000000"/>
              </a:solidFill>
            </a:endParaRPr>
          </a:p>
        </p:txBody>
      </p:sp>
      <p:sp>
        <p:nvSpPr>
          <p:cNvPr id="32" name="Arc 31"/>
          <p:cNvSpPr/>
          <p:nvPr/>
        </p:nvSpPr>
        <p:spPr>
          <a:xfrm>
            <a:off x="1987845" y="2331613"/>
            <a:ext cx="5188986" cy="3328395"/>
          </a:xfrm>
          <a:prstGeom prst="arc">
            <a:avLst>
              <a:gd name="adj1" fmla="val 17642061"/>
              <a:gd name="adj2" fmla="val 20339299"/>
            </a:avLst>
          </a:prstGeom>
          <a:ln w="952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eaLnBrk="1" fontAlgn="auto" hangingPunct="1">
              <a:spcBef>
                <a:spcPts val="0"/>
              </a:spcBef>
              <a:spcAft>
                <a:spcPts val="0"/>
              </a:spcAft>
            </a:pPr>
            <a:endParaRPr lang="en-US" sz="1800" dirty="0">
              <a:solidFill>
                <a:srgbClr val="000000"/>
              </a:solidFill>
            </a:endParaRPr>
          </a:p>
        </p:txBody>
      </p:sp>
      <p:sp>
        <p:nvSpPr>
          <p:cNvPr id="33" name="Oval 24"/>
          <p:cNvSpPr>
            <a:spLocks noChangeArrowheads="1"/>
          </p:cNvSpPr>
          <p:nvPr/>
        </p:nvSpPr>
        <p:spPr bwMode="gray">
          <a:xfrm>
            <a:off x="3702872" y="1976439"/>
            <a:ext cx="1738259" cy="935985"/>
          </a:xfrm>
          <a:prstGeom prst="ellipse">
            <a:avLst/>
          </a:prstGeom>
          <a:solidFill>
            <a:schemeClr val="accent1"/>
          </a:solidFill>
          <a:ln w="9525">
            <a:noFill/>
            <a:round/>
            <a:headEnd/>
            <a:tailEnd/>
          </a:ln>
          <a:effectLst/>
        </p:spPr>
        <p:txBody>
          <a:bodyPr wrap="square" lIns="88900" tIns="88900" rIns="88900" bIns="88900" anchor="ctr"/>
          <a:lstStyle/>
          <a:p>
            <a:pPr algn="ctr" defTabSz="228600"/>
            <a:r>
              <a:rPr lang="en-US" sz="1200" dirty="0"/>
              <a:t>Text</a:t>
            </a:r>
          </a:p>
        </p:txBody>
      </p:sp>
      <p:sp>
        <p:nvSpPr>
          <p:cNvPr id="34" name="Oval 25"/>
          <p:cNvSpPr>
            <a:spLocks noChangeArrowheads="1"/>
          </p:cNvSpPr>
          <p:nvPr/>
        </p:nvSpPr>
        <p:spPr bwMode="gray">
          <a:xfrm>
            <a:off x="5227191" y="5025078"/>
            <a:ext cx="1738259" cy="935985"/>
          </a:xfrm>
          <a:prstGeom prst="ellipse">
            <a:avLst/>
          </a:prstGeom>
          <a:solidFill>
            <a:schemeClr val="accent4"/>
          </a:solidFill>
          <a:ln w="9525">
            <a:noFill/>
            <a:round/>
            <a:headEnd/>
            <a:tailEnd/>
          </a:ln>
          <a:effectLst/>
        </p:spPr>
        <p:txBody>
          <a:bodyPr wrap="square" lIns="88900" tIns="88900" rIns="88900" bIns="88900" anchor="ctr"/>
          <a:lstStyle/>
          <a:p>
            <a:pPr algn="ctr" defTabSz="228600"/>
            <a:r>
              <a:rPr lang="en-US" sz="1200" dirty="0">
                <a:solidFill>
                  <a:schemeClr val="bg1"/>
                </a:solidFill>
              </a:rPr>
              <a:t>Text</a:t>
            </a:r>
          </a:p>
        </p:txBody>
      </p:sp>
      <p:sp>
        <p:nvSpPr>
          <p:cNvPr id="35" name="Oval 26"/>
          <p:cNvSpPr>
            <a:spLocks noChangeArrowheads="1"/>
          </p:cNvSpPr>
          <p:nvPr/>
        </p:nvSpPr>
        <p:spPr bwMode="gray">
          <a:xfrm>
            <a:off x="2178552" y="5025078"/>
            <a:ext cx="1738259" cy="935985"/>
          </a:xfrm>
          <a:prstGeom prst="ellipse">
            <a:avLst/>
          </a:prstGeom>
          <a:solidFill>
            <a:schemeClr val="accent5"/>
          </a:solidFill>
          <a:ln w="9525">
            <a:noFill/>
            <a:round/>
            <a:headEnd/>
            <a:tailEnd/>
          </a:ln>
          <a:effectLst/>
        </p:spPr>
        <p:txBody>
          <a:bodyPr wrap="square" lIns="88900" tIns="88900" rIns="88900" bIns="88900" anchor="ctr"/>
          <a:lstStyle/>
          <a:p>
            <a:pPr algn="ctr" defTabSz="228600"/>
            <a:r>
              <a:rPr lang="en-US" sz="1200" dirty="0"/>
              <a:t>Text</a:t>
            </a:r>
          </a:p>
        </p:txBody>
      </p:sp>
      <p:sp>
        <p:nvSpPr>
          <p:cNvPr id="36" name="Oval 27"/>
          <p:cNvSpPr>
            <a:spLocks noChangeArrowheads="1"/>
          </p:cNvSpPr>
          <p:nvPr/>
        </p:nvSpPr>
        <p:spPr bwMode="gray">
          <a:xfrm>
            <a:off x="6189918" y="3124490"/>
            <a:ext cx="1738259" cy="935985"/>
          </a:xfrm>
          <a:prstGeom prst="ellipse">
            <a:avLst/>
          </a:prstGeom>
          <a:solidFill>
            <a:schemeClr val="accent2"/>
          </a:solidFill>
          <a:ln w="9525">
            <a:noFill/>
            <a:round/>
            <a:headEnd/>
            <a:tailEnd/>
          </a:ln>
          <a:effectLst/>
        </p:spPr>
        <p:txBody>
          <a:bodyPr wrap="square" lIns="88900" tIns="88900" rIns="88900" bIns="88900" anchor="ctr"/>
          <a:lstStyle/>
          <a:p>
            <a:pPr algn="ctr" defTabSz="228600"/>
            <a:r>
              <a:rPr lang="en-US" sz="1200" dirty="0">
                <a:solidFill>
                  <a:schemeClr val="bg1"/>
                </a:solidFill>
              </a:rPr>
              <a:t>Text</a:t>
            </a:r>
          </a:p>
        </p:txBody>
      </p:sp>
      <p:sp>
        <p:nvSpPr>
          <p:cNvPr id="37" name="Oval 28"/>
          <p:cNvSpPr>
            <a:spLocks noChangeArrowheads="1"/>
          </p:cNvSpPr>
          <p:nvPr/>
        </p:nvSpPr>
        <p:spPr bwMode="gray">
          <a:xfrm>
            <a:off x="1215824" y="3124490"/>
            <a:ext cx="1738259" cy="935985"/>
          </a:xfrm>
          <a:prstGeom prst="ellipse">
            <a:avLst/>
          </a:prstGeom>
          <a:solidFill>
            <a:schemeClr val="accent3"/>
          </a:solidFill>
          <a:ln w="9525">
            <a:noFill/>
            <a:round/>
            <a:headEnd/>
            <a:tailEnd/>
          </a:ln>
          <a:effectLst/>
        </p:spPr>
        <p:txBody>
          <a:bodyPr wrap="square" lIns="88900" tIns="88900" rIns="88900" bIns="88900" anchor="ctr"/>
          <a:lstStyle/>
          <a:p>
            <a:pPr algn="ctr" defTabSz="228600"/>
            <a:r>
              <a:rPr lang="en-US" sz="1200" dirty="0"/>
              <a:t>Text</a:t>
            </a:r>
          </a:p>
        </p:txBody>
      </p:sp>
      <p:sp>
        <p:nvSpPr>
          <p:cNvPr id="40" name="TextBox 39"/>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
        <p:nvSpPr>
          <p:cNvPr id="22" name="TextBox 21"/>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771838273"/>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2581881" y="1976438"/>
            <a:ext cx="3980239" cy="3979656"/>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2"/>
            </a:solidFill>
            <a:ln w="12700">
              <a:solidFill>
                <a:schemeClr val="bg1"/>
              </a:solidFill>
              <a:round/>
              <a:headEnd/>
              <a:tailEnd/>
            </a:ln>
          </p:spPr>
          <p:txBody>
            <a:bodyPr wrap="none" lIns="86493" tIns="43247" rIns="86493" bIns="43247" anchor="ctr"/>
            <a:lstStyle/>
            <a:p>
              <a:pPr defTabSz="865188" eaLnBrk="1" hangingPunct="1">
                <a:spcBef>
                  <a:spcPct val="20000"/>
                </a:spcBef>
                <a:defRPr/>
              </a:pPr>
              <a:endParaRPr lang="de-DE" sz="1700"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accent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chemeClr val="accent6"/>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3"/>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ea typeface="+mn-ea"/>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ea typeface="+mn-ea"/>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ea typeface="+mn-ea"/>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ea typeface="+mn-ea"/>
                <a:cs typeface="Arial" pitchFamily="34" charset="0"/>
              </a:endParaRPr>
            </a:p>
          </p:txBody>
        </p:sp>
      </p:grpSp>
      <p:sp>
        <p:nvSpPr>
          <p:cNvPr id="29" name="TextBox 28"/>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8" name="TextBox 17"/>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grpSp>
        <p:nvGrpSpPr>
          <p:cNvPr id="50" name="Group 3"/>
          <p:cNvGrpSpPr>
            <a:grpSpLocks/>
          </p:cNvGrpSpPr>
          <p:nvPr/>
        </p:nvGrpSpPr>
        <p:grpSpPr bwMode="auto">
          <a:xfrm>
            <a:off x="4571310" y="1976438"/>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ea typeface="+mn-ea"/>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1" name="Group 6"/>
          <p:cNvGrpSpPr>
            <a:grpSpLocks/>
          </p:cNvGrpSpPr>
          <p:nvPr/>
        </p:nvGrpSpPr>
        <p:grpSpPr bwMode="auto">
          <a:xfrm>
            <a:off x="4571310" y="2357240"/>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ea typeface="+mn-ea"/>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2" name="Group 9"/>
          <p:cNvGrpSpPr>
            <a:grpSpLocks/>
          </p:cNvGrpSpPr>
          <p:nvPr/>
        </p:nvGrpSpPr>
        <p:grpSpPr bwMode="auto">
          <a:xfrm>
            <a:off x="4571310" y="3352017"/>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ea typeface="+mn-ea"/>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3" name="Group 12"/>
          <p:cNvGrpSpPr>
            <a:grpSpLocks/>
          </p:cNvGrpSpPr>
          <p:nvPr/>
        </p:nvGrpSpPr>
        <p:grpSpPr bwMode="auto">
          <a:xfrm>
            <a:off x="4571310" y="3967371"/>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ea typeface="+mn-ea"/>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4" name="Group 15"/>
          <p:cNvGrpSpPr>
            <a:grpSpLocks/>
          </p:cNvGrpSpPr>
          <p:nvPr/>
        </p:nvGrpSpPr>
        <p:grpSpPr bwMode="auto">
          <a:xfrm>
            <a:off x="4571310" y="3967371"/>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200" dirty="0">
                  <a:ea typeface="+mn-ea"/>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5" name="Group 18"/>
          <p:cNvGrpSpPr>
            <a:grpSpLocks/>
          </p:cNvGrpSpPr>
          <p:nvPr/>
        </p:nvGrpSpPr>
        <p:grpSpPr bwMode="auto">
          <a:xfrm>
            <a:off x="3401310" y="3967371"/>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ea typeface="+mn-ea"/>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6" name="Group 21"/>
          <p:cNvGrpSpPr>
            <a:grpSpLocks/>
          </p:cNvGrpSpPr>
          <p:nvPr/>
        </p:nvGrpSpPr>
        <p:grpSpPr bwMode="auto">
          <a:xfrm>
            <a:off x="2676958" y="3967371"/>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ea typeface="+mn-ea"/>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7" name="Group 24"/>
          <p:cNvGrpSpPr>
            <a:grpSpLocks/>
          </p:cNvGrpSpPr>
          <p:nvPr/>
        </p:nvGrpSpPr>
        <p:grpSpPr bwMode="auto">
          <a:xfrm>
            <a:off x="2580378" y="3352017"/>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ea typeface="+mn-ea"/>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8" name="Group 27"/>
          <p:cNvGrpSpPr>
            <a:grpSpLocks/>
          </p:cNvGrpSpPr>
          <p:nvPr/>
        </p:nvGrpSpPr>
        <p:grpSpPr bwMode="auto">
          <a:xfrm>
            <a:off x="2676958" y="2357240"/>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ea typeface="+mn-ea"/>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grpSp>
        <p:nvGrpSpPr>
          <p:cNvPr id="59" name="Group 30"/>
          <p:cNvGrpSpPr>
            <a:grpSpLocks/>
          </p:cNvGrpSpPr>
          <p:nvPr/>
        </p:nvGrpSpPr>
        <p:grpSpPr bwMode="auto">
          <a:xfrm>
            <a:off x="3401310" y="1976438"/>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ea typeface="+mn-ea"/>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ea typeface="+mn-ea"/>
                <a:cs typeface="Arial" pitchFamily="34" charset="0"/>
              </a:endParaRPr>
            </a:p>
          </p:txBody>
        </p:sp>
      </p:grpSp>
      <p:sp>
        <p:nvSpPr>
          <p:cNvPr id="80" name="Oval 79"/>
          <p:cNvSpPr>
            <a:spLocks noChangeArrowheads="1"/>
          </p:cNvSpPr>
          <p:nvPr/>
        </p:nvSpPr>
        <p:spPr bwMode="auto">
          <a:xfrm>
            <a:off x="3574379" y="2971409"/>
            <a:ext cx="1992313" cy="1990933"/>
          </a:xfrm>
          <a:prstGeom prst="ellipse">
            <a:avLst/>
          </a:prstGeom>
          <a:solidFill>
            <a:schemeClr val="accent6"/>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Text</a:t>
            </a:r>
          </a:p>
        </p:txBody>
      </p:sp>
      <p:sp>
        <p:nvSpPr>
          <p:cNvPr id="38" name="TextBox 37"/>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37" name="TextBox 36"/>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on solid background</a:t>
            </a:r>
          </a:p>
        </p:txBody>
      </p:sp>
      <p:sp>
        <p:nvSpPr>
          <p:cNvPr id="16" name="Pentagon 15"/>
          <p:cNvSpPr/>
          <p:nvPr/>
        </p:nvSpPr>
        <p:spPr>
          <a:xfrm>
            <a:off x="1954696" y="1965706"/>
            <a:ext cx="1828800" cy="548640"/>
          </a:xfrm>
          <a:prstGeom prst="homePlat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dirty="0">
                <a:solidFill>
                  <a:schemeClr val="tx1"/>
                </a:solidFill>
              </a:rPr>
              <a:t>Name of phase</a:t>
            </a:r>
          </a:p>
        </p:txBody>
      </p:sp>
      <p:graphicFrame>
        <p:nvGraphicFramePr>
          <p:cNvPr id="21" name="Chart Placeholder 19"/>
          <p:cNvGraphicFramePr>
            <a:graphicFrameLocks/>
          </p:cNvGraphicFramePr>
          <p:nvPr>
            <p:extLst>
              <p:ext uri="{D42A27DB-BD31-4B8C-83A1-F6EECF244321}">
                <p14:modId xmlns:p14="http://schemas.microsoft.com/office/powerpoint/2010/main" val="2654126992"/>
              </p:ext>
            </p:extLst>
          </p:nvPr>
        </p:nvGraphicFramePr>
        <p:xfrm>
          <a:off x="374905" y="2505075"/>
          <a:ext cx="8394191" cy="2990525"/>
        </p:xfrm>
        <a:graphic>
          <a:graphicData uri="http://schemas.openxmlformats.org/drawingml/2006/table">
            <a:tbl>
              <a:tblPr>
                <a:tableStyleId>{5C22544A-7EE6-4342-B048-85BDC9FD1C3A}</a:tableStyleId>
              </a:tblPr>
              <a:tblGrid>
                <a:gridCol w="1625951">
                  <a:extLst>
                    <a:ext uri="{9D8B030D-6E8A-4147-A177-3AD203B41FA5}">
                      <a16:colId xmlns:a16="http://schemas.microsoft.com/office/drawing/2014/main" val="20000"/>
                    </a:ext>
                  </a:extLst>
                </a:gridCol>
                <a:gridCol w="1692060">
                  <a:extLst>
                    <a:ext uri="{9D8B030D-6E8A-4147-A177-3AD203B41FA5}">
                      <a16:colId xmlns:a16="http://schemas.microsoft.com/office/drawing/2014/main" val="20001"/>
                    </a:ext>
                  </a:extLst>
                </a:gridCol>
                <a:gridCol w="1692060">
                  <a:extLst>
                    <a:ext uri="{9D8B030D-6E8A-4147-A177-3AD203B41FA5}">
                      <a16:colId xmlns:a16="http://schemas.microsoft.com/office/drawing/2014/main" val="20002"/>
                    </a:ext>
                  </a:extLst>
                </a:gridCol>
                <a:gridCol w="1692060">
                  <a:extLst>
                    <a:ext uri="{9D8B030D-6E8A-4147-A177-3AD203B41FA5}">
                      <a16:colId xmlns:a16="http://schemas.microsoft.com/office/drawing/2014/main" val="20003"/>
                    </a:ext>
                  </a:extLst>
                </a:gridCol>
                <a:gridCol w="169206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0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0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0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4" name="Text Placeholder 14"/>
          <p:cNvSpPr txBox="1">
            <a:spLocks/>
          </p:cNvSpPr>
          <p:nvPr/>
        </p:nvSpPr>
        <p:spPr>
          <a:xfrm>
            <a:off x="395999" y="1700213"/>
            <a:ext cx="8352001" cy="3571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able title runs here</a:t>
            </a:r>
          </a:p>
        </p:txBody>
      </p:sp>
      <p:sp>
        <p:nvSpPr>
          <p:cNvPr id="29" name="Chevron 28"/>
          <p:cNvSpPr/>
          <p:nvPr/>
        </p:nvSpPr>
        <p:spPr>
          <a:xfrm>
            <a:off x="3618150" y="1965706"/>
            <a:ext cx="1828800" cy="548640"/>
          </a:xfrm>
          <a:prstGeom prst="chevron">
            <a:avLst/>
          </a:prstGeom>
          <a:solidFill>
            <a:srgbClr val="D0D0CE"/>
          </a:solidFill>
          <a:ln w="6350" cap="flat" cmpd="sng" algn="ctr">
            <a:noFill/>
            <a:prstDash val="solid"/>
          </a:ln>
          <a:effectLst/>
        </p:spPr>
        <p:txBody>
          <a:bodyPr lIns="88900" tIns="88900" rIns="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Verdana"/>
                <a:ea typeface="+mn-ea"/>
                <a:cs typeface="+mn-cs"/>
              </a:rPr>
              <a:t>Name of phase</a:t>
            </a:r>
          </a:p>
        </p:txBody>
      </p:sp>
      <p:sp>
        <p:nvSpPr>
          <p:cNvPr id="30" name="Chevron 29"/>
          <p:cNvSpPr/>
          <p:nvPr/>
        </p:nvSpPr>
        <p:spPr>
          <a:xfrm>
            <a:off x="5281604" y="1965706"/>
            <a:ext cx="1828800" cy="548640"/>
          </a:xfrm>
          <a:prstGeom prst="chevron">
            <a:avLst/>
          </a:prstGeom>
          <a:solidFill>
            <a:srgbClr val="A7A8AA"/>
          </a:solidFill>
          <a:ln w="6350" cap="flat" cmpd="sng" algn="ctr">
            <a:noFill/>
            <a:prstDash val="solid"/>
          </a:ln>
          <a:effectLst/>
        </p:spPr>
        <p:txBody>
          <a:bodyPr lIns="88900" tIns="88900" rIns="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Verdana"/>
                <a:ea typeface="+mn-ea"/>
                <a:cs typeface="+mn-cs"/>
              </a:rPr>
              <a:t>Name of phase</a:t>
            </a:r>
          </a:p>
        </p:txBody>
      </p:sp>
      <p:sp>
        <p:nvSpPr>
          <p:cNvPr id="31" name="Chevron 30"/>
          <p:cNvSpPr/>
          <p:nvPr/>
        </p:nvSpPr>
        <p:spPr>
          <a:xfrm>
            <a:off x="6945058" y="1965706"/>
            <a:ext cx="1828800" cy="548640"/>
          </a:xfrm>
          <a:prstGeom prst="chevron">
            <a:avLst/>
          </a:prstGeom>
          <a:solidFill>
            <a:srgbClr val="75787B"/>
          </a:solidFill>
          <a:ln w="6350" cap="flat" cmpd="sng" algn="ctr">
            <a:noFill/>
            <a:prstDash val="solid"/>
          </a:ln>
          <a:effectLst/>
        </p:spPr>
        <p:txBody>
          <a:bodyPr lIns="88900" tIns="88900" rIns="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Verdana"/>
                <a:ea typeface="+mn-ea"/>
                <a:cs typeface="+mn-cs"/>
              </a:rPr>
              <a:t>Name of phase</a:t>
            </a:r>
          </a:p>
        </p:txBody>
      </p:sp>
    </p:spTree>
    <p:extLst>
      <p:ext uri="{BB962C8B-B14F-4D97-AF65-F5344CB8AC3E}">
        <p14:creationId xmlns:p14="http://schemas.microsoft.com/office/powerpoint/2010/main" val="2515899089"/>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Ying and yang</a:t>
            </a:r>
          </a:p>
        </p:txBody>
      </p:sp>
      <p:sp>
        <p:nvSpPr>
          <p:cNvPr id="687105" name="Title 1"/>
          <p:cNvSpPr>
            <a:spLocks noGrp="1"/>
          </p:cNvSpPr>
          <p:nvPr>
            <p:ph type="title"/>
          </p:nvPr>
        </p:nvSpPr>
        <p:spPr/>
        <p:txBody>
          <a:bodyPr/>
          <a:lstStyle/>
          <a:p>
            <a:r>
              <a:rPr lang="en-US" dirty="0"/>
              <a:t>Spheres </a:t>
            </a:r>
          </a:p>
        </p:txBody>
      </p:sp>
      <p:sp>
        <p:nvSpPr>
          <p:cNvPr id="687107" name="Freeform 3"/>
          <p:cNvSpPr>
            <a:spLocks/>
          </p:cNvSpPr>
          <p:nvPr/>
        </p:nvSpPr>
        <p:spPr bwMode="auto">
          <a:xfrm rot="16200000">
            <a:off x="3175012" y="2559086"/>
            <a:ext cx="3890482" cy="2913470"/>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6"/>
          </a:solidFill>
          <a:ln w="9525" cap="rnd">
            <a:solidFill>
              <a:schemeClr val="bg1"/>
            </a:solidFill>
            <a:round/>
            <a:headEnd/>
            <a:tailEnd/>
          </a:ln>
        </p:spPr>
        <p:txBody>
          <a:bodyPr lIns="36000" tIns="36000" rIns="36000" bIns="36000"/>
          <a:lstStyle/>
          <a:p>
            <a:endParaRPr lang="en-US" sz="1400" dirty="0">
              <a:solidFill>
                <a:srgbClr val="575757"/>
              </a:solidFill>
            </a:endParaRPr>
          </a:p>
        </p:txBody>
      </p:sp>
      <p:sp>
        <p:nvSpPr>
          <p:cNvPr id="5" name="Freeform 4"/>
          <p:cNvSpPr>
            <a:spLocks/>
          </p:cNvSpPr>
          <p:nvPr/>
        </p:nvSpPr>
        <p:spPr bwMode="auto">
          <a:xfrm rot="5400000">
            <a:off x="2078507" y="2454981"/>
            <a:ext cx="3890482" cy="2913470"/>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1"/>
          </a:solidFill>
          <a:ln w="9525" cap="rnd">
            <a:solidFill>
              <a:schemeClr val="bg1"/>
            </a:solidFill>
            <a:round/>
            <a:headEnd/>
            <a:tailEnd/>
          </a:ln>
        </p:spPr>
        <p:txBody>
          <a:bodyPr lIns="36000" tIns="36000" rIns="36000" bIns="36000"/>
          <a:lstStyle/>
          <a:p>
            <a:pPr>
              <a:defRPr/>
            </a:pPr>
            <a:endParaRPr lang="en-US" sz="1400" dirty="0">
              <a:solidFill>
                <a:schemeClr val="bg1"/>
              </a:solidFill>
            </a:endParaRPr>
          </a:p>
        </p:txBody>
      </p:sp>
      <p:sp>
        <p:nvSpPr>
          <p:cNvPr id="687109" name="Text Box 5"/>
          <p:cNvSpPr txBox="1">
            <a:spLocks noChangeArrowheads="1"/>
          </p:cNvSpPr>
          <p:nvPr/>
        </p:nvSpPr>
        <p:spPr bwMode="gray">
          <a:xfrm>
            <a:off x="4748501" y="2988539"/>
            <a:ext cx="914400" cy="208583"/>
          </a:xfrm>
          <a:prstGeom prst="rect">
            <a:avLst/>
          </a:prstGeom>
          <a:noFill/>
          <a:ln w="9525" algn="ctr">
            <a:noFill/>
            <a:miter lim="800000"/>
            <a:headEnd/>
            <a:tailEnd/>
          </a:ln>
        </p:spPr>
        <p:txBody>
          <a:bodyPr wrap="square" lIns="0" tIns="0" rIns="0" bIns="0" anchor="ctr">
            <a:spAutoFit/>
          </a:bodyPr>
          <a:lstStyle/>
          <a:p>
            <a:pPr algn="ctr">
              <a:lnSpc>
                <a:spcPct val="106000"/>
              </a:lnSpc>
              <a:buClr>
                <a:schemeClr val="tx1"/>
              </a:buClr>
            </a:pPr>
            <a:r>
              <a:rPr lang="en-US" sz="1400" dirty="0">
                <a:solidFill>
                  <a:schemeClr val="bg1"/>
                </a:solidFill>
              </a:rPr>
              <a:t>Text</a:t>
            </a:r>
          </a:p>
        </p:txBody>
      </p:sp>
      <p:sp>
        <p:nvSpPr>
          <p:cNvPr id="687110" name="Text Box 6"/>
          <p:cNvSpPr txBox="1">
            <a:spLocks noChangeArrowheads="1"/>
          </p:cNvSpPr>
          <p:nvPr/>
        </p:nvSpPr>
        <p:spPr bwMode="gray">
          <a:xfrm>
            <a:off x="3579524" y="4675469"/>
            <a:ext cx="914400" cy="208583"/>
          </a:xfrm>
          <a:prstGeom prst="rect">
            <a:avLst/>
          </a:prstGeom>
          <a:noFill/>
          <a:ln w="9525" algn="ctr">
            <a:noFill/>
            <a:miter lim="800000"/>
            <a:headEnd/>
            <a:tailEnd/>
          </a:ln>
        </p:spPr>
        <p:txBody>
          <a:bodyPr wrap="square" lIns="0" tIns="0" rIns="0" bIns="0" anchor="ctr">
            <a:spAutoFit/>
          </a:bodyPr>
          <a:lstStyle/>
          <a:p>
            <a:pPr algn="ctr">
              <a:lnSpc>
                <a:spcPct val="106000"/>
              </a:lnSpc>
              <a:buClr>
                <a:schemeClr val="bg1"/>
              </a:buClr>
            </a:pPr>
            <a:r>
              <a:rPr lang="en-US" sz="1400" dirty="0"/>
              <a:t>Text</a:t>
            </a:r>
          </a:p>
        </p:txBody>
      </p:sp>
      <p:sp>
        <p:nvSpPr>
          <p:cNvPr id="11" name="Rectangle 10"/>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4" name="TextBox 13"/>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2" name="TextBox 11"/>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958362181"/>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389016" y="2052515"/>
            <a:ext cx="8361283" cy="3985059"/>
            <a:chOff x="389016" y="1955799"/>
            <a:chExt cx="8361283"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algn="ctr"/>
              <a:r>
                <a:rPr lang="en-GB" altLang="ja-JP" sz="1400" dirty="0">
                  <a:ea typeface="ＭＳ Ｐゴシック" charset="-128"/>
                  <a:cs typeface="Arial" pitchFamily="34" charset="0"/>
                </a:rPr>
                <a:t>Text</a:t>
              </a:r>
            </a:p>
          </p:txBody>
        </p:sp>
        <p:sp>
          <p:nvSpPr>
            <p:cNvPr id="13" name="Freeform 7"/>
            <p:cNvSpPr>
              <a:spLocks/>
            </p:cNvSpPr>
            <p:nvPr/>
          </p:nvSpPr>
          <p:spPr bwMode="auto">
            <a:xfrm>
              <a:off x="5828626"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algn="ctr"/>
              <a:r>
                <a:rPr lang="en-GB" altLang="ja-JP" sz="1400" dirty="0">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algn="ctr"/>
              <a:r>
                <a:rPr lang="en-GB" altLang="ja-JP" sz="1400" dirty="0">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solidFill>
                <a:schemeClr val="accent3">
                  <a:lumMod val="75000"/>
                </a:schemeClr>
              </a:solid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rgbClr val="000000"/>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5"/>
            </a:solidFill>
            <a:ln w="9525">
              <a:solidFill>
                <a:schemeClr val="accent3">
                  <a:lumMod val="75000"/>
                </a:schemeClr>
              </a:solid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rgbClr val="000000"/>
                </a:solidFill>
              </a:endParaRPr>
            </a:p>
          </p:txBody>
        </p:sp>
      </p:grpSp>
      <p:sp>
        <p:nvSpPr>
          <p:cNvPr id="18" name="TextBox 17"/>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sp>
        <p:nvSpPr>
          <p:cNvPr id="44" name="Rectangle 30"/>
          <p:cNvSpPr>
            <a:spLocks noChangeArrowheads="1"/>
          </p:cNvSpPr>
          <p:nvPr/>
        </p:nvSpPr>
        <p:spPr bwMode="auto">
          <a:xfrm>
            <a:off x="6750757" y="0"/>
            <a:ext cx="2393243" cy="495300"/>
          </a:xfrm>
          <a:prstGeom prst="rect">
            <a:avLst/>
          </a:prstGeom>
          <a:solidFill>
            <a:srgbClr val="FFCD00"/>
          </a:solidFill>
          <a:ln w="6350" algn="ctr">
            <a:noFill/>
            <a:miter lim="800000"/>
            <a:headEnd/>
            <a:tailEnd/>
          </a:ln>
        </p:spPr>
        <p:txBody>
          <a:bodyPr wrap="square" tIns="91440" bIns="91440">
            <a:spAutoFit/>
          </a:bodyPr>
          <a:lstStyle/>
          <a:p>
            <a:pPr>
              <a:defRPr/>
            </a:pPr>
            <a:r>
              <a:rPr lang="en-US" sz="1000" dirty="0">
                <a:ea typeface="ＭＳ Ｐゴシック" pitchFamily="50" charset="-128"/>
              </a:rPr>
              <a:t>Tip! Group before changing the size of the matrix</a:t>
            </a:r>
          </a:p>
        </p:txBody>
      </p:sp>
      <p:grpSp>
        <p:nvGrpSpPr>
          <p:cNvPr id="38" name="Group 3"/>
          <p:cNvGrpSpPr>
            <a:grpSpLocks/>
          </p:cNvGrpSpPr>
          <p:nvPr/>
        </p:nvGrpSpPr>
        <p:grpSpPr bwMode="auto">
          <a:xfrm>
            <a:off x="1110540"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grpFill/>
            <a:ln w="9525">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grp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grp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grpSp>
      <p:sp>
        <p:nvSpPr>
          <p:cNvPr id="43" name="Text Box 8"/>
          <p:cNvSpPr txBox="1">
            <a:spLocks noChangeAspect="1" noChangeArrowheads="1"/>
          </p:cNvSpPr>
          <p:nvPr/>
        </p:nvSpPr>
        <p:spPr bwMode="auto">
          <a:xfrm>
            <a:off x="297826" y="3283300"/>
            <a:ext cx="671591" cy="307777"/>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776120" y="2072861"/>
            <a:ext cx="2933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1103372" y="4903374"/>
            <a:ext cx="360676"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2234967" y="5012010"/>
            <a:ext cx="1042987"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814592" y="4643367"/>
            <a:ext cx="254878"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4041703" y="4903374"/>
            <a:ext cx="360676"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nvGrpSpPr>
          <p:cNvPr id="50" name="Group 44"/>
          <p:cNvGrpSpPr>
            <a:grpSpLocks/>
          </p:cNvGrpSpPr>
          <p:nvPr/>
        </p:nvGrpSpPr>
        <p:grpSpPr bwMode="auto">
          <a:xfrm>
            <a:off x="5458460" y="2025107"/>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grpFill/>
            <a:ln w="9525">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grpFill/>
            <a:ln w="9525">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grp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ea typeface="ＭＳ Ｐゴシック" charset="-128"/>
                  <a:cs typeface="Arial" pitchFamily="34" charset="0"/>
                </a:rPr>
                <a:t>Title:</a:t>
              </a:r>
            </a:p>
            <a:p>
              <a:pPr algn="ctr" eaLnBrk="1" hangingPunct="1"/>
              <a:r>
                <a:rPr lang="en-GB" altLang="ja-JP" sz="1000" dirty="0">
                  <a:ea typeface="ＭＳ Ｐゴシック" charset="-128"/>
                  <a:cs typeface="Arial" pitchFamily="34" charset="0"/>
                </a:rPr>
                <a:t>Text</a:t>
              </a:r>
              <a:r>
                <a:rPr lang="en-GB" altLang="ja-JP" sz="1000" b="1" dirty="0">
                  <a:ea typeface="ＭＳ Ｐゴシック" charset="-128"/>
                  <a:cs typeface="Arial" pitchFamily="34" charset="0"/>
                </a:rPr>
                <a:t> </a:t>
              </a:r>
            </a:p>
          </p:txBody>
        </p:sp>
      </p:grpSp>
      <p:sp>
        <p:nvSpPr>
          <p:cNvPr id="60" name="Text Box 9"/>
          <p:cNvSpPr txBox="1">
            <a:spLocks noChangeAspect="1" noChangeArrowheads="1"/>
          </p:cNvSpPr>
          <p:nvPr/>
        </p:nvSpPr>
        <p:spPr bwMode="auto">
          <a:xfrm>
            <a:off x="5115630" y="2087148"/>
            <a:ext cx="2933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5451292" y="4895435"/>
            <a:ext cx="360676"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6583680" y="5004071"/>
            <a:ext cx="1041400"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5154102" y="4657653"/>
            <a:ext cx="254878"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8389624" y="4895435"/>
            <a:ext cx="360676"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4641070" y="3282506"/>
            <a:ext cx="671591" cy="307777"/>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37" name="TextBox 36"/>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68" name="TextBox 67"/>
          <p:cNvSpPr txBox="1"/>
          <p:nvPr/>
        </p:nvSpPr>
        <p:spPr bwMode="gray">
          <a:xfrm>
            <a:off x="376237" y="1710506"/>
            <a:ext cx="3996613" cy="184666"/>
          </a:xfrm>
          <a:prstGeom prst="rect">
            <a:avLst/>
          </a:prstGeom>
          <a:noFill/>
        </p:spPr>
        <p:txBody>
          <a:bodyPr wrap="square" lIns="0" tIns="0" rIns="0" bIns="0" rtlCol="0">
            <a:spAutoFit/>
          </a:bodyPr>
          <a:lstStyle/>
          <a:p>
            <a:r>
              <a:rPr lang="en-US" sz="1200" dirty="0"/>
              <a:t>Chart title runs here</a:t>
            </a:r>
          </a:p>
        </p:txBody>
      </p:sp>
      <p:sp>
        <p:nvSpPr>
          <p:cNvPr id="69" name="TextBox 68"/>
          <p:cNvSpPr txBox="1"/>
          <p:nvPr/>
        </p:nvSpPr>
        <p:spPr bwMode="gray">
          <a:xfrm>
            <a:off x="4779741" y="1710506"/>
            <a:ext cx="3996613"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36" name="Text Placeholder 2"/>
          <p:cNvSpPr txBox="1">
            <a:spLocks/>
          </p:cNvSpPr>
          <p:nvPr/>
        </p:nvSpPr>
        <p:spPr>
          <a:xfrm>
            <a:off x="374904" y="1700213"/>
            <a:ext cx="8394192" cy="35718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200" b="0" i="0" u="none" strike="noStrike" kern="1200" cap="none" spc="0" normalizeH="0" baseline="0" noProof="0" dirty="0">
                <a:ln>
                  <a:noFill/>
                </a:ln>
                <a:solidFill>
                  <a:sysClr val="window" lastClr="FFFFFF"/>
                </a:solidFill>
                <a:effectLst/>
                <a:uLnTx/>
                <a:uFillTx/>
                <a:latin typeface="Verdana"/>
                <a:ea typeface="+mn-ea"/>
                <a:cs typeface="+mn-cs"/>
              </a:rPr>
              <a:t>Chart title runs here</a:t>
            </a:r>
          </a:p>
        </p:txBody>
      </p:sp>
      <p:grpSp>
        <p:nvGrpSpPr>
          <p:cNvPr id="37" name="Group 36"/>
          <p:cNvGrpSpPr/>
          <p:nvPr/>
        </p:nvGrpSpPr>
        <p:grpSpPr>
          <a:xfrm>
            <a:off x="2589861" y="1976438"/>
            <a:ext cx="3964278" cy="3984625"/>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ea typeface="+mn-ea"/>
                  <a:cs typeface="Arial" pitchFamily="34" charset="0"/>
                </a:rPr>
                <a:t>Text</a:t>
              </a:r>
            </a:p>
          </p:txBody>
        </p:sp>
        <p:sp>
          <p:nvSpPr>
            <p:cNvPr id="39" name="Hexagon 38"/>
            <p:cNvSpPr/>
            <p:nvPr/>
          </p:nvSpPr>
          <p:spPr bwMode="gray">
            <a:xfrm>
              <a:off x="3714005" y="1644984"/>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mn-cs"/>
                </a:rPr>
                <a:t>Text</a:t>
              </a:r>
            </a:p>
          </p:txBody>
        </p:sp>
        <p:sp>
          <p:nvSpPr>
            <p:cNvPr id="40" name="Hexagon 39"/>
            <p:cNvSpPr/>
            <p:nvPr/>
          </p:nvSpPr>
          <p:spPr bwMode="gray">
            <a:xfrm>
              <a:off x="3714005" y="4693433"/>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Text</a:t>
              </a:r>
            </a:p>
          </p:txBody>
        </p:sp>
        <p:sp>
          <p:nvSpPr>
            <p:cNvPr id="41" name="Hexagon 40"/>
            <p:cNvSpPr/>
            <p:nvPr/>
          </p:nvSpPr>
          <p:spPr bwMode="gray">
            <a:xfrm>
              <a:off x="5110546" y="3927331"/>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Text</a:t>
              </a:r>
            </a:p>
          </p:txBody>
        </p:sp>
        <p:sp>
          <p:nvSpPr>
            <p:cNvPr id="42" name="Hexagon 41"/>
            <p:cNvSpPr/>
            <p:nvPr/>
          </p:nvSpPr>
          <p:spPr bwMode="gray">
            <a:xfrm>
              <a:off x="5110546" y="2411086"/>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Text</a:t>
              </a:r>
            </a:p>
          </p:txBody>
        </p:sp>
        <p:sp>
          <p:nvSpPr>
            <p:cNvPr id="43" name="Hexagon 42"/>
            <p:cNvSpPr/>
            <p:nvPr/>
          </p:nvSpPr>
          <p:spPr bwMode="gray">
            <a:xfrm>
              <a:off x="2317464" y="3927331"/>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Text</a:t>
              </a:r>
            </a:p>
          </p:txBody>
        </p:sp>
        <p:sp>
          <p:nvSpPr>
            <p:cNvPr id="44" name="Hexagon 43"/>
            <p:cNvSpPr/>
            <p:nvPr/>
          </p:nvSpPr>
          <p:spPr bwMode="gray">
            <a:xfrm>
              <a:off x="2317464" y="2411086"/>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grpSp>
        <p:nvGrpSpPr>
          <p:cNvPr id="20" name="Group 19"/>
          <p:cNvGrpSpPr/>
          <p:nvPr/>
        </p:nvGrpSpPr>
        <p:grpSpPr>
          <a:xfrm>
            <a:off x="4688540" y="1990336"/>
            <a:ext cx="4089700" cy="3442089"/>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6"/>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6"/>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6"/>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fontAlgn="auto">
                <a:spcBef>
                  <a:spcPts val="0"/>
                </a:spcBef>
                <a:spcAft>
                  <a:spcPts val="0"/>
                </a:spcAft>
              </a:pPr>
              <a:r>
                <a:rPr lang="en-US" sz="1200" dirty="0">
                  <a:solidFill>
                    <a:schemeClr val="bg1"/>
                  </a:solidFill>
                </a:rPr>
                <a:t>Text</a:t>
              </a:r>
            </a:p>
          </p:txBody>
        </p:sp>
      </p:grpSp>
      <p:grpSp>
        <p:nvGrpSpPr>
          <p:cNvPr id="7" name="Group 6"/>
          <p:cNvGrpSpPr/>
          <p:nvPr/>
        </p:nvGrpSpPr>
        <p:grpSpPr>
          <a:xfrm>
            <a:off x="365125" y="1976438"/>
            <a:ext cx="4117975" cy="3438144"/>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6"/>
            </a:solidFill>
            <a:ln w="12700">
              <a:noFill/>
              <a:round/>
              <a:headEnd/>
              <a:tailEnd/>
            </a:ln>
          </p:spPr>
          <p:txBody>
            <a:bodyPr wrap="none" lIns="45720" tIns="274320" rIns="1371600" bIns="44450" anchor="ctr">
              <a:noAutofit/>
            </a:bodyPr>
            <a:lstStyle/>
            <a:p>
              <a:pPr algn="ctr">
                <a:spcBef>
                  <a:spcPct val="20000"/>
                </a:spcBef>
              </a:pPr>
              <a:r>
                <a:rPr lang="en-GB" sz="1200"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GB" sz="1200" dirty="0">
                  <a:solidFill>
                    <a:schemeClr val="bg1"/>
                  </a:solidFill>
                  <a:ea typeface="+mn-ea"/>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eaLnBrk="1" hangingPunct="1">
                <a:lnSpc>
                  <a:spcPct val="95000"/>
                </a:lnSpc>
                <a:spcBef>
                  <a:spcPct val="20000"/>
                </a:spcBef>
              </a:pPr>
              <a:r>
                <a:rPr lang="en-US" altLang="ja-JP" sz="1200" dirty="0">
                  <a:solidFill>
                    <a:schemeClr val="bg1"/>
                  </a:solidFill>
                  <a:ea typeface="ＭＳ Ｐゴシック" charset="-128"/>
                  <a:cs typeface="Arial" pitchFamily="34" charset="0"/>
                </a:rPr>
                <a:t>Text</a:t>
              </a:r>
              <a:endParaRPr lang="ja-JP" altLang="en-US" sz="1200" dirty="0">
                <a:solidFill>
                  <a:schemeClr val="bg1"/>
                </a:solidFill>
                <a:ea typeface="ＭＳ Ｐゴシック" charset="-128"/>
                <a:cs typeface="Arial" pitchFamily="34" charset="0"/>
              </a:endParaRPr>
            </a:p>
          </p:txBody>
        </p:sp>
      </p:grpSp>
      <p:sp>
        <p:nvSpPr>
          <p:cNvPr id="16" name="Rectangle 15"/>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376237" y="1710506"/>
            <a:ext cx="3996613" cy="184666"/>
          </a:xfrm>
          <a:prstGeom prst="rect">
            <a:avLst/>
          </a:prstGeom>
          <a:noFill/>
        </p:spPr>
        <p:txBody>
          <a:bodyPr wrap="square" lIns="0" tIns="0" rIns="0" bIns="0" rtlCol="0">
            <a:spAutoFit/>
          </a:bodyPr>
          <a:lstStyle/>
          <a:p>
            <a:r>
              <a:rPr lang="en-US" sz="1200" dirty="0"/>
              <a:t>Chart title runs here</a:t>
            </a:r>
          </a:p>
        </p:txBody>
      </p:sp>
      <p:sp>
        <p:nvSpPr>
          <p:cNvPr id="23" name="TextBox 22"/>
          <p:cNvSpPr txBox="1"/>
          <p:nvPr/>
        </p:nvSpPr>
        <p:spPr bwMode="gray">
          <a:xfrm>
            <a:off x="4779741" y="1710506"/>
            <a:ext cx="3996613"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4862495" y="1580249"/>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40" name="Freeform 4"/>
          <p:cNvSpPr>
            <a:spLocks/>
          </p:cNvSpPr>
          <p:nvPr/>
        </p:nvSpPr>
        <p:spPr bwMode="blackWhite">
          <a:xfrm>
            <a:off x="3943333" y="3170924"/>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41" name="Freeform 5"/>
          <p:cNvSpPr>
            <a:spLocks/>
          </p:cNvSpPr>
          <p:nvPr/>
        </p:nvSpPr>
        <p:spPr bwMode="blackWhite">
          <a:xfrm>
            <a:off x="4401327" y="2373999"/>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6"/>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42" name="Rectangle 6"/>
          <p:cNvSpPr>
            <a:spLocks noChangeArrowheads="1"/>
          </p:cNvSpPr>
          <p:nvPr/>
        </p:nvSpPr>
        <p:spPr bwMode="auto">
          <a:xfrm>
            <a:off x="5159644" y="2120535"/>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43" name="Rectangle 7"/>
          <p:cNvSpPr>
            <a:spLocks noChangeArrowheads="1"/>
          </p:cNvSpPr>
          <p:nvPr/>
        </p:nvSpPr>
        <p:spPr bwMode="auto">
          <a:xfrm>
            <a:off x="5159644" y="2680923"/>
            <a:ext cx="321690"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4" name="Rectangle 8"/>
          <p:cNvSpPr>
            <a:spLocks noChangeArrowheads="1"/>
          </p:cNvSpPr>
          <p:nvPr/>
        </p:nvSpPr>
        <p:spPr bwMode="auto">
          <a:xfrm>
            <a:off x="5159644" y="3477054"/>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45" name="Freeform 9"/>
          <p:cNvSpPr>
            <a:spLocks/>
          </p:cNvSpPr>
          <p:nvPr/>
        </p:nvSpPr>
        <p:spPr bwMode="blackWhite">
          <a:xfrm>
            <a:off x="2129499" y="5870918"/>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44450" tIns="44450" rIns="44450" bIns="44450" anchor="ctr"/>
          <a:lstStyle/>
          <a:p>
            <a:pPr algn="ctr" eaLnBrk="0" hangingPunct="0"/>
            <a:endParaRPr lang="en-GB" sz="900" dirty="0">
              <a:solidFill>
                <a:schemeClr val="bg1"/>
              </a:solidFill>
            </a:endParaRPr>
          </a:p>
        </p:txBody>
      </p:sp>
      <p:sp>
        <p:nvSpPr>
          <p:cNvPr id="46" name="Freeform 10"/>
          <p:cNvSpPr>
            <a:spLocks/>
          </p:cNvSpPr>
          <p:nvPr/>
        </p:nvSpPr>
        <p:spPr bwMode="blackWhite">
          <a:xfrm>
            <a:off x="2992306" y="4010368"/>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5"/>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47" name="Freeform 11"/>
          <p:cNvSpPr>
            <a:spLocks/>
          </p:cNvSpPr>
          <p:nvPr/>
        </p:nvSpPr>
        <p:spPr bwMode="blackWhite">
          <a:xfrm>
            <a:off x="2696237" y="4829518"/>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48" name="Freeform 12"/>
          <p:cNvSpPr>
            <a:spLocks/>
          </p:cNvSpPr>
          <p:nvPr/>
        </p:nvSpPr>
        <p:spPr bwMode="blackWhite">
          <a:xfrm>
            <a:off x="2399374" y="5348631"/>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6"/>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49" name="Rectangle 13"/>
          <p:cNvSpPr>
            <a:spLocks noChangeArrowheads="1"/>
          </p:cNvSpPr>
          <p:nvPr/>
        </p:nvSpPr>
        <p:spPr bwMode="auto">
          <a:xfrm>
            <a:off x="3298979" y="4531604"/>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51" name="Rectangle 14"/>
          <p:cNvSpPr>
            <a:spLocks noChangeArrowheads="1"/>
          </p:cNvSpPr>
          <p:nvPr/>
        </p:nvSpPr>
        <p:spPr bwMode="auto">
          <a:xfrm>
            <a:off x="3298979" y="4997535"/>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54" name="Rectangle 15"/>
          <p:cNvSpPr>
            <a:spLocks noChangeArrowheads="1"/>
          </p:cNvSpPr>
          <p:nvPr/>
        </p:nvSpPr>
        <p:spPr bwMode="auto">
          <a:xfrm>
            <a:off x="3298979" y="5518235"/>
            <a:ext cx="321690"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5" name="Rectangle 16"/>
          <p:cNvSpPr>
            <a:spLocks noChangeArrowheads="1"/>
          </p:cNvSpPr>
          <p:nvPr/>
        </p:nvSpPr>
        <p:spPr bwMode="auto">
          <a:xfrm>
            <a:off x="3298979" y="6015122"/>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56" name="Freeform 17"/>
          <p:cNvSpPr>
            <a:spLocks/>
          </p:cNvSpPr>
          <p:nvPr/>
        </p:nvSpPr>
        <p:spPr bwMode="blackWhite">
          <a:xfrm flipV="1">
            <a:off x="363521" y="2958199"/>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57" name="Freeform 18"/>
          <p:cNvSpPr>
            <a:spLocks/>
          </p:cNvSpPr>
          <p:nvPr/>
        </p:nvSpPr>
        <p:spPr bwMode="blackWhite">
          <a:xfrm flipV="1">
            <a:off x="927083" y="1618349"/>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chemeClr val="accent6"/>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58" name="Rectangle 19"/>
          <p:cNvSpPr>
            <a:spLocks noChangeArrowheads="1"/>
          </p:cNvSpPr>
          <p:nvPr/>
        </p:nvSpPr>
        <p:spPr bwMode="auto">
          <a:xfrm>
            <a:off x="1515538" y="2495370"/>
            <a:ext cx="321690"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1" name="Rectangle 20"/>
          <p:cNvSpPr>
            <a:spLocks noChangeArrowheads="1"/>
          </p:cNvSpPr>
          <p:nvPr/>
        </p:nvSpPr>
        <p:spPr bwMode="auto">
          <a:xfrm>
            <a:off x="1515538" y="3370691"/>
            <a:ext cx="321690" cy="184666"/>
          </a:xfrm>
          <a:prstGeom prst="rect">
            <a:avLst/>
          </a:prstGeom>
        </p:spPr>
        <p:txBody>
          <a:bodyPr wrap="none" lIns="0" tIns="0" rIns="0" bIns="0" anchor="ctr">
            <a:spAutoFit/>
          </a:bodyPr>
          <a:lstStyle/>
          <a:p>
            <a:pPr algn="ctr"/>
            <a:r>
              <a:rPr lang="en-GB" sz="1200" dirty="0">
                <a:cs typeface="Arial" pitchFamily="34" charset="0"/>
              </a:rPr>
              <a:t>Text</a:t>
            </a:r>
          </a:p>
        </p:txBody>
      </p:sp>
      <p:sp>
        <p:nvSpPr>
          <p:cNvPr id="62" name="Freeform 21"/>
          <p:cNvSpPr>
            <a:spLocks/>
          </p:cNvSpPr>
          <p:nvPr/>
        </p:nvSpPr>
        <p:spPr bwMode="blackWhite">
          <a:xfrm>
            <a:off x="6809449" y="3970681"/>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63" name="Freeform 23"/>
          <p:cNvSpPr>
            <a:spLocks/>
          </p:cNvSpPr>
          <p:nvPr/>
        </p:nvSpPr>
        <p:spPr bwMode="blackWhite">
          <a:xfrm>
            <a:off x="6809449" y="3970681"/>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2"/>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64" name="Freeform 25"/>
          <p:cNvSpPr>
            <a:spLocks/>
          </p:cNvSpPr>
          <p:nvPr/>
        </p:nvSpPr>
        <p:spPr bwMode="blackWhite">
          <a:xfrm>
            <a:off x="6676893" y="4486618"/>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200" dirty="0">
              <a:solidFill>
                <a:schemeClr val="bg1"/>
              </a:solidFill>
              <a:ea typeface="+mn-ea"/>
              <a:cs typeface="Arial" pitchFamily="34" charset="0"/>
            </a:endParaRPr>
          </a:p>
        </p:txBody>
      </p:sp>
      <p:sp>
        <p:nvSpPr>
          <p:cNvPr id="65" name="Freeform 27"/>
          <p:cNvSpPr>
            <a:spLocks/>
          </p:cNvSpPr>
          <p:nvPr/>
        </p:nvSpPr>
        <p:spPr bwMode="blackWhite">
          <a:xfrm>
            <a:off x="6676893" y="4486618"/>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accent6"/>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200" dirty="0">
              <a:solidFill>
                <a:schemeClr val="bg1"/>
              </a:solidFill>
              <a:ea typeface="+mn-ea"/>
              <a:cs typeface="Arial" pitchFamily="34" charset="0"/>
            </a:endParaRPr>
          </a:p>
        </p:txBody>
      </p:sp>
      <p:sp>
        <p:nvSpPr>
          <p:cNvPr id="66" name="Freeform 29"/>
          <p:cNvSpPr>
            <a:spLocks/>
          </p:cNvSpPr>
          <p:nvPr/>
        </p:nvSpPr>
        <p:spPr bwMode="blackWhite">
          <a:xfrm>
            <a:off x="6543543" y="4718393"/>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chemeClr val="tx2"/>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67" name="Freeform 31"/>
          <p:cNvSpPr>
            <a:spLocks/>
          </p:cNvSpPr>
          <p:nvPr/>
        </p:nvSpPr>
        <p:spPr bwMode="blackWhite">
          <a:xfrm>
            <a:off x="6410987" y="4950168"/>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68" name="Freeform 32"/>
          <p:cNvSpPr>
            <a:spLocks/>
          </p:cNvSpPr>
          <p:nvPr/>
        </p:nvSpPr>
        <p:spPr bwMode="blackWhite">
          <a:xfrm>
            <a:off x="6410987" y="4950168"/>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tx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69" name="Freeform 34"/>
          <p:cNvSpPr>
            <a:spLocks/>
          </p:cNvSpPr>
          <p:nvPr/>
        </p:nvSpPr>
        <p:spPr bwMode="blackWhite">
          <a:xfrm>
            <a:off x="6278430" y="5181943"/>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70" name="Freeform 36"/>
          <p:cNvSpPr>
            <a:spLocks/>
          </p:cNvSpPr>
          <p:nvPr/>
        </p:nvSpPr>
        <p:spPr bwMode="blackWhite">
          <a:xfrm>
            <a:off x="6146668" y="5415306"/>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71" name="Freeform 37"/>
          <p:cNvSpPr>
            <a:spLocks/>
          </p:cNvSpPr>
          <p:nvPr/>
        </p:nvSpPr>
        <p:spPr bwMode="blackWhite">
          <a:xfrm>
            <a:off x="6146668" y="5415306"/>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73" name="Freeform 39"/>
          <p:cNvSpPr>
            <a:spLocks/>
          </p:cNvSpPr>
          <p:nvPr/>
        </p:nvSpPr>
        <p:spPr bwMode="blackWhite">
          <a:xfrm>
            <a:off x="6013318" y="5647081"/>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74" name="Freeform 41"/>
          <p:cNvSpPr>
            <a:spLocks/>
          </p:cNvSpPr>
          <p:nvPr/>
        </p:nvSpPr>
        <p:spPr bwMode="blackWhite">
          <a:xfrm>
            <a:off x="6013318" y="5647081"/>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ea typeface="+mn-ea"/>
              <a:cs typeface="Arial" pitchFamily="34" charset="0"/>
            </a:endParaRPr>
          </a:p>
        </p:txBody>
      </p:sp>
      <p:sp>
        <p:nvSpPr>
          <p:cNvPr id="75" name="Freeform 43"/>
          <p:cNvSpPr>
            <a:spLocks/>
          </p:cNvSpPr>
          <p:nvPr/>
        </p:nvSpPr>
        <p:spPr bwMode="blackWhite">
          <a:xfrm>
            <a:off x="5881555" y="5877268"/>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77" name="Freeform 44"/>
          <p:cNvSpPr>
            <a:spLocks/>
          </p:cNvSpPr>
          <p:nvPr/>
        </p:nvSpPr>
        <p:spPr bwMode="blackWhite">
          <a:xfrm>
            <a:off x="5881555" y="5877268"/>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1">
              <a:lumMod val="50000"/>
            </a:schemeClr>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79" name="Freeform 46"/>
          <p:cNvSpPr>
            <a:spLocks/>
          </p:cNvSpPr>
          <p:nvPr/>
        </p:nvSpPr>
        <p:spPr bwMode="blackWhite">
          <a:xfrm>
            <a:off x="5748205" y="6110631"/>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ea typeface="+mn-ea"/>
              <a:cs typeface="Arial" pitchFamily="34" charset="0"/>
            </a:endParaRPr>
          </a:p>
        </p:txBody>
      </p:sp>
      <p:sp>
        <p:nvSpPr>
          <p:cNvPr id="80" name="Rectangle 24"/>
          <p:cNvSpPr>
            <a:spLocks noChangeArrowheads="1"/>
          </p:cNvSpPr>
          <p:nvPr/>
        </p:nvSpPr>
        <p:spPr bwMode="auto">
          <a:xfrm>
            <a:off x="6943085" y="4306179"/>
            <a:ext cx="321690"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1" name="Rectangle 28"/>
          <p:cNvSpPr>
            <a:spLocks noChangeArrowheads="1"/>
          </p:cNvSpPr>
          <p:nvPr/>
        </p:nvSpPr>
        <p:spPr bwMode="auto">
          <a:xfrm>
            <a:off x="6943085" y="4510967"/>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2" name="Rectangle 30"/>
          <p:cNvSpPr>
            <a:spLocks noChangeArrowheads="1"/>
          </p:cNvSpPr>
          <p:nvPr/>
        </p:nvSpPr>
        <p:spPr bwMode="auto">
          <a:xfrm>
            <a:off x="6943085" y="4741948"/>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4" name="Rectangle 33"/>
          <p:cNvSpPr>
            <a:spLocks noChangeArrowheads="1"/>
          </p:cNvSpPr>
          <p:nvPr/>
        </p:nvSpPr>
        <p:spPr bwMode="auto">
          <a:xfrm>
            <a:off x="6943085" y="4974517"/>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5" name="Rectangle 35"/>
          <p:cNvSpPr>
            <a:spLocks noChangeArrowheads="1"/>
          </p:cNvSpPr>
          <p:nvPr/>
        </p:nvSpPr>
        <p:spPr bwMode="auto">
          <a:xfrm>
            <a:off x="6943085" y="5206292"/>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7" name="Rectangle 38"/>
          <p:cNvSpPr>
            <a:spLocks noChangeArrowheads="1"/>
          </p:cNvSpPr>
          <p:nvPr/>
        </p:nvSpPr>
        <p:spPr bwMode="auto">
          <a:xfrm>
            <a:off x="6943085" y="5438861"/>
            <a:ext cx="321690"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8" name="Rectangle 40"/>
          <p:cNvSpPr>
            <a:spLocks noChangeArrowheads="1"/>
          </p:cNvSpPr>
          <p:nvPr/>
        </p:nvSpPr>
        <p:spPr bwMode="auto">
          <a:xfrm>
            <a:off x="6943085" y="5670636"/>
            <a:ext cx="321690"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9" name="Rectangle 45"/>
          <p:cNvSpPr>
            <a:spLocks noChangeArrowheads="1"/>
          </p:cNvSpPr>
          <p:nvPr/>
        </p:nvSpPr>
        <p:spPr bwMode="auto">
          <a:xfrm>
            <a:off x="6943085" y="5902411"/>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91" name="Rectangle 49"/>
          <p:cNvSpPr>
            <a:spLocks noChangeArrowheads="1"/>
          </p:cNvSpPr>
          <p:nvPr/>
        </p:nvSpPr>
        <p:spPr bwMode="auto">
          <a:xfrm>
            <a:off x="6943085" y="6134980"/>
            <a:ext cx="321690"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50" name="Rectangle 49"/>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a:t>Puzzles </a:t>
            </a:r>
            <a:endParaRPr lang="en-US" dirty="0"/>
          </a:p>
        </p:txBody>
      </p:sp>
      <p:grpSp>
        <p:nvGrpSpPr>
          <p:cNvPr id="696323" name="Group 3"/>
          <p:cNvGrpSpPr>
            <a:grpSpLocks/>
          </p:cNvGrpSpPr>
          <p:nvPr/>
        </p:nvGrpSpPr>
        <p:grpSpPr bwMode="auto">
          <a:xfrm>
            <a:off x="361272" y="1963223"/>
            <a:ext cx="4002498" cy="3996228"/>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12700">
              <a:solidFill>
                <a:schemeClr val="accent1"/>
              </a:solidFill>
              <a:round/>
              <a:headEnd/>
              <a:tailEnd/>
            </a:ln>
          </p:spPr>
          <p:txBody>
            <a:bodyPr wrap="none" lIns="88900" tIns="88900" rIns="88900" bIns="88900" anchor="ctr"/>
            <a:lstStyle/>
            <a:p>
              <a:pPr algn="ctr"/>
              <a:endParaRPr lang="en-US" sz="1400"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2700">
              <a:solidFill>
                <a:schemeClr val="accent5"/>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3"/>
            </a:solidFill>
            <a:ln w="12700">
              <a:solidFill>
                <a:schemeClr val="accent3"/>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6"/>
            </a:solidFill>
            <a:ln w="12700">
              <a:solidFill>
                <a:schemeClr val="accent6"/>
              </a:solidFill>
              <a:round/>
              <a:headEnd/>
              <a:tailEnd/>
            </a:ln>
          </p:spPr>
          <p:txBody>
            <a:bodyPr wrap="none" lIns="88900" tIns="88900" rIns="88900" bIns="88900" anchor="ctr"/>
            <a:lstStyle/>
            <a:p>
              <a:pPr algn="ctr"/>
              <a:endParaRPr lang="en-US" sz="1400" dirty="0">
                <a:solidFill>
                  <a:schemeClr val="bg1"/>
                </a:solidFill>
              </a:endParaRPr>
            </a:p>
          </p:txBody>
        </p:sp>
      </p:grpSp>
      <p:grpSp>
        <p:nvGrpSpPr>
          <p:cNvPr id="696324" name="Group 8"/>
          <p:cNvGrpSpPr>
            <a:grpSpLocks/>
          </p:cNvGrpSpPr>
          <p:nvPr/>
        </p:nvGrpSpPr>
        <p:grpSpPr bwMode="auto">
          <a:xfrm>
            <a:off x="4711671" y="1963224"/>
            <a:ext cx="3997548" cy="3997841"/>
            <a:chOff x="3347" y="1272"/>
            <a:chExt cx="2303" cy="2126"/>
          </a:xfrm>
          <a:solidFill>
            <a:schemeClr val="accent1"/>
          </a:solidFill>
        </p:grpSpPr>
        <p:sp>
          <p:nvSpPr>
            <p:cNvPr id="10" name="Freeform 9"/>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bg2"/>
            </a:solidFill>
            <a:ln w="9525">
              <a:no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6"/>
            </a:solidFill>
            <a:ln w="9525">
              <a:solidFill>
                <a:schemeClr val="accent6"/>
              </a:solidFill>
              <a:round/>
              <a:headEnd/>
              <a:tailEnd/>
            </a:ln>
          </p:spPr>
          <p:txBody>
            <a:bodyPr wrap="none" lIns="88900" tIns="88900" rIns="88900" bIns="88900" anchor="ctr"/>
            <a:lstStyle/>
            <a:p>
              <a:pPr algn="ctr"/>
              <a:endParaRPr lang="en-US" sz="1400"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9525">
              <a:no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chemeClr val="tx1"/>
            </a:solidFill>
            <a:ln w="9525">
              <a:no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chemeClr val="accent5"/>
            </a:solidFill>
            <a:ln w="9525">
              <a:no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chemeClr val="accent4"/>
            </a:solidFill>
            <a:ln w="9525">
              <a:noFill/>
              <a:round/>
              <a:headEnd/>
              <a:tailEnd/>
            </a:ln>
          </p:spPr>
          <p:txBody>
            <a:bodyPr wrap="none" lIns="88900" tIns="88900" rIns="88900" bIns="88900" anchor="ctr"/>
            <a:lstStyle/>
            <a:p>
              <a:pPr algn="ctr">
                <a:defRPr/>
              </a:pPr>
              <a:endParaRPr lang="en-US" sz="1400"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chemeClr val="accent3"/>
            </a:solidFill>
            <a:ln w="9525">
              <a:solidFill>
                <a:schemeClr val="accent3"/>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9525">
              <a:solidFill>
                <a:schemeClr val="tx2"/>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9525">
              <a:solidFill>
                <a:schemeClr val="accent2"/>
              </a:solidFill>
              <a:round/>
              <a:headEnd/>
              <a:tailEnd/>
            </a:ln>
          </p:spPr>
          <p:txBody>
            <a:bodyPr wrap="none" lIns="88900" tIns="88900" rIns="88900" bIns="88900" anchor="ctr"/>
            <a:lstStyle/>
            <a:p>
              <a:pPr algn="ctr">
                <a:defRPr/>
              </a:pPr>
              <a:endParaRPr lang="en-US" sz="1400" dirty="0">
                <a:solidFill>
                  <a:schemeClr val="bg1"/>
                </a:solidFill>
              </a:endParaRPr>
            </a:p>
          </p:txBody>
        </p:sp>
      </p:grpSp>
      <p:sp>
        <p:nvSpPr>
          <p:cNvPr id="24" name="Rectangle 23"/>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5" name="TextBox 24"/>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26" name="TextBox 25"/>
          <p:cNvSpPr txBox="1"/>
          <p:nvPr/>
        </p:nvSpPr>
        <p:spPr bwMode="gray">
          <a:xfrm>
            <a:off x="376237" y="1710506"/>
            <a:ext cx="3996613" cy="184666"/>
          </a:xfrm>
          <a:prstGeom prst="rect">
            <a:avLst/>
          </a:prstGeom>
          <a:noFill/>
        </p:spPr>
        <p:txBody>
          <a:bodyPr wrap="square" lIns="0" tIns="0" rIns="0" bIns="0" rtlCol="0">
            <a:spAutoFit/>
          </a:bodyPr>
          <a:lstStyle/>
          <a:p>
            <a:r>
              <a:rPr lang="en-US" sz="1200" dirty="0"/>
              <a:t>Chart title runs here</a:t>
            </a:r>
          </a:p>
        </p:txBody>
      </p:sp>
      <p:sp>
        <p:nvSpPr>
          <p:cNvPr id="27" name="TextBox 26"/>
          <p:cNvSpPr txBox="1"/>
          <p:nvPr/>
        </p:nvSpPr>
        <p:spPr bwMode="gray">
          <a:xfrm>
            <a:off x="4753364" y="1710506"/>
            <a:ext cx="3996613" cy="184666"/>
          </a:xfrm>
          <a:prstGeom prst="rect">
            <a:avLst/>
          </a:prstGeom>
          <a:noFill/>
        </p:spPr>
        <p:txBody>
          <a:bodyPr wrap="square" lIns="0" tIns="0" rIns="0" bIns="0" rtlCol="0">
            <a:spAutoFit/>
          </a:bodyPr>
          <a:lstStyle/>
          <a:p>
            <a:r>
              <a:rPr lang="en-US" sz="1200" dirty="0"/>
              <a:t>Chart title ru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sp>
        <p:nvSpPr>
          <p:cNvPr id="21" name="Freeform 4"/>
          <p:cNvSpPr>
            <a:spLocks/>
          </p:cNvSpPr>
          <p:nvPr/>
        </p:nvSpPr>
        <p:spPr bwMode="auto">
          <a:xfrm>
            <a:off x="3654069" y="4696839"/>
            <a:ext cx="1818857" cy="1246187"/>
          </a:xfrm>
          <a:custGeom>
            <a:avLst/>
            <a:gdLst>
              <a:gd name="T0" fmla="*/ 0 w 1461"/>
              <a:gd name="T1" fmla="*/ 0 h 1885"/>
              <a:gd name="T2" fmla="*/ 555 w 1461"/>
              <a:gd name="T3" fmla="*/ 0 h 1885"/>
              <a:gd name="T4" fmla="*/ 555 w 1461"/>
              <a:gd name="T5" fmla="*/ 10 h 1885"/>
              <a:gd name="T6" fmla="*/ 567 w 1461"/>
              <a:gd name="T7" fmla="*/ 10 h 1885"/>
              <a:gd name="T8" fmla="*/ 603 w 1461"/>
              <a:gd name="T9" fmla="*/ 8 h 1885"/>
              <a:gd name="T10" fmla="*/ 646 w 1461"/>
              <a:gd name="T11" fmla="*/ 12 h 1885"/>
              <a:gd name="T12" fmla="*/ 603 w 1461"/>
              <a:gd name="T13" fmla="*/ 15 h 1885"/>
              <a:gd name="T14" fmla="*/ 567 w 1461"/>
              <a:gd name="T15" fmla="*/ 13 h 1885"/>
              <a:gd name="T16" fmla="*/ 555 w 1461"/>
              <a:gd name="T17" fmla="*/ 13 h 1885"/>
              <a:gd name="T18" fmla="*/ 555 w 1461"/>
              <a:gd name="T19" fmla="*/ 24 h 1885"/>
              <a:gd name="T20" fmla="*/ 0 w 1461"/>
              <a:gd name="T21" fmla="*/ 24 h 1885"/>
              <a:gd name="T22" fmla="*/ 0 w 1461"/>
              <a:gd name="T23" fmla="*/ 13 h 1885"/>
              <a:gd name="T24" fmla="*/ 12 w 1461"/>
              <a:gd name="T25" fmla="*/ 13 h 1885"/>
              <a:gd name="T26" fmla="*/ 47 w 1461"/>
              <a:gd name="T27" fmla="*/ 15 h 1885"/>
              <a:gd name="T28" fmla="*/ 92 w 1461"/>
              <a:gd name="T29" fmla="*/ 12 h 1885"/>
              <a:gd name="T30" fmla="*/ 49 w 1461"/>
              <a:gd name="T31" fmla="*/ 8 h 1885"/>
              <a:gd name="T32" fmla="*/ 11 w 1461"/>
              <a:gd name="T33" fmla="*/ 10 h 1885"/>
              <a:gd name="T34" fmla="*/ 0 w 1461"/>
              <a:gd name="T35" fmla="*/ 10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chemeClr val="accent6"/>
          </a:solidFill>
          <a:ln w="9525">
            <a:solidFill>
              <a:schemeClr val="accent6"/>
            </a:solidFill>
            <a:round/>
            <a:headEnd/>
            <a:tailEnd/>
          </a:ln>
        </p:spPr>
        <p:txBody>
          <a:bodyPr wrap="none" lIns="0" tIns="0" rIns="0" bIns="0" anchor="ctr"/>
          <a:lstStyle/>
          <a:p>
            <a:pPr eaLnBrk="1" hangingPunct="1">
              <a:spcBef>
                <a:spcPct val="20000"/>
              </a:spcBef>
            </a:pPr>
            <a:endParaRPr lang="en-GB" sz="1100" b="1" dirty="0">
              <a:solidFill>
                <a:srgbClr val="92D400"/>
              </a:solidFill>
              <a:ea typeface="+mn-ea"/>
              <a:cs typeface="Arial" pitchFamily="34" charset="0"/>
            </a:endParaRPr>
          </a:p>
        </p:txBody>
      </p:sp>
      <p:sp>
        <p:nvSpPr>
          <p:cNvPr id="23" name="Freeform 22"/>
          <p:cNvSpPr>
            <a:spLocks/>
          </p:cNvSpPr>
          <p:nvPr/>
        </p:nvSpPr>
        <p:spPr bwMode="auto">
          <a:xfrm>
            <a:off x="5214973" y="4696839"/>
            <a:ext cx="1820323" cy="1246187"/>
          </a:xfrm>
          <a:custGeom>
            <a:avLst/>
            <a:gdLst>
              <a:gd name="T0" fmla="*/ 0 w 1461"/>
              <a:gd name="T1" fmla="*/ 0 h 1885"/>
              <a:gd name="T2" fmla="*/ 1066 w 1461"/>
              <a:gd name="T3" fmla="*/ 0 h 1885"/>
              <a:gd name="T4" fmla="*/ 1066 w 1461"/>
              <a:gd name="T5" fmla="*/ 336 h 1885"/>
              <a:gd name="T6" fmla="*/ 1089 w 1461"/>
              <a:gd name="T7" fmla="*/ 336 h 1885"/>
              <a:gd name="T8" fmla="*/ 1160 w 1461"/>
              <a:gd name="T9" fmla="*/ 280 h 1885"/>
              <a:gd name="T10" fmla="*/ 1242 w 1461"/>
              <a:gd name="T11" fmla="*/ 392 h 1885"/>
              <a:gd name="T12" fmla="*/ 1160 w 1461"/>
              <a:gd name="T13" fmla="*/ 505 h 1885"/>
              <a:gd name="T14" fmla="*/ 1089 w 1461"/>
              <a:gd name="T15" fmla="*/ 445 h 1885"/>
              <a:gd name="T16" fmla="*/ 1066 w 1461"/>
              <a:gd name="T17" fmla="*/ 445 h 1885"/>
              <a:gd name="T18" fmla="*/ 1066 w 1461"/>
              <a:gd name="T19" fmla="*/ 785 h 1885"/>
              <a:gd name="T20" fmla="*/ 0 w 1461"/>
              <a:gd name="T21" fmla="*/ 785 h 1885"/>
              <a:gd name="T22" fmla="*/ 0 w 1461"/>
              <a:gd name="T23" fmla="*/ 445 h 1885"/>
              <a:gd name="T24" fmla="*/ 23 w 1461"/>
              <a:gd name="T25" fmla="*/ 445 h 1885"/>
              <a:gd name="T26" fmla="*/ 90 w 1461"/>
              <a:gd name="T27" fmla="*/ 504 h 1885"/>
              <a:gd name="T28" fmla="*/ 176 w 1461"/>
              <a:gd name="T29" fmla="*/ 392 h 1885"/>
              <a:gd name="T30" fmla="*/ 94 w 1461"/>
              <a:gd name="T31" fmla="*/ 280 h 1885"/>
              <a:gd name="T32" fmla="*/ 21 w 1461"/>
              <a:gd name="T33" fmla="*/ 336 h 1885"/>
              <a:gd name="T34" fmla="*/ 0 w 1461"/>
              <a:gd name="T35" fmla="*/ 336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chemeClr val="accent3"/>
          </a:solidFill>
          <a:ln w="9525">
            <a:solidFill>
              <a:schemeClr val="accent3"/>
            </a:solid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4" name="Freeform 7"/>
          <p:cNvSpPr>
            <a:spLocks/>
          </p:cNvSpPr>
          <p:nvPr/>
        </p:nvSpPr>
        <p:spPr bwMode="auto">
          <a:xfrm>
            <a:off x="2099469" y="4696839"/>
            <a:ext cx="1820323" cy="1246187"/>
          </a:xfrm>
          <a:custGeom>
            <a:avLst/>
            <a:gdLst>
              <a:gd name="T0" fmla="*/ 0 w 1461"/>
              <a:gd name="T1" fmla="*/ 0 h 1885"/>
              <a:gd name="T2" fmla="*/ 557 w 1461"/>
              <a:gd name="T3" fmla="*/ 0 h 1885"/>
              <a:gd name="T4" fmla="*/ 557 w 1461"/>
              <a:gd name="T5" fmla="*/ 10 h 1885"/>
              <a:gd name="T6" fmla="*/ 569 w 1461"/>
              <a:gd name="T7" fmla="*/ 10 h 1885"/>
              <a:gd name="T8" fmla="*/ 605 w 1461"/>
              <a:gd name="T9" fmla="*/ 8 h 1885"/>
              <a:gd name="T10" fmla="*/ 649 w 1461"/>
              <a:gd name="T11" fmla="*/ 12 h 1885"/>
              <a:gd name="T12" fmla="*/ 605 w 1461"/>
              <a:gd name="T13" fmla="*/ 15 h 1885"/>
              <a:gd name="T14" fmla="*/ 569 w 1461"/>
              <a:gd name="T15" fmla="*/ 13 h 1885"/>
              <a:gd name="T16" fmla="*/ 557 w 1461"/>
              <a:gd name="T17" fmla="*/ 13 h 1885"/>
              <a:gd name="T18" fmla="*/ 557 w 1461"/>
              <a:gd name="T19" fmla="*/ 24 h 1885"/>
              <a:gd name="T20" fmla="*/ 0 w 1461"/>
              <a:gd name="T21" fmla="*/ 24 h 1885"/>
              <a:gd name="T22" fmla="*/ 0 w 1461"/>
              <a:gd name="T23" fmla="*/ 0 h 18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61"/>
              <a:gd name="T37" fmla="*/ 0 h 1885"/>
              <a:gd name="T38" fmla="*/ 1461 w 1461"/>
              <a:gd name="T39" fmla="*/ 1885 h 188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0"/>
                </a:lnTo>
                <a:close/>
              </a:path>
            </a:pathLst>
          </a:custGeom>
          <a:solidFill>
            <a:schemeClr val="accent1"/>
          </a:solidFill>
          <a:ln w="9525">
            <a:solidFill>
              <a:schemeClr val="accent1"/>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25" name="Freeform 9"/>
          <p:cNvSpPr>
            <a:spLocks/>
          </p:cNvSpPr>
          <p:nvPr/>
        </p:nvSpPr>
        <p:spPr bwMode="auto">
          <a:xfrm>
            <a:off x="6438852" y="1966913"/>
            <a:ext cx="1245650" cy="1568450"/>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4"/>
          </a:solidFill>
          <a:ln w="9525">
            <a:solidFill>
              <a:schemeClr val="accent4"/>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26" name="Freeform 25"/>
          <p:cNvSpPr>
            <a:spLocks/>
          </p:cNvSpPr>
          <p:nvPr/>
        </p:nvSpPr>
        <p:spPr bwMode="auto">
          <a:xfrm>
            <a:off x="6438852" y="3203575"/>
            <a:ext cx="1245650" cy="1241425"/>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9525">
            <a:solidFill>
              <a:schemeClr val="bg2"/>
            </a:solid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7" name="Freeform 26"/>
          <p:cNvSpPr>
            <a:spLocks/>
          </p:cNvSpPr>
          <p:nvPr/>
        </p:nvSpPr>
        <p:spPr bwMode="auto">
          <a:xfrm>
            <a:off x="5197598" y="1966913"/>
            <a:ext cx="1581243" cy="1568450"/>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9525">
            <a:solidFill>
              <a:schemeClr val="accent3"/>
            </a:solid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28" name="Freeform 12"/>
          <p:cNvSpPr>
            <a:spLocks/>
          </p:cNvSpPr>
          <p:nvPr/>
        </p:nvSpPr>
        <p:spPr bwMode="auto">
          <a:xfrm flipV="1">
            <a:off x="5196132" y="3203575"/>
            <a:ext cx="1581243" cy="1241425"/>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9525">
            <a:solidFill>
              <a:schemeClr val="accent5"/>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29" name="Freeform 13"/>
          <p:cNvSpPr>
            <a:spLocks/>
          </p:cNvSpPr>
          <p:nvPr/>
        </p:nvSpPr>
        <p:spPr bwMode="auto">
          <a:xfrm>
            <a:off x="3954878" y="1966913"/>
            <a:ext cx="1579778" cy="1568450"/>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9525">
            <a:solidFill>
              <a:schemeClr val="accent2"/>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30" name="Freeform 29"/>
          <p:cNvSpPr>
            <a:spLocks/>
          </p:cNvSpPr>
          <p:nvPr/>
        </p:nvSpPr>
        <p:spPr bwMode="auto">
          <a:xfrm flipV="1">
            <a:off x="3954878" y="3203575"/>
            <a:ext cx="1579778" cy="1241425"/>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9525">
            <a:no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31" name="Freeform 30"/>
          <p:cNvSpPr>
            <a:spLocks/>
          </p:cNvSpPr>
          <p:nvPr/>
        </p:nvSpPr>
        <p:spPr bwMode="auto">
          <a:xfrm>
            <a:off x="2712159" y="1966913"/>
            <a:ext cx="1581243" cy="1568450"/>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6"/>
          </a:solidFill>
          <a:ln w="9525">
            <a:solidFill>
              <a:schemeClr val="accent6"/>
            </a:solid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32" name="Freeform 16"/>
          <p:cNvSpPr>
            <a:spLocks/>
          </p:cNvSpPr>
          <p:nvPr/>
        </p:nvSpPr>
        <p:spPr bwMode="auto">
          <a:xfrm flipV="1">
            <a:off x="2712159" y="3203575"/>
            <a:ext cx="1581243" cy="1241425"/>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9525">
            <a:solidFill>
              <a:schemeClr val="tx2"/>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33" name="Freeform 17"/>
          <p:cNvSpPr>
            <a:spLocks/>
          </p:cNvSpPr>
          <p:nvPr/>
        </p:nvSpPr>
        <p:spPr bwMode="auto">
          <a:xfrm>
            <a:off x="1469439" y="1966913"/>
            <a:ext cx="1581243" cy="1568450"/>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9525">
            <a:solidFill>
              <a:schemeClr val="accent1"/>
            </a:solidFill>
            <a:round/>
            <a:headEnd/>
            <a:tailEnd/>
          </a:ln>
        </p:spPr>
        <p:txBody>
          <a:bodyPr wrap="none" lIns="0" tIns="0" rIns="0" bIns="0" anchor="ctr"/>
          <a:lstStyle/>
          <a:p>
            <a:pPr eaLnBrk="1" hangingPunct="1">
              <a:spcBef>
                <a:spcPct val="20000"/>
              </a:spcBef>
            </a:pPr>
            <a:endParaRPr lang="en-GB" sz="1100" b="1" dirty="0">
              <a:solidFill>
                <a:srgbClr val="002776"/>
              </a:solidFill>
              <a:ea typeface="+mn-ea"/>
              <a:cs typeface="Arial" pitchFamily="34" charset="0"/>
            </a:endParaRPr>
          </a:p>
        </p:txBody>
      </p:sp>
      <p:sp>
        <p:nvSpPr>
          <p:cNvPr id="34" name="Freeform 33"/>
          <p:cNvSpPr>
            <a:spLocks/>
          </p:cNvSpPr>
          <p:nvPr/>
        </p:nvSpPr>
        <p:spPr bwMode="auto">
          <a:xfrm flipV="1">
            <a:off x="1469439" y="3203575"/>
            <a:ext cx="1581243" cy="1241425"/>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1"/>
          </a:solidFill>
          <a:ln w="9525">
            <a:solidFill>
              <a:schemeClr val="tx1"/>
            </a:solidFill>
            <a:round/>
            <a:headEnd/>
            <a:tailEnd/>
          </a:ln>
        </p:spPr>
        <p:txBody>
          <a:bodyPr wrap="none" lIns="0" tIns="0" rIns="0" bIns="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36" name="Rectangle 35"/>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sp>
        <p:nvSpPr>
          <p:cNvPr id="8" name="Text Placeholder 7"/>
          <p:cNvSpPr>
            <a:spLocks noGrp="1"/>
          </p:cNvSpPr>
          <p:nvPr>
            <p:ph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grpSp>
        <p:nvGrpSpPr>
          <p:cNvPr id="698371" name="Group 3"/>
          <p:cNvGrpSpPr>
            <a:grpSpLocks/>
          </p:cNvGrpSpPr>
          <p:nvPr/>
        </p:nvGrpSpPr>
        <p:grpSpPr bwMode="auto">
          <a:xfrm>
            <a:off x="4779741" y="2050802"/>
            <a:ext cx="3996613" cy="3410660"/>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6"/>
            </a:solidFill>
            <a:ln w="9525">
              <a:noFill/>
              <a:round/>
              <a:headEnd/>
              <a:tailEnd/>
            </a:ln>
          </p:spPr>
          <p:txBody>
            <a:bodyPr/>
            <a:lstStyle/>
            <a:p>
              <a:endParaRPr lang="en-US"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9525">
              <a:noFill/>
              <a:round/>
              <a:headEnd/>
              <a:tailEnd/>
            </a:ln>
          </p:spPr>
          <p:txBody>
            <a:bodyPr/>
            <a:lstStyle/>
            <a:p>
              <a:pPr>
                <a:defRPr/>
              </a:pPr>
              <a:endParaRPr lang="en-US"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9525">
              <a:noFill/>
              <a:round/>
              <a:headEnd/>
              <a:tailEnd/>
            </a:ln>
          </p:spPr>
          <p:txBody>
            <a:bodyPr/>
            <a:lstStyle/>
            <a:p>
              <a:pPr>
                <a:defRPr/>
              </a:pPr>
              <a:endParaRPr lang="en-US"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9525">
              <a:noFill/>
              <a:round/>
              <a:headEnd/>
              <a:tailEnd/>
            </a:ln>
          </p:spPr>
          <p:txBody>
            <a:bodyPr/>
            <a:lstStyle/>
            <a:p>
              <a:endParaRPr lang="en-US" dirty="0"/>
            </a:p>
          </p:txBody>
        </p:sp>
      </p:grpSp>
      <p:sp>
        <p:nvSpPr>
          <p:cNvPr id="14" name="Rectangle 13"/>
          <p:cNvSpPr>
            <a:spLocks noChangeArrowheads="1"/>
          </p:cNvSpPr>
          <p:nvPr/>
        </p:nvSpPr>
        <p:spPr bwMode="auto">
          <a:xfrm>
            <a:off x="5887617"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bwMode="gray">
          <a:xfrm>
            <a:off x="4779741" y="1665288"/>
            <a:ext cx="3996613" cy="184666"/>
          </a:xfrm>
          <a:prstGeom prst="rect">
            <a:avLst/>
          </a:prstGeom>
          <a:noFill/>
        </p:spPr>
        <p:txBody>
          <a:bodyPr wrap="square" lIns="0" tIns="0" rIns="0" bIns="0" rtlCol="0">
            <a:spAutoFit/>
          </a:bodyPr>
          <a:lstStyle/>
          <a:p>
            <a:r>
              <a:rPr lang="en-US" sz="1200" dirty="0"/>
              <a:t>Chart title runs here</a:t>
            </a:r>
          </a:p>
        </p:txBody>
      </p:sp>
      <p:sp>
        <p:nvSpPr>
          <p:cNvPr id="18" name="TextBox 17"/>
          <p:cNvSpPr txBox="1"/>
          <p:nvPr/>
        </p:nvSpPr>
        <p:spPr>
          <a:xfrm>
            <a:off x="406402" y="6108405"/>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Trackers</a:t>
            </a:r>
            <a:endParaRPr lang="en-US" dirty="0"/>
          </a:p>
        </p:txBody>
      </p:sp>
      <p:sp>
        <p:nvSpPr>
          <p:cNvPr id="700417" name="Title 1"/>
          <p:cNvSpPr>
            <a:spLocks noGrp="1"/>
          </p:cNvSpPr>
          <p:nvPr>
            <p:ph type="title"/>
          </p:nvPr>
        </p:nvSpPr>
        <p:spPr/>
        <p:txBody>
          <a:bodyPr/>
          <a:lstStyle/>
          <a:p>
            <a:r>
              <a:rPr lang="en-US" altLang="ja-JP"/>
              <a:t>Others</a:t>
            </a:r>
            <a:endParaRPr lang="en-US" dirty="0"/>
          </a:p>
        </p:txBody>
      </p:sp>
      <p:sp>
        <p:nvSpPr>
          <p:cNvPr id="98" name="Rectangle 97"/>
          <p:cNvSpPr>
            <a:spLocks noChangeArrowheads="1"/>
          </p:cNvSpPr>
          <p:nvPr/>
        </p:nvSpPr>
        <p:spPr bwMode="auto">
          <a:xfrm>
            <a:off x="715963" y="3373136"/>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1470559" y="3133423"/>
            <a:ext cx="443966" cy="188913"/>
          </a:xfrm>
          <a:prstGeom prst="rect">
            <a:avLst/>
          </a:prstGeom>
          <a:solidFill>
            <a:schemeClr val="accent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1470559" y="3371548"/>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1470559" y="3611261"/>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1159929" y="3228673"/>
            <a:ext cx="309165" cy="238125"/>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1159929" y="3466798"/>
            <a:ext cx="309165" cy="0"/>
          </a:xfrm>
          <a:prstGeom prst="straightConnector1">
            <a:avLst/>
          </a:prstGeom>
          <a:noFill/>
          <a:ln w="6350">
            <a:solidFill>
              <a:srgbClr val="BBBCBC"/>
            </a:solidFill>
            <a:round/>
            <a:headEnd type="none" w="sm" len="sm"/>
            <a:tailEnd type="none" w="med" len="lg"/>
          </a:ln>
        </p:spPr>
      </p:cxnSp>
      <p:cxnSp>
        <p:nvCxnSpPr>
          <p:cNvPr id="104" name="AutoShape 10"/>
          <p:cNvCxnSpPr>
            <a:cxnSpLocks noChangeShapeType="1"/>
            <a:stCxn id="98" idx="3"/>
            <a:endCxn id="101" idx="1"/>
          </p:cNvCxnSpPr>
          <p:nvPr/>
        </p:nvCxnSpPr>
        <p:spPr bwMode="auto">
          <a:xfrm>
            <a:off x="1159929" y="3466798"/>
            <a:ext cx="309165" cy="239713"/>
          </a:xfrm>
          <a:prstGeom prst="bentConnector3">
            <a:avLst>
              <a:gd name="adj1" fmla="val 50000"/>
            </a:avLst>
          </a:prstGeom>
          <a:noFill/>
          <a:ln w="6350">
            <a:solidFill>
              <a:srgbClr val="BBBCBC"/>
            </a:solidFill>
            <a:miter lim="800000"/>
            <a:headEnd type="none" w="sm" len="sm"/>
            <a:tailEnd type="none" w="med" len="lg"/>
          </a:ln>
        </p:spPr>
      </p:cxnSp>
      <p:sp>
        <p:nvSpPr>
          <p:cNvPr id="106" name="Rectangle 105"/>
          <p:cNvSpPr>
            <a:spLocks noChangeArrowheads="1"/>
          </p:cNvSpPr>
          <p:nvPr/>
        </p:nvSpPr>
        <p:spPr bwMode="auto">
          <a:xfrm>
            <a:off x="2865438" y="3373136"/>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3620034" y="3133423"/>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3620034" y="3371548"/>
            <a:ext cx="443966" cy="188913"/>
          </a:xfrm>
          <a:prstGeom prst="rect">
            <a:avLst/>
          </a:prstGeom>
          <a:solidFill>
            <a:schemeClr val="accent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3620034" y="3611261"/>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3309404" y="3228673"/>
            <a:ext cx="309165" cy="238125"/>
          </a:xfrm>
          <a:prstGeom prst="bentConnector3">
            <a:avLst>
              <a:gd name="adj1" fmla="val 50000"/>
            </a:avLst>
          </a:prstGeom>
          <a:noFill/>
          <a:ln w="6350">
            <a:solidFill>
              <a:srgbClr val="BBBCBC"/>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3309404" y="3466798"/>
            <a:ext cx="309165" cy="0"/>
          </a:xfrm>
          <a:prstGeom prst="straightConnector1">
            <a:avLst/>
          </a:prstGeom>
          <a:noFill/>
          <a:ln w="6350">
            <a:solidFill>
              <a:srgbClr val="BBBCBC"/>
            </a:solidFill>
            <a:round/>
            <a:headEnd type="none" w="sm" len="sm"/>
            <a:tailEnd type="none" w="med" len="lg"/>
          </a:ln>
        </p:spPr>
      </p:cxnSp>
      <p:cxnSp>
        <p:nvCxnSpPr>
          <p:cNvPr id="112" name="AutoShape 18"/>
          <p:cNvCxnSpPr>
            <a:cxnSpLocks noChangeShapeType="1"/>
            <a:stCxn id="106" idx="3"/>
            <a:endCxn id="109" idx="1"/>
          </p:cNvCxnSpPr>
          <p:nvPr/>
        </p:nvCxnSpPr>
        <p:spPr bwMode="auto">
          <a:xfrm>
            <a:off x="3309404" y="3466798"/>
            <a:ext cx="309165" cy="239713"/>
          </a:xfrm>
          <a:prstGeom prst="bentConnector3">
            <a:avLst>
              <a:gd name="adj1" fmla="val 50000"/>
            </a:avLst>
          </a:prstGeom>
          <a:noFill/>
          <a:ln w="6350">
            <a:solidFill>
              <a:srgbClr val="BBBCBC"/>
            </a:solidFill>
            <a:miter lim="800000"/>
            <a:headEnd type="none" w="sm" len="sm"/>
            <a:tailEnd type="none" w="med" len="lg"/>
          </a:ln>
        </p:spPr>
      </p:cxnSp>
      <p:sp>
        <p:nvSpPr>
          <p:cNvPr id="114" name="Rectangle 113"/>
          <p:cNvSpPr>
            <a:spLocks noChangeArrowheads="1"/>
          </p:cNvSpPr>
          <p:nvPr/>
        </p:nvSpPr>
        <p:spPr bwMode="auto">
          <a:xfrm>
            <a:off x="5013325" y="3371549"/>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5767922" y="3131836"/>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5767922" y="3369961"/>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5767922" y="3609674"/>
            <a:ext cx="443966" cy="188913"/>
          </a:xfrm>
          <a:prstGeom prst="rect">
            <a:avLst/>
          </a:prstGeom>
          <a:solidFill>
            <a:schemeClr val="accent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5457291" y="3227086"/>
            <a:ext cx="309165" cy="238125"/>
          </a:xfrm>
          <a:prstGeom prst="bentConnector3">
            <a:avLst>
              <a:gd name="adj1" fmla="val 50000"/>
            </a:avLst>
          </a:prstGeom>
          <a:noFill/>
          <a:ln w="6350">
            <a:solidFill>
              <a:srgbClr val="BBBCBC"/>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5457291" y="3465211"/>
            <a:ext cx="309165" cy="0"/>
          </a:xfrm>
          <a:prstGeom prst="straightConnector1">
            <a:avLst/>
          </a:prstGeom>
          <a:noFill/>
          <a:ln w="6350">
            <a:solidFill>
              <a:srgbClr val="BBBCBC"/>
            </a:solidFill>
            <a:round/>
            <a:headEnd type="none" w="sm" len="sm"/>
            <a:tailEnd type="none" w="med" len="lg"/>
          </a:ln>
        </p:spPr>
      </p:cxnSp>
      <p:cxnSp>
        <p:nvCxnSpPr>
          <p:cNvPr id="120" name="AutoShape 26"/>
          <p:cNvCxnSpPr>
            <a:cxnSpLocks noChangeShapeType="1"/>
            <a:stCxn id="114" idx="3"/>
            <a:endCxn id="117" idx="1"/>
          </p:cNvCxnSpPr>
          <p:nvPr/>
        </p:nvCxnSpPr>
        <p:spPr bwMode="auto">
          <a:xfrm>
            <a:off x="5457291" y="3465211"/>
            <a:ext cx="309165" cy="239713"/>
          </a:xfrm>
          <a:prstGeom prst="bentConnector3">
            <a:avLst>
              <a:gd name="adj1" fmla="val 50000"/>
            </a:avLst>
          </a:prstGeom>
          <a:noFill/>
          <a:ln w="6350">
            <a:solidFill>
              <a:srgbClr val="BBBCBC"/>
            </a:solidFill>
            <a:miter lim="800000"/>
            <a:headEnd type="none" w="sm" len="sm"/>
            <a:tailEnd type="none" w="med" len="lg"/>
          </a:ln>
        </p:spPr>
      </p:cxnSp>
      <p:sp>
        <p:nvSpPr>
          <p:cNvPr id="122" name="Rectangle 121"/>
          <p:cNvSpPr>
            <a:spLocks noChangeArrowheads="1"/>
          </p:cNvSpPr>
          <p:nvPr/>
        </p:nvSpPr>
        <p:spPr bwMode="auto">
          <a:xfrm>
            <a:off x="7161213" y="3373136"/>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7915809" y="3133423"/>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7915809" y="3371548"/>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7915809" y="3611261"/>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7605179" y="3228673"/>
            <a:ext cx="309165" cy="238125"/>
          </a:xfrm>
          <a:prstGeom prst="bentConnector3">
            <a:avLst>
              <a:gd name="adj1" fmla="val 50000"/>
            </a:avLst>
          </a:prstGeom>
          <a:noFill/>
          <a:ln w="6350">
            <a:solidFill>
              <a:srgbClr val="BBBCBC"/>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7605179" y="3466798"/>
            <a:ext cx="309165" cy="0"/>
          </a:xfrm>
          <a:prstGeom prst="straightConnector1">
            <a:avLst/>
          </a:prstGeom>
          <a:noFill/>
          <a:ln w="6350">
            <a:solidFill>
              <a:srgbClr val="BBBCBC"/>
            </a:solidFill>
            <a:round/>
            <a:headEnd type="none" w="sm" len="sm"/>
            <a:tailEnd type="none" w="med" len="lg"/>
          </a:ln>
        </p:spPr>
      </p:cxnSp>
      <p:cxnSp>
        <p:nvCxnSpPr>
          <p:cNvPr id="128" name="AutoShape 34"/>
          <p:cNvCxnSpPr>
            <a:cxnSpLocks noChangeShapeType="1"/>
            <a:stCxn id="122" idx="3"/>
            <a:endCxn id="125" idx="1"/>
          </p:cNvCxnSpPr>
          <p:nvPr/>
        </p:nvCxnSpPr>
        <p:spPr bwMode="auto">
          <a:xfrm>
            <a:off x="7605179" y="3466798"/>
            <a:ext cx="309165" cy="239713"/>
          </a:xfrm>
          <a:prstGeom prst="bentConnector3">
            <a:avLst>
              <a:gd name="adj1" fmla="val 50000"/>
            </a:avLst>
          </a:prstGeom>
          <a:noFill/>
          <a:ln w="6350">
            <a:solidFill>
              <a:srgbClr val="BBBCBC"/>
            </a:solidFill>
            <a:miter lim="800000"/>
            <a:headEnd type="none" w="sm" len="sm"/>
            <a:tailEnd type="none" w="med" len="lg"/>
          </a:ln>
        </p:spPr>
      </p:cxnSp>
      <p:sp>
        <p:nvSpPr>
          <p:cNvPr id="129" name="Rectangle 128"/>
          <p:cNvSpPr>
            <a:spLocks noChangeArrowheads="1"/>
          </p:cNvSpPr>
          <p:nvPr/>
        </p:nvSpPr>
        <p:spPr bwMode="auto">
          <a:xfrm>
            <a:off x="715963" y="2162517"/>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1470559" y="1973604"/>
            <a:ext cx="443966" cy="188913"/>
          </a:xfrm>
          <a:prstGeom prst="rect">
            <a:avLst/>
          </a:prstGeom>
          <a:solidFill>
            <a:schemeClr val="accent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1470559" y="2351429"/>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1159929" y="2068854"/>
            <a:ext cx="309165" cy="187325"/>
          </a:xfrm>
          <a:prstGeom prst="bentConnector3">
            <a:avLst>
              <a:gd name="adj1" fmla="val 50000"/>
            </a:avLst>
          </a:prstGeom>
          <a:noFill/>
          <a:ln w="6350">
            <a:solidFill>
              <a:srgbClr val="BBBCBC"/>
            </a:solidFill>
            <a:miter lim="800000"/>
            <a:headEnd type="none" w="sm" len="sm"/>
            <a:tailEnd type="none" w="med" len="lg"/>
          </a:ln>
        </p:spPr>
      </p:cxnSp>
      <p:cxnSp>
        <p:nvCxnSpPr>
          <p:cNvPr id="133" name="AutoShape 40"/>
          <p:cNvCxnSpPr>
            <a:cxnSpLocks noChangeShapeType="1"/>
          </p:cNvCxnSpPr>
          <p:nvPr/>
        </p:nvCxnSpPr>
        <p:spPr bwMode="auto">
          <a:xfrm>
            <a:off x="1159929" y="2254591"/>
            <a:ext cx="309165" cy="190500"/>
          </a:xfrm>
          <a:prstGeom prst="bentConnector3">
            <a:avLst>
              <a:gd name="adj1" fmla="val 50000"/>
            </a:avLst>
          </a:prstGeom>
          <a:noFill/>
          <a:ln w="6350">
            <a:solidFill>
              <a:srgbClr val="BBBCBC"/>
            </a:solidFill>
            <a:miter lim="800000"/>
            <a:headEnd type="none" w="sm" len="sm"/>
            <a:tailEnd type="none" w="med" len="lg"/>
          </a:ln>
        </p:spPr>
      </p:cxnSp>
      <p:sp>
        <p:nvSpPr>
          <p:cNvPr id="134" name="Rectangle 133"/>
          <p:cNvSpPr>
            <a:spLocks noChangeArrowheads="1"/>
          </p:cNvSpPr>
          <p:nvPr/>
        </p:nvSpPr>
        <p:spPr bwMode="auto">
          <a:xfrm>
            <a:off x="3938588" y="2162517"/>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4693184" y="1973604"/>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4693184" y="2351429"/>
            <a:ext cx="443966" cy="188913"/>
          </a:xfrm>
          <a:prstGeom prst="rect">
            <a:avLst/>
          </a:prstGeom>
          <a:solidFill>
            <a:schemeClr val="accent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4382554" y="2068854"/>
            <a:ext cx="309165" cy="187325"/>
          </a:xfrm>
          <a:prstGeom prst="bentConnector3">
            <a:avLst>
              <a:gd name="adj1" fmla="val 50000"/>
            </a:avLst>
          </a:prstGeom>
          <a:noFill/>
          <a:ln w="6350">
            <a:solidFill>
              <a:srgbClr val="BBBCBC"/>
            </a:solidFill>
            <a:miter lim="800000"/>
            <a:headEnd type="none" w="sm" len="sm"/>
            <a:tailEnd type="none" w="med" len="lg"/>
          </a:ln>
        </p:spPr>
      </p:cxnSp>
      <p:cxnSp>
        <p:nvCxnSpPr>
          <p:cNvPr id="138" name="AutoShape 46"/>
          <p:cNvCxnSpPr>
            <a:cxnSpLocks noChangeShapeType="1"/>
          </p:cNvCxnSpPr>
          <p:nvPr/>
        </p:nvCxnSpPr>
        <p:spPr bwMode="auto">
          <a:xfrm>
            <a:off x="4382554" y="2254591"/>
            <a:ext cx="309165" cy="190500"/>
          </a:xfrm>
          <a:prstGeom prst="bentConnector3">
            <a:avLst>
              <a:gd name="adj1" fmla="val 50000"/>
            </a:avLst>
          </a:prstGeom>
          <a:noFill/>
          <a:ln w="6350">
            <a:solidFill>
              <a:srgbClr val="BBBCBC"/>
            </a:solidFill>
            <a:miter lim="800000"/>
            <a:headEnd type="none" w="sm" len="sm"/>
            <a:tailEnd type="none" w="med" len="lg"/>
          </a:ln>
        </p:spPr>
      </p:cxnSp>
      <p:sp>
        <p:nvSpPr>
          <p:cNvPr id="139" name="Rectangle 138"/>
          <p:cNvSpPr>
            <a:spLocks noChangeArrowheads="1"/>
          </p:cNvSpPr>
          <p:nvPr/>
        </p:nvSpPr>
        <p:spPr bwMode="auto">
          <a:xfrm>
            <a:off x="7161213" y="2162517"/>
            <a:ext cx="443966" cy="187325"/>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7915809" y="1973604"/>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7915809" y="2351429"/>
            <a:ext cx="443966" cy="188913"/>
          </a:xfrm>
          <a:prstGeom prst="rect">
            <a:avLst/>
          </a:prstGeom>
          <a:solidFill>
            <a:schemeClr val="bg1"/>
          </a:solidFill>
          <a:ln w="6350" algn="ctr">
            <a:solidFill>
              <a:srgbClr val="BBBCBC"/>
            </a:solidFill>
            <a:miter lim="800000"/>
            <a:headEnd type="none" w="sm" len="sm"/>
            <a:tailEnd type="none" w="med" len="lg"/>
          </a:ln>
        </p:spPr>
        <p:txBody>
          <a:bodyPr tIns="91440" bIns="91440" anchor="ctr"/>
          <a:lstStyle/>
          <a:p>
            <a:pPr marL="12700" indent="-12700" eaLnBrk="1" hangingPunct="1">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7605179" y="2068854"/>
            <a:ext cx="309165" cy="187325"/>
          </a:xfrm>
          <a:prstGeom prst="bentConnector3">
            <a:avLst>
              <a:gd name="adj1" fmla="val 50000"/>
            </a:avLst>
          </a:prstGeom>
          <a:noFill/>
          <a:ln w="6350">
            <a:solidFill>
              <a:srgbClr val="BBBCBC"/>
            </a:solidFill>
            <a:miter lim="800000"/>
            <a:headEnd type="none" w="sm" len="sm"/>
            <a:tailEnd type="none" w="med" len="lg"/>
          </a:ln>
        </p:spPr>
      </p:cxnSp>
      <p:cxnSp>
        <p:nvCxnSpPr>
          <p:cNvPr id="143" name="AutoShape 52"/>
          <p:cNvCxnSpPr>
            <a:cxnSpLocks noChangeShapeType="1"/>
          </p:cNvCxnSpPr>
          <p:nvPr/>
        </p:nvCxnSpPr>
        <p:spPr bwMode="auto">
          <a:xfrm>
            <a:off x="7605179" y="2254591"/>
            <a:ext cx="309165" cy="190500"/>
          </a:xfrm>
          <a:prstGeom prst="bentConnector3">
            <a:avLst>
              <a:gd name="adj1" fmla="val 50000"/>
            </a:avLst>
          </a:prstGeom>
          <a:noFill/>
          <a:ln w="6350">
            <a:solidFill>
              <a:srgbClr val="BBBCBC"/>
            </a:solidFill>
            <a:miter lim="800000"/>
            <a:headEnd type="none" w="sm" len="sm"/>
            <a:tailEnd type="none" w="med" len="lg"/>
          </a:ln>
        </p:spPr>
      </p:cxnSp>
      <p:sp>
        <p:nvSpPr>
          <p:cNvPr id="145" name="AutoShape 54"/>
          <p:cNvSpPr>
            <a:spLocks noChangeArrowheads="1"/>
          </p:cNvSpPr>
          <p:nvPr/>
        </p:nvSpPr>
        <p:spPr bwMode="auto">
          <a:xfrm>
            <a:off x="2628045" y="5726755"/>
            <a:ext cx="331055" cy="215900"/>
          </a:xfrm>
          <a:prstGeom prst="chevron">
            <a:avLst>
              <a:gd name="adj" fmla="val 41544"/>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46" name="AutoShape 55"/>
          <p:cNvSpPr>
            <a:spLocks noChangeArrowheads="1"/>
          </p:cNvSpPr>
          <p:nvPr/>
        </p:nvSpPr>
        <p:spPr bwMode="auto">
          <a:xfrm>
            <a:off x="2959100" y="5726755"/>
            <a:ext cx="332520"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47" name="AutoShape 56"/>
          <p:cNvSpPr>
            <a:spLocks noChangeArrowheads="1"/>
          </p:cNvSpPr>
          <p:nvPr/>
        </p:nvSpPr>
        <p:spPr bwMode="auto">
          <a:xfrm>
            <a:off x="3291620" y="5726755"/>
            <a:ext cx="331055"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48" name="AutoShape 57"/>
          <p:cNvSpPr>
            <a:spLocks noChangeArrowheads="1"/>
          </p:cNvSpPr>
          <p:nvPr/>
        </p:nvSpPr>
        <p:spPr bwMode="auto">
          <a:xfrm>
            <a:off x="2295525" y="5726755"/>
            <a:ext cx="332520"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0" name="AutoShape 59"/>
          <p:cNvSpPr>
            <a:spLocks noChangeArrowheads="1"/>
          </p:cNvSpPr>
          <p:nvPr/>
        </p:nvSpPr>
        <p:spPr bwMode="auto">
          <a:xfrm>
            <a:off x="4206143" y="5728342"/>
            <a:ext cx="332520"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1" name="AutoShape 60"/>
          <p:cNvSpPr>
            <a:spLocks noChangeArrowheads="1"/>
          </p:cNvSpPr>
          <p:nvPr/>
        </p:nvSpPr>
        <p:spPr bwMode="auto">
          <a:xfrm>
            <a:off x="4538663" y="5728342"/>
            <a:ext cx="331055" cy="215900"/>
          </a:xfrm>
          <a:prstGeom prst="chevron">
            <a:avLst>
              <a:gd name="adj" fmla="val 41544"/>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2" name="AutoShape 61"/>
          <p:cNvSpPr>
            <a:spLocks noChangeArrowheads="1"/>
          </p:cNvSpPr>
          <p:nvPr/>
        </p:nvSpPr>
        <p:spPr bwMode="auto">
          <a:xfrm>
            <a:off x="4869718" y="5728342"/>
            <a:ext cx="332520"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3" name="AutoShape 62"/>
          <p:cNvSpPr>
            <a:spLocks noChangeArrowheads="1"/>
          </p:cNvSpPr>
          <p:nvPr/>
        </p:nvSpPr>
        <p:spPr bwMode="auto">
          <a:xfrm>
            <a:off x="3875088" y="5728342"/>
            <a:ext cx="331055"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5" name="AutoShape 64"/>
          <p:cNvSpPr>
            <a:spLocks noChangeArrowheads="1"/>
          </p:cNvSpPr>
          <p:nvPr/>
        </p:nvSpPr>
        <p:spPr bwMode="auto">
          <a:xfrm>
            <a:off x="5784118" y="5728342"/>
            <a:ext cx="332520"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6" name="AutoShape 65"/>
          <p:cNvSpPr>
            <a:spLocks noChangeArrowheads="1"/>
          </p:cNvSpPr>
          <p:nvPr/>
        </p:nvSpPr>
        <p:spPr bwMode="auto">
          <a:xfrm>
            <a:off x="6116638" y="5728342"/>
            <a:ext cx="331055"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7" name="AutoShape 66"/>
          <p:cNvSpPr>
            <a:spLocks noChangeArrowheads="1"/>
          </p:cNvSpPr>
          <p:nvPr/>
        </p:nvSpPr>
        <p:spPr bwMode="auto">
          <a:xfrm>
            <a:off x="6447693" y="5728342"/>
            <a:ext cx="332520" cy="215900"/>
          </a:xfrm>
          <a:prstGeom prst="chevron">
            <a:avLst>
              <a:gd name="adj" fmla="val 41544"/>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58" name="AutoShape 67"/>
          <p:cNvSpPr>
            <a:spLocks noChangeArrowheads="1"/>
          </p:cNvSpPr>
          <p:nvPr/>
        </p:nvSpPr>
        <p:spPr bwMode="auto">
          <a:xfrm>
            <a:off x="5453063" y="5728342"/>
            <a:ext cx="331055"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0" name="AutoShape 69"/>
          <p:cNvSpPr>
            <a:spLocks noChangeArrowheads="1"/>
          </p:cNvSpPr>
          <p:nvPr/>
        </p:nvSpPr>
        <p:spPr bwMode="auto">
          <a:xfrm>
            <a:off x="7365145" y="5728342"/>
            <a:ext cx="331055"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1" name="AutoShape 70"/>
          <p:cNvSpPr>
            <a:spLocks noChangeArrowheads="1"/>
          </p:cNvSpPr>
          <p:nvPr/>
        </p:nvSpPr>
        <p:spPr bwMode="auto">
          <a:xfrm>
            <a:off x="7696200" y="5728342"/>
            <a:ext cx="332520"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2" name="AutoShape 71"/>
          <p:cNvSpPr>
            <a:spLocks noChangeArrowheads="1"/>
          </p:cNvSpPr>
          <p:nvPr/>
        </p:nvSpPr>
        <p:spPr bwMode="auto">
          <a:xfrm>
            <a:off x="8028720" y="5728342"/>
            <a:ext cx="331055"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3" name="AutoShape 72"/>
          <p:cNvSpPr>
            <a:spLocks noChangeArrowheads="1"/>
          </p:cNvSpPr>
          <p:nvPr/>
        </p:nvSpPr>
        <p:spPr bwMode="auto">
          <a:xfrm>
            <a:off x="7032625" y="5728342"/>
            <a:ext cx="332520"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5" name="AutoShape 74"/>
          <p:cNvSpPr>
            <a:spLocks noChangeArrowheads="1"/>
          </p:cNvSpPr>
          <p:nvPr/>
        </p:nvSpPr>
        <p:spPr bwMode="auto">
          <a:xfrm>
            <a:off x="3264878" y="4654720"/>
            <a:ext cx="329833" cy="215900"/>
          </a:xfrm>
          <a:prstGeom prst="chevron">
            <a:avLst>
              <a:gd name="adj" fmla="val 41544"/>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6" name="AutoShape 75"/>
          <p:cNvSpPr>
            <a:spLocks noChangeArrowheads="1"/>
          </p:cNvSpPr>
          <p:nvPr/>
        </p:nvSpPr>
        <p:spPr bwMode="auto">
          <a:xfrm>
            <a:off x="3596176" y="4654720"/>
            <a:ext cx="331299"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7" name="AutoShape 76"/>
          <p:cNvSpPr>
            <a:spLocks noChangeArrowheads="1"/>
          </p:cNvSpPr>
          <p:nvPr/>
        </p:nvSpPr>
        <p:spPr bwMode="auto">
          <a:xfrm>
            <a:off x="2932113" y="4654720"/>
            <a:ext cx="332765"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69" name="AutoShape 78"/>
          <p:cNvSpPr>
            <a:spLocks noChangeArrowheads="1"/>
          </p:cNvSpPr>
          <p:nvPr/>
        </p:nvSpPr>
        <p:spPr bwMode="auto">
          <a:xfrm>
            <a:off x="5481028" y="4654720"/>
            <a:ext cx="329833"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0" name="AutoShape 79"/>
          <p:cNvSpPr>
            <a:spLocks noChangeArrowheads="1"/>
          </p:cNvSpPr>
          <p:nvPr/>
        </p:nvSpPr>
        <p:spPr bwMode="auto">
          <a:xfrm>
            <a:off x="5812326" y="4654720"/>
            <a:ext cx="331299" cy="215900"/>
          </a:xfrm>
          <a:prstGeom prst="chevron">
            <a:avLst>
              <a:gd name="adj" fmla="val 41544"/>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1" name="AutoShape 80"/>
          <p:cNvSpPr>
            <a:spLocks noChangeArrowheads="1"/>
          </p:cNvSpPr>
          <p:nvPr/>
        </p:nvSpPr>
        <p:spPr bwMode="auto">
          <a:xfrm>
            <a:off x="5148263" y="4654720"/>
            <a:ext cx="332765"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3" name="AutoShape 82"/>
          <p:cNvSpPr>
            <a:spLocks noChangeArrowheads="1"/>
          </p:cNvSpPr>
          <p:nvPr/>
        </p:nvSpPr>
        <p:spPr bwMode="auto">
          <a:xfrm>
            <a:off x="7697178" y="4654720"/>
            <a:ext cx="329833"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4" name="AutoShape 83"/>
          <p:cNvSpPr>
            <a:spLocks noChangeArrowheads="1"/>
          </p:cNvSpPr>
          <p:nvPr/>
        </p:nvSpPr>
        <p:spPr bwMode="auto">
          <a:xfrm>
            <a:off x="8028476" y="4654720"/>
            <a:ext cx="331299"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5" name="AutoShape 84"/>
          <p:cNvSpPr>
            <a:spLocks noChangeArrowheads="1"/>
          </p:cNvSpPr>
          <p:nvPr/>
        </p:nvSpPr>
        <p:spPr bwMode="auto">
          <a:xfrm>
            <a:off x="7364413" y="4654720"/>
            <a:ext cx="332765" cy="215900"/>
          </a:xfrm>
          <a:prstGeom prst="homePlate">
            <a:avLst>
              <a:gd name="adj" fmla="val 41728"/>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6" name="AutoShape 86"/>
          <p:cNvSpPr>
            <a:spLocks noChangeArrowheads="1"/>
          </p:cNvSpPr>
          <p:nvPr/>
        </p:nvSpPr>
        <p:spPr bwMode="auto">
          <a:xfrm>
            <a:off x="1048728" y="4654720"/>
            <a:ext cx="329833"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7" name="AutoShape 87"/>
          <p:cNvSpPr>
            <a:spLocks noChangeArrowheads="1"/>
          </p:cNvSpPr>
          <p:nvPr/>
        </p:nvSpPr>
        <p:spPr bwMode="auto">
          <a:xfrm>
            <a:off x="1380026" y="4654720"/>
            <a:ext cx="331299" cy="215900"/>
          </a:xfrm>
          <a:prstGeom prst="chevron">
            <a:avLst>
              <a:gd name="adj" fmla="val 41544"/>
            </a:avLst>
          </a:prstGeom>
          <a:solidFill>
            <a:schemeClr val="bg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78" name="AutoShape 88"/>
          <p:cNvSpPr>
            <a:spLocks noChangeArrowheads="1"/>
          </p:cNvSpPr>
          <p:nvPr/>
        </p:nvSpPr>
        <p:spPr bwMode="auto">
          <a:xfrm>
            <a:off x="715963" y="4654720"/>
            <a:ext cx="332765" cy="215900"/>
          </a:xfrm>
          <a:prstGeom prst="homePlate">
            <a:avLst>
              <a:gd name="adj" fmla="val 41728"/>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80" name="AutoShape 90"/>
          <p:cNvSpPr>
            <a:spLocks noChangeArrowheads="1"/>
          </p:cNvSpPr>
          <p:nvPr/>
        </p:nvSpPr>
        <p:spPr bwMode="auto">
          <a:xfrm>
            <a:off x="1048881" y="5726755"/>
            <a:ext cx="331451" cy="215900"/>
          </a:xfrm>
          <a:prstGeom prst="chevron">
            <a:avLst>
              <a:gd name="adj" fmla="val 41544"/>
            </a:avLst>
          </a:prstGeom>
          <a:no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81" name="AutoShape 91"/>
          <p:cNvSpPr>
            <a:spLocks noChangeArrowheads="1"/>
          </p:cNvSpPr>
          <p:nvPr/>
        </p:nvSpPr>
        <p:spPr bwMode="auto">
          <a:xfrm>
            <a:off x="1381798" y="5726755"/>
            <a:ext cx="329984" cy="215900"/>
          </a:xfrm>
          <a:prstGeom prst="chevron">
            <a:avLst>
              <a:gd name="adj" fmla="val 41544"/>
            </a:avLst>
          </a:prstGeom>
          <a:no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82" name="AutoShape 92"/>
          <p:cNvSpPr>
            <a:spLocks noChangeArrowheads="1"/>
          </p:cNvSpPr>
          <p:nvPr/>
        </p:nvSpPr>
        <p:spPr bwMode="auto">
          <a:xfrm>
            <a:off x="1713249" y="5726755"/>
            <a:ext cx="331451" cy="215900"/>
          </a:xfrm>
          <a:prstGeom prst="chevron">
            <a:avLst>
              <a:gd name="adj" fmla="val 41544"/>
            </a:avLst>
          </a:prstGeom>
          <a:no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
        <p:nvSpPr>
          <p:cNvPr id="183" name="AutoShape 93"/>
          <p:cNvSpPr>
            <a:spLocks noChangeArrowheads="1"/>
          </p:cNvSpPr>
          <p:nvPr/>
        </p:nvSpPr>
        <p:spPr bwMode="auto">
          <a:xfrm>
            <a:off x="715963" y="5726755"/>
            <a:ext cx="332918" cy="215900"/>
          </a:xfrm>
          <a:prstGeom prst="homePlate">
            <a:avLst>
              <a:gd name="adj" fmla="val 41728"/>
            </a:avLst>
          </a:prstGeom>
          <a:solidFill>
            <a:schemeClr val="accent1"/>
          </a:solidFill>
          <a:ln w="6350" algn="ctr">
            <a:solidFill>
              <a:srgbClr val="BBBCBC"/>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ea typeface="+mn-ea"/>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Page subtitle</a:t>
            </a:r>
            <a:endParaRPr lang="en-GB" dirty="0"/>
          </a:p>
        </p:txBody>
      </p:sp>
      <p:sp>
        <p:nvSpPr>
          <p:cNvPr id="3" name="Title 2"/>
          <p:cNvSpPr>
            <a:spLocks noGrp="1"/>
          </p:cNvSpPr>
          <p:nvPr>
            <p:ph type="title"/>
          </p:nvPr>
        </p:nvSpPr>
        <p:spPr/>
        <p:txBody>
          <a:bodyPr/>
          <a:lstStyle/>
          <a:p>
            <a:r>
              <a:rPr lang="en-US" dirty="0"/>
              <a:t>Project timeline</a:t>
            </a:r>
          </a:p>
        </p:txBody>
      </p:sp>
      <p:sp>
        <p:nvSpPr>
          <p:cNvPr id="84" name="TextBox 83"/>
          <p:cNvSpPr txBox="1"/>
          <p:nvPr/>
        </p:nvSpPr>
        <p:spPr bwMode="gray">
          <a:xfrm>
            <a:off x="396000" y="1699540"/>
            <a:ext cx="8394192" cy="184666"/>
          </a:xfrm>
          <a:prstGeom prst="rect">
            <a:avLst/>
          </a:prstGeom>
          <a:noFill/>
        </p:spPr>
        <p:txBody>
          <a:bodyPr wrap="square" lIns="0" tIns="0" rIns="0" bIns="0" rtlCol="0">
            <a:spAutoFit/>
          </a:bodyPr>
          <a:lstStyle/>
          <a:p>
            <a:r>
              <a:rPr lang="en-US" sz="1200" dirty="0"/>
              <a:t>Table title runs here</a:t>
            </a:r>
          </a:p>
        </p:txBody>
      </p:sp>
      <p:graphicFrame>
        <p:nvGraphicFramePr>
          <p:cNvPr id="6" name="Table 5"/>
          <p:cNvGraphicFramePr>
            <a:graphicFrameLocks noGrp="1"/>
          </p:cNvGraphicFramePr>
          <p:nvPr>
            <p:extLst>
              <p:ext uri="{D42A27DB-BD31-4B8C-83A1-F6EECF244321}">
                <p14:modId xmlns:p14="http://schemas.microsoft.com/office/powerpoint/2010/main" val="1657233977"/>
              </p:ext>
            </p:extLst>
          </p:nvPr>
        </p:nvGraphicFramePr>
        <p:xfrm>
          <a:off x="374903" y="1977769"/>
          <a:ext cx="8394193" cy="4089248"/>
        </p:xfrm>
        <a:graphic>
          <a:graphicData uri="http://schemas.openxmlformats.org/drawingml/2006/table">
            <a:tbl>
              <a:tblPr firstRow="1" bandRow="1">
                <a:tableStyleId>{5C22544A-7EE6-4342-B048-85BDC9FD1C3A}</a:tableStyleId>
              </a:tblPr>
              <a:tblGrid>
                <a:gridCol w="2110657">
                  <a:extLst>
                    <a:ext uri="{9D8B030D-6E8A-4147-A177-3AD203B41FA5}">
                      <a16:colId xmlns:a16="http://schemas.microsoft.com/office/drawing/2014/main" val="4284568668"/>
                    </a:ext>
                  </a:extLst>
                </a:gridCol>
                <a:gridCol w="261814">
                  <a:extLst>
                    <a:ext uri="{9D8B030D-6E8A-4147-A177-3AD203B41FA5}">
                      <a16:colId xmlns:a16="http://schemas.microsoft.com/office/drawing/2014/main" val="836960948"/>
                    </a:ext>
                  </a:extLst>
                </a:gridCol>
                <a:gridCol w="261814">
                  <a:extLst>
                    <a:ext uri="{9D8B030D-6E8A-4147-A177-3AD203B41FA5}">
                      <a16:colId xmlns:a16="http://schemas.microsoft.com/office/drawing/2014/main" val="2004318409"/>
                    </a:ext>
                  </a:extLst>
                </a:gridCol>
                <a:gridCol w="261814">
                  <a:extLst>
                    <a:ext uri="{9D8B030D-6E8A-4147-A177-3AD203B41FA5}">
                      <a16:colId xmlns:a16="http://schemas.microsoft.com/office/drawing/2014/main" val="1017825163"/>
                    </a:ext>
                  </a:extLst>
                </a:gridCol>
                <a:gridCol w="261814">
                  <a:extLst>
                    <a:ext uri="{9D8B030D-6E8A-4147-A177-3AD203B41FA5}">
                      <a16:colId xmlns:a16="http://schemas.microsoft.com/office/drawing/2014/main" val="2715765131"/>
                    </a:ext>
                  </a:extLst>
                </a:gridCol>
                <a:gridCol w="261814">
                  <a:extLst>
                    <a:ext uri="{9D8B030D-6E8A-4147-A177-3AD203B41FA5}">
                      <a16:colId xmlns:a16="http://schemas.microsoft.com/office/drawing/2014/main" val="2001071721"/>
                    </a:ext>
                  </a:extLst>
                </a:gridCol>
                <a:gridCol w="261814">
                  <a:extLst>
                    <a:ext uri="{9D8B030D-6E8A-4147-A177-3AD203B41FA5}">
                      <a16:colId xmlns:a16="http://schemas.microsoft.com/office/drawing/2014/main" val="261554609"/>
                    </a:ext>
                  </a:extLst>
                </a:gridCol>
                <a:gridCol w="261814">
                  <a:extLst>
                    <a:ext uri="{9D8B030D-6E8A-4147-A177-3AD203B41FA5}">
                      <a16:colId xmlns:a16="http://schemas.microsoft.com/office/drawing/2014/main" val="1892241911"/>
                    </a:ext>
                  </a:extLst>
                </a:gridCol>
                <a:gridCol w="261814">
                  <a:extLst>
                    <a:ext uri="{9D8B030D-6E8A-4147-A177-3AD203B41FA5}">
                      <a16:colId xmlns:a16="http://schemas.microsoft.com/office/drawing/2014/main" val="3314754578"/>
                    </a:ext>
                  </a:extLst>
                </a:gridCol>
                <a:gridCol w="261814">
                  <a:extLst>
                    <a:ext uri="{9D8B030D-6E8A-4147-A177-3AD203B41FA5}">
                      <a16:colId xmlns:a16="http://schemas.microsoft.com/office/drawing/2014/main" val="3950544124"/>
                    </a:ext>
                  </a:extLst>
                </a:gridCol>
                <a:gridCol w="261814">
                  <a:extLst>
                    <a:ext uri="{9D8B030D-6E8A-4147-A177-3AD203B41FA5}">
                      <a16:colId xmlns:a16="http://schemas.microsoft.com/office/drawing/2014/main" val="2182457792"/>
                    </a:ext>
                  </a:extLst>
                </a:gridCol>
                <a:gridCol w="261814">
                  <a:extLst>
                    <a:ext uri="{9D8B030D-6E8A-4147-A177-3AD203B41FA5}">
                      <a16:colId xmlns:a16="http://schemas.microsoft.com/office/drawing/2014/main" val="2759418153"/>
                    </a:ext>
                  </a:extLst>
                </a:gridCol>
                <a:gridCol w="261814">
                  <a:extLst>
                    <a:ext uri="{9D8B030D-6E8A-4147-A177-3AD203B41FA5}">
                      <a16:colId xmlns:a16="http://schemas.microsoft.com/office/drawing/2014/main" val="1229282592"/>
                    </a:ext>
                  </a:extLst>
                </a:gridCol>
                <a:gridCol w="261814">
                  <a:extLst>
                    <a:ext uri="{9D8B030D-6E8A-4147-A177-3AD203B41FA5}">
                      <a16:colId xmlns:a16="http://schemas.microsoft.com/office/drawing/2014/main" val="721608108"/>
                    </a:ext>
                  </a:extLst>
                </a:gridCol>
                <a:gridCol w="261814">
                  <a:extLst>
                    <a:ext uri="{9D8B030D-6E8A-4147-A177-3AD203B41FA5}">
                      <a16:colId xmlns:a16="http://schemas.microsoft.com/office/drawing/2014/main" val="1579713459"/>
                    </a:ext>
                  </a:extLst>
                </a:gridCol>
                <a:gridCol w="261814">
                  <a:extLst>
                    <a:ext uri="{9D8B030D-6E8A-4147-A177-3AD203B41FA5}">
                      <a16:colId xmlns:a16="http://schemas.microsoft.com/office/drawing/2014/main" val="1739190514"/>
                    </a:ext>
                  </a:extLst>
                </a:gridCol>
                <a:gridCol w="261814">
                  <a:extLst>
                    <a:ext uri="{9D8B030D-6E8A-4147-A177-3AD203B41FA5}">
                      <a16:colId xmlns:a16="http://schemas.microsoft.com/office/drawing/2014/main" val="2171498321"/>
                    </a:ext>
                  </a:extLst>
                </a:gridCol>
                <a:gridCol w="261814">
                  <a:extLst>
                    <a:ext uri="{9D8B030D-6E8A-4147-A177-3AD203B41FA5}">
                      <a16:colId xmlns:a16="http://schemas.microsoft.com/office/drawing/2014/main" val="2804590845"/>
                    </a:ext>
                  </a:extLst>
                </a:gridCol>
                <a:gridCol w="261814">
                  <a:extLst>
                    <a:ext uri="{9D8B030D-6E8A-4147-A177-3AD203B41FA5}">
                      <a16:colId xmlns:a16="http://schemas.microsoft.com/office/drawing/2014/main" val="3502522299"/>
                    </a:ext>
                  </a:extLst>
                </a:gridCol>
                <a:gridCol w="261814">
                  <a:extLst>
                    <a:ext uri="{9D8B030D-6E8A-4147-A177-3AD203B41FA5}">
                      <a16:colId xmlns:a16="http://schemas.microsoft.com/office/drawing/2014/main" val="1066764142"/>
                    </a:ext>
                  </a:extLst>
                </a:gridCol>
                <a:gridCol w="261814">
                  <a:extLst>
                    <a:ext uri="{9D8B030D-6E8A-4147-A177-3AD203B41FA5}">
                      <a16:colId xmlns:a16="http://schemas.microsoft.com/office/drawing/2014/main" val="1054838701"/>
                    </a:ext>
                  </a:extLst>
                </a:gridCol>
                <a:gridCol w="261814">
                  <a:extLst>
                    <a:ext uri="{9D8B030D-6E8A-4147-A177-3AD203B41FA5}">
                      <a16:colId xmlns:a16="http://schemas.microsoft.com/office/drawing/2014/main" val="2589886849"/>
                    </a:ext>
                  </a:extLst>
                </a:gridCol>
                <a:gridCol w="261814">
                  <a:extLst>
                    <a:ext uri="{9D8B030D-6E8A-4147-A177-3AD203B41FA5}">
                      <a16:colId xmlns:a16="http://schemas.microsoft.com/office/drawing/2014/main" val="3657955512"/>
                    </a:ext>
                  </a:extLst>
                </a:gridCol>
                <a:gridCol w="261814">
                  <a:extLst>
                    <a:ext uri="{9D8B030D-6E8A-4147-A177-3AD203B41FA5}">
                      <a16:colId xmlns:a16="http://schemas.microsoft.com/office/drawing/2014/main" val="1245657576"/>
                    </a:ext>
                  </a:extLst>
                </a:gridCol>
                <a:gridCol w="261814">
                  <a:extLst>
                    <a:ext uri="{9D8B030D-6E8A-4147-A177-3AD203B41FA5}">
                      <a16:colId xmlns:a16="http://schemas.microsoft.com/office/drawing/2014/main" val="2065718407"/>
                    </a:ext>
                  </a:extLst>
                </a:gridCol>
              </a:tblGrid>
              <a:tr h="240544">
                <a:tc>
                  <a:txBody>
                    <a:bodyPr/>
                    <a:lstStyle/>
                    <a:p>
                      <a:endParaRPr lang="en-GB" sz="900" b="0" dirty="0">
                        <a:solidFill>
                          <a:schemeClr val="tx1"/>
                        </a:solidFil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900" b="0" dirty="0">
                          <a:solidFill>
                            <a:schemeClr val="tx1"/>
                          </a:solidFill>
                        </a:rPr>
                        <a:t>August</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900" b="0" dirty="0">
                          <a:solidFill>
                            <a:schemeClr val="tx1"/>
                          </a:solidFill>
                        </a:rPr>
                        <a:t>Sept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900" b="0" dirty="0">
                          <a:solidFill>
                            <a:schemeClr val="tx1"/>
                          </a:solidFill>
                        </a:rPr>
                        <a:t>Octo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900" b="0" dirty="0">
                          <a:solidFill>
                            <a:schemeClr val="tx1"/>
                          </a:solidFill>
                        </a:rPr>
                        <a:t>Nov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900" b="0" dirty="0">
                          <a:solidFill>
                            <a:schemeClr val="tx1"/>
                          </a:solidFill>
                        </a:rPr>
                        <a:t>Dec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900" b="0" dirty="0">
                          <a:solidFill>
                            <a:schemeClr val="tx1"/>
                          </a:solidFill>
                        </a:rPr>
                        <a:t>January</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40544">
                <a:tc>
                  <a:txBody>
                    <a:bodyPr/>
                    <a:lstStyle/>
                    <a:p>
                      <a:endParaRPr lang="en-GB" sz="900" b="0" dirty="0">
                        <a:solidFill>
                          <a:schemeClr val="tx1"/>
                        </a:solidFill>
                      </a:endParaRP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8</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5</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6</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3</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0</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7</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31</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7</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1</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8</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16</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900" b="0" dirty="0">
                          <a:solidFill>
                            <a:schemeClr val="tx1"/>
                          </a:solidFill>
                        </a:rPr>
                        <a:t>23</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40544">
                <a:tc>
                  <a:txBody>
                    <a:bodyPr/>
                    <a:lstStyle/>
                    <a:p>
                      <a:pPr marL="0" indent="0">
                        <a:lnSpc>
                          <a:spcPct val="100000"/>
                        </a:lnSpc>
                        <a:spcBef>
                          <a:spcPts val="300"/>
                        </a:spcBef>
                        <a:buFont typeface="Arial" panose="020B0604020202020204" pitchFamily="34" charset="0"/>
                        <a:buNone/>
                      </a:pPr>
                      <a:r>
                        <a:rPr lang="en-US" sz="900" b="1" dirty="0">
                          <a:solidFill>
                            <a:schemeClr val="tx1"/>
                          </a:solidFill>
                          <a:latin typeface="+mn-lt"/>
                        </a:rPr>
                        <a:t>Stage 1: </a:t>
                      </a:r>
                      <a:r>
                        <a:rPr lang="en-US" sz="9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40544">
                <a:tc>
                  <a:txBody>
                    <a:bodyPr/>
                    <a:lstStyle/>
                    <a:p>
                      <a:pPr marL="0" indent="0">
                        <a:lnSpc>
                          <a:spcPct val="100000"/>
                        </a:lnSpc>
                        <a:spcBef>
                          <a:spcPts val="300"/>
                        </a:spcBef>
                        <a:buFont typeface="Arial" panose="020B0604020202020204" pitchFamily="34" charset="0"/>
                        <a:buNone/>
                      </a:pPr>
                      <a:r>
                        <a:rPr lang="en-US" sz="900" b="1" dirty="0">
                          <a:solidFill>
                            <a:schemeClr val="tx1"/>
                          </a:solidFill>
                          <a:latin typeface="+mn-lt"/>
                        </a:rPr>
                        <a:t>Stage 2: </a:t>
                      </a:r>
                      <a:r>
                        <a:rPr lang="en-US" sz="9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40544">
                <a:tc>
                  <a:txBody>
                    <a:bodyPr/>
                    <a:lstStyle/>
                    <a:p>
                      <a:pPr marL="0" indent="0">
                        <a:lnSpc>
                          <a:spcPct val="100000"/>
                        </a:lnSpc>
                        <a:spcBef>
                          <a:spcPts val="300"/>
                        </a:spcBef>
                        <a:buFont typeface="Arial" panose="020B0604020202020204" pitchFamily="34" charset="0"/>
                        <a:buNone/>
                      </a:pPr>
                      <a:r>
                        <a:rPr lang="en-US" sz="900" b="1" dirty="0">
                          <a:solidFill>
                            <a:schemeClr val="tx1"/>
                          </a:solidFill>
                          <a:latin typeface="+mn-lt"/>
                        </a:rPr>
                        <a:t>Stage 3: </a:t>
                      </a:r>
                      <a:r>
                        <a:rPr lang="en-US" sz="9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40544">
                <a:tc>
                  <a:txBody>
                    <a:bodyPr/>
                    <a:lstStyle/>
                    <a:p>
                      <a:pPr marL="0" indent="0">
                        <a:lnSpc>
                          <a:spcPct val="100000"/>
                        </a:lnSpc>
                        <a:spcBef>
                          <a:spcPts val="300"/>
                        </a:spcBef>
                        <a:buFont typeface="Arial" panose="020B0604020202020204" pitchFamily="34" charset="0"/>
                        <a:buNone/>
                      </a:pPr>
                      <a:r>
                        <a:rPr lang="en-US" sz="900" b="1" dirty="0">
                          <a:solidFill>
                            <a:schemeClr val="tx1"/>
                          </a:solidFill>
                          <a:latin typeface="+mn-lt"/>
                        </a:rPr>
                        <a:t>Stage 4: </a:t>
                      </a:r>
                      <a:r>
                        <a:rPr lang="en-US" sz="9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40544">
                <a:tc>
                  <a:txBody>
                    <a:bodyPr/>
                    <a:lstStyle/>
                    <a:p>
                      <a:pPr marL="0" indent="0">
                        <a:lnSpc>
                          <a:spcPct val="100000"/>
                        </a:lnSpc>
                        <a:spcBef>
                          <a:spcPts val="300"/>
                        </a:spcBef>
                        <a:buFont typeface="Arial" panose="020B0604020202020204" pitchFamily="34" charset="0"/>
                        <a:buNone/>
                      </a:pPr>
                      <a:r>
                        <a:rPr lang="en-US" sz="900" b="1" dirty="0">
                          <a:solidFill>
                            <a:schemeClr val="tx1"/>
                          </a:solidFill>
                          <a:latin typeface="+mn-lt"/>
                        </a:rPr>
                        <a:t>Stage 5: </a:t>
                      </a:r>
                      <a:r>
                        <a:rPr lang="en-US" sz="9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4054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3" name="Rectangle 22"/>
          <p:cNvSpPr/>
          <p:nvPr/>
        </p:nvSpPr>
        <p:spPr bwMode="gray">
          <a:xfrm>
            <a:off x="28765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bwMode="gray">
          <a:xfrm>
            <a:off x="3649788" y="3021132"/>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bwMode="gray">
          <a:xfrm>
            <a:off x="41681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p:nvSpPr>
        <p:spPr bwMode="gray">
          <a:xfrm>
            <a:off x="46929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nvSpPr>
        <p:spPr bwMode="gray">
          <a:xfrm>
            <a:off x="4944966" y="4238807"/>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bwMode="gray">
          <a:xfrm>
            <a:off x="5463544" y="4465597"/>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p:nvSpPr>
        <p:spPr bwMode="gray">
          <a:xfrm>
            <a:off x="5715544" y="495865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bwMode="gray">
          <a:xfrm>
            <a:off x="6497402" y="515754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bwMode="gray">
          <a:xfrm>
            <a:off x="6786432" y="5686919"/>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bwMode="gray">
          <a:xfrm>
            <a:off x="7812432" y="5893410"/>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bwMode="gray">
          <a:xfrm>
            <a:off x="50349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p:cNvSpPr/>
          <p:nvPr/>
        </p:nvSpPr>
        <p:spPr bwMode="gray">
          <a:xfrm>
            <a:off x="6786432" y="516751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bwMode="gray">
          <a:xfrm>
            <a:off x="7759632" y="6149500"/>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6" name="Rectangle 35"/>
          <p:cNvSpPr/>
          <p:nvPr/>
        </p:nvSpPr>
        <p:spPr bwMode="gray">
          <a:xfrm>
            <a:off x="7895768" y="6117556"/>
            <a:ext cx="610745" cy="153888"/>
          </a:xfrm>
          <a:prstGeom prst="rect">
            <a:avLst/>
          </a:prstGeom>
        </p:spPr>
        <p:txBody>
          <a:bodyPr wrap="none" lIns="0" tIns="0" rIns="0" bIns="0">
            <a:spAutoFit/>
          </a:bodyPr>
          <a:lstStyle/>
          <a:p>
            <a:r>
              <a:rPr lang="en-US" sz="1000"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pecial graphics </a:t>
            </a:r>
            <a:endParaRPr lang="en-GB" dirty="0"/>
          </a:p>
        </p:txBody>
      </p:sp>
    </p:spTree>
    <p:extLst>
      <p:ext uri="{BB962C8B-B14F-4D97-AF65-F5344CB8AC3E}">
        <p14:creationId xmlns:p14="http://schemas.microsoft.com/office/powerpoint/2010/main" val="375482565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sp>
        <p:nvSpPr>
          <p:cNvPr id="43" name="Oval 42"/>
          <p:cNvSpPr/>
          <p:nvPr/>
        </p:nvSpPr>
        <p:spPr>
          <a:xfrm>
            <a:off x="3732227"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1100" b="0" i="0" u="none" strike="noStrike" kern="0" cap="none" spc="0" normalizeH="0" baseline="0" noProof="0" dirty="0">
                <a:ln>
                  <a:noFill/>
                </a:ln>
                <a:effectLst/>
                <a:uLnTx/>
                <a:uFillTx/>
                <a:latin typeface="+mj-lt"/>
                <a:ea typeface="+mn-ea"/>
                <a:cs typeface="+mn-cs"/>
              </a:rPr>
              <a:t>Creativity</a:t>
            </a:r>
          </a:p>
        </p:txBody>
      </p:sp>
      <p:sp>
        <p:nvSpPr>
          <p:cNvPr id="44" name="AutoShape 9"/>
          <p:cNvSpPr>
            <a:spLocks noChangeArrowheads="1"/>
          </p:cNvSpPr>
          <p:nvPr/>
        </p:nvSpPr>
        <p:spPr bwMode="auto">
          <a:xfrm>
            <a:off x="67827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45" name="AutoShape 10"/>
          <p:cNvSpPr>
            <a:spLocks noChangeArrowheads="1"/>
          </p:cNvSpPr>
          <p:nvPr/>
        </p:nvSpPr>
        <p:spPr bwMode="auto">
          <a:xfrm>
            <a:off x="2047919" y="1978024"/>
            <a:ext cx="1929066" cy="548640"/>
          </a:xfrm>
          <a:prstGeom prst="chevron">
            <a:avLst>
              <a:gd name="adj" fmla="val 32490"/>
            </a:avLst>
          </a:prstGeom>
          <a:solidFill>
            <a:schemeClr val="accent2"/>
          </a:solidFill>
          <a:ln w="6350" algn="ctr">
            <a:noFill/>
            <a:miter lim="800000"/>
            <a:headEnd type="none" w="sm" len="sm"/>
            <a:tailEnd type="none" w="sm" len="sm"/>
          </a:ln>
        </p:spPr>
        <p:txBody>
          <a:bodyPr lIns="88900" tIns="88900" rIns="88900" bIns="88900" anchor="ct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prstClr val="white"/>
                </a:solidFill>
                <a:effectLst/>
                <a:uLnTx/>
                <a:uFillTx/>
                <a:latin typeface="+mj-lt"/>
                <a:cs typeface="Arial" pitchFamily="34" charset="0"/>
              </a:rPr>
              <a:t>2. Conduct analysis</a:t>
            </a:r>
            <a:endParaRPr kumimoji="0" lang="en-GB" altLang="ja-JP" sz="1200" i="0" u="none" strike="noStrike" kern="0" cap="none" spc="0" normalizeH="0" baseline="0" noProof="0" dirty="0">
              <a:ln>
                <a:noFill/>
              </a:ln>
              <a:solidFill>
                <a:prstClr val="white"/>
              </a:solidFill>
              <a:effectLst/>
              <a:uLnTx/>
              <a:uFillTx/>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361633" y="1978024"/>
            <a:ext cx="1791276"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prstClr val="white"/>
                </a:solidFill>
                <a:effectLst/>
                <a:uLnTx/>
                <a:uFillTx/>
                <a:latin typeface="+mj-lt"/>
                <a:cs typeface="Arial" pitchFamily="34" charset="0"/>
              </a:rPr>
              <a:t>1. Evaluate</a:t>
            </a:r>
            <a:br>
              <a:rPr kumimoji="0" lang="en-GB" sz="1200" i="0" u="none" strike="noStrike" kern="0" cap="none" spc="0" normalizeH="0" baseline="0" noProof="0" dirty="0">
                <a:ln>
                  <a:noFill/>
                </a:ln>
                <a:solidFill>
                  <a:prstClr val="white"/>
                </a:solidFill>
                <a:effectLst/>
                <a:uLnTx/>
                <a:uFillTx/>
                <a:latin typeface="+mj-lt"/>
                <a:cs typeface="Arial" pitchFamily="34" charset="0"/>
              </a:rPr>
            </a:br>
            <a:r>
              <a:rPr kumimoji="0" lang="en-GB" sz="1200" i="0" u="none" strike="noStrike" kern="0" cap="none" spc="0" normalizeH="0" baseline="0" noProof="0" dirty="0">
                <a:ln>
                  <a:noFill/>
                </a:ln>
                <a:solidFill>
                  <a:prstClr val="white"/>
                </a:solidFill>
                <a:effectLst/>
                <a:uLnTx/>
                <a:uFillTx/>
                <a:latin typeface="+mj-lt"/>
                <a:cs typeface="Arial" pitchFamily="34" charset="0"/>
              </a:rPr>
              <a:t>situation</a:t>
            </a:r>
            <a:endParaRPr kumimoji="0" lang="en-GB" altLang="ja-JP" sz="1200" i="0" u="none" strike="noStrike" kern="0" cap="none" spc="0" normalizeH="0" baseline="0" noProof="0" dirty="0">
              <a:ln>
                <a:noFill/>
              </a:ln>
              <a:solidFill>
                <a:prstClr val="white"/>
              </a:solidFill>
              <a:effectLst/>
              <a:uLnTx/>
              <a:uFillTx/>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361634" y="2643664"/>
            <a:ext cx="1371054"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313131"/>
              </a:solidFill>
              <a:effectLst/>
              <a:uLnTx/>
              <a:uFillTx/>
              <a:latin typeface="+mj-lt"/>
              <a:ea typeface="ＭＳ Ｐゴシック" charset="-128"/>
              <a:cs typeface="Arial" pitchFamily="34" charset="0"/>
            </a:endParaRPr>
          </a:p>
        </p:txBody>
      </p:sp>
      <p:sp>
        <p:nvSpPr>
          <p:cNvPr id="48" name="AutoShape 13"/>
          <p:cNvSpPr>
            <a:spLocks noChangeArrowheads="1"/>
          </p:cNvSpPr>
          <p:nvPr/>
        </p:nvSpPr>
        <p:spPr bwMode="auto">
          <a:xfrm flipV="1">
            <a:off x="788975" y="3486454"/>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49" name="AutoShape 14"/>
          <p:cNvSpPr>
            <a:spLocks noChangeArrowheads="1"/>
          </p:cNvSpPr>
          <p:nvPr/>
        </p:nvSpPr>
        <p:spPr bwMode="auto">
          <a:xfrm>
            <a:off x="788975" y="4327558"/>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50" name="Rectangle 16"/>
          <p:cNvSpPr>
            <a:spLocks noChangeArrowheads="1"/>
          </p:cNvSpPr>
          <p:nvPr/>
        </p:nvSpPr>
        <p:spPr bwMode="auto">
          <a:xfrm>
            <a:off x="452801" y="4562318"/>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Busin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constraints</a:t>
            </a:r>
          </a:p>
        </p:txBody>
      </p:sp>
      <p:sp>
        <p:nvSpPr>
          <p:cNvPr id="51" name="Oval 17"/>
          <p:cNvSpPr>
            <a:spLocks noChangeArrowheads="1"/>
          </p:cNvSpPr>
          <p:nvPr/>
        </p:nvSpPr>
        <p:spPr bwMode="auto">
          <a:xfrm>
            <a:off x="446245" y="3716769"/>
            <a:ext cx="1201832" cy="505551"/>
          </a:xfrm>
          <a:prstGeom prst="ellipse">
            <a:avLst/>
          </a:prstGeom>
          <a:solidFill>
            <a:schemeClr val="tx2"/>
          </a:solidFill>
          <a:ln w="6350" algn="ctr">
            <a:noFill/>
            <a:round/>
            <a:headEnd type="none" w="sm" len="sm"/>
            <a:tailEnd type="none" w="sm" len="sm"/>
          </a:ln>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solidFill>
                  <a:prstClr val="white"/>
                </a:solidFill>
                <a:effectLst/>
                <a:uLnTx/>
                <a:uFillTx/>
                <a:latin typeface="+mj-lt"/>
                <a:ea typeface="ＭＳ Ｐゴシック" charset="-128"/>
                <a:cs typeface="Arial" pitchFamily="34" charset="0"/>
              </a:rPr>
              <a:t>Busin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solidFill>
                  <a:prstClr val="white"/>
                </a:solidFill>
                <a:effectLst/>
                <a:uLnTx/>
                <a:uFillTx/>
                <a:latin typeface="+mj-lt"/>
                <a:ea typeface="ＭＳ Ｐゴシック" charset="-128"/>
                <a:cs typeface="Arial" pitchFamily="34" charset="0"/>
              </a:rPr>
              <a:t>imperatives</a:t>
            </a:r>
          </a:p>
        </p:txBody>
      </p:sp>
      <p:sp>
        <p:nvSpPr>
          <p:cNvPr id="52" name="Rectangle 18"/>
          <p:cNvSpPr>
            <a:spLocks noChangeArrowheads="1"/>
          </p:cNvSpPr>
          <p:nvPr/>
        </p:nvSpPr>
        <p:spPr bwMode="auto">
          <a:xfrm>
            <a:off x="2209816" y="2643664"/>
            <a:ext cx="1367494"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313131"/>
              </a:solidFill>
              <a:effectLst/>
              <a:uLnTx/>
              <a:uFillTx/>
              <a:latin typeface="+mj-lt"/>
              <a:ea typeface="ＭＳ Ｐゴシック" charset="-128"/>
              <a:cs typeface="Arial" pitchFamily="34" charset="0"/>
            </a:endParaRPr>
          </a:p>
        </p:txBody>
      </p:sp>
      <p:sp>
        <p:nvSpPr>
          <p:cNvPr id="53" name="AutoShape 19"/>
          <p:cNvSpPr>
            <a:spLocks noChangeArrowheads="1"/>
          </p:cNvSpPr>
          <p:nvPr/>
        </p:nvSpPr>
        <p:spPr bwMode="auto">
          <a:xfrm flipV="1">
            <a:off x="2637158" y="3486454"/>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54" name="AutoShape 20"/>
          <p:cNvSpPr>
            <a:spLocks noChangeArrowheads="1"/>
          </p:cNvSpPr>
          <p:nvPr/>
        </p:nvSpPr>
        <p:spPr bwMode="auto">
          <a:xfrm>
            <a:off x="2637158" y="4327558"/>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55" name="Rectangle 22"/>
          <p:cNvSpPr>
            <a:spLocks noChangeArrowheads="1"/>
          </p:cNvSpPr>
          <p:nvPr/>
        </p:nvSpPr>
        <p:spPr bwMode="auto">
          <a:xfrm>
            <a:off x="2299203" y="4562318"/>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Internal analysis</a:t>
            </a:r>
          </a:p>
        </p:txBody>
      </p:sp>
      <p:sp>
        <p:nvSpPr>
          <p:cNvPr id="56" name="Oval 23"/>
          <p:cNvSpPr>
            <a:spLocks noChangeArrowheads="1"/>
          </p:cNvSpPr>
          <p:nvPr/>
        </p:nvSpPr>
        <p:spPr bwMode="auto">
          <a:xfrm>
            <a:off x="2267686" y="3716769"/>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solidFill>
                  <a:prstClr val="white"/>
                </a:solidFill>
                <a:effectLst/>
                <a:uLnTx/>
                <a:uFillTx/>
                <a:latin typeface="+mj-lt"/>
                <a:ea typeface="ＭＳ Ｐゴシック" charset="-128"/>
                <a:cs typeface="Arial" pitchFamily="34" charset="0"/>
              </a:rPr>
              <a:t>Key insights</a:t>
            </a:r>
          </a:p>
        </p:txBody>
      </p:sp>
      <p:sp>
        <p:nvSpPr>
          <p:cNvPr id="57" name="Rectangle 26"/>
          <p:cNvSpPr>
            <a:spLocks noChangeArrowheads="1"/>
          </p:cNvSpPr>
          <p:nvPr/>
        </p:nvSpPr>
        <p:spPr bwMode="auto">
          <a:xfrm>
            <a:off x="4108253" y="3715628"/>
            <a:ext cx="663644" cy="5078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100" dirty="0">
                <a:latin typeface="+mj-lt"/>
                <a:ea typeface="ＭＳ Ｐゴシック" charset="-128"/>
                <a:cs typeface="Arial" pitchFamily="34" charset="0"/>
              </a:rPr>
              <a:t>Future</a:t>
            </a:r>
          </a:p>
          <a:p>
            <a:pPr algn="ctr"/>
            <a:r>
              <a:rPr lang="en-GB" altLang="ja-JP" sz="1100" dirty="0">
                <a:latin typeface="+mj-lt"/>
                <a:ea typeface="ＭＳ Ｐゴシック" charset="-128"/>
                <a:cs typeface="Arial" pitchFamily="34" charset="0"/>
              </a:rPr>
              <a:t>industry</a:t>
            </a:r>
          </a:p>
          <a:p>
            <a:pPr algn="ctr"/>
            <a:r>
              <a:rPr lang="en-GB" altLang="ja-JP" sz="11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3871996" y="1978024"/>
            <a:ext cx="2924461" cy="548640"/>
          </a:xfrm>
          <a:prstGeom prst="chevron">
            <a:avLst>
              <a:gd name="adj" fmla="val 32358"/>
            </a:avLst>
          </a:prstGeom>
          <a:solidFill>
            <a:schemeClr val="accent2"/>
          </a:solidFill>
          <a:ln w="6350" algn="ctr">
            <a:noFill/>
            <a:miter lim="800000"/>
            <a:headEnd type="none" w="sm" len="sm"/>
            <a:tailEnd type="none" w="sm" len="sm"/>
          </a:ln>
        </p:spPr>
        <p:txBody>
          <a:bodyPr lIns="88900" tIns="88900" rIns="88900" bIns="88900" anchor="ct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prstClr val="white"/>
                </a:solidFill>
                <a:effectLst/>
                <a:uLnTx/>
                <a:uFillTx/>
                <a:latin typeface="+mj-lt"/>
                <a:cs typeface="Arial" pitchFamily="34" charset="0"/>
              </a:rPr>
              <a:t>3. Formulate</a:t>
            </a:r>
            <a:br>
              <a:rPr kumimoji="0" lang="en-GB" sz="1200" i="0" u="none" strike="noStrike" kern="0" cap="none" spc="0" normalizeH="0" baseline="0" noProof="0" dirty="0">
                <a:ln>
                  <a:noFill/>
                </a:ln>
                <a:solidFill>
                  <a:prstClr val="white"/>
                </a:solidFill>
                <a:effectLst/>
                <a:uLnTx/>
                <a:uFillTx/>
                <a:latin typeface="+mj-lt"/>
                <a:cs typeface="Arial" pitchFamily="34" charset="0"/>
              </a:rPr>
            </a:br>
            <a:r>
              <a:rPr kumimoji="0" lang="en-GB" sz="1200" i="0" u="none" strike="noStrike" kern="0" cap="none" spc="0" normalizeH="0" baseline="0" noProof="0" dirty="0">
                <a:ln>
                  <a:noFill/>
                </a:ln>
                <a:solidFill>
                  <a:prstClr val="white"/>
                </a:solidFill>
                <a:effectLst/>
                <a:uLnTx/>
                <a:uFillTx/>
                <a:latin typeface="+mj-lt"/>
                <a:cs typeface="Arial" pitchFamily="34" charset="0"/>
              </a:rPr>
              <a:t>strategy</a:t>
            </a:r>
            <a:endParaRPr kumimoji="0" lang="en-GB" altLang="ja-JP" sz="1200" i="0" u="none" strike="noStrike" kern="0" cap="none" spc="0" normalizeH="0" baseline="0" noProof="0" dirty="0">
              <a:ln>
                <a:noFill/>
              </a:ln>
              <a:solidFill>
                <a:prstClr val="white"/>
              </a:solidFill>
              <a:effectLst/>
              <a:uLnTx/>
              <a:uFillTx/>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6691467" y="1978024"/>
            <a:ext cx="2066856"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marL="171450" marR="0" lvl="0" indent="-171450"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prstClr val="white"/>
                </a:solidFill>
                <a:effectLst/>
                <a:uLnTx/>
                <a:uFillTx/>
                <a:latin typeface="+mj-lt"/>
                <a:cs typeface="Arial" pitchFamily="34" charset="0"/>
              </a:rPr>
              <a:t>4. Plan</a:t>
            </a:r>
            <a:br>
              <a:rPr kumimoji="0" lang="en-GB" sz="1200" i="0" u="none" strike="noStrike" kern="0" cap="none" spc="0" normalizeH="0" baseline="0" noProof="0" dirty="0">
                <a:ln>
                  <a:noFill/>
                </a:ln>
                <a:solidFill>
                  <a:prstClr val="white"/>
                </a:solidFill>
                <a:effectLst/>
                <a:uLnTx/>
                <a:uFillTx/>
                <a:latin typeface="+mj-lt"/>
                <a:cs typeface="Arial" pitchFamily="34" charset="0"/>
              </a:rPr>
            </a:br>
            <a:r>
              <a:rPr kumimoji="0" lang="en-GB" sz="1200" i="0" u="none" strike="noStrike" kern="0" cap="none" spc="0" normalizeH="0" baseline="0" noProof="0" dirty="0">
                <a:ln>
                  <a:noFill/>
                </a:ln>
                <a:solidFill>
                  <a:prstClr val="white"/>
                </a:solidFill>
                <a:effectLst/>
                <a:uLnTx/>
                <a:uFillTx/>
                <a:latin typeface="+mj-lt"/>
                <a:cs typeface="Arial" pitchFamily="34" charset="0"/>
              </a:rPr>
              <a:t>implementation</a:t>
            </a:r>
            <a:endParaRPr kumimoji="0" lang="en-GB" altLang="ja-JP" sz="1200" i="0" u="none" strike="noStrike" kern="0" cap="none" spc="0" normalizeH="0" baseline="0" noProof="0" dirty="0">
              <a:ln>
                <a:noFill/>
              </a:ln>
              <a:solidFill>
                <a:prstClr val="white"/>
              </a:solidFill>
              <a:effectLst/>
              <a:uLnTx/>
              <a:uFillTx/>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7170027" y="2643664"/>
            <a:ext cx="1371054"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313131"/>
              </a:solidFill>
              <a:effectLst/>
              <a:uLnTx/>
              <a:uFillTx/>
              <a:latin typeface="+mj-lt"/>
              <a:ea typeface="ＭＳ Ｐゴシック" charset="-128"/>
              <a:cs typeface="Arial" pitchFamily="34" charset="0"/>
            </a:endParaRPr>
          </a:p>
        </p:txBody>
      </p:sp>
      <p:sp>
        <p:nvSpPr>
          <p:cNvPr id="61" name="AutoShape 31"/>
          <p:cNvSpPr>
            <a:spLocks noChangeArrowheads="1"/>
          </p:cNvSpPr>
          <p:nvPr/>
        </p:nvSpPr>
        <p:spPr bwMode="auto">
          <a:xfrm>
            <a:off x="7597368" y="3486454"/>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62" name="AutoShape 32"/>
          <p:cNvSpPr>
            <a:spLocks noChangeArrowheads="1"/>
          </p:cNvSpPr>
          <p:nvPr/>
        </p:nvSpPr>
        <p:spPr bwMode="auto">
          <a:xfrm flipV="1">
            <a:off x="7597368" y="4327558"/>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63" name="Rectangle 34"/>
          <p:cNvSpPr>
            <a:spLocks noChangeArrowheads="1"/>
          </p:cNvSpPr>
          <p:nvPr/>
        </p:nvSpPr>
        <p:spPr bwMode="auto">
          <a:xfrm>
            <a:off x="7261194" y="4562318"/>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Financial </a:t>
            </a:r>
            <a:b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b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plan</a:t>
            </a:r>
          </a:p>
        </p:txBody>
      </p:sp>
      <p:sp>
        <p:nvSpPr>
          <p:cNvPr id="64" name="Oval 35"/>
          <p:cNvSpPr>
            <a:spLocks noChangeArrowheads="1"/>
          </p:cNvSpPr>
          <p:nvPr/>
        </p:nvSpPr>
        <p:spPr bwMode="auto">
          <a:xfrm>
            <a:off x="7229677" y="3716769"/>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solidFill>
                  <a:prstClr val="white"/>
                </a:solidFill>
                <a:effectLst/>
                <a:uLnTx/>
                <a:uFillTx/>
                <a:latin typeface="+mj-lt"/>
                <a:ea typeface="ＭＳ Ｐゴシック" charset="-128"/>
                <a:cs typeface="Arial" pitchFamily="34" charset="0"/>
              </a:rPr>
              <a:t>Plans</a:t>
            </a:r>
          </a:p>
        </p:txBody>
      </p:sp>
      <p:sp>
        <p:nvSpPr>
          <p:cNvPr id="65" name="Rectangle 36"/>
          <p:cNvSpPr>
            <a:spLocks noChangeArrowheads="1"/>
          </p:cNvSpPr>
          <p:nvPr/>
        </p:nvSpPr>
        <p:spPr bwMode="auto">
          <a:xfrm>
            <a:off x="5347358" y="2643664"/>
            <a:ext cx="1367494"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ja-JP" sz="1100" b="0" i="0" u="none" strike="noStrike" kern="0" cap="none" spc="0" normalizeH="0" baseline="0" noProof="0" dirty="0">
              <a:ln>
                <a:noFill/>
              </a:ln>
              <a:solidFill>
                <a:srgbClr val="313131"/>
              </a:solidFill>
              <a:effectLst/>
              <a:uLnTx/>
              <a:uFillTx/>
              <a:latin typeface="+mj-lt"/>
              <a:ea typeface="ＭＳ Ｐゴシック" charset="-128"/>
              <a:cs typeface="Arial" pitchFamily="34" charset="0"/>
            </a:endParaRPr>
          </a:p>
        </p:txBody>
      </p:sp>
      <p:sp>
        <p:nvSpPr>
          <p:cNvPr id="66" name="AutoShape 37"/>
          <p:cNvSpPr>
            <a:spLocks noChangeArrowheads="1"/>
          </p:cNvSpPr>
          <p:nvPr/>
        </p:nvSpPr>
        <p:spPr bwMode="auto">
          <a:xfrm flipV="1">
            <a:off x="5774700" y="3486454"/>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67" name="AutoShape 38"/>
          <p:cNvSpPr>
            <a:spLocks noChangeArrowheads="1"/>
          </p:cNvSpPr>
          <p:nvPr/>
        </p:nvSpPr>
        <p:spPr bwMode="auto">
          <a:xfrm>
            <a:off x="5774700" y="4327558"/>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68" name="Rectangle 40"/>
          <p:cNvSpPr>
            <a:spLocks noChangeArrowheads="1"/>
          </p:cNvSpPr>
          <p:nvPr/>
        </p:nvSpPr>
        <p:spPr bwMode="auto">
          <a:xfrm>
            <a:off x="5436745" y="4562318"/>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Risk and reward</a:t>
            </a:r>
          </a:p>
        </p:txBody>
      </p:sp>
      <p:sp>
        <p:nvSpPr>
          <p:cNvPr id="69" name="Oval 41"/>
          <p:cNvSpPr>
            <a:spLocks noChangeArrowheads="1"/>
          </p:cNvSpPr>
          <p:nvPr/>
        </p:nvSpPr>
        <p:spPr bwMode="auto">
          <a:xfrm>
            <a:off x="5405228" y="3716769"/>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solidFill>
                  <a:prstClr val="white"/>
                </a:solidFill>
                <a:effectLst/>
                <a:uLnTx/>
                <a:uFillTx/>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1966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altLang="ja-JP" sz="1200" i="0" u="none" strike="noStrike" kern="0" cap="none" spc="0" normalizeH="0" baseline="0" noProof="0" dirty="0">
                <a:ln>
                  <a:noFill/>
                </a:ln>
                <a:solidFill>
                  <a:prstClr val="white"/>
                </a:solidFill>
                <a:effectLst/>
                <a:uLnTx/>
                <a:uFillTx/>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361634"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altLang="ja-JP" sz="1200" i="0" u="none" strike="noStrike" kern="0" cap="none" spc="0" normalizeH="0" baseline="0" noProof="0" dirty="0">
                <a:ln>
                  <a:noFill/>
                </a:ln>
                <a:solidFill>
                  <a:prstClr val="white"/>
                </a:solidFill>
                <a:effectLst/>
                <a:uLnTx/>
                <a:uFillTx/>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3892207"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altLang="ja-JP" sz="1200" i="0" u="none" strike="noStrike" kern="0" cap="none" spc="0" normalizeH="0" baseline="0" noProof="0" dirty="0">
                <a:ln>
                  <a:noFill/>
                </a:ln>
                <a:solidFill>
                  <a:prstClr val="white"/>
                </a:solidFill>
                <a:effectLst/>
                <a:uLnTx/>
                <a:uFillTx/>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6553676"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GB" altLang="ja-JP" sz="1200" i="0" u="none" strike="noStrike" kern="0" cap="none" spc="0" normalizeH="0" baseline="0" noProof="0" dirty="0">
                <a:ln>
                  <a:noFill/>
                </a:ln>
                <a:solidFill>
                  <a:prstClr val="white"/>
                </a:solidFill>
                <a:effectLst/>
                <a:uLnTx/>
                <a:uFillTx/>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3636674"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75" name="AutoShape 9"/>
          <p:cNvSpPr>
            <a:spLocks noChangeArrowheads="1"/>
          </p:cNvSpPr>
          <p:nvPr/>
        </p:nvSpPr>
        <p:spPr bwMode="auto">
          <a:xfrm>
            <a:off x="4968689"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76" name="AutoShape 9"/>
          <p:cNvSpPr>
            <a:spLocks noChangeArrowheads="1"/>
          </p:cNvSpPr>
          <p:nvPr/>
        </p:nvSpPr>
        <p:spPr bwMode="auto">
          <a:xfrm>
            <a:off x="181268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marL="0" marR="0" lvl="0" indent="0" defTabSz="914400" eaLnBrk="1" fontAlgn="auto" latinLnBrk="0" hangingPunct="1">
              <a:lnSpc>
                <a:spcPct val="100000"/>
              </a:lnSpc>
              <a:spcBef>
                <a:spcPct val="2000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latin typeface="+mj-lt"/>
              <a:cs typeface="Arial" pitchFamily="34" charset="0"/>
            </a:endParaRPr>
          </a:p>
        </p:txBody>
      </p:sp>
      <p:sp>
        <p:nvSpPr>
          <p:cNvPr id="77" name="Rectangle 16"/>
          <p:cNvSpPr>
            <a:spLocks noChangeArrowheads="1"/>
          </p:cNvSpPr>
          <p:nvPr/>
        </p:nvSpPr>
        <p:spPr bwMode="auto">
          <a:xfrm>
            <a:off x="452801" y="2762093"/>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Busin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definition</a:t>
            </a:r>
            <a:endParaRPr kumimoji="0" lang="en-GB" sz="1100" b="0" i="0" u="none" strike="noStrike" kern="0" cap="none" spc="0" normalizeH="0" baseline="0" noProof="0" dirty="0">
              <a:ln>
                <a:noFill/>
              </a:ln>
              <a:effectLst/>
              <a:uLnTx/>
              <a:uFillTx/>
              <a:latin typeface="+mj-lt"/>
              <a:ea typeface="ＭＳ Ｐゴシック" charset="-128"/>
              <a:cs typeface="Arial" pitchFamily="34" charset="0"/>
            </a:endParaRPr>
          </a:p>
        </p:txBody>
      </p:sp>
      <p:sp>
        <p:nvSpPr>
          <p:cNvPr id="78" name="Rectangle 22"/>
          <p:cNvSpPr>
            <a:spLocks noChangeArrowheads="1"/>
          </p:cNvSpPr>
          <p:nvPr/>
        </p:nvSpPr>
        <p:spPr bwMode="auto">
          <a:xfrm>
            <a:off x="2299203" y="2762093"/>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External </a:t>
            </a:r>
            <a:b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b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analysis</a:t>
            </a:r>
          </a:p>
        </p:txBody>
      </p:sp>
      <p:sp>
        <p:nvSpPr>
          <p:cNvPr id="79" name="Rectangle 34"/>
          <p:cNvSpPr>
            <a:spLocks noChangeArrowheads="1"/>
          </p:cNvSpPr>
          <p:nvPr/>
        </p:nvSpPr>
        <p:spPr bwMode="auto">
          <a:xfrm>
            <a:off x="7261194" y="2762093"/>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Action </a:t>
            </a:r>
            <a:b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b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plan</a:t>
            </a:r>
          </a:p>
        </p:txBody>
      </p:sp>
      <p:sp>
        <p:nvSpPr>
          <p:cNvPr id="80" name="Rectangle 40"/>
          <p:cNvSpPr>
            <a:spLocks noChangeArrowheads="1"/>
          </p:cNvSpPr>
          <p:nvPr/>
        </p:nvSpPr>
        <p:spPr bwMode="auto">
          <a:xfrm>
            <a:off x="5436745" y="2762093"/>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Strategic </a:t>
            </a:r>
            <a:b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br>
            <a:r>
              <a:rPr kumimoji="0" lang="en-GB" altLang="ja-JP" sz="1100" b="0" i="0" u="none" strike="noStrike" kern="0" cap="none" spc="0" normalizeH="0" baseline="0" noProof="0" dirty="0">
                <a:ln>
                  <a:noFill/>
                </a:ln>
                <a:effectLst/>
                <a:uLnTx/>
                <a:uFillTx/>
                <a:latin typeface="+mj-lt"/>
                <a:ea typeface="ＭＳ Ｐゴシック" charset="-128"/>
                <a:cs typeface="Arial" pitchFamily="34" charset="0"/>
              </a:rPr>
              <a:t>options</a:t>
            </a:r>
          </a:p>
        </p:txBody>
      </p:sp>
      <p:sp>
        <p:nvSpPr>
          <p:cNvPr id="81" name="TextBox 80"/>
          <p:cNvSpPr txBox="1"/>
          <p:nvPr/>
        </p:nvSpPr>
        <p:spPr bwMode="gray">
          <a:xfrm>
            <a:off x="365760" y="1620838"/>
            <a:ext cx="8412480" cy="184666"/>
          </a:xfrm>
          <a:prstGeom prst="rect">
            <a:avLst/>
          </a:prstGeom>
          <a:noFill/>
        </p:spPr>
        <p:txBody>
          <a:bodyPr wrap="square" lIns="0" tIns="0" rIns="0" bIns="0" rtlCol="0">
            <a:spAutoFit/>
          </a:bodyPr>
          <a:lstStyle/>
          <a:p>
            <a:r>
              <a:rPr lang="en-US" sz="1200" dirty="0">
                <a:latin typeface="+mj-lt"/>
              </a:rPr>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82337" name="Title 1"/>
          <p:cNvSpPr>
            <a:spLocks noGrp="1"/>
          </p:cNvSpPr>
          <p:nvPr>
            <p:ph type="title"/>
          </p:nvPr>
        </p:nvSpPr>
        <p:spPr/>
        <p:txBody>
          <a:bodyPr/>
          <a:lstStyle/>
          <a:p>
            <a:r>
              <a:rPr lang="en-US"/>
              <a:t>Restructuring framework</a:t>
            </a:r>
            <a:endParaRPr lang="en-US" dirty="0"/>
          </a:p>
        </p:txBody>
      </p:sp>
      <p:sp>
        <p:nvSpPr>
          <p:cNvPr id="43" name="Rectangle 14"/>
          <p:cNvSpPr>
            <a:spLocks noChangeArrowheads="1"/>
          </p:cNvSpPr>
          <p:nvPr/>
        </p:nvSpPr>
        <p:spPr bwMode="auto">
          <a:xfrm>
            <a:off x="5632884" y="3800267"/>
            <a:ext cx="1104341" cy="338554"/>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1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365760" y="5412423"/>
            <a:ext cx="8412480" cy="548640"/>
          </a:xfrm>
          <a:prstGeom prst="homePlate">
            <a:avLst>
              <a:gd name="adj" fmla="val 50010"/>
            </a:avLst>
          </a:prstGeom>
          <a:solidFill>
            <a:schemeClr val="accent3"/>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altLang="ja-JP" sz="1200" dirty="0">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365760" y="2643664"/>
            <a:ext cx="1325880"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791169" y="3492503"/>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7" name="AutoShape 18"/>
          <p:cNvSpPr>
            <a:spLocks noChangeArrowheads="1"/>
          </p:cNvSpPr>
          <p:nvPr/>
        </p:nvSpPr>
        <p:spPr bwMode="auto">
          <a:xfrm>
            <a:off x="791169" y="432886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8" name="Rectangle 20"/>
          <p:cNvSpPr>
            <a:spLocks noChangeArrowheads="1"/>
          </p:cNvSpPr>
          <p:nvPr/>
        </p:nvSpPr>
        <p:spPr bwMode="auto">
          <a:xfrm>
            <a:off x="434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Strategic</a:t>
            </a:r>
          </a:p>
          <a:p>
            <a:pPr algn="ctr"/>
            <a:r>
              <a:rPr lang="en-GB" altLang="ja-JP" sz="1100" dirty="0">
                <a:latin typeface="+mj-lt"/>
                <a:ea typeface="ＭＳ Ｐゴシック" charset="-128"/>
                <a:cs typeface="Arial" pitchFamily="34" charset="0"/>
              </a:rPr>
              <a:t>review</a:t>
            </a:r>
          </a:p>
        </p:txBody>
      </p:sp>
      <p:sp>
        <p:nvSpPr>
          <p:cNvPr id="49" name="Oval 21"/>
          <p:cNvSpPr>
            <a:spLocks noChangeArrowheads="1"/>
          </p:cNvSpPr>
          <p:nvPr/>
        </p:nvSpPr>
        <p:spPr bwMode="auto">
          <a:xfrm>
            <a:off x="452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100" dirty="0">
                <a:solidFill>
                  <a:schemeClr val="bg1"/>
                </a:solidFill>
                <a:latin typeface="+mj-lt"/>
                <a:ea typeface="ＭＳ Ｐゴシック" charset="-128"/>
                <a:cs typeface="Arial" pitchFamily="34" charset="0"/>
              </a:rPr>
              <a:t>Change </a:t>
            </a:r>
            <a:br>
              <a:rPr lang="en-GB" altLang="ja-JP" sz="1100" dirty="0">
                <a:solidFill>
                  <a:schemeClr val="bg1"/>
                </a:solidFill>
                <a:latin typeface="+mj-lt"/>
                <a:ea typeface="ＭＳ Ｐゴシック" charset="-128"/>
                <a:cs typeface="Arial" pitchFamily="34" charset="0"/>
              </a:rPr>
            </a:br>
            <a:r>
              <a:rPr lang="en-GB" altLang="ja-JP" sz="11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2121468" y="2643664"/>
            <a:ext cx="1325880"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2545991" y="3492503"/>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2" name="AutoShape 25"/>
          <p:cNvSpPr>
            <a:spLocks noChangeArrowheads="1"/>
          </p:cNvSpPr>
          <p:nvPr/>
        </p:nvSpPr>
        <p:spPr bwMode="auto">
          <a:xfrm>
            <a:off x="2545991" y="432886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3" name="Rectangle 27"/>
          <p:cNvSpPr>
            <a:spLocks noChangeArrowheads="1"/>
          </p:cNvSpPr>
          <p:nvPr/>
        </p:nvSpPr>
        <p:spPr bwMode="auto">
          <a:xfrm>
            <a:off x="2190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2207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396000" y="1620838"/>
            <a:ext cx="573875" cy="184666"/>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2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2060930" y="1620838"/>
            <a:ext cx="637995" cy="184666"/>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2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3888437" y="1620838"/>
            <a:ext cx="702115" cy="184666"/>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2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6707497" y="1620838"/>
            <a:ext cx="679673" cy="184666"/>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200" dirty="0">
                <a:latin typeface="+mj-lt"/>
                <a:ea typeface="ＭＳ Ｐゴシック" charset="-128"/>
                <a:cs typeface="Arial" pitchFamily="34" charset="0"/>
              </a:rPr>
              <a:t>Phase IV</a:t>
            </a:r>
          </a:p>
        </p:txBody>
      </p:sp>
      <p:sp>
        <p:nvSpPr>
          <p:cNvPr id="59" name="AutoShape 9"/>
          <p:cNvSpPr>
            <a:spLocks noChangeArrowheads="1"/>
          </p:cNvSpPr>
          <p:nvPr/>
        </p:nvSpPr>
        <p:spPr bwMode="auto">
          <a:xfrm>
            <a:off x="6793205" y="3798888"/>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ea typeface="+mn-ea"/>
              <a:cs typeface="Arial" pitchFamily="34" charset="0"/>
            </a:endParaRPr>
          </a:p>
        </p:txBody>
      </p:sp>
      <p:sp>
        <p:nvSpPr>
          <p:cNvPr id="60" name="AutoShape 9"/>
          <p:cNvSpPr>
            <a:spLocks noChangeArrowheads="1"/>
          </p:cNvSpPr>
          <p:nvPr/>
        </p:nvSpPr>
        <p:spPr bwMode="auto">
          <a:xfrm>
            <a:off x="5259036" y="3798888"/>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ea typeface="+mn-ea"/>
              <a:cs typeface="Arial" pitchFamily="34" charset="0"/>
            </a:endParaRPr>
          </a:p>
        </p:txBody>
      </p:sp>
      <p:sp>
        <p:nvSpPr>
          <p:cNvPr id="61" name="AutoShape 9"/>
          <p:cNvSpPr>
            <a:spLocks noChangeArrowheads="1"/>
          </p:cNvSpPr>
          <p:nvPr/>
        </p:nvSpPr>
        <p:spPr bwMode="auto">
          <a:xfrm>
            <a:off x="3503328" y="3798888"/>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ea typeface="+mn-ea"/>
              <a:cs typeface="Arial" pitchFamily="34" charset="0"/>
            </a:endParaRPr>
          </a:p>
        </p:txBody>
      </p:sp>
      <p:sp>
        <p:nvSpPr>
          <p:cNvPr id="62" name="AutoShape 9"/>
          <p:cNvSpPr>
            <a:spLocks noChangeArrowheads="1"/>
          </p:cNvSpPr>
          <p:nvPr/>
        </p:nvSpPr>
        <p:spPr bwMode="auto">
          <a:xfrm>
            <a:off x="1747620" y="3798888"/>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ea typeface="+mn-ea"/>
              <a:cs typeface="Arial" pitchFamily="34" charset="0"/>
            </a:endParaRPr>
          </a:p>
        </p:txBody>
      </p:sp>
      <p:sp>
        <p:nvSpPr>
          <p:cNvPr id="63" name="Rectangle 7"/>
          <p:cNvSpPr>
            <a:spLocks noChangeArrowheads="1"/>
          </p:cNvSpPr>
          <p:nvPr/>
        </p:nvSpPr>
        <p:spPr bwMode="auto">
          <a:xfrm>
            <a:off x="3877176" y="2643664"/>
            <a:ext cx="1325880"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algn="ctr"/>
            <a:endParaRPr lang="ja-JP" altLang="en-GB" sz="11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4302585" y="3492106"/>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5" name="AutoShape 10"/>
          <p:cNvSpPr>
            <a:spLocks noChangeArrowheads="1"/>
          </p:cNvSpPr>
          <p:nvPr/>
        </p:nvSpPr>
        <p:spPr bwMode="auto">
          <a:xfrm>
            <a:off x="4302585" y="4327673"/>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6" name="Rectangle 12"/>
          <p:cNvSpPr>
            <a:spLocks noChangeArrowheads="1"/>
          </p:cNvSpPr>
          <p:nvPr/>
        </p:nvSpPr>
        <p:spPr bwMode="auto">
          <a:xfrm>
            <a:off x="3945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3958112"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7167055" y="2643664"/>
            <a:ext cx="1325880" cy="2651760"/>
          </a:xfrm>
          <a:prstGeom prst="rect">
            <a:avLst/>
          </a:prstGeom>
          <a:solidFill>
            <a:schemeClr val="bg2"/>
          </a:solidFill>
          <a:ln w="6350" algn="ctr">
            <a:noFill/>
            <a:miter lim="800000"/>
            <a:headEnd type="none" w="sm" len="sm"/>
            <a:tailEnd type="none" w="sm" len="sm"/>
          </a:ln>
        </p:spPr>
        <p:txBody>
          <a:bodyPr wrap="square" lIns="88900" tIns="88900" rIns="88900" bIns="88900" anchor="t"/>
          <a:lstStyle/>
          <a:p>
            <a:pPr algn="ctr"/>
            <a:endParaRPr lang="en-GB" altLang="ja-JP" sz="11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7591578" y="3492106"/>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0" name="AutoShape 33"/>
          <p:cNvSpPr>
            <a:spLocks noChangeArrowheads="1"/>
          </p:cNvSpPr>
          <p:nvPr/>
        </p:nvSpPr>
        <p:spPr bwMode="auto">
          <a:xfrm flipV="1">
            <a:off x="7591578" y="4327673"/>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1" name="Rectangle 35"/>
          <p:cNvSpPr>
            <a:spLocks noChangeArrowheads="1"/>
          </p:cNvSpPr>
          <p:nvPr/>
        </p:nvSpPr>
        <p:spPr bwMode="auto">
          <a:xfrm>
            <a:off x="7235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7252122" y="3718084"/>
            <a:ext cx="1155747" cy="502920"/>
          </a:xfrm>
          <a:prstGeom prst="ellipse">
            <a:avLst/>
          </a:prstGeom>
          <a:solidFill>
            <a:schemeClr val="accent1"/>
          </a:solidFill>
          <a:ln w="6350" algn="ctr">
            <a:noFill/>
            <a:round/>
            <a:headEnd type="none" w="sm" len="sm"/>
            <a:tailEnd type="none" w="sm" len="sm"/>
          </a:ln>
        </p:spPr>
        <p:txBody>
          <a:bodyPr wrap="none" lIns="88900" tIns="88900" rIns="88900" bIns="88900" anchor="ctr"/>
          <a:lstStyle/>
          <a:p>
            <a:pPr algn="ctr"/>
            <a:r>
              <a:rPr lang="en-GB" altLang="ja-JP" sz="1100" dirty="0">
                <a:latin typeface="+mj-lt"/>
                <a:ea typeface="ＭＳ Ｐゴシック" charset="-128"/>
                <a:cs typeface="Arial" pitchFamily="34" charset="0"/>
              </a:rPr>
              <a:t>Actions</a:t>
            </a:r>
          </a:p>
        </p:txBody>
      </p:sp>
      <p:sp>
        <p:nvSpPr>
          <p:cNvPr id="73" name="AutoShape 10"/>
          <p:cNvSpPr>
            <a:spLocks noChangeArrowheads="1"/>
          </p:cNvSpPr>
          <p:nvPr/>
        </p:nvSpPr>
        <p:spPr bwMode="auto">
          <a:xfrm>
            <a:off x="2060930" y="1978025"/>
            <a:ext cx="1932694" cy="548640"/>
          </a:xfrm>
          <a:prstGeom prst="chevron">
            <a:avLst>
              <a:gd name="adj" fmla="val 32490"/>
            </a:avLst>
          </a:prstGeom>
          <a:solidFill>
            <a:schemeClr val="accent3"/>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sz="1200" dirty="0">
                <a:latin typeface="+mj-lt"/>
                <a:cs typeface="Arial" pitchFamily="34" charset="0"/>
              </a:rPr>
              <a:t>Conduct analysis</a:t>
            </a:r>
            <a:endParaRPr lang="en-GB" altLang="ja-JP" sz="1200" dirty="0">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365760" y="1978025"/>
            <a:ext cx="1794644" cy="548640"/>
          </a:xfrm>
          <a:prstGeom prst="homePlate">
            <a:avLst>
              <a:gd name="adj" fmla="val 31290"/>
            </a:avLst>
          </a:prstGeom>
          <a:solidFill>
            <a:schemeClr val="accent3"/>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latin typeface="+mj-lt"/>
                <a:cs typeface="Arial" pitchFamily="34" charset="0"/>
              </a:rPr>
              <a:t>Evaluate situation</a:t>
            </a:r>
            <a:endParaRPr lang="en-GB" altLang="ja-JP" sz="1200" dirty="0">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3888437" y="1978025"/>
            <a:ext cx="2929961" cy="548640"/>
          </a:xfrm>
          <a:prstGeom prst="chevron">
            <a:avLst>
              <a:gd name="adj" fmla="val 32358"/>
            </a:avLst>
          </a:prstGeom>
          <a:solidFill>
            <a:schemeClr val="accent3"/>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sz="1200" dirty="0">
                <a:latin typeface="+mj-lt"/>
                <a:cs typeface="Arial" pitchFamily="34" charset="0"/>
              </a:rPr>
              <a:t>Formulate strategy</a:t>
            </a:r>
            <a:endParaRPr lang="en-GB" altLang="ja-JP" sz="1200" dirty="0">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6707497" y="1978025"/>
            <a:ext cx="2070743" cy="548640"/>
          </a:xfrm>
          <a:prstGeom prst="chevron">
            <a:avLst>
              <a:gd name="adj" fmla="val 30967"/>
            </a:avLst>
          </a:prstGeom>
          <a:solidFill>
            <a:schemeClr val="accent3"/>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sz="1200" dirty="0">
                <a:latin typeface="+mj-lt"/>
                <a:ea typeface="ＭＳ Ｐゴシック" pitchFamily="50" charset="-128"/>
                <a:cs typeface="Arial" pitchFamily="34" charset="0"/>
              </a:rPr>
              <a:t>Plan implementation</a:t>
            </a:r>
            <a:endParaRPr lang="en-GB" altLang="ja-JP" sz="1200" dirty="0">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7235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Detailed </a:t>
            </a:r>
            <a:br>
              <a:rPr lang="en-GB" altLang="ja-JP" sz="1100" dirty="0">
                <a:latin typeface="+mj-lt"/>
                <a:ea typeface="ＭＳ Ｐゴシック" charset="-128"/>
                <a:cs typeface="Arial" pitchFamily="34" charset="0"/>
              </a:rPr>
            </a:br>
            <a:r>
              <a:rPr lang="en-GB" altLang="ja-JP" sz="11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434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a:t>
            </a:r>
          </a:p>
          <a:p>
            <a:pPr algn="ctr"/>
            <a:r>
              <a:rPr lang="en-GB" altLang="ja-JP" sz="11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2190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3945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Cost and asset reduction</a:t>
            </a:r>
            <a:endParaRPr lang="ja-JP" altLang="en-GB" sz="1100" dirty="0">
              <a:latin typeface="+mj-lt"/>
              <a:ea typeface="ＭＳ Ｐゴシック" charset="-128"/>
              <a:cs typeface="Arial" pitchFamily="34" charset="0"/>
            </a:endParaRPr>
          </a:p>
        </p:txBody>
      </p:sp>
    </p:spTree>
    <p:extLst>
      <p:ext uri="{BB962C8B-B14F-4D97-AF65-F5344CB8AC3E}">
        <p14:creationId xmlns:p14="http://schemas.microsoft.com/office/powerpoint/2010/main" val="3496806629"/>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sp>
        <p:nvSpPr>
          <p:cNvPr id="763907" name="Text Box 3"/>
          <p:cNvSpPr txBox="1">
            <a:spLocks noChangeArrowheads="1"/>
          </p:cNvSpPr>
          <p:nvPr/>
        </p:nvSpPr>
        <p:spPr bwMode="auto">
          <a:xfrm>
            <a:off x="384803" y="5932170"/>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Project</a:t>
            </a:r>
            <a:br>
              <a:rPr lang="en-US" altLang="ja-JP" sz="1100" dirty="0">
                <a:ea typeface="ＭＳ Ｐゴシック" charset="-128"/>
              </a:rPr>
            </a:br>
            <a:r>
              <a:rPr lang="en-US" altLang="ja-JP" sz="1100" dirty="0">
                <a:ea typeface="ＭＳ Ｐゴシック" charset="-128"/>
              </a:rPr>
              <a:t>management</a:t>
            </a:r>
          </a:p>
        </p:txBody>
      </p:sp>
      <p:sp>
        <p:nvSpPr>
          <p:cNvPr id="5" name="AutoShape 4"/>
          <p:cNvSpPr>
            <a:spLocks noChangeArrowheads="1"/>
          </p:cNvSpPr>
          <p:nvPr/>
        </p:nvSpPr>
        <p:spPr bwMode="auto">
          <a:xfrm>
            <a:off x="5079110" y="1620838"/>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cs typeface="Arial" pitchFamily="34" charset="0"/>
              </a:rPr>
              <a:t>3. Formulate</a:t>
            </a:r>
            <a:br>
              <a:rPr lang="en-US" sz="1200" dirty="0">
                <a:cs typeface="Arial" pitchFamily="34" charset="0"/>
              </a:rPr>
            </a:br>
            <a:r>
              <a:rPr lang="en-US" sz="1200" dirty="0">
                <a:cs typeface="Arial" pitchFamily="34" charset="0"/>
              </a:rPr>
              <a:t>strategy</a:t>
            </a:r>
          </a:p>
        </p:txBody>
      </p:sp>
      <p:sp>
        <p:nvSpPr>
          <p:cNvPr id="6" name="AutoShape 5"/>
          <p:cNvSpPr>
            <a:spLocks noChangeArrowheads="1"/>
          </p:cNvSpPr>
          <p:nvPr/>
        </p:nvSpPr>
        <p:spPr bwMode="auto">
          <a:xfrm>
            <a:off x="6861810" y="1620838"/>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cs typeface="Arial" pitchFamily="34" charset="0"/>
              </a:rPr>
              <a:t>4. Plan</a:t>
            </a:r>
            <a:br>
              <a:rPr lang="en-US" sz="1200" dirty="0">
                <a:cs typeface="Arial" pitchFamily="34" charset="0"/>
              </a:rPr>
            </a:br>
            <a:r>
              <a:rPr lang="en-US" sz="1200" dirty="0">
                <a:cs typeface="Arial" pitchFamily="34" charset="0"/>
              </a:rPr>
              <a:t>transformation</a:t>
            </a:r>
          </a:p>
        </p:txBody>
      </p:sp>
      <p:sp>
        <p:nvSpPr>
          <p:cNvPr id="7" name="AutoShape 6"/>
          <p:cNvSpPr>
            <a:spLocks noChangeArrowheads="1"/>
          </p:cNvSpPr>
          <p:nvPr/>
        </p:nvSpPr>
        <p:spPr bwMode="auto">
          <a:xfrm>
            <a:off x="1513710" y="1620838"/>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cs typeface="Arial" pitchFamily="34" charset="0"/>
              </a:rPr>
              <a:t>1. Evaluate</a:t>
            </a:r>
            <a:br>
              <a:rPr lang="en-US" sz="1200" dirty="0">
                <a:cs typeface="Arial" pitchFamily="34" charset="0"/>
              </a:rPr>
            </a:br>
            <a:r>
              <a:rPr lang="en-US" sz="1200" dirty="0">
                <a:cs typeface="Arial" pitchFamily="34" charset="0"/>
              </a:rPr>
              <a:t>situation</a:t>
            </a:r>
          </a:p>
        </p:txBody>
      </p:sp>
      <p:sp>
        <p:nvSpPr>
          <p:cNvPr id="8" name="AutoShape 7"/>
          <p:cNvSpPr>
            <a:spLocks noChangeArrowheads="1"/>
          </p:cNvSpPr>
          <p:nvPr/>
        </p:nvSpPr>
        <p:spPr bwMode="auto">
          <a:xfrm>
            <a:off x="3296410" y="1620838"/>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cs typeface="Arial" pitchFamily="34" charset="0"/>
              </a:rPr>
              <a:t>2.	Conduct </a:t>
            </a:r>
            <a:br>
              <a:rPr lang="en-US" sz="1200" dirty="0">
                <a:cs typeface="Arial" pitchFamily="34" charset="0"/>
              </a:rPr>
            </a:br>
            <a:r>
              <a:rPr lang="en-US" sz="1200" dirty="0">
                <a:cs typeface="Arial" pitchFamily="34" charset="0"/>
              </a:rPr>
              <a:t>analysis</a:t>
            </a:r>
          </a:p>
        </p:txBody>
      </p:sp>
      <p:sp>
        <p:nvSpPr>
          <p:cNvPr id="9" name="Rectangle 8"/>
          <p:cNvSpPr>
            <a:spLocks noChangeArrowheads="1"/>
          </p:cNvSpPr>
          <p:nvPr/>
        </p:nvSpPr>
        <p:spPr bwMode="auto">
          <a:xfrm>
            <a:off x="1513710" y="2237578"/>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1513710" y="2713008"/>
            <a:ext cx="1737360"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situation assessment</a:t>
            </a:r>
          </a:p>
        </p:txBody>
      </p:sp>
      <p:sp>
        <p:nvSpPr>
          <p:cNvPr id="11" name="Rectangle 10"/>
          <p:cNvSpPr>
            <a:spLocks noChangeArrowheads="1"/>
          </p:cNvSpPr>
          <p:nvPr/>
        </p:nvSpPr>
        <p:spPr bwMode="auto">
          <a:xfrm>
            <a:off x="1513710" y="4994233"/>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3296411" y="2713008"/>
            <a:ext cx="1737360"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Analyze market</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nd industry</a:t>
            </a:r>
          </a:p>
        </p:txBody>
      </p:sp>
      <p:sp>
        <p:nvSpPr>
          <p:cNvPr id="13" name="Rectangle 12"/>
          <p:cNvSpPr>
            <a:spLocks noChangeArrowheads="1"/>
          </p:cNvSpPr>
          <p:nvPr/>
        </p:nvSpPr>
        <p:spPr bwMode="auto">
          <a:xfrm>
            <a:off x="3296411" y="4518803"/>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value, profiling and benchmarking</a:t>
            </a:r>
          </a:p>
        </p:txBody>
      </p:sp>
      <p:sp>
        <p:nvSpPr>
          <p:cNvPr id="14" name="Rectangle 13"/>
          <p:cNvSpPr>
            <a:spLocks noChangeArrowheads="1"/>
          </p:cNvSpPr>
          <p:nvPr/>
        </p:nvSpPr>
        <p:spPr bwMode="auto">
          <a:xfrm>
            <a:off x="3296411" y="3156463"/>
            <a:ext cx="1737360"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customer</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nalysis</a:t>
            </a:r>
          </a:p>
        </p:txBody>
      </p:sp>
      <p:sp>
        <p:nvSpPr>
          <p:cNvPr id="15" name="Rectangle 14"/>
          <p:cNvSpPr>
            <a:spLocks noChangeArrowheads="1"/>
          </p:cNvSpPr>
          <p:nvPr/>
        </p:nvSpPr>
        <p:spPr bwMode="auto">
          <a:xfrm>
            <a:off x="3296411" y="3599918"/>
            <a:ext cx="1737360"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Analyze competition</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nd positioning</a:t>
            </a:r>
          </a:p>
        </p:txBody>
      </p:sp>
      <p:sp>
        <p:nvSpPr>
          <p:cNvPr id="16" name="Rectangle 15"/>
          <p:cNvSpPr>
            <a:spLocks noChangeArrowheads="1"/>
          </p:cNvSpPr>
          <p:nvPr/>
        </p:nvSpPr>
        <p:spPr bwMode="auto">
          <a:xfrm>
            <a:off x="3296411" y="4994233"/>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5079111" y="4994233"/>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5079111" y="5437688"/>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6854456" y="2237578"/>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3296411" y="4043373"/>
            <a:ext cx="1737360" cy="411480"/>
          </a:xfrm>
          <a:prstGeom prst="rect">
            <a:avLst/>
          </a:prstGeom>
          <a:solidFill>
            <a:schemeClr val="tx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Analyze internal operations</a:t>
            </a:r>
          </a:p>
        </p:txBody>
      </p:sp>
      <p:sp>
        <p:nvSpPr>
          <p:cNvPr id="763924" name="Text Box 20"/>
          <p:cNvSpPr txBox="1">
            <a:spLocks noChangeArrowheads="1"/>
          </p:cNvSpPr>
          <p:nvPr/>
        </p:nvSpPr>
        <p:spPr bwMode="auto">
          <a:xfrm>
            <a:off x="384803" y="2237578"/>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objectives</a:t>
            </a:r>
          </a:p>
        </p:txBody>
      </p:sp>
      <p:sp>
        <p:nvSpPr>
          <p:cNvPr id="763925" name="Text Box 21"/>
          <p:cNvSpPr txBox="1">
            <a:spLocks noChangeArrowheads="1"/>
          </p:cNvSpPr>
          <p:nvPr/>
        </p:nvSpPr>
        <p:spPr bwMode="auto">
          <a:xfrm>
            <a:off x="384803" y="2713008"/>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analysis</a:t>
            </a:r>
          </a:p>
        </p:txBody>
      </p:sp>
      <p:sp>
        <p:nvSpPr>
          <p:cNvPr id="763926" name="Text Box 22"/>
          <p:cNvSpPr txBox="1">
            <a:spLocks noChangeArrowheads="1"/>
          </p:cNvSpPr>
          <p:nvPr/>
        </p:nvSpPr>
        <p:spPr bwMode="auto">
          <a:xfrm>
            <a:off x="384803" y="4994233"/>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olution</a:t>
            </a:r>
          </a:p>
          <a:p>
            <a:r>
              <a:rPr lang="en-US" altLang="ja-JP" sz="1100" dirty="0">
                <a:ea typeface="ＭＳ Ｐゴシック" charset="-128"/>
              </a:rPr>
              <a:t>development</a:t>
            </a:r>
          </a:p>
        </p:txBody>
      </p:sp>
      <p:sp>
        <p:nvSpPr>
          <p:cNvPr id="24" name="Line 23"/>
          <p:cNvSpPr>
            <a:spLocks noChangeShapeType="1"/>
          </p:cNvSpPr>
          <p:nvPr/>
        </p:nvSpPr>
        <p:spPr bwMode="auto">
          <a:xfrm>
            <a:off x="369570" y="2681033"/>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5" name="Line 24"/>
          <p:cNvSpPr>
            <a:spLocks noChangeShapeType="1"/>
          </p:cNvSpPr>
          <p:nvPr/>
        </p:nvSpPr>
        <p:spPr bwMode="auto">
          <a:xfrm>
            <a:off x="369570" y="4962258"/>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369570" y="4486828"/>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7" name="Rectangle 26"/>
          <p:cNvSpPr>
            <a:spLocks noChangeArrowheads="1"/>
          </p:cNvSpPr>
          <p:nvPr/>
        </p:nvSpPr>
        <p:spPr bwMode="auto">
          <a:xfrm>
            <a:off x="5079111" y="4518803"/>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financial modeling</a:t>
            </a:r>
          </a:p>
        </p:txBody>
      </p:sp>
      <p:sp>
        <p:nvSpPr>
          <p:cNvPr id="763931" name="Text Box 27"/>
          <p:cNvSpPr txBox="1">
            <a:spLocks noChangeArrowheads="1"/>
          </p:cNvSpPr>
          <p:nvPr/>
        </p:nvSpPr>
        <p:spPr bwMode="auto">
          <a:xfrm>
            <a:off x="384803" y="4518803"/>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Financial</a:t>
            </a:r>
          </a:p>
          <a:p>
            <a:r>
              <a:rPr lang="en-US" altLang="ja-JP" sz="1100" dirty="0">
                <a:ea typeface="ＭＳ Ｐゴシック" charset="-128"/>
              </a:rPr>
              <a:t>analysis</a:t>
            </a:r>
          </a:p>
        </p:txBody>
      </p:sp>
      <p:sp>
        <p:nvSpPr>
          <p:cNvPr id="29" name="Line 28"/>
          <p:cNvSpPr>
            <a:spLocks noChangeShapeType="1"/>
          </p:cNvSpPr>
          <p:nvPr/>
        </p:nvSpPr>
        <p:spPr bwMode="auto">
          <a:xfrm>
            <a:off x="369570" y="5900193"/>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30" name="Rectangle 29"/>
          <p:cNvSpPr>
            <a:spLocks noChangeArrowheads="1"/>
          </p:cNvSpPr>
          <p:nvPr/>
        </p:nvSpPr>
        <p:spPr bwMode="auto">
          <a:xfrm>
            <a:off x="1513710" y="5932170"/>
            <a:ext cx="7078106" cy="41148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1513710" y="4518803"/>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value, profiling and benchmarking</a:t>
            </a:r>
          </a:p>
        </p:txBody>
      </p:sp>
      <p:sp>
        <p:nvSpPr>
          <p:cNvPr id="32" name="Rectangle 31"/>
          <p:cNvSpPr>
            <a:spLocks noChangeArrowheads="1"/>
          </p:cNvSpPr>
          <p:nvPr/>
        </p:nvSpPr>
        <p:spPr bwMode="auto">
          <a:xfrm>
            <a:off x="6861810" y="4518803"/>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financial plan</a:t>
            </a:r>
          </a:p>
        </p:txBody>
      </p:sp>
    </p:spTree>
    <p:extLst>
      <p:ext uri="{BB962C8B-B14F-4D97-AF65-F5344CB8AC3E}">
        <p14:creationId xmlns:p14="http://schemas.microsoft.com/office/powerpoint/2010/main" val="3855198705"/>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579015" y="1621570"/>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19050">
            <a:solidFill>
              <a:srgbClr val="BBBCBC"/>
            </a:solidFill>
            <a:round/>
            <a:headEnd/>
            <a:tailEnd/>
          </a:ln>
          <a:effectLst/>
        </p:spPr>
        <p:txBody>
          <a:bodyPr wrap="square" lIns="36000" tIns="36000" rIns="36000" bIns="36000" anchor="ctr"/>
          <a:lstStyle/>
          <a:p>
            <a:endParaRPr lang="en-US" sz="1100" dirty="0">
              <a:solidFill>
                <a:schemeClr val="tx2"/>
              </a:solidFill>
            </a:endParaRPr>
          </a:p>
        </p:txBody>
      </p:sp>
      <p:sp>
        <p:nvSpPr>
          <p:cNvPr id="35" name="Rectangle 34"/>
          <p:cNvSpPr>
            <a:spLocks noChangeArrowheads="1"/>
          </p:cNvSpPr>
          <p:nvPr/>
        </p:nvSpPr>
        <p:spPr bwMode="auto">
          <a:xfrm>
            <a:off x="5876467" y="3649601"/>
            <a:ext cx="914400" cy="457200"/>
          </a:xfrm>
          <a:prstGeom prst="rect">
            <a:avLst/>
          </a:prstGeom>
          <a:solidFill>
            <a:schemeClr val="accent4"/>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solidFill>
                  <a:schemeClr val="bg1"/>
                </a:solidFill>
                <a:ea typeface="ＭＳ Ｐゴシック" pitchFamily="50" charset="-128"/>
              </a:rPr>
              <a:t>Chosen</a:t>
            </a:r>
          </a:p>
          <a:p>
            <a:pPr algn="ctr">
              <a:spcBef>
                <a:spcPct val="0"/>
              </a:spcBef>
              <a:defRPr/>
            </a:pPr>
            <a:r>
              <a:rPr lang="en-US" altLang="ja-JP" sz="1100" dirty="0">
                <a:solidFill>
                  <a:schemeClr val="bg1"/>
                </a:solidFill>
                <a:ea typeface="ＭＳ Ｐゴシック" pitchFamily="50" charset="-128"/>
              </a:rPr>
              <a:t>strategy</a:t>
            </a:r>
          </a:p>
        </p:txBody>
      </p:sp>
      <p:sp>
        <p:nvSpPr>
          <p:cNvPr id="38" name="Rectangle 37"/>
          <p:cNvSpPr>
            <a:spLocks noChangeArrowheads="1"/>
          </p:cNvSpPr>
          <p:nvPr/>
        </p:nvSpPr>
        <p:spPr bwMode="auto">
          <a:xfrm>
            <a:off x="2112404" y="4572732"/>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Financial position</a:t>
            </a:r>
          </a:p>
        </p:txBody>
      </p:sp>
      <p:sp>
        <p:nvSpPr>
          <p:cNvPr id="39" name="Rectangle 38"/>
          <p:cNvSpPr>
            <a:spLocks noChangeArrowheads="1"/>
          </p:cNvSpPr>
          <p:nvPr/>
        </p:nvSpPr>
        <p:spPr bwMode="auto">
          <a:xfrm>
            <a:off x="2112404" y="2956656"/>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Strategic position</a:t>
            </a:r>
          </a:p>
        </p:txBody>
      </p:sp>
      <p:sp>
        <p:nvSpPr>
          <p:cNvPr id="40" name="Rectangle 39"/>
          <p:cNvSpPr>
            <a:spLocks noChangeArrowheads="1"/>
          </p:cNvSpPr>
          <p:nvPr/>
        </p:nvSpPr>
        <p:spPr bwMode="auto">
          <a:xfrm>
            <a:off x="1838084" y="5806220"/>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apital market</a:t>
            </a:r>
          </a:p>
        </p:txBody>
      </p:sp>
      <p:sp>
        <p:nvSpPr>
          <p:cNvPr id="41" name="Rectangle 40"/>
          <p:cNvSpPr>
            <a:spLocks noChangeArrowheads="1"/>
          </p:cNvSpPr>
          <p:nvPr/>
        </p:nvSpPr>
        <p:spPr bwMode="auto">
          <a:xfrm>
            <a:off x="1838084" y="5274407"/>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Economic profitability</a:t>
            </a:r>
          </a:p>
        </p:txBody>
      </p:sp>
      <p:sp>
        <p:nvSpPr>
          <p:cNvPr id="42" name="Rectangle 41"/>
          <p:cNvSpPr>
            <a:spLocks noChangeArrowheads="1"/>
          </p:cNvSpPr>
          <p:nvPr/>
        </p:nvSpPr>
        <p:spPr bwMode="auto">
          <a:xfrm>
            <a:off x="3072524" y="5274407"/>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Growth</a:t>
            </a:r>
          </a:p>
        </p:txBody>
      </p:sp>
      <p:sp>
        <p:nvSpPr>
          <p:cNvPr id="43" name="Rectangle 42"/>
          <p:cNvSpPr>
            <a:spLocks noChangeArrowheads="1"/>
          </p:cNvSpPr>
          <p:nvPr/>
        </p:nvSpPr>
        <p:spPr bwMode="auto">
          <a:xfrm>
            <a:off x="1838084" y="1707295"/>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ommercial market</a:t>
            </a:r>
          </a:p>
        </p:txBody>
      </p:sp>
      <p:sp>
        <p:nvSpPr>
          <p:cNvPr id="44" name="Rectangle 43"/>
          <p:cNvSpPr>
            <a:spLocks noChangeArrowheads="1"/>
          </p:cNvSpPr>
          <p:nvPr/>
        </p:nvSpPr>
        <p:spPr bwMode="auto">
          <a:xfrm>
            <a:off x="1838084" y="2113695"/>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arket</a:t>
            </a:r>
            <a:br>
              <a:rPr lang="en-US" altLang="ja-JP" sz="900" dirty="0">
                <a:ea typeface="ＭＳ Ｐゴシック" pitchFamily="50" charset="-128"/>
              </a:rPr>
            </a:br>
            <a:r>
              <a:rPr lang="en-US" altLang="ja-JP" sz="900" dirty="0">
                <a:ea typeface="ＭＳ Ｐゴシック" pitchFamily="50" charset="-128"/>
              </a:rPr>
              <a:t>attractiveness</a:t>
            </a:r>
          </a:p>
        </p:txBody>
      </p:sp>
      <p:sp>
        <p:nvSpPr>
          <p:cNvPr id="45" name="Rectangle 44"/>
          <p:cNvSpPr>
            <a:spLocks noChangeArrowheads="1"/>
          </p:cNvSpPr>
          <p:nvPr/>
        </p:nvSpPr>
        <p:spPr bwMode="auto">
          <a:xfrm>
            <a:off x="3072524" y="2113694"/>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ompetitive position</a:t>
            </a:r>
          </a:p>
        </p:txBody>
      </p:sp>
      <p:sp>
        <p:nvSpPr>
          <p:cNvPr id="46" name="Oval 45"/>
          <p:cNvSpPr>
            <a:spLocks noChangeAspect="1" noChangeArrowheads="1"/>
          </p:cNvSpPr>
          <p:nvPr/>
        </p:nvSpPr>
        <p:spPr bwMode="auto">
          <a:xfrm>
            <a:off x="2370954" y="3671032"/>
            <a:ext cx="1220261" cy="457200"/>
          </a:xfrm>
          <a:prstGeom prst="ellipse">
            <a:avLst/>
          </a:prstGeom>
          <a:solidFill>
            <a:schemeClr val="accent4"/>
          </a:solidFill>
          <a:ln w="12700" algn="ctr">
            <a:noFill/>
            <a:round/>
            <a:headEnd/>
            <a:tailEnd/>
          </a:ln>
          <a:effectLst/>
        </p:spPr>
        <p:txBody>
          <a:bodyPr wrap="square" lIns="88900" tIns="88900" rIns="88900" bIns="88900" anchor="ctr"/>
          <a:lstStyle/>
          <a:p>
            <a:pPr algn="ctr">
              <a:spcBef>
                <a:spcPct val="0"/>
              </a:spcBef>
              <a:defRPr/>
            </a:pPr>
            <a:r>
              <a:rPr lang="en-US" altLang="ja-JP" sz="1100" dirty="0">
                <a:solidFill>
                  <a:schemeClr val="bg1"/>
                </a:solidFill>
                <a:ea typeface="ＭＳ Ｐゴシック" pitchFamily="50" charset="-128"/>
              </a:rPr>
              <a:t>Insight</a:t>
            </a:r>
          </a:p>
        </p:txBody>
      </p:sp>
      <p:sp>
        <p:nvSpPr>
          <p:cNvPr id="47" name="AutoShape 16"/>
          <p:cNvSpPr>
            <a:spLocks noChangeAspect="1" noChangeArrowheads="1"/>
          </p:cNvSpPr>
          <p:nvPr/>
        </p:nvSpPr>
        <p:spPr bwMode="auto">
          <a:xfrm rot="16200000">
            <a:off x="2868371" y="4803713"/>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36" name="Rectangle 35"/>
          <p:cNvSpPr>
            <a:spLocks noChangeArrowheads="1"/>
          </p:cNvSpPr>
          <p:nvPr/>
        </p:nvSpPr>
        <p:spPr bwMode="auto">
          <a:xfrm>
            <a:off x="7393357" y="3042382"/>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Projects and resources</a:t>
            </a:r>
          </a:p>
        </p:txBody>
      </p:sp>
      <p:sp>
        <p:nvSpPr>
          <p:cNvPr id="37" name="Rectangle 36"/>
          <p:cNvSpPr>
            <a:spLocks noChangeArrowheads="1"/>
          </p:cNvSpPr>
          <p:nvPr/>
        </p:nvSpPr>
        <p:spPr bwMode="auto">
          <a:xfrm>
            <a:off x="7393359" y="4299682"/>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onitoring</a:t>
            </a:r>
          </a:p>
        </p:txBody>
      </p:sp>
      <p:sp>
        <p:nvSpPr>
          <p:cNvPr id="48" name="Rectangle 47"/>
          <p:cNvSpPr>
            <a:spLocks noChangeArrowheads="1"/>
          </p:cNvSpPr>
          <p:nvPr/>
        </p:nvSpPr>
        <p:spPr bwMode="auto">
          <a:xfrm>
            <a:off x="7393357" y="3671032"/>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SFs </a:t>
            </a:r>
          </a:p>
          <a:p>
            <a:pPr algn="ctr">
              <a:spcBef>
                <a:spcPct val="0"/>
              </a:spcBef>
            </a:pPr>
            <a:r>
              <a:rPr lang="en-US" altLang="ja-JP" sz="900" dirty="0">
                <a:ea typeface="ＭＳ Ｐゴシック" pitchFamily="50" charset="-128"/>
              </a:rPr>
              <a:t>and KPIs</a:t>
            </a:r>
          </a:p>
        </p:txBody>
      </p:sp>
      <p:sp>
        <p:nvSpPr>
          <p:cNvPr id="49" name="Rectangle 48"/>
          <p:cNvSpPr>
            <a:spLocks noChangeArrowheads="1"/>
          </p:cNvSpPr>
          <p:nvPr/>
        </p:nvSpPr>
        <p:spPr bwMode="auto">
          <a:xfrm>
            <a:off x="681573" y="3990120"/>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trategic </a:t>
            </a:r>
          </a:p>
          <a:p>
            <a:pPr algn="ctr">
              <a:spcBef>
                <a:spcPct val="0"/>
              </a:spcBef>
            </a:pPr>
            <a:r>
              <a:rPr lang="en-US" altLang="ja-JP" sz="900" dirty="0">
                <a:ea typeface="ＭＳ Ｐゴシック" pitchFamily="50" charset="-128"/>
              </a:rPr>
              <a:t>issues</a:t>
            </a:r>
          </a:p>
        </p:txBody>
      </p:sp>
      <p:sp>
        <p:nvSpPr>
          <p:cNvPr id="50" name="Rectangle 49"/>
          <p:cNvSpPr>
            <a:spLocks noChangeArrowheads="1"/>
          </p:cNvSpPr>
          <p:nvPr/>
        </p:nvSpPr>
        <p:spPr bwMode="auto">
          <a:xfrm>
            <a:off x="681573" y="3307495"/>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ope </a:t>
            </a:r>
            <a:br>
              <a:rPr lang="en-US" altLang="ja-JP" sz="900" dirty="0">
                <a:ea typeface="ＭＳ Ｐゴシック" pitchFamily="50" charset="-128"/>
              </a:rPr>
            </a:br>
            <a:r>
              <a:rPr lang="en-US" altLang="ja-JP" sz="900" dirty="0">
                <a:ea typeface="ＭＳ Ｐゴシック" pitchFamily="50" charset="-128"/>
              </a:rPr>
              <a:t>and context</a:t>
            </a:r>
          </a:p>
        </p:txBody>
      </p:sp>
      <p:sp>
        <p:nvSpPr>
          <p:cNvPr id="51" name="AutoShape 20"/>
          <p:cNvSpPr>
            <a:spLocks noChangeAspect="1" noChangeArrowheads="1"/>
          </p:cNvSpPr>
          <p:nvPr/>
        </p:nvSpPr>
        <p:spPr bwMode="auto">
          <a:xfrm rot="16200000">
            <a:off x="2868371" y="4133788"/>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2" name="AutoShape 21"/>
          <p:cNvSpPr>
            <a:spLocks noChangeAspect="1" noChangeArrowheads="1"/>
          </p:cNvSpPr>
          <p:nvPr/>
        </p:nvSpPr>
        <p:spPr bwMode="auto">
          <a:xfrm rot="16200000" flipH="1">
            <a:off x="2867578" y="3193194"/>
            <a:ext cx="227012"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3" name="AutoShape 22"/>
          <p:cNvSpPr>
            <a:spLocks noChangeAspect="1" noChangeArrowheads="1"/>
          </p:cNvSpPr>
          <p:nvPr/>
        </p:nvSpPr>
        <p:spPr bwMode="auto">
          <a:xfrm rot="16200000" flipH="1">
            <a:off x="2868372" y="2505013"/>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4" name="Rectangle 53"/>
          <p:cNvSpPr>
            <a:spLocks noChangeArrowheads="1"/>
          </p:cNvSpPr>
          <p:nvPr/>
        </p:nvSpPr>
        <p:spPr bwMode="auto">
          <a:xfrm>
            <a:off x="4222417" y="3990120"/>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reativity</a:t>
            </a:r>
          </a:p>
        </p:txBody>
      </p:sp>
      <p:sp>
        <p:nvSpPr>
          <p:cNvPr id="55" name="Rectangle 54"/>
          <p:cNvSpPr>
            <a:spLocks noChangeArrowheads="1"/>
          </p:cNvSpPr>
          <p:nvPr/>
        </p:nvSpPr>
        <p:spPr bwMode="auto">
          <a:xfrm>
            <a:off x="4222417" y="3307495"/>
            <a:ext cx="1051560" cy="457200"/>
          </a:xfrm>
          <a:prstGeom prst="rect">
            <a:avLst/>
          </a:prstGeom>
          <a:solidFill>
            <a:schemeClr val="bg1"/>
          </a:solidFill>
          <a:ln w="6350" algn="ctr">
            <a:solidFill>
              <a:srgbClr val="BBBCBC"/>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enarios</a:t>
            </a:r>
            <a:br>
              <a:rPr lang="en-US" altLang="ja-JP" sz="900" dirty="0">
                <a:ea typeface="ＭＳ Ｐゴシック" pitchFamily="50" charset="-128"/>
              </a:rPr>
            </a:br>
            <a:r>
              <a:rPr lang="en-US" altLang="ja-JP" sz="900" dirty="0">
                <a:ea typeface="ＭＳ Ｐゴシック" pitchFamily="50" charset="-128"/>
              </a:rPr>
              <a:t>and options</a:t>
            </a:r>
          </a:p>
        </p:txBody>
      </p:sp>
      <p:sp>
        <p:nvSpPr>
          <p:cNvPr id="56" name="Freeform 55"/>
          <p:cNvSpPr>
            <a:spLocks noChangeAspect="1"/>
          </p:cNvSpPr>
          <p:nvPr/>
        </p:nvSpPr>
        <p:spPr bwMode="auto">
          <a:xfrm>
            <a:off x="1809950" y="3676589"/>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7" name="Freeform 56"/>
          <p:cNvSpPr>
            <a:spLocks noChangeAspect="1"/>
          </p:cNvSpPr>
          <p:nvPr/>
        </p:nvSpPr>
        <p:spPr bwMode="auto">
          <a:xfrm>
            <a:off x="3676629" y="3676589"/>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8" name="Freeform 57"/>
          <p:cNvSpPr>
            <a:spLocks noChangeAspect="1"/>
          </p:cNvSpPr>
          <p:nvPr/>
        </p:nvSpPr>
        <p:spPr bwMode="auto">
          <a:xfrm>
            <a:off x="5330747" y="3676589"/>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9" name="Freeform 58"/>
          <p:cNvSpPr>
            <a:spLocks noChangeAspect="1"/>
          </p:cNvSpPr>
          <p:nvPr/>
        </p:nvSpPr>
        <p:spPr bwMode="auto">
          <a:xfrm>
            <a:off x="6847637" y="3676589"/>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 name="Donut 387"/>
          <p:cNvSpPr/>
          <p:nvPr/>
        </p:nvSpPr>
        <p:spPr>
          <a:xfrm>
            <a:off x="4572000" y="2748329"/>
            <a:ext cx="4197350" cy="2457450"/>
          </a:xfrm>
          <a:prstGeom prst="donu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87" name="Donut 386"/>
          <p:cNvSpPr/>
          <p:nvPr/>
        </p:nvSpPr>
        <p:spPr>
          <a:xfrm>
            <a:off x="371475" y="2748329"/>
            <a:ext cx="4197350" cy="2457450"/>
          </a:xfrm>
          <a:prstGeom prst="donu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sp>
        <p:nvSpPr>
          <p:cNvPr id="264" name="Oval 10"/>
          <p:cNvSpPr>
            <a:spLocks noChangeArrowheads="1"/>
          </p:cNvSpPr>
          <p:nvPr/>
        </p:nvSpPr>
        <p:spPr bwMode="auto">
          <a:xfrm>
            <a:off x="961390"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dirty="0">
                <a:ea typeface="ＭＳ Ｐゴシック" pitchFamily="50" charset="-128"/>
              </a:rPr>
              <a:t>Commercial market</a:t>
            </a:r>
          </a:p>
        </p:txBody>
      </p:sp>
      <p:sp>
        <p:nvSpPr>
          <p:cNvPr id="305" name="Oval 51"/>
          <p:cNvSpPr>
            <a:spLocks noChangeArrowheads="1"/>
          </p:cNvSpPr>
          <p:nvPr/>
        </p:nvSpPr>
        <p:spPr bwMode="auto">
          <a:xfrm>
            <a:off x="2031206" y="3553192"/>
            <a:ext cx="887413"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altLang="ja-JP" sz="1000" b="1" dirty="0">
                <a:ea typeface="ＭＳ Ｐゴシック" pitchFamily="50" charset="-128"/>
              </a:rPr>
              <a:t>Insight</a:t>
            </a:r>
          </a:p>
        </p:txBody>
      </p:sp>
      <p:sp>
        <p:nvSpPr>
          <p:cNvPr id="306" name="Oval 52"/>
          <p:cNvSpPr>
            <a:spLocks noChangeArrowheads="1"/>
          </p:cNvSpPr>
          <p:nvPr/>
        </p:nvSpPr>
        <p:spPr bwMode="auto">
          <a:xfrm>
            <a:off x="6228557" y="3553192"/>
            <a:ext cx="884237"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sz="1000" b="1" dirty="0">
                <a:ea typeface="ＭＳ Ｐゴシック" pitchFamily="50" charset="-128"/>
              </a:rPr>
              <a:t>Value </a:t>
            </a:r>
            <a:br>
              <a:rPr kumimoji="1" lang="en-US" sz="1000" b="1" dirty="0">
                <a:ea typeface="ＭＳ Ｐゴシック" pitchFamily="50" charset="-128"/>
              </a:rPr>
            </a:br>
            <a:r>
              <a:rPr kumimoji="1" lang="en-US" sz="1000" b="1" dirty="0">
                <a:ea typeface="ＭＳ Ｐゴシック" pitchFamily="50" charset="-128"/>
              </a:rPr>
              <a:t>creation</a:t>
            </a:r>
          </a:p>
        </p:txBody>
      </p:sp>
      <p:grpSp>
        <p:nvGrpSpPr>
          <p:cNvPr id="765976" name="Group 61"/>
          <p:cNvGrpSpPr>
            <a:grpSpLocks/>
          </p:cNvGrpSpPr>
          <p:nvPr/>
        </p:nvGrpSpPr>
        <p:grpSpPr bwMode="auto">
          <a:xfrm>
            <a:off x="4116388" y="3354754"/>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11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grpSp>
      </p:grpSp>
      <p:sp>
        <p:nvSpPr>
          <p:cNvPr id="765977" name="Text Box 66"/>
          <p:cNvSpPr txBox="1">
            <a:spLocks noChangeArrowheads="1"/>
          </p:cNvSpPr>
          <p:nvPr/>
        </p:nvSpPr>
        <p:spPr bwMode="auto">
          <a:xfrm>
            <a:off x="4268497" y="2942896"/>
            <a:ext cx="597921" cy="307777"/>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1000" b="1" dirty="0">
                <a:ea typeface="ＭＳ Ｐゴシック" charset="-128"/>
              </a:rPr>
              <a:t>Chosen </a:t>
            </a:r>
            <a:br>
              <a:rPr kumimoji="1" lang="en-US" altLang="ja-JP" sz="1000" b="1" dirty="0">
                <a:ea typeface="ＭＳ Ｐゴシック" charset="-128"/>
              </a:rPr>
            </a:br>
            <a:r>
              <a:rPr kumimoji="1" lang="en-US" altLang="ja-JP" sz="1000" b="1" dirty="0">
                <a:ea typeface="ＭＳ Ｐゴシック" charset="-128"/>
              </a:rPr>
              <a:t>strategy</a:t>
            </a:r>
          </a:p>
        </p:txBody>
      </p:sp>
      <p:sp>
        <p:nvSpPr>
          <p:cNvPr id="262" name="Oval 261"/>
          <p:cNvSpPr>
            <a:spLocks noChangeArrowheads="1"/>
          </p:cNvSpPr>
          <p:nvPr/>
        </p:nvSpPr>
        <p:spPr bwMode="auto">
          <a:xfrm>
            <a:off x="5161915"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dirty="0">
                <a:ea typeface="ＭＳ Ｐゴシック" pitchFamily="50" charset="-128"/>
              </a:rPr>
              <a:t>Managed performance</a:t>
            </a:r>
          </a:p>
        </p:txBody>
      </p:sp>
      <p:sp>
        <p:nvSpPr>
          <p:cNvPr id="311" name="AutoShape 57"/>
          <p:cNvSpPr>
            <a:spLocks noChangeArrowheads="1"/>
          </p:cNvSpPr>
          <p:nvPr/>
        </p:nvSpPr>
        <p:spPr bwMode="auto">
          <a:xfrm>
            <a:off x="4887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4887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erformance monitoring and incentive compensation</a:t>
            </a:r>
          </a:p>
        </p:txBody>
      </p:sp>
      <p:sp>
        <p:nvSpPr>
          <p:cNvPr id="393" name="Isosceles Triangle 392"/>
          <p:cNvSpPr/>
          <p:nvPr/>
        </p:nvSpPr>
        <p:spPr>
          <a:xfrm rot="10800000" flipV="1">
            <a:off x="6567488"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5" name="Isosceles Triangle 394"/>
          <p:cNvSpPr/>
          <p:nvPr/>
        </p:nvSpPr>
        <p:spPr>
          <a:xfrm rot="10800000" flipV="1">
            <a:off x="6567488"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1" name="Oval 260"/>
          <p:cNvSpPr>
            <a:spLocks noChangeArrowheads="1"/>
          </p:cNvSpPr>
          <p:nvPr/>
        </p:nvSpPr>
        <p:spPr bwMode="auto">
          <a:xfrm>
            <a:off x="961390"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dirty="0">
                <a:ea typeface="ＭＳ Ｐゴシック" pitchFamily="50" charset="-128"/>
              </a:rPr>
              <a:t>Capital market</a:t>
            </a:r>
          </a:p>
        </p:txBody>
      </p:sp>
      <p:sp>
        <p:nvSpPr>
          <p:cNvPr id="308" name="AutoShape 54"/>
          <p:cNvSpPr>
            <a:spLocks noChangeArrowheads="1"/>
          </p:cNvSpPr>
          <p:nvPr/>
        </p:nvSpPr>
        <p:spPr bwMode="auto">
          <a:xfrm>
            <a:off x="1647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Financial position</a:t>
            </a:r>
          </a:p>
        </p:txBody>
      </p:sp>
      <p:sp>
        <p:nvSpPr>
          <p:cNvPr id="309" name="AutoShape 55"/>
          <p:cNvSpPr>
            <a:spLocks noChangeArrowheads="1"/>
          </p:cNvSpPr>
          <p:nvPr/>
        </p:nvSpPr>
        <p:spPr bwMode="auto">
          <a:xfrm>
            <a:off x="2515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Growth</a:t>
            </a:r>
          </a:p>
        </p:txBody>
      </p:sp>
      <p:sp>
        <p:nvSpPr>
          <p:cNvPr id="310" name="AutoShape 56"/>
          <p:cNvSpPr>
            <a:spLocks noChangeArrowheads="1"/>
          </p:cNvSpPr>
          <p:nvPr/>
        </p:nvSpPr>
        <p:spPr bwMode="auto">
          <a:xfrm>
            <a:off x="961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Economic profitability</a:t>
            </a:r>
          </a:p>
        </p:txBody>
      </p:sp>
      <p:sp>
        <p:nvSpPr>
          <p:cNvPr id="394" name="Isosceles Triangle 393"/>
          <p:cNvSpPr/>
          <p:nvPr/>
        </p:nvSpPr>
        <p:spPr>
          <a:xfrm rot="10800000" flipV="1">
            <a:off x="2371725"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6" name="Isosceles Triangle 395"/>
          <p:cNvSpPr/>
          <p:nvPr/>
        </p:nvSpPr>
        <p:spPr>
          <a:xfrm rot="10800000" flipV="1">
            <a:off x="2371725"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5" name="Oval 11"/>
          <p:cNvSpPr>
            <a:spLocks noChangeArrowheads="1"/>
          </p:cNvSpPr>
          <p:nvPr/>
        </p:nvSpPr>
        <p:spPr bwMode="auto">
          <a:xfrm>
            <a:off x="5161915"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dirty="0">
                <a:ea typeface="ＭＳ Ｐゴシック" pitchFamily="50" charset="-128"/>
              </a:rPr>
              <a:t>Structure and resources</a:t>
            </a:r>
          </a:p>
        </p:txBody>
      </p:sp>
      <p:sp>
        <p:nvSpPr>
          <p:cNvPr id="313" name="AutoShape 59"/>
          <p:cNvSpPr>
            <a:spLocks noChangeArrowheads="1"/>
          </p:cNvSpPr>
          <p:nvPr/>
        </p:nvSpPr>
        <p:spPr bwMode="auto">
          <a:xfrm>
            <a:off x="5515769"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Organizational architecture</a:t>
            </a:r>
          </a:p>
        </p:txBody>
      </p:sp>
      <p:sp>
        <p:nvSpPr>
          <p:cNvPr id="314" name="AutoShape 60"/>
          <p:cNvSpPr>
            <a:spLocks noChangeArrowheads="1"/>
          </p:cNvSpPr>
          <p:nvPr/>
        </p:nvSpPr>
        <p:spPr bwMode="auto">
          <a:xfrm>
            <a:off x="5847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rojects and resources</a:t>
            </a:r>
          </a:p>
        </p:txBody>
      </p:sp>
      <p:sp>
        <p:nvSpPr>
          <p:cNvPr id="397" name="Isosceles Triangle 396"/>
          <p:cNvSpPr/>
          <p:nvPr/>
        </p:nvSpPr>
        <p:spPr>
          <a:xfrm rot="10800000">
            <a:off x="6567488"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9" name="Isosceles Triangle 398"/>
          <p:cNvSpPr/>
          <p:nvPr/>
        </p:nvSpPr>
        <p:spPr>
          <a:xfrm rot="10800000">
            <a:off x="6567488"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0" name="AutoShape 36"/>
          <p:cNvSpPr>
            <a:spLocks noChangeArrowheads="1"/>
          </p:cNvSpPr>
          <p:nvPr/>
        </p:nvSpPr>
        <p:spPr bwMode="auto">
          <a:xfrm>
            <a:off x="1647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position</a:t>
            </a:r>
          </a:p>
        </p:txBody>
      </p:sp>
      <p:sp>
        <p:nvSpPr>
          <p:cNvPr id="291" name="AutoShape 37"/>
          <p:cNvSpPr>
            <a:spLocks noChangeArrowheads="1"/>
          </p:cNvSpPr>
          <p:nvPr/>
        </p:nvSpPr>
        <p:spPr bwMode="auto">
          <a:xfrm>
            <a:off x="2515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ompetitive position</a:t>
            </a:r>
          </a:p>
        </p:txBody>
      </p:sp>
      <p:sp>
        <p:nvSpPr>
          <p:cNvPr id="292" name="AutoShape 38"/>
          <p:cNvSpPr>
            <a:spLocks noChangeArrowheads="1"/>
          </p:cNvSpPr>
          <p:nvPr/>
        </p:nvSpPr>
        <p:spPr bwMode="auto">
          <a:xfrm>
            <a:off x="961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100" dirty="0">
                <a:ea typeface="ＭＳ Ｐゴシック" pitchFamily="50" charset="-128"/>
              </a:rPr>
              <a:t>Market attractiveness</a:t>
            </a:r>
          </a:p>
        </p:txBody>
      </p:sp>
      <p:sp>
        <p:nvSpPr>
          <p:cNvPr id="398" name="Isosceles Triangle 397"/>
          <p:cNvSpPr/>
          <p:nvPr/>
        </p:nvSpPr>
        <p:spPr>
          <a:xfrm rot="10800000">
            <a:off x="2371725"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400" name="Isosceles Triangle 399"/>
          <p:cNvSpPr/>
          <p:nvPr/>
        </p:nvSpPr>
        <p:spPr>
          <a:xfrm rot="10800000">
            <a:off x="2371725"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21" name="AutoShape 67"/>
          <p:cNvSpPr>
            <a:spLocks noChangeArrowheads="1"/>
          </p:cNvSpPr>
          <p:nvPr/>
        </p:nvSpPr>
        <p:spPr bwMode="auto">
          <a:xfrm>
            <a:off x="3180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enarios</a:t>
            </a:r>
          </a:p>
        </p:txBody>
      </p:sp>
      <p:sp>
        <p:nvSpPr>
          <p:cNvPr id="322" name="AutoShape 68"/>
          <p:cNvSpPr>
            <a:spLocks noChangeArrowheads="1"/>
          </p:cNvSpPr>
          <p:nvPr/>
        </p:nvSpPr>
        <p:spPr bwMode="auto">
          <a:xfrm>
            <a:off x="3180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eativity</a:t>
            </a:r>
            <a:endParaRPr lang="en-US" altLang="ja-JP" sz="1100" dirty="0">
              <a:ea typeface="ＭＳ Ｐゴシック" pitchFamily="50" charset="-128"/>
            </a:endParaRPr>
          </a:p>
        </p:txBody>
      </p:sp>
      <p:sp>
        <p:nvSpPr>
          <p:cNvPr id="68" name="Isosceles Triangle 67"/>
          <p:cNvSpPr/>
          <p:nvPr/>
        </p:nvSpPr>
        <p:spPr>
          <a:xfrm rot="5400000">
            <a:off x="3021617"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69" name="Isosceles Triangle 68"/>
          <p:cNvSpPr/>
          <p:nvPr/>
        </p:nvSpPr>
        <p:spPr>
          <a:xfrm rot="16200000" flipH="1">
            <a:off x="2745392"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3" name="AutoShape 39"/>
          <p:cNvSpPr>
            <a:spLocks noChangeArrowheads="1"/>
          </p:cNvSpPr>
          <p:nvPr/>
        </p:nvSpPr>
        <p:spPr bwMode="auto">
          <a:xfrm>
            <a:off x="497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ope and context</a:t>
            </a:r>
          </a:p>
        </p:txBody>
      </p:sp>
      <p:sp>
        <p:nvSpPr>
          <p:cNvPr id="294" name="AutoShape 40"/>
          <p:cNvSpPr>
            <a:spLocks noChangeArrowheads="1"/>
          </p:cNvSpPr>
          <p:nvPr/>
        </p:nvSpPr>
        <p:spPr bwMode="auto">
          <a:xfrm>
            <a:off x="497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issues</a:t>
            </a:r>
          </a:p>
        </p:txBody>
      </p:sp>
      <p:sp>
        <p:nvSpPr>
          <p:cNvPr id="70" name="Isosceles Triangle 69"/>
          <p:cNvSpPr/>
          <p:nvPr/>
        </p:nvSpPr>
        <p:spPr>
          <a:xfrm rot="5400000">
            <a:off x="1955156" y="3883392"/>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1" name="Isosceles Triangle 70"/>
          <p:cNvSpPr/>
          <p:nvPr/>
        </p:nvSpPr>
        <p:spPr>
          <a:xfrm rot="16200000" flipH="1">
            <a:off x="1678931" y="3883392"/>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5" name="Isosceles Triangle 54"/>
          <p:cNvSpPr/>
          <p:nvPr/>
        </p:nvSpPr>
        <p:spPr>
          <a:xfrm rot="5400000">
            <a:off x="4575009" y="3883392"/>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6" name="Isosceles Triangle 55"/>
          <p:cNvSpPr/>
          <p:nvPr/>
        </p:nvSpPr>
        <p:spPr>
          <a:xfrm rot="16200000" flipH="1">
            <a:off x="4298784" y="3883392"/>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Tree>
    <p:extLst>
      <p:ext uri="{BB962C8B-B14F-4D97-AF65-F5344CB8AC3E}">
        <p14:creationId xmlns:p14="http://schemas.microsoft.com/office/powerpoint/2010/main" val="217210301"/>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p:cNvSpPr/>
          <p:nvPr/>
        </p:nvSpPr>
        <p:spPr bwMode="gray">
          <a:xfrm>
            <a:off x="2152650" y="2924175"/>
            <a:ext cx="4819650" cy="3028950"/>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rgbClr val="BBBCBC"/>
            </a:solidFill>
            <a:miter lim="800000"/>
            <a:headEnd/>
            <a:tailEnd/>
          </a:ln>
        </p:spPr>
        <p:txBody>
          <a:bodyPr rtlCol="0" anchor="ctr"/>
          <a:lstStyle/>
          <a:p>
            <a:pPr algn="ctr"/>
            <a:endParaRPr lang="en-US" sz="1100" dirty="0">
              <a:solidFill>
                <a:schemeClr val="tx2"/>
              </a:solidFill>
            </a:endParaRPr>
          </a:p>
        </p:txBody>
      </p:sp>
      <p:sp>
        <p:nvSpPr>
          <p:cNvPr id="5" name="Text Placeholder 4"/>
          <p:cNvSpPr>
            <a:spLocks noGrp="1"/>
          </p:cNvSpPr>
          <p:nvPr>
            <p:ph type="body" sz="quarter" idx="13"/>
          </p:nvPr>
        </p:nvSpPr>
        <p:spPr/>
        <p:txBody>
          <a:bodyPr/>
          <a:lstStyle/>
          <a:p>
            <a:r>
              <a:rPr lang="en-US"/>
              <a:t>Subtitle runs here</a:t>
            </a:r>
            <a:endParaRPr lang="en-US" dirty="0"/>
          </a:p>
        </p:txBody>
      </p:sp>
      <p:sp>
        <p:nvSpPr>
          <p:cNvPr id="766977" name="Title 1"/>
          <p:cNvSpPr>
            <a:spLocks noGrp="1"/>
          </p:cNvSpPr>
          <p:nvPr>
            <p:ph type="title"/>
          </p:nvPr>
        </p:nvSpPr>
        <p:spPr/>
        <p:txBody>
          <a:bodyPr/>
          <a:lstStyle/>
          <a:p>
            <a:r>
              <a:rPr lang="en-US" altLang="ja-JP"/>
              <a:t>Backward strategic planning framework</a:t>
            </a:r>
            <a:endParaRPr lang="en-US" dirty="0"/>
          </a:p>
        </p:txBody>
      </p:sp>
      <p:sp>
        <p:nvSpPr>
          <p:cNvPr id="766979" name="Rectangle 3"/>
          <p:cNvSpPr>
            <a:spLocks noChangeArrowheads="1"/>
          </p:cNvSpPr>
          <p:nvPr/>
        </p:nvSpPr>
        <p:spPr bwMode="auto">
          <a:xfrm>
            <a:off x="4389352" y="6043737"/>
            <a:ext cx="346250"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6980" name="Rectangle 4"/>
          <p:cNvSpPr>
            <a:spLocks noChangeArrowheads="1"/>
          </p:cNvSpPr>
          <p:nvPr/>
        </p:nvSpPr>
        <p:spPr bwMode="auto">
          <a:xfrm>
            <a:off x="1735030" y="4354012"/>
            <a:ext cx="317396" cy="169277"/>
          </a:xfrm>
          <a:prstGeom prst="rect">
            <a:avLst/>
          </a:prstGeom>
          <a:noFill/>
          <a:ln w="12700">
            <a:noFill/>
            <a:miter lim="800000"/>
            <a:headEnd/>
            <a:tailEnd/>
          </a:ln>
        </p:spPr>
        <p:txBody>
          <a:bodyPr wrap="none" lIns="0" tIns="0" rIns="0" bIns="0" anchor="ctr">
            <a:spAutoFit/>
          </a:bodyPr>
          <a:lstStyle/>
          <a:p>
            <a:pPr algn="ctr" defTabSz="903288"/>
            <a:r>
              <a:rPr lang="en-US" altLang="ja-JP" sz="1100" dirty="0">
                <a:ea typeface="ＭＳ Ｐゴシック" charset="-128"/>
              </a:rPr>
              <a:t>Goal</a:t>
            </a:r>
          </a:p>
        </p:txBody>
      </p:sp>
      <p:sp>
        <p:nvSpPr>
          <p:cNvPr id="766981" name="Rectangle 5"/>
          <p:cNvSpPr>
            <a:spLocks noChangeArrowheads="1"/>
          </p:cNvSpPr>
          <p:nvPr/>
        </p:nvSpPr>
        <p:spPr bwMode="auto">
          <a:xfrm>
            <a:off x="4363806" y="4664074"/>
            <a:ext cx="1056379"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766982" name="Rectangle 6"/>
          <p:cNvSpPr>
            <a:spLocks noChangeArrowheads="1"/>
          </p:cNvSpPr>
          <p:nvPr/>
        </p:nvSpPr>
        <p:spPr bwMode="auto">
          <a:xfrm>
            <a:off x="2419330" y="5368924"/>
            <a:ext cx="657231" cy="338554"/>
          </a:xfrm>
          <a:prstGeom prst="rect">
            <a:avLst/>
          </a:prstGeom>
          <a:noFill/>
          <a:ln w="12700">
            <a:noFill/>
            <a:miter lim="800000"/>
            <a:headEnd/>
            <a:tailEnd/>
          </a:ln>
        </p:spPr>
        <p:txBody>
          <a:bodyPr wrap="none" lIns="0" tIns="0" rIns="0" bIns="0">
            <a:spAutoFit/>
          </a:bodyPr>
          <a:lstStyle/>
          <a:p>
            <a:pPr algn="ctr" defTabSz="903288"/>
            <a:r>
              <a:rPr lang="en-US" altLang="ja-JP" sz="1100" dirty="0">
                <a:solidFill>
                  <a:schemeClr val="tx2"/>
                </a:solidFill>
                <a:ea typeface="ＭＳ Ｐゴシック" charset="-128"/>
              </a:rPr>
              <a:t>Where are</a:t>
            </a:r>
            <a:br>
              <a:rPr lang="en-US" altLang="ja-JP" sz="1100" dirty="0">
                <a:solidFill>
                  <a:schemeClr val="tx2"/>
                </a:solidFill>
                <a:ea typeface="ＭＳ Ｐゴシック" charset="-128"/>
              </a:rPr>
            </a:br>
            <a:r>
              <a:rPr lang="en-US" altLang="ja-JP" sz="1100" dirty="0">
                <a:solidFill>
                  <a:schemeClr val="tx2"/>
                </a:solidFill>
                <a:ea typeface="ＭＳ Ｐゴシック" charset="-128"/>
              </a:rPr>
              <a:t> we now? </a:t>
            </a:r>
          </a:p>
        </p:txBody>
      </p:sp>
      <p:sp>
        <p:nvSpPr>
          <p:cNvPr id="18" name="Oval 17"/>
          <p:cNvSpPr>
            <a:spLocks noChangeArrowheads="1"/>
          </p:cNvSpPr>
          <p:nvPr/>
        </p:nvSpPr>
        <p:spPr bwMode="auto">
          <a:xfrm>
            <a:off x="3303766" y="471606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defRPr/>
            </a:pPr>
            <a:endParaRPr lang="en-US" sz="1100" dirty="0">
              <a:solidFill>
                <a:schemeClr val="tx2"/>
              </a:solidFill>
            </a:endParaRPr>
          </a:p>
        </p:txBody>
      </p:sp>
      <p:sp>
        <p:nvSpPr>
          <p:cNvPr id="19" name="Oval 18"/>
          <p:cNvSpPr>
            <a:spLocks noChangeArrowheads="1"/>
          </p:cNvSpPr>
          <p:nvPr/>
        </p:nvSpPr>
        <p:spPr bwMode="auto">
          <a:xfrm>
            <a:off x="3941882" y="4271168"/>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defRPr/>
            </a:pPr>
            <a:endParaRPr lang="en-US" sz="1100" dirty="0">
              <a:solidFill>
                <a:schemeClr val="tx2"/>
              </a:solidFill>
            </a:endParaRPr>
          </a:p>
        </p:txBody>
      </p:sp>
      <p:sp>
        <p:nvSpPr>
          <p:cNvPr id="20" name="Oval 19"/>
          <p:cNvSpPr>
            <a:spLocks noChangeArrowheads="1"/>
          </p:cNvSpPr>
          <p:nvPr/>
        </p:nvSpPr>
        <p:spPr bwMode="auto">
          <a:xfrm>
            <a:off x="4579998" y="382627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defRPr/>
            </a:pPr>
            <a:endParaRPr lang="en-US" sz="1100" dirty="0">
              <a:solidFill>
                <a:schemeClr val="tx2"/>
              </a:solidFill>
            </a:endParaRPr>
          </a:p>
        </p:txBody>
      </p:sp>
      <p:sp>
        <p:nvSpPr>
          <p:cNvPr id="766996" name="Oval 20"/>
          <p:cNvSpPr>
            <a:spLocks noChangeArrowheads="1"/>
          </p:cNvSpPr>
          <p:nvPr/>
        </p:nvSpPr>
        <p:spPr bwMode="auto">
          <a:xfrm>
            <a:off x="5218113" y="3381374"/>
            <a:ext cx="164592" cy="164592"/>
          </a:xfrm>
          <a:prstGeom prst="ellipse">
            <a:avLst/>
          </a:prstGeom>
          <a:solidFill>
            <a:schemeClr val="accent2"/>
          </a:solidFill>
          <a:ln w="12700" algn="ctr">
            <a:solidFill>
              <a:schemeClr val="accent2"/>
            </a:solidFill>
            <a:round/>
            <a:headEnd/>
            <a:tailEnd/>
          </a:ln>
        </p:spPr>
        <p:txBody>
          <a:bodyPr wrap="square" lIns="0" tIns="0" rIns="0" bIns="0" anchor="ctr"/>
          <a:lstStyle/>
          <a:p>
            <a:pPr algn="ctr"/>
            <a:endParaRPr lang="en-US" sz="1100" dirty="0">
              <a:solidFill>
                <a:schemeClr val="tx2"/>
              </a:solidFill>
            </a:endParaRPr>
          </a:p>
        </p:txBody>
      </p:sp>
      <p:sp>
        <p:nvSpPr>
          <p:cNvPr id="22" name="Arc 21"/>
          <p:cNvSpPr>
            <a:spLocks/>
          </p:cNvSpPr>
          <p:nvPr/>
        </p:nvSpPr>
        <p:spPr bwMode="auto">
          <a:xfrm rot="21300818">
            <a:off x="4771085" y="3625891"/>
            <a:ext cx="587375" cy="332392"/>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chemeClr val="bg2">
                <a:lumMod val="90000"/>
              </a:schemeClr>
            </a:solidFill>
            <a:round/>
            <a:headEnd type="none" w="sm" len="sm"/>
            <a:tailEnd type="triangle" w="lg" len="lg"/>
          </a:ln>
        </p:spPr>
        <p:txBody>
          <a:bodyPr wrap="square" lIns="36000" tIns="36000" rIns="36000" bIns="36000" anchor="ctr"/>
          <a:lstStyle/>
          <a:p>
            <a:pPr algn="ctr">
              <a:defRPr/>
            </a:pPr>
            <a:endParaRPr lang="en-US" sz="1100" dirty="0">
              <a:solidFill>
                <a:schemeClr val="tx2"/>
              </a:solidFill>
            </a:endParaRPr>
          </a:p>
        </p:txBody>
      </p:sp>
      <p:sp>
        <p:nvSpPr>
          <p:cNvPr id="766998" name="Oval 22"/>
          <p:cNvSpPr>
            <a:spLocks noChangeArrowheads="1"/>
          </p:cNvSpPr>
          <p:nvPr/>
        </p:nvSpPr>
        <p:spPr bwMode="auto">
          <a:xfrm>
            <a:off x="2665650" y="5160962"/>
            <a:ext cx="164592" cy="164592"/>
          </a:xfrm>
          <a:prstGeom prst="ellipse">
            <a:avLst/>
          </a:prstGeom>
          <a:solidFill>
            <a:schemeClr val="accent3"/>
          </a:solidFill>
          <a:ln w="12700" algn="ctr">
            <a:solidFill>
              <a:schemeClr val="accent3"/>
            </a:solidFill>
            <a:round/>
            <a:headEnd/>
            <a:tailEnd/>
          </a:ln>
        </p:spPr>
        <p:txBody>
          <a:bodyPr wrap="square" lIns="0" tIns="0" rIns="0" bIns="0" anchor="ctr"/>
          <a:lstStyle/>
          <a:p>
            <a:pPr algn="ctr"/>
            <a:endParaRPr lang="en-US" sz="1100" dirty="0">
              <a:solidFill>
                <a:schemeClr val="tx2"/>
              </a:solidFill>
            </a:endParaRPr>
          </a:p>
        </p:txBody>
      </p:sp>
      <p:sp>
        <p:nvSpPr>
          <p:cNvPr id="25" name="Arc 24"/>
          <p:cNvSpPr>
            <a:spLocks/>
          </p:cNvSpPr>
          <p:nvPr/>
        </p:nvSpPr>
        <p:spPr bwMode="auto">
          <a:xfrm rot="720000">
            <a:off x="2963863" y="3136899"/>
            <a:ext cx="2057400" cy="217170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9050" cap="rnd">
            <a:solidFill>
              <a:schemeClr val="bg2">
                <a:lumMod val="90000"/>
              </a:schemeClr>
            </a:solidFill>
            <a:round/>
            <a:headEnd type="none" w="sm" len="sm"/>
            <a:tailEnd type="triangle" w="lg" len="lg"/>
          </a:ln>
        </p:spPr>
        <p:txBody>
          <a:bodyPr wrap="square" lIns="36000" tIns="36000" rIns="36000" bIns="36000" anchor="ctr"/>
          <a:lstStyle/>
          <a:p>
            <a:pPr algn="ctr">
              <a:defRPr/>
            </a:pPr>
            <a:endParaRPr lang="en-US" sz="1100" dirty="0">
              <a:solidFill>
                <a:schemeClr val="tx2"/>
              </a:solidFill>
            </a:endParaRPr>
          </a:p>
        </p:txBody>
      </p:sp>
      <p:sp>
        <p:nvSpPr>
          <p:cNvPr id="27" name="Oval 26"/>
          <p:cNvSpPr>
            <a:spLocks noChangeArrowheads="1"/>
          </p:cNvSpPr>
          <p:nvPr/>
        </p:nvSpPr>
        <p:spPr bwMode="auto">
          <a:xfrm>
            <a:off x="357188" y="1614488"/>
            <a:ext cx="2743200" cy="766763"/>
          </a:xfrm>
          <a:prstGeom prst="ellipse">
            <a:avLst/>
          </a:prstGeom>
          <a:solidFill>
            <a:schemeClr val="bg2"/>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ea typeface="ＭＳ Ｐゴシック" pitchFamily="50" charset="-128"/>
              </a:rPr>
              <a:t>Mission: Why are we in business?</a:t>
            </a:r>
          </a:p>
        </p:txBody>
      </p:sp>
      <p:sp>
        <p:nvSpPr>
          <p:cNvPr id="28" name="Oval 27"/>
          <p:cNvSpPr>
            <a:spLocks noChangeArrowheads="1"/>
          </p:cNvSpPr>
          <p:nvPr/>
        </p:nvSpPr>
        <p:spPr bwMode="auto">
          <a:xfrm>
            <a:off x="2249855" y="2320803"/>
            <a:ext cx="2743200" cy="766763"/>
          </a:xfrm>
          <a:prstGeom prst="ellipse">
            <a:avLst/>
          </a:prstGeom>
          <a:solidFill>
            <a:schemeClr val="bg2"/>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ea typeface="ＭＳ Ｐゴシック" pitchFamily="50" charset="-128"/>
              </a:rPr>
              <a:t>Values: What are our enduring principles and beliefs?</a:t>
            </a:r>
          </a:p>
        </p:txBody>
      </p:sp>
      <p:sp>
        <p:nvSpPr>
          <p:cNvPr id="29" name="Oval 28"/>
          <p:cNvSpPr>
            <a:spLocks noChangeArrowheads="1"/>
          </p:cNvSpPr>
          <p:nvPr/>
        </p:nvSpPr>
        <p:spPr bwMode="auto">
          <a:xfrm>
            <a:off x="6027738" y="1967645"/>
            <a:ext cx="2743200" cy="766763"/>
          </a:xfrm>
          <a:prstGeom prst="ellipse">
            <a:avLst/>
          </a:prstGeom>
          <a:solidFill>
            <a:schemeClr val="bg2"/>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ea typeface="ＭＳ Ｐゴシック" pitchFamily="50" charset="-128"/>
              </a:rPr>
              <a:t>Vision: Where do we want to be in 2010?</a:t>
            </a:r>
          </a:p>
        </p:txBody>
      </p:sp>
      <p:sp>
        <p:nvSpPr>
          <p:cNvPr id="30" name="Oval 29"/>
          <p:cNvSpPr>
            <a:spLocks noChangeArrowheads="1"/>
          </p:cNvSpPr>
          <p:nvPr/>
        </p:nvSpPr>
        <p:spPr bwMode="auto">
          <a:xfrm>
            <a:off x="6029325" y="4619625"/>
            <a:ext cx="2743200" cy="766763"/>
          </a:xfrm>
          <a:prstGeom prst="ellipse">
            <a:avLst/>
          </a:prstGeom>
          <a:solidFill>
            <a:schemeClr val="bg2"/>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ea typeface="ＭＳ Ｐゴシック" pitchFamily="50" charset="-128"/>
              </a:rPr>
              <a:t>Strategy: How do we get there?</a:t>
            </a:r>
          </a:p>
        </p:txBody>
      </p:sp>
      <p:sp>
        <p:nvSpPr>
          <p:cNvPr id="71" name="Arc 21"/>
          <p:cNvSpPr>
            <a:spLocks/>
          </p:cNvSpPr>
          <p:nvPr/>
        </p:nvSpPr>
        <p:spPr bwMode="auto">
          <a:xfrm rot="21300818">
            <a:off x="4142111" y="4073566"/>
            <a:ext cx="587375" cy="332392"/>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chemeClr val="accent1"/>
            </a:solidFill>
            <a:round/>
            <a:headEnd type="none" w="sm" len="sm"/>
            <a:tailEnd type="triangle" w="lg" len="lg"/>
          </a:ln>
        </p:spPr>
        <p:txBody>
          <a:bodyPr wrap="square" lIns="36000" tIns="36000" rIns="36000" bIns="36000" anchor="ctr"/>
          <a:lstStyle/>
          <a:p>
            <a:pPr algn="ctr">
              <a:defRPr/>
            </a:pPr>
            <a:endParaRPr lang="en-US" sz="1100" dirty="0">
              <a:solidFill>
                <a:schemeClr val="tx2"/>
              </a:solidFill>
            </a:endParaRPr>
          </a:p>
        </p:txBody>
      </p:sp>
      <p:sp>
        <p:nvSpPr>
          <p:cNvPr id="72" name="Arc 21"/>
          <p:cNvSpPr>
            <a:spLocks/>
          </p:cNvSpPr>
          <p:nvPr/>
        </p:nvSpPr>
        <p:spPr bwMode="auto">
          <a:xfrm rot="21300818">
            <a:off x="3513138" y="4521241"/>
            <a:ext cx="587375" cy="332392"/>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chemeClr val="bg2">
                <a:lumMod val="90000"/>
              </a:schemeClr>
            </a:solidFill>
            <a:round/>
            <a:headEnd type="none" w="sm" len="sm"/>
            <a:tailEnd type="triangle" w="lg" len="lg"/>
          </a:ln>
        </p:spPr>
        <p:txBody>
          <a:bodyPr wrap="square" lIns="36000" tIns="36000" rIns="36000" bIns="36000" anchor="ctr"/>
          <a:lstStyle/>
          <a:p>
            <a:pPr algn="ctr">
              <a:defRPr/>
            </a:pPr>
            <a:endParaRPr lang="en-US" sz="1100" dirty="0">
              <a:solidFill>
                <a:schemeClr val="tx2"/>
              </a:solidFill>
            </a:endParaRPr>
          </a:p>
        </p:txBody>
      </p:sp>
    </p:spTree>
    <p:extLst>
      <p:ext uri="{BB962C8B-B14F-4D97-AF65-F5344CB8AC3E}">
        <p14:creationId xmlns:p14="http://schemas.microsoft.com/office/powerpoint/2010/main" val="3909207130"/>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a:t>Incremental versus dynamic strategic planning</a:t>
            </a:r>
            <a:endParaRPr lang="en-US" dirty="0"/>
          </a:p>
        </p:txBody>
      </p:sp>
      <p:sp>
        <p:nvSpPr>
          <p:cNvPr id="768003" name="Rectangle 3"/>
          <p:cNvSpPr>
            <a:spLocks noChangeArrowheads="1"/>
          </p:cNvSpPr>
          <p:nvPr/>
        </p:nvSpPr>
        <p:spPr bwMode="auto">
          <a:xfrm>
            <a:off x="4302696" y="3320549"/>
            <a:ext cx="538609" cy="169277"/>
          </a:xfrm>
          <a:prstGeom prst="rect">
            <a:avLst/>
          </a:prstGeom>
          <a:noFill/>
          <a:ln w="12700">
            <a:noFill/>
            <a:miter lim="800000"/>
            <a:headEnd/>
            <a:tailEnd/>
          </a:ln>
        </p:spPr>
        <p:txBody>
          <a:bodyPr wrap="none" lIns="0" tIns="0" rIns="0" bIns="0">
            <a:spAutoFit/>
          </a:bodyPr>
          <a:lstStyle/>
          <a:p>
            <a:pPr algn="ctr" defTabSz="903288"/>
            <a:r>
              <a:rPr lang="en-US" altLang="ja-JP" sz="1100" b="1" dirty="0">
                <a:ea typeface="ＭＳ Ｐゴシック" charset="-128"/>
              </a:rPr>
              <a:t>Versus</a:t>
            </a:r>
          </a:p>
        </p:txBody>
      </p:sp>
      <p:sp>
        <p:nvSpPr>
          <p:cNvPr id="6" name="Rectangle 5"/>
          <p:cNvSpPr>
            <a:spLocks noChangeArrowheads="1"/>
          </p:cNvSpPr>
          <p:nvPr/>
        </p:nvSpPr>
        <p:spPr bwMode="auto">
          <a:xfrm>
            <a:off x="357997" y="5063516"/>
            <a:ext cx="4114800" cy="768350"/>
          </a:xfrm>
          <a:prstGeom prst="rect">
            <a:avLst/>
          </a:prstGeom>
          <a:solidFill>
            <a:schemeClr val="bg2"/>
          </a:solidFill>
          <a:ln w="12700" algn="ctr">
            <a:noFill/>
            <a:miter lim="800000"/>
            <a:headEnd/>
            <a:tailEnd/>
          </a:ln>
          <a:effectLst/>
        </p:spPr>
        <p:txBody>
          <a:bodyPr wrap="square" lIns="88900" tIns="88900" rIns="88900" bIns="88900" anchor="ctr">
            <a:noAutofit/>
          </a:bodyPr>
          <a:lstStyle/>
          <a:p>
            <a:pPr algn="ctr">
              <a:defRPr/>
            </a:pPr>
            <a:r>
              <a:rPr lang="en-US" altLang="ja-JP" sz="1200" b="1" dirty="0">
                <a:ea typeface="ＭＳ Ｐゴシック" pitchFamily="50" charset="-128"/>
              </a:rPr>
              <a:t>Incrementalism</a:t>
            </a:r>
          </a:p>
          <a:p>
            <a:pPr algn="ctr">
              <a:defRPr/>
            </a:pPr>
            <a:r>
              <a:rPr lang="en-US" altLang="ja-JP" sz="1200" b="1" dirty="0">
                <a:ea typeface="ＭＳ Ｐゴシック" pitchFamily="50" charset="-128"/>
              </a:rPr>
              <a:t>[One reason why companies stagnate]</a:t>
            </a:r>
          </a:p>
        </p:txBody>
      </p:sp>
      <p:sp>
        <p:nvSpPr>
          <p:cNvPr id="768006" name="Rectangle 9"/>
          <p:cNvSpPr>
            <a:spLocks noChangeArrowheads="1"/>
          </p:cNvSpPr>
          <p:nvPr/>
        </p:nvSpPr>
        <p:spPr bwMode="auto">
          <a:xfrm>
            <a:off x="2493876" y="4631912"/>
            <a:ext cx="346250"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8007" name="Rectangle 10"/>
          <p:cNvSpPr>
            <a:spLocks noChangeArrowheads="1"/>
          </p:cNvSpPr>
          <p:nvPr/>
        </p:nvSpPr>
        <p:spPr bwMode="auto">
          <a:xfrm>
            <a:off x="651355" y="3320549"/>
            <a:ext cx="317396"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768008" name="Oval 11"/>
          <p:cNvSpPr>
            <a:spLocks noChangeArrowheads="1"/>
          </p:cNvSpPr>
          <p:nvPr/>
        </p:nvSpPr>
        <p:spPr bwMode="auto">
          <a:xfrm>
            <a:off x="1442672" y="3890353"/>
            <a:ext cx="164592"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09" name="Rectangle 12"/>
          <p:cNvSpPr>
            <a:spLocks noChangeArrowheads="1"/>
          </p:cNvSpPr>
          <p:nvPr/>
        </p:nvSpPr>
        <p:spPr bwMode="auto">
          <a:xfrm>
            <a:off x="1155898" y="4114006"/>
            <a:ext cx="705321"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we</a:t>
            </a:r>
            <a:br>
              <a:rPr lang="en-US" altLang="ja-JP" sz="1100" dirty="0">
                <a:ea typeface="ＭＳ Ｐゴシック" charset="-128"/>
              </a:rPr>
            </a:br>
            <a:r>
              <a:rPr lang="en-US" altLang="ja-JP" sz="1100" dirty="0">
                <a:ea typeface="ＭＳ Ｐゴシック" charset="-128"/>
              </a:rPr>
              <a:t>are now?</a:t>
            </a:r>
          </a:p>
        </p:txBody>
      </p:sp>
      <p:sp>
        <p:nvSpPr>
          <p:cNvPr id="768010" name="Rectangle 13"/>
          <p:cNvSpPr>
            <a:spLocks noChangeArrowheads="1"/>
          </p:cNvSpPr>
          <p:nvPr/>
        </p:nvSpPr>
        <p:spPr bwMode="auto">
          <a:xfrm>
            <a:off x="3028333" y="3899878"/>
            <a:ext cx="1200650" cy="507831"/>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taken </a:t>
            </a:r>
            <a:br>
              <a:rPr lang="en-US" altLang="ja-JP" sz="1100" dirty="0">
                <a:ea typeface="ＭＳ Ｐゴシック" charset="-128"/>
              </a:rPr>
            </a:br>
            <a:r>
              <a:rPr lang="en-US" altLang="ja-JP" sz="1100" dirty="0">
                <a:ea typeface="ＭＳ Ｐゴシック" charset="-128"/>
              </a:rPr>
              <a:t>in response </a:t>
            </a:r>
            <a:br>
              <a:rPr lang="en-US" altLang="ja-JP" sz="1100" dirty="0">
                <a:ea typeface="ＭＳ Ｐゴシック" charset="-128"/>
              </a:rPr>
            </a:br>
            <a:r>
              <a:rPr lang="en-US" altLang="ja-JP" sz="1100" dirty="0">
                <a:ea typeface="ＭＳ Ｐゴシック" charset="-128"/>
              </a:rPr>
              <a:t>to circumstances</a:t>
            </a:r>
          </a:p>
        </p:txBody>
      </p:sp>
      <p:sp>
        <p:nvSpPr>
          <p:cNvPr id="15" name="Oval 14"/>
          <p:cNvSpPr>
            <a:spLocks noChangeArrowheads="1"/>
          </p:cNvSpPr>
          <p:nvPr/>
        </p:nvSpPr>
        <p:spPr bwMode="auto">
          <a:xfrm>
            <a:off x="2056505" y="3759649"/>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6" name="Oval 15"/>
          <p:cNvSpPr>
            <a:spLocks noChangeArrowheads="1"/>
          </p:cNvSpPr>
          <p:nvPr/>
        </p:nvSpPr>
        <p:spPr bwMode="auto">
          <a:xfrm>
            <a:off x="2670338" y="362894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7" name="Oval 16"/>
          <p:cNvSpPr>
            <a:spLocks noChangeArrowheads="1"/>
          </p:cNvSpPr>
          <p:nvPr/>
        </p:nvSpPr>
        <p:spPr bwMode="auto">
          <a:xfrm>
            <a:off x="3284172" y="349824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28" name="Arc 27"/>
          <p:cNvSpPr>
            <a:spLocks/>
          </p:cNvSpPr>
          <p:nvPr/>
        </p:nvSpPr>
        <p:spPr bwMode="auto">
          <a:xfrm>
            <a:off x="2249707" y="3838765"/>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3" name="Arc 32"/>
          <p:cNvSpPr>
            <a:spLocks/>
          </p:cNvSpPr>
          <p:nvPr/>
        </p:nvSpPr>
        <p:spPr bwMode="auto">
          <a:xfrm>
            <a:off x="2871421" y="3709548"/>
            <a:ext cx="457200"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25" name="Rectangle 36"/>
          <p:cNvSpPr>
            <a:spLocks noChangeArrowheads="1"/>
          </p:cNvSpPr>
          <p:nvPr/>
        </p:nvSpPr>
        <p:spPr bwMode="auto">
          <a:xfrm>
            <a:off x="1622502" y="3158294"/>
            <a:ext cx="1221489" cy="338554"/>
          </a:xfrm>
          <a:prstGeom prst="rect">
            <a:avLst/>
          </a:prstGeom>
          <a:noFill/>
          <a:ln w="12700" algn="ctr">
            <a:noFill/>
            <a:miter lim="800000"/>
            <a:headEnd/>
            <a:tailEnd/>
          </a:ln>
        </p:spPr>
        <p:txBody>
          <a:bodyPr wrap="none" lIns="0" tIns="0" rIns="0" bIns="0">
            <a:spAutoFit/>
          </a:bodyPr>
          <a:lstStyle/>
          <a:p>
            <a:pPr algn="ctr" defTabSz="903288"/>
            <a:r>
              <a:rPr lang="en-US" altLang="ja-JP" sz="1100" dirty="0">
                <a:ea typeface="ＭＳ Ｐゴシック" charset="-128"/>
              </a:rPr>
              <a:t>Where can </a:t>
            </a:r>
            <a:br>
              <a:rPr lang="en-US" altLang="ja-JP" sz="1100" dirty="0">
                <a:ea typeface="ＭＳ Ｐゴシック" charset="-128"/>
              </a:rPr>
            </a:br>
            <a:r>
              <a:rPr lang="en-US" altLang="ja-JP" sz="1100" dirty="0">
                <a:ea typeface="ＭＳ Ｐゴシック" charset="-128"/>
              </a:rPr>
              <a:t>we be next year?</a:t>
            </a:r>
          </a:p>
        </p:txBody>
      </p:sp>
      <p:sp>
        <p:nvSpPr>
          <p:cNvPr id="39" name="Rectangle 38"/>
          <p:cNvSpPr>
            <a:spLocks noChangeArrowheads="1"/>
          </p:cNvSpPr>
          <p:nvPr/>
        </p:nvSpPr>
        <p:spPr bwMode="auto">
          <a:xfrm>
            <a:off x="4660900" y="5063516"/>
            <a:ext cx="4114800" cy="773113"/>
          </a:xfrm>
          <a:prstGeom prst="rect">
            <a:avLst/>
          </a:prstGeom>
          <a:solidFill>
            <a:schemeClr val="bg2"/>
          </a:solidFill>
          <a:ln w="12700" algn="ctr">
            <a:noFill/>
            <a:miter lim="800000"/>
            <a:headEnd/>
            <a:tailEnd/>
          </a:ln>
          <a:effectLst/>
        </p:spPr>
        <p:txBody>
          <a:bodyPr wrap="square" lIns="88900" tIns="88900" rIns="88900" bIns="88900" anchor="ctr">
            <a:noAutofit/>
          </a:bodyPr>
          <a:lstStyle/>
          <a:p>
            <a:pPr algn="ctr">
              <a:defRPr/>
            </a:pPr>
            <a:r>
              <a:rPr lang="en-US" altLang="ja-JP" sz="1200" b="1" dirty="0">
                <a:ea typeface="ＭＳ Ｐゴシック" pitchFamily="50" charset="-128"/>
              </a:rPr>
              <a:t>Focus</a:t>
            </a:r>
          </a:p>
          <a:p>
            <a:pPr algn="ctr">
              <a:defRPr/>
            </a:pPr>
            <a:r>
              <a:rPr lang="en-US" altLang="ja-JP" sz="1200" b="1" dirty="0">
                <a:ea typeface="ＭＳ Ｐゴシック" pitchFamily="50" charset="-128"/>
              </a:rPr>
              <a:t>[One reason why companies grow]</a:t>
            </a:r>
          </a:p>
        </p:txBody>
      </p:sp>
      <p:sp>
        <p:nvSpPr>
          <p:cNvPr id="768029" name="Rectangle 41"/>
          <p:cNvSpPr>
            <a:spLocks noChangeArrowheads="1"/>
          </p:cNvSpPr>
          <p:nvPr/>
        </p:nvSpPr>
        <p:spPr bwMode="auto">
          <a:xfrm>
            <a:off x="6992963" y="3789364"/>
            <a:ext cx="1056379"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43" name="Arc 42"/>
          <p:cNvSpPr>
            <a:spLocks/>
          </p:cNvSpPr>
          <p:nvPr/>
        </p:nvSpPr>
        <p:spPr bwMode="auto">
          <a:xfrm>
            <a:off x="5935630" y="2466974"/>
            <a:ext cx="1989169"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dirty="0">
              <a:solidFill>
                <a:schemeClr val="tx2"/>
              </a:solidFill>
            </a:endParaRPr>
          </a:p>
        </p:txBody>
      </p:sp>
      <p:sp>
        <p:nvSpPr>
          <p:cNvPr id="768032" name="Rectangle 46"/>
          <p:cNvSpPr>
            <a:spLocks noChangeArrowheads="1"/>
          </p:cNvSpPr>
          <p:nvPr/>
        </p:nvSpPr>
        <p:spPr bwMode="auto">
          <a:xfrm>
            <a:off x="5430551" y="4065589"/>
            <a:ext cx="735779"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are</a:t>
            </a:r>
            <a:br>
              <a:rPr lang="en-US" altLang="ja-JP" sz="1100" dirty="0">
                <a:ea typeface="ＭＳ Ｐゴシック" charset="-128"/>
              </a:rPr>
            </a:br>
            <a:r>
              <a:rPr lang="en-US" altLang="ja-JP" sz="1100" dirty="0">
                <a:ea typeface="ＭＳ Ｐゴシック" charset="-128"/>
              </a:rPr>
              <a:t> we now? </a:t>
            </a:r>
          </a:p>
        </p:txBody>
      </p:sp>
      <p:sp>
        <p:nvSpPr>
          <p:cNvPr id="768033" name="Oval 47"/>
          <p:cNvSpPr>
            <a:spLocks noChangeArrowheads="1"/>
          </p:cNvSpPr>
          <p:nvPr/>
        </p:nvSpPr>
        <p:spPr bwMode="auto">
          <a:xfrm>
            <a:off x="5845142" y="3905250"/>
            <a:ext cx="164592"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dirty="0">
              <a:solidFill>
                <a:schemeClr val="tx2"/>
              </a:solidFill>
            </a:endParaRPr>
          </a:p>
        </p:txBody>
      </p:sp>
      <p:sp>
        <p:nvSpPr>
          <p:cNvPr id="49" name="Oval 48"/>
          <p:cNvSpPr>
            <a:spLocks noChangeArrowheads="1"/>
          </p:cNvSpPr>
          <p:nvPr/>
        </p:nvSpPr>
        <p:spPr bwMode="auto">
          <a:xfrm>
            <a:off x="6548934" y="340360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50" name="Oval 49"/>
          <p:cNvSpPr>
            <a:spLocks noChangeArrowheads="1"/>
          </p:cNvSpPr>
          <p:nvPr/>
        </p:nvSpPr>
        <p:spPr bwMode="auto">
          <a:xfrm>
            <a:off x="7252726" y="290195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768036" name="Oval 50"/>
          <p:cNvSpPr>
            <a:spLocks noChangeArrowheads="1"/>
          </p:cNvSpPr>
          <p:nvPr/>
        </p:nvSpPr>
        <p:spPr bwMode="auto">
          <a:xfrm>
            <a:off x="7956517" y="2400301"/>
            <a:ext cx="164592"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47" name="Rectangle 61"/>
          <p:cNvSpPr>
            <a:spLocks noChangeArrowheads="1"/>
          </p:cNvSpPr>
          <p:nvPr/>
        </p:nvSpPr>
        <p:spPr bwMode="auto">
          <a:xfrm>
            <a:off x="5555611" y="2282825"/>
            <a:ext cx="1199813" cy="677108"/>
          </a:xfrm>
          <a:prstGeom prst="rect">
            <a:avLst/>
          </a:prstGeom>
          <a:noFill/>
          <a:ln w="12700" algn="ctr">
            <a:noFill/>
            <a:miter lim="800000"/>
            <a:headEnd/>
            <a:tailEnd/>
          </a:ln>
        </p:spPr>
        <p:txBody>
          <a:bodyPr wrap="square" lIns="0" tIns="0" rIns="0" bIns="0">
            <a:spAutoFit/>
          </a:bodyPr>
          <a:lstStyle/>
          <a:p>
            <a:pPr defTabSz="903288"/>
            <a:r>
              <a:rPr lang="en-US" altLang="ja-JP" sz="1100" dirty="0">
                <a:ea typeface="ＭＳ Ｐゴシック" charset="-128"/>
              </a:rPr>
              <a:t>Vision of where we need to be five years from now</a:t>
            </a:r>
          </a:p>
        </p:txBody>
      </p:sp>
      <p:sp>
        <p:nvSpPr>
          <p:cNvPr id="75" name="Arc 76"/>
          <p:cNvSpPr>
            <a:spLocks/>
          </p:cNvSpPr>
          <p:nvPr/>
        </p:nvSpPr>
        <p:spPr bwMode="auto">
          <a:xfrm>
            <a:off x="7477125" y="260826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51" name="Text Placeholder 12"/>
          <p:cNvSpPr>
            <a:spLocks/>
          </p:cNvSpPr>
          <p:nvPr>
            <p:custDataLst>
              <p:tags r:id="rId1"/>
            </p:custDataLst>
          </p:nvPr>
        </p:nvSpPr>
        <p:spPr bwMode="auto">
          <a:xfrm>
            <a:off x="396000" y="1611313"/>
            <a:ext cx="4114800" cy="184666"/>
          </a:xfrm>
          <a:prstGeom prst="rect">
            <a:avLst/>
          </a:prstGeom>
          <a:noFill/>
          <a:ln w="9525">
            <a:noFill/>
            <a:miter lim="800000"/>
            <a:headEnd/>
            <a:tailEnd/>
          </a:ln>
        </p:spPr>
        <p:txBody>
          <a:bodyPr wrap="square" lIns="0" tIns="0" rIns="0" bIns="0">
            <a:noAutofit/>
          </a:bodyPr>
          <a:lstStyle/>
          <a:p>
            <a:pPr defTabSz="1019175">
              <a:spcAft>
                <a:spcPts val="300"/>
              </a:spcAft>
            </a:pPr>
            <a:r>
              <a:rPr lang="en-US" sz="1200" dirty="0"/>
              <a:t>Incremental planning process</a:t>
            </a:r>
          </a:p>
        </p:txBody>
      </p:sp>
      <p:sp>
        <p:nvSpPr>
          <p:cNvPr id="768052" name="Text Placeholder 12"/>
          <p:cNvSpPr>
            <a:spLocks/>
          </p:cNvSpPr>
          <p:nvPr>
            <p:custDataLst>
              <p:tags r:id="rId2"/>
            </p:custDataLst>
          </p:nvPr>
        </p:nvSpPr>
        <p:spPr bwMode="auto">
          <a:xfrm>
            <a:off x="4660899" y="1611312"/>
            <a:ext cx="4114800" cy="184666"/>
          </a:xfrm>
          <a:prstGeom prst="rect">
            <a:avLst/>
          </a:prstGeom>
          <a:noFill/>
          <a:ln w="9525">
            <a:noFill/>
            <a:miter lim="800000"/>
            <a:headEnd/>
            <a:tailEnd/>
          </a:ln>
        </p:spPr>
        <p:txBody>
          <a:bodyPr wrap="square" lIns="0" tIns="0" rIns="0" bIns="0">
            <a:noAutofit/>
          </a:bodyPr>
          <a:lstStyle/>
          <a:p>
            <a:pPr defTabSz="903288"/>
            <a:r>
              <a:rPr lang="en-US" altLang="ja-JP" sz="1200" dirty="0">
                <a:ea typeface="ＭＳ Ｐゴシック" charset="-128"/>
              </a:rPr>
              <a:t>Dynamic strategic planning process</a:t>
            </a:r>
          </a:p>
        </p:txBody>
      </p:sp>
      <p:sp>
        <p:nvSpPr>
          <p:cNvPr id="79" name="Arc 27"/>
          <p:cNvSpPr>
            <a:spLocks/>
          </p:cNvSpPr>
          <p:nvPr/>
        </p:nvSpPr>
        <p:spPr bwMode="auto">
          <a:xfrm>
            <a:off x="1627993" y="3967511"/>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83" name="Rectangle 9"/>
          <p:cNvSpPr>
            <a:spLocks noChangeArrowheads="1"/>
          </p:cNvSpPr>
          <p:nvPr/>
        </p:nvSpPr>
        <p:spPr bwMode="auto">
          <a:xfrm>
            <a:off x="6803309" y="4631912"/>
            <a:ext cx="346250"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84" name="Rectangle 10"/>
          <p:cNvSpPr>
            <a:spLocks noChangeArrowheads="1"/>
          </p:cNvSpPr>
          <p:nvPr/>
        </p:nvSpPr>
        <p:spPr bwMode="auto">
          <a:xfrm>
            <a:off x="4960195" y="3320549"/>
            <a:ext cx="317396"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53" name="Freeform 52"/>
          <p:cNvSpPr/>
          <p:nvPr/>
        </p:nvSpPr>
        <p:spPr bwMode="gray">
          <a:xfrm>
            <a:off x="1066800" y="230505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dirty="0">
              <a:solidFill>
                <a:schemeClr val="tx2"/>
              </a:solidFill>
            </a:endParaRPr>
          </a:p>
        </p:txBody>
      </p:sp>
      <p:sp>
        <p:nvSpPr>
          <p:cNvPr id="54" name="Freeform 53"/>
          <p:cNvSpPr/>
          <p:nvPr/>
        </p:nvSpPr>
        <p:spPr bwMode="gray">
          <a:xfrm>
            <a:off x="5376233" y="230505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dirty="0">
              <a:solidFill>
                <a:schemeClr val="tx2"/>
              </a:solidFill>
            </a:endParaRPr>
          </a:p>
        </p:txBody>
      </p:sp>
      <p:sp>
        <p:nvSpPr>
          <p:cNvPr id="55" name="Arc 76"/>
          <p:cNvSpPr>
            <a:spLocks/>
          </p:cNvSpPr>
          <p:nvPr/>
        </p:nvSpPr>
        <p:spPr bwMode="auto">
          <a:xfrm>
            <a:off x="6762750" y="310356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56" name="Arc 76"/>
          <p:cNvSpPr>
            <a:spLocks/>
          </p:cNvSpPr>
          <p:nvPr/>
        </p:nvSpPr>
        <p:spPr bwMode="auto">
          <a:xfrm>
            <a:off x="6067425" y="3608389"/>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2981278" y="2264379"/>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rgbClr val="BBBCBC"/>
            </a:solidFill>
            <a:round/>
            <a:headEnd/>
            <a:tailEnd/>
          </a:ln>
        </p:spPr>
        <p:txBody>
          <a:bodyPr lIns="0" tIns="0" rIns="0" bIns="0">
            <a:noAutofit/>
          </a:bodyPr>
          <a:lstStyle/>
          <a:p>
            <a:pPr>
              <a:defRPr/>
            </a:pPr>
            <a:endParaRPr lang="en-GB" dirty="0">
              <a:latin typeface="Arial" charset="0"/>
              <a:cs typeface="Arial" charset="0"/>
            </a:endParaRPr>
          </a:p>
        </p:txBody>
      </p:sp>
      <p:sp>
        <p:nvSpPr>
          <p:cNvPr id="26" name="Arc 6"/>
          <p:cNvSpPr>
            <a:spLocks/>
          </p:cNvSpPr>
          <p:nvPr/>
        </p:nvSpPr>
        <p:spPr bwMode="blackWhite">
          <a:xfrm>
            <a:off x="2230881" y="1613241"/>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6350" cap="rnd">
            <a:solidFill>
              <a:srgbClr val="BBBCBC"/>
            </a:solidFill>
            <a:round/>
            <a:headEnd type="triangle" w="lg" len="lg"/>
            <a:tailEnd type="none" w="sm" len="sm"/>
          </a:ln>
        </p:spPr>
        <p:txBody>
          <a:bodyPr lIns="0" tIns="0" rIns="0" bIns="0">
            <a:noAutofit/>
          </a:bodyPr>
          <a:lstStyle/>
          <a:p>
            <a:pPr algn="ctr">
              <a:defRPr/>
            </a:pPr>
            <a:endParaRPr lang="en-GB"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3265117" y="4718510"/>
            <a:ext cx="457200" cy="457200"/>
          </a:xfrm>
          <a:prstGeom prst="ellipse">
            <a:avLst/>
          </a:prstGeom>
          <a:solidFill>
            <a:schemeClr val="accent6">
              <a:lumMod val="40000"/>
              <a:lumOff val="60000"/>
            </a:schemeClr>
          </a:solidFill>
          <a:ln w="12700">
            <a:noFill/>
            <a:round/>
            <a:headEnd/>
            <a:tailEnd/>
          </a:ln>
        </p:spPr>
        <p:txBody>
          <a:bodyPr lIns="88900" tIns="88900" rIns="88900" bIns="88900" anchor="ctr" anchorCtr="0"/>
          <a:lstStyle/>
          <a:p>
            <a:pPr algn="ctr">
              <a:defRPr/>
            </a:pPr>
            <a:r>
              <a:rPr lang="en-US" sz="1400" dirty="0">
                <a:cs typeface="Arial" charset="0"/>
              </a:rPr>
              <a:t>3</a:t>
            </a:r>
          </a:p>
        </p:txBody>
      </p:sp>
      <p:sp>
        <p:nvSpPr>
          <p:cNvPr id="19" name="Rectangle 7"/>
          <p:cNvSpPr>
            <a:spLocks noChangeArrowheads="1"/>
          </p:cNvSpPr>
          <p:nvPr/>
        </p:nvSpPr>
        <p:spPr bwMode="blackWhite">
          <a:xfrm>
            <a:off x="3394244" y="3724051"/>
            <a:ext cx="23024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820738">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4327968" y="2052026"/>
            <a:ext cx="457200" cy="457200"/>
          </a:xfrm>
          <a:prstGeom prst="ellipse">
            <a:avLst/>
          </a:prstGeom>
          <a:solidFill>
            <a:schemeClr val="accent1"/>
          </a:solidFill>
          <a:ln w="12700">
            <a:noFill/>
            <a:round/>
            <a:headEnd/>
            <a:tailEnd/>
          </a:ln>
        </p:spPr>
        <p:txBody>
          <a:bodyPr lIns="88900" tIns="88900" rIns="88900" bIns="88900" anchor="ctr" anchorCtr="0"/>
          <a:lstStyle/>
          <a:p>
            <a:pPr algn="ctr">
              <a:defRPr/>
            </a:pPr>
            <a:r>
              <a:rPr lang="en-US" sz="1400" dirty="0">
                <a:cs typeface="Arial" charset="0"/>
              </a:rPr>
              <a:t>1</a:t>
            </a:r>
          </a:p>
        </p:txBody>
      </p:sp>
      <p:sp>
        <p:nvSpPr>
          <p:cNvPr id="21" name="Oval 8"/>
          <p:cNvSpPr>
            <a:spLocks noChangeArrowheads="1"/>
          </p:cNvSpPr>
          <p:nvPr/>
        </p:nvSpPr>
        <p:spPr bwMode="blackWhite">
          <a:xfrm>
            <a:off x="2775393" y="3072789"/>
            <a:ext cx="457200" cy="457200"/>
          </a:xfrm>
          <a:prstGeom prst="ellipse">
            <a:avLst/>
          </a:prstGeom>
          <a:solidFill>
            <a:schemeClr val="accent6"/>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2</a:t>
            </a:r>
          </a:p>
        </p:txBody>
      </p:sp>
      <p:sp>
        <p:nvSpPr>
          <p:cNvPr id="22" name="Oval 8"/>
          <p:cNvSpPr>
            <a:spLocks noChangeArrowheads="1"/>
          </p:cNvSpPr>
          <p:nvPr/>
        </p:nvSpPr>
        <p:spPr bwMode="blackWhite">
          <a:xfrm>
            <a:off x="5454795" y="4718510"/>
            <a:ext cx="457200" cy="457200"/>
          </a:xfrm>
          <a:prstGeom prst="ellipse">
            <a:avLst/>
          </a:prstGeom>
          <a:solidFill>
            <a:schemeClr val="tx1">
              <a:lumMod val="65000"/>
              <a:lumOff val="3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4</a:t>
            </a:r>
          </a:p>
        </p:txBody>
      </p:sp>
      <p:sp>
        <p:nvSpPr>
          <p:cNvPr id="23" name="Oval 8"/>
          <p:cNvSpPr>
            <a:spLocks noChangeArrowheads="1"/>
          </p:cNvSpPr>
          <p:nvPr/>
        </p:nvSpPr>
        <p:spPr bwMode="blackWhite">
          <a:xfrm>
            <a:off x="5934518" y="3072789"/>
            <a:ext cx="457200" cy="457200"/>
          </a:xfrm>
          <a:prstGeom prst="ellipse">
            <a:avLst/>
          </a:prstGeom>
          <a:solidFill>
            <a:schemeClr val="bg2">
              <a:lumMod val="75000"/>
            </a:schemeClr>
          </a:solidFill>
          <a:ln w="12700">
            <a:noFill/>
            <a:round/>
            <a:headEnd/>
            <a:tailEnd/>
          </a:ln>
        </p:spPr>
        <p:txBody>
          <a:bodyPr lIns="88900" tIns="88900" rIns="88900" bIns="88900" anchor="ctr" anchorCtr="0"/>
          <a:lstStyle/>
          <a:p>
            <a:pPr algn="ctr">
              <a:defRPr/>
            </a:pPr>
            <a:r>
              <a:rPr lang="en-US" sz="1400" dirty="0">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2651760" y="2020303"/>
            <a:ext cx="3840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dirty="0">
              <a:solidFill>
                <a:schemeClr val="tx2"/>
              </a:solidFill>
            </a:endParaRPr>
          </a:p>
        </p:txBody>
      </p:sp>
      <p:sp>
        <p:nvSpPr>
          <p:cNvPr id="16" name="Rectangle 4"/>
          <p:cNvSpPr>
            <a:spLocks noChangeArrowheads="1"/>
          </p:cNvSpPr>
          <p:nvPr/>
        </p:nvSpPr>
        <p:spPr bwMode="auto">
          <a:xfrm>
            <a:off x="1637379" y="5243513"/>
            <a:ext cx="2377440"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5088604" y="5243513"/>
            <a:ext cx="2377440" cy="365760"/>
          </a:xfrm>
          <a:prstGeom prst="rect">
            <a:avLst/>
          </a:prstGeom>
          <a:solidFill>
            <a:schemeClr val="bg2">
              <a:lumMod val="50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8" name="Line 6"/>
          <p:cNvSpPr>
            <a:spLocks noChangeAspect="1" noChangeShapeType="1"/>
          </p:cNvSpPr>
          <p:nvPr/>
        </p:nvSpPr>
        <p:spPr bwMode="auto">
          <a:xfrm>
            <a:off x="4572000" y="2038021"/>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dirty="0">
              <a:solidFill>
                <a:schemeClr val="tx2"/>
              </a:solidFill>
            </a:endParaRPr>
          </a:p>
        </p:txBody>
      </p:sp>
      <p:sp>
        <p:nvSpPr>
          <p:cNvPr id="19" name="Line 7"/>
          <p:cNvSpPr>
            <a:spLocks noChangeShapeType="1"/>
          </p:cNvSpPr>
          <p:nvPr/>
        </p:nvSpPr>
        <p:spPr bwMode="auto">
          <a:xfrm flipH="1">
            <a:off x="3190584"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0" name="Line 8"/>
          <p:cNvSpPr>
            <a:spLocks noChangeAspect="1" noChangeShapeType="1"/>
          </p:cNvSpPr>
          <p:nvPr/>
        </p:nvSpPr>
        <p:spPr bwMode="auto">
          <a:xfrm>
            <a:off x="4697750"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1" name="Rectangle 9"/>
          <p:cNvSpPr>
            <a:spLocks noChangeArrowheads="1"/>
          </p:cNvSpPr>
          <p:nvPr/>
        </p:nvSpPr>
        <p:spPr bwMode="auto">
          <a:xfrm>
            <a:off x="3383280" y="1614488"/>
            <a:ext cx="2377440"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
        <p:nvSpPr>
          <p:cNvPr id="22" name="Oval 10"/>
          <p:cNvSpPr>
            <a:spLocks noChangeAspect="1" noChangeArrowheads="1"/>
          </p:cNvSpPr>
          <p:nvPr/>
        </p:nvSpPr>
        <p:spPr bwMode="auto">
          <a:xfrm>
            <a:off x="4485355" y="3802064"/>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a:solidFill>
                  <a:schemeClr val="tx2"/>
                </a:solidFill>
                <a:ea typeface="ＭＳ Ｐゴシック" pitchFamily="50" charset="-128"/>
              </a:rPr>
              <a:t>Text</a:t>
            </a:r>
          </a:p>
        </p:txBody>
      </p:sp>
      <p:sp>
        <p:nvSpPr>
          <p:cNvPr id="23" name="Oval 11"/>
          <p:cNvSpPr>
            <a:spLocks noChangeArrowheads="1"/>
          </p:cNvSpPr>
          <p:nvPr/>
        </p:nvSpPr>
        <p:spPr bwMode="auto">
          <a:xfrm>
            <a:off x="3657600" y="3026143"/>
            <a:ext cx="1828800"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xt boxes</a:t>
            </a:r>
            <a:endParaRPr lang="en-US" dirty="0"/>
          </a:p>
        </p:txBody>
      </p:sp>
      <p:sp>
        <p:nvSpPr>
          <p:cNvPr id="9" name="Text Placeholder 8"/>
          <p:cNvSpPr>
            <a:spLocks noGrp="1"/>
          </p:cNvSpPr>
          <p:nvPr>
            <p:ph type="body" sz="quarter" idx="17"/>
          </p:nvPr>
        </p:nvSpPr>
        <p:spPr/>
        <p:txBody>
          <a:bodyPr/>
          <a:lstStyle/>
          <a:p>
            <a:r>
              <a:rPr lang="en-US"/>
              <a:t>Text box title runs here</a:t>
            </a:r>
          </a:p>
          <a:p>
            <a:pPr lvl="2"/>
            <a:r>
              <a:rPr lang="en-GB"/>
              <a:t>This is dummy text it is not here to be read this is dummy text it is not here to be read</a:t>
            </a:r>
          </a:p>
          <a:p>
            <a:pPr lvl="2"/>
            <a:r>
              <a:rPr lang="en-GB"/>
              <a:t>This is dummy text it is not here to be read</a:t>
            </a:r>
          </a:p>
          <a:p>
            <a:pPr lvl="2"/>
            <a:r>
              <a:rPr lang="en-GB"/>
              <a:t>This is dummy text it is not here to be read </a:t>
            </a:r>
          </a:p>
          <a:p>
            <a:pPr lvl="3"/>
            <a:r>
              <a:rPr lang="en-GB"/>
              <a:t>This is dummy text it is not here to be read</a:t>
            </a:r>
          </a:p>
          <a:p>
            <a:pPr lvl="3"/>
            <a:r>
              <a:rPr lang="en-GB"/>
              <a:t>This is dummy text it is not here to be read</a:t>
            </a:r>
          </a:p>
          <a:p>
            <a:pPr lvl="3"/>
            <a:r>
              <a:rPr lang="en-GB"/>
              <a:t>This is dummy text it is not here to be read</a:t>
            </a:r>
            <a:endParaRPr lang="en-US" dirty="0"/>
          </a:p>
        </p:txBody>
      </p:sp>
      <p:sp>
        <p:nvSpPr>
          <p:cNvPr id="6" name="Text Placeholder 5"/>
          <p:cNvSpPr>
            <a:spLocks noGrp="1"/>
          </p:cNvSpPr>
          <p:nvPr>
            <p:ph type="body" sz="quarter" idx="18"/>
          </p:nvPr>
        </p:nvSpPr>
        <p:spPr/>
        <p:txBody>
          <a:bodyPr/>
          <a:lstStyle/>
          <a:p>
            <a:r>
              <a:rPr lang="en-GB" dirty="0"/>
              <a:t>Text box title runs here</a:t>
            </a:r>
            <a:endParaRPr lang="en-US" dirty="0"/>
          </a:p>
          <a:p>
            <a:pPr lvl="2"/>
            <a:r>
              <a:rPr lang="en-GB" dirty="0"/>
              <a:t>This is dummy text it is not here to be read this is dummy text it is not here to be read</a:t>
            </a:r>
          </a:p>
          <a:p>
            <a:pPr lvl="2"/>
            <a:r>
              <a:rPr lang="en-GB" dirty="0"/>
              <a:t>This is dummy text it is not here to be read</a:t>
            </a:r>
          </a:p>
          <a:p>
            <a:pPr lvl="2"/>
            <a:r>
              <a:rPr lang="en-GB" dirty="0"/>
              <a:t>This is dummy text it is not here to be read </a:t>
            </a:r>
          </a:p>
          <a:p>
            <a:pPr lvl="3"/>
            <a:r>
              <a:rPr lang="en-GB" dirty="0"/>
              <a:t>This is dummy text it is not here to be read</a:t>
            </a:r>
          </a:p>
          <a:p>
            <a:pPr lvl="3"/>
            <a:r>
              <a:rPr lang="en-GB" dirty="0"/>
              <a:t>This is dummy text it is not here to be read</a:t>
            </a:r>
          </a:p>
          <a:p>
            <a:pPr lvl="3"/>
            <a:r>
              <a:rPr lang="en-GB" dirty="0"/>
              <a:t>This is dummy text it is not here to be read</a:t>
            </a:r>
          </a:p>
          <a:p>
            <a:endParaRPr lang="en-US" dirty="0"/>
          </a:p>
          <a:p>
            <a:endParaRPr lang="en-GB" dirty="0"/>
          </a:p>
        </p:txBody>
      </p:sp>
      <p:sp>
        <p:nvSpPr>
          <p:cNvPr id="2" name="Text Placeholder 1"/>
          <p:cNvSpPr>
            <a:spLocks noGrp="1"/>
          </p:cNvSpPr>
          <p:nvPr>
            <p:ph type="body" sz="quarter" idx="19"/>
          </p:nvPr>
        </p:nvSpPr>
        <p:spPr/>
        <p:txBody>
          <a:bodyPr/>
          <a:lstStyle/>
          <a:p>
            <a:r>
              <a:rPr lang="en-US"/>
              <a:t>Text box title runs here</a:t>
            </a:r>
          </a:p>
          <a:p>
            <a:pPr lvl="2"/>
            <a:r>
              <a:rPr lang="en-GB"/>
              <a:t>This is dummy text it is not here to be read this is dummy text it is not here to be read</a:t>
            </a:r>
          </a:p>
          <a:p>
            <a:pPr lvl="2"/>
            <a:r>
              <a:rPr lang="en-GB"/>
              <a:t>This is dummy text it is not here to be read</a:t>
            </a:r>
          </a:p>
          <a:p>
            <a:pPr lvl="2"/>
            <a:r>
              <a:rPr lang="en-GB"/>
              <a:t>This is dummy text it is not here to be read </a:t>
            </a:r>
          </a:p>
          <a:p>
            <a:pPr lvl="3"/>
            <a:r>
              <a:rPr lang="en-GB"/>
              <a:t>This is dummy text it is not here to be read</a:t>
            </a:r>
          </a:p>
          <a:p>
            <a:pPr lvl="3"/>
            <a:r>
              <a:rPr lang="en-GB"/>
              <a:t>This is dummy text it is not here to be read</a:t>
            </a:r>
          </a:p>
          <a:p>
            <a:pPr lvl="3"/>
            <a:r>
              <a:rPr lang="en-GB"/>
              <a:t>This is dummy text it is not here to be read</a:t>
            </a:r>
          </a:p>
          <a:p>
            <a:endParaRPr lang="en-US" dirty="0"/>
          </a:p>
        </p:txBody>
      </p:sp>
      <p:sp>
        <p:nvSpPr>
          <p:cNvPr id="8" name="Text Placeholder 7"/>
          <p:cNvSpPr>
            <a:spLocks noGrp="1"/>
          </p:cNvSpPr>
          <p:nvPr>
            <p:ph type="body" sz="quarter" idx="13"/>
          </p:nvPr>
        </p:nvSpPr>
        <p:spPr/>
        <p:txBody>
          <a:bodyPr/>
          <a:lstStyle/>
          <a:p>
            <a:r>
              <a:rPr lang="en-US"/>
              <a:t>Three columns</a:t>
            </a:r>
            <a:endParaRPr lang="en-US" dirty="0"/>
          </a:p>
        </p:txBody>
      </p:sp>
    </p:spTree>
    <p:extLst>
      <p:ext uri="{BB962C8B-B14F-4D97-AF65-F5344CB8AC3E}">
        <p14:creationId xmlns:p14="http://schemas.microsoft.com/office/powerpoint/2010/main" val="3046551406"/>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4570413" y="2262188"/>
            <a:ext cx="1384300"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0" name="Line 28"/>
          <p:cNvSpPr>
            <a:spLocks noChangeShapeType="1"/>
          </p:cNvSpPr>
          <p:nvPr/>
        </p:nvSpPr>
        <p:spPr bwMode="blackWhite">
          <a:xfrm flipH="1">
            <a:off x="3157538" y="2262188"/>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1" name="Line 29"/>
          <p:cNvSpPr>
            <a:spLocks noChangeShapeType="1"/>
          </p:cNvSpPr>
          <p:nvPr/>
        </p:nvSpPr>
        <p:spPr bwMode="blackWhite">
          <a:xfrm>
            <a:off x="3146426" y="3168651"/>
            <a:ext cx="1382712"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2" name="Line 30"/>
          <p:cNvSpPr>
            <a:spLocks noChangeShapeType="1"/>
          </p:cNvSpPr>
          <p:nvPr/>
        </p:nvSpPr>
        <p:spPr bwMode="blackWhite">
          <a:xfrm flipH="1">
            <a:off x="4595813" y="3168651"/>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3" name="Line 31"/>
          <p:cNvSpPr>
            <a:spLocks noChangeShapeType="1"/>
          </p:cNvSpPr>
          <p:nvPr/>
        </p:nvSpPr>
        <p:spPr bwMode="blackWhite">
          <a:xfrm>
            <a:off x="6015356" y="3135313"/>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4" name="Line 32"/>
          <p:cNvSpPr>
            <a:spLocks noChangeShapeType="1"/>
          </p:cNvSpPr>
          <p:nvPr/>
        </p:nvSpPr>
        <p:spPr bwMode="blackWhite">
          <a:xfrm>
            <a:off x="3146743" y="3135313"/>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5" name="Line 33"/>
          <p:cNvSpPr>
            <a:spLocks noChangeShapeType="1"/>
          </p:cNvSpPr>
          <p:nvPr/>
        </p:nvSpPr>
        <p:spPr bwMode="blackWhite">
          <a:xfrm rot="16200000" flipH="1" flipV="1">
            <a:off x="3410744" y="1978820"/>
            <a:ext cx="865187" cy="1390650"/>
          </a:xfrm>
          <a:prstGeom prst="line">
            <a:avLst/>
          </a:prstGeom>
          <a:noFill/>
          <a:ln w="6350">
            <a:solidFill>
              <a:srgbClr val="BBBCBC"/>
            </a:solidFill>
            <a:round/>
            <a:headEnd/>
            <a:tailEnd/>
          </a:ln>
        </p:spPr>
        <p:txBody>
          <a:bodyPr wrap="square" lIns="36000" tIns="36000" rIns="36000" bIns="3600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4829176" y="1979613"/>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7" name="Line 35"/>
          <p:cNvSpPr>
            <a:spLocks noChangeShapeType="1"/>
          </p:cNvSpPr>
          <p:nvPr/>
        </p:nvSpPr>
        <p:spPr bwMode="blackWhite">
          <a:xfrm rot="5400000" flipH="1">
            <a:off x="3410744" y="4553745"/>
            <a:ext cx="865187" cy="139065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8" name="Line 36"/>
          <p:cNvSpPr>
            <a:spLocks noChangeShapeType="1"/>
          </p:cNvSpPr>
          <p:nvPr/>
        </p:nvSpPr>
        <p:spPr bwMode="blackWhite">
          <a:xfrm rot="16200000">
            <a:off x="4829176" y="4554538"/>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9" name="Line 37"/>
          <p:cNvSpPr>
            <a:spLocks noChangeShapeType="1"/>
          </p:cNvSpPr>
          <p:nvPr/>
        </p:nvSpPr>
        <p:spPr bwMode="blackWhite">
          <a:xfrm rot="16200000">
            <a:off x="3721894" y="2551907"/>
            <a:ext cx="1681163" cy="28098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0" name="Line 38"/>
          <p:cNvSpPr>
            <a:spLocks noChangeShapeType="1"/>
          </p:cNvSpPr>
          <p:nvPr/>
        </p:nvSpPr>
        <p:spPr bwMode="blackWhite">
          <a:xfrm rot="5400000" flipH="1">
            <a:off x="3707607" y="2518569"/>
            <a:ext cx="1690688" cy="28860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1" name="Line 39"/>
          <p:cNvSpPr>
            <a:spLocks noChangeShapeType="1"/>
          </p:cNvSpPr>
          <p:nvPr/>
        </p:nvSpPr>
        <p:spPr bwMode="blackWhite">
          <a:xfrm>
            <a:off x="4580256" y="2687638"/>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2" name="Oval 40"/>
          <p:cNvSpPr>
            <a:spLocks noChangeArrowheads="1"/>
          </p:cNvSpPr>
          <p:nvPr/>
        </p:nvSpPr>
        <p:spPr bwMode="auto">
          <a:xfrm>
            <a:off x="2506663" y="2500313"/>
            <a:ext cx="1280160" cy="1280160"/>
          </a:xfrm>
          <a:prstGeom prst="ellipse">
            <a:avLst/>
          </a:prstGeom>
          <a:solidFill>
            <a:schemeClr val="bg2">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5375276" y="2500313"/>
            <a:ext cx="1280160" cy="1280160"/>
          </a:xfrm>
          <a:prstGeom prst="ellipse">
            <a:avLst/>
          </a:prstGeom>
          <a:solidFill>
            <a:schemeClr val="bg1">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5375276" y="4175126"/>
            <a:ext cx="1280160" cy="1280160"/>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2506663" y="4175126"/>
            <a:ext cx="1280160" cy="1280160"/>
          </a:xfrm>
          <a:prstGeom prst="ellipse">
            <a:avLst/>
          </a:prstGeom>
          <a:solidFill>
            <a:schemeClr val="accent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kills</a:t>
            </a:r>
          </a:p>
        </p:txBody>
      </p:sp>
      <p:sp>
        <p:nvSpPr>
          <p:cNvPr id="66" name="Oval 44"/>
          <p:cNvSpPr>
            <a:spLocks noChangeArrowheads="1"/>
          </p:cNvSpPr>
          <p:nvPr/>
        </p:nvSpPr>
        <p:spPr bwMode="auto">
          <a:xfrm>
            <a:off x="3940176" y="3314701"/>
            <a:ext cx="1280160" cy="1280160"/>
          </a:xfrm>
          <a:prstGeom prst="ellipse">
            <a:avLst/>
          </a:prstGeom>
          <a:solidFill>
            <a:schemeClr val="accent3"/>
          </a:solidFill>
          <a:ln w="12700">
            <a:solidFill>
              <a:schemeClr val="bg1"/>
            </a:solid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3940176" y="5062538"/>
            <a:ext cx="1280160" cy="1280160"/>
          </a:xfrm>
          <a:prstGeom prst="ellipse">
            <a:avLst/>
          </a:prstGeom>
          <a:solidFill>
            <a:schemeClr val="bg2">
              <a:lumMod val="50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3940176" y="1614488"/>
            <a:ext cx="1280160" cy="1280160"/>
          </a:xfrm>
          <a:prstGeom prst="ellipse">
            <a:avLst/>
          </a:prstGeom>
          <a:solidFill>
            <a:schemeClr val="bg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4577557" y="4009232"/>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70" name="Line 48"/>
          <p:cNvSpPr>
            <a:spLocks noChangeShapeType="1"/>
          </p:cNvSpPr>
          <p:nvPr/>
        </p:nvSpPr>
        <p:spPr bwMode="blackWhite">
          <a:xfrm rot="16200000">
            <a:off x="4580732" y="2286794"/>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3932441" y="1618900"/>
            <a:ext cx="1280160"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eaLnBrk="1" hangingPunct="1">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1995632" y="4204382"/>
            <a:ext cx="1280160"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eaLnBrk="1" hangingPunct="1">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3930792" y="3342783"/>
            <a:ext cx="1280160" cy="1280160"/>
          </a:xfrm>
          <a:prstGeom prst="ellipse">
            <a:avLst/>
          </a:prstGeom>
          <a:solidFill>
            <a:schemeClr val="accent3"/>
          </a:solidFill>
          <a:ln w="12700">
            <a:noFill/>
            <a:round/>
            <a:headEnd/>
            <a:tailEnd/>
          </a:ln>
        </p:spPr>
        <p:txBody>
          <a:bodyPr wrap="none" lIns="88900" tIns="88900" rIns="88900" bIns="88900" anchor="ctr"/>
          <a:lstStyle/>
          <a:p>
            <a:pPr algn="ctr" defTabSz="820738" eaLnBrk="1" hangingPunct="1">
              <a:spcBef>
                <a:spcPct val="20000"/>
              </a:spcBef>
              <a:spcAft>
                <a:spcPct val="37000"/>
              </a:spcAft>
              <a:defRPr/>
            </a:pPr>
            <a:r>
              <a:rPr lang="en-GB" sz="1400" dirty="0">
                <a:ea typeface="ＭＳ Ｐゴシック" pitchFamily="50" charset="-128"/>
                <a:cs typeface="Arial" pitchFamily="34" charset="0"/>
              </a:rPr>
              <a:t>Distributors</a:t>
            </a:r>
          </a:p>
        </p:txBody>
      </p:sp>
      <p:sp>
        <p:nvSpPr>
          <p:cNvPr id="22" name="Oval 21"/>
          <p:cNvSpPr>
            <a:spLocks noChangeArrowheads="1"/>
          </p:cNvSpPr>
          <p:nvPr/>
        </p:nvSpPr>
        <p:spPr bwMode="blackWhite">
          <a:xfrm>
            <a:off x="5905514" y="4204382"/>
            <a:ext cx="1280160"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eaLnBrk="1" hangingPunct="1">
              <a:spcBef>
                <a:spcPct val="20000"/>
              </a:spcBef>
              <a:spcAft>
                <a:spcPct val="37000"/>
              </a:spcAft>
              <a:defRPr/>
            </a:pPr>
            <a:r>
              <a:rPr lang="en-GB" sz="1400" dirty="0">
                <a:solidFill>
                  <a:schemeClr val="bg1"/>
                </a:solidFill>
                <a:ea typeface="ＭＳ Ｐゴシック" pitchFamily="50" charset="-128"/>
                <a:cs typeface="Arial" pitchFamily="34" charset="0"/>
              </a:rPr>
              <a:t>Competitors</a:t>
            </a:r>
          </a:p>
        </p:txBody>
      </p:sp>
      <p:sp>
        <p:nvSpPr>
          <p:cNvPr id="23" name="Oval 22"/>
          <p:cNvSpPr>
            <a:spLocks noChangeArrowheads="1"/>
          </p:cNvSpPr>
          <p:nvPr/>
        </p:nvSpPr>
        <p:spPr bwMode="blackWhite">
          <a:xfrm>
            <a:off x="3930792" y="5066665"/>
            <a:ext cx="1280160"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eaLnBrk="1" hangingPunct="1">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5025126" y="2711585"/>
            <a:ext cx="1520468"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2635712" y="2711585"/>
            <a:ext cx="148420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4570872" y="2899060"/>
            <a:ext cx="1649"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3088317" y="3982863"/>
            <a:ext cx="842475"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5210952" y="3982863"/>
            <a:ext cx="88203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3275792" y="4844462"/>
            <a:ext cx="2629722"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3088317" y="5297067"/>
            <a:ext cx="84247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5210952" y="5160849"/>
            <a:ext cx="776980"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3546959"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3599718" y="4928821"/>
            <a:ext cx="1920240" cy="1097280"/>
          </a:xfrm>
          <a:prstGeom prst="ellipse">
            <a:avLst/>
          </a:prstGeom>
          <a:solidFill>
            <a:schemeClr val="bg2"/>
          </a:solidFill>
          <a:ln w="12700">
            <a:noFill/>
            <a:round/>
            <a:headEnd/>
            <a:tailEnd/>
          </a:ln>
        </p:spPr>
        <p:txBody>
          <a:bodyPr lIns="88900" tIns="88900" rIns="88900" bIns="88900" anchor="ctr">
            <a:noAutofit/>
          </a:bodyPr>
          <a:lstStyle/>
          <a:p>
            <a:pPr algn="ctr" defTabSz="820738">
              <a:defRPr/>
            </a:pPr>
            <a:r>
              <a:rPr lang="en-US" sz="1200" dirty="0">
                <a:ea typeface="ＭＳ Ｐゴシック" pitchFamily="50" charset="-128"/>
              </a:rPr>
              <a:t>Grow</a:t>
            </a:r>
          </a:p>
          <a:p>
            <a:pPr algn="ctr" defTabSz="820738">
              <a:defRPr/>
            </a:pPr>
            <a:r>
              <a:rPr lang="en-US" sz="1200" dirty="0">
                <a:ea typeface="ＭＳ Ｐゴシック" pitchFamily="50" charset="-128"/>
              </a:rPr>
              <a:t>through</a:t>
            </a:r>
          </a:p>
          <a:p>
            <a:pPr algn="ctr" defTabSz="820738">
              <a:defRPr/>
            </a:pPr>
            <a:r>
              <a:rPr lang="en-US" sz="1200" dirty="0">
                <a:ea typeface="ＭＳ Ｐゴシック" pitchFamily="50" charset="-128"/>
              </a:rPr>
              <a:t>cultural</a:t>
            </a:r>
          </a:p>
          <a:p>
            <a:pPr algn="ctr" defTabSz="820738">
              <a:defRPr/>
            </a:pPr>
            <a:r>
              <a:rPr lang="en-US" sz="1200" dirty="0">
                <a:ea typeface="ＭＳ Ｐゴシック" pitchFamily="50" charset="-128"/>
              </a:rPr>
              <a:t>initiative</a:t>
            </a:r>
          </a:p>
        </p:txBody>
      </p:sp>
      <p:sp>
        <p:nvSpPr>
          <p:cNvPr id="10" name="Oval 9"/>
          <p:cNvSpPr>
            <a:spLocks noChangeArrowheads="1"/>
          </p:cNvSpPr>
          <p:nvPr/>
        </p:nvSpPr>
        <p:spPr bwMode="blackWhite">
          <a:xfrm>
            <a:off x="5291505" y="1623646"/>
            <a:ext cx="1920240" cy="1097280"/>
          </a:xfrm>
          <a:prstGeom prst="ellipse">
            <a:avLst/>
          </a:prstGeom>
          <a:solidFill>
            <a:schemeClr val="bg2"/>
          </a:solidFill>
          <a:ln w="12700">
            <a:noFill/>
            <a:round/>
            <a:headEnd/>
            <a:tailEnd/>
          </a:ln>
        </p:spPr>
        <p:txBody>
          <a:bodyPr lIns="88900" tIns="88900" rIns="88900" bIns="88900" anchor="ctr">
            <a:noAutofit/>
          </a:bodyPr>
          <a:lstStyle/>
          <a:p>
            <a:pPr algn="ctr" defTabSz="820738">
              <a:defRPr/>
            </a:pPr>
            <a:r>
              <a:rPr lang="en-US" sz="1200" dirty="0">
                <a:ea typeface="ＭＳ Ｐゴシック" pitchFamily="50" charset="-128"/>
              </a:rPr>
              <a:t>Redeploy</a:t>
            </a:r>
          </a:p>
          <a:p>
            <a:pPr algn="ctr" defTabSz="820738">
              <a:defRPr/>
            </a:pPr>
            <a:r>
              <a:rPr lang="en-US" sz="1200" dirty="0">
                <a:ea typeface="ＭＳ Ｐゴシック" pitchFamily="50" charset="-128"/>
              </a:rPr>
              <a:t>assets</a:t>
            </a:r>
          </a:p>
        </p:txBody>
      </p:sp>
      <p:sp>
        <p:nvSpPr>
          <p:cNvPr id="11" name="Oval 10"/>
          <p:cNvSpPr>
            <a:spLocks noChangeArrowheads="1"/>
          </p:cNvSpPr>
          <p:nvPr/>
        </p:nvSpPr>
        <p:spPr bwMode="blackWhite">
          <a:xfrm>
            <a:off x="1907932" y="1623646"/>
            <a:ext cx="1920240" cy="1097280"/>
          </a:xfrm>
          <a:prstGeom prst="ellipse">
            <a:avLst/>
          </a:prstGeom>
          <a:solidFill>
            <a:schemeClr val="bg2"/>
          </a:solidFill>
          <a:ln w="12700">
            <a:noFill/>
            <a:round/>
            <a:headEnd/>
            <a:tailEnd/>
          </a:ln>
        </p:spPr>
        <p:txBody>
          <a:bodyPr lIns="88900" tIns="88900" rIns="88900" bIns="88900" anchor="ctr">
            <a:noAutofit/>
          </a:bodyPr>
          <a:lstStyle/>
          <a:p>
            <a:pPr algn="ctr" defTabSz="820738">
              <a:defRPr/>
            </a:pPr>
            <a:r>
              <a:rPr lang="en-US" sz="1200" dirty="0">
                <a:ea typeface="ＭＳ Ｐゴシック" pitchFamily="50" charset="-128"/>
              </a:rPr>
              <a:t>Improve core</a:t>
            </a:r>
          </a:p>
          <a:p>
            <a:pPr algn="ctr" defTabSz="820738">
              <a:defRPr/>
            </a:pPr>
            <a:r>
              <a:rPr lang="en-US" sz="1200" dirty="0">
                <a:ea typeface="ＭＳ Ｐゴシック" pitchFamily="50" charset="-128"/>
              </a:rPr>
              <a:t>business</a:t>
            </a:r>
          </a:p>
          <a:p>
            <a:pPr algn="ctr" defTabSz="820738">
              <a:defRPr/>
            </a:pPr>
            <a:r>
              <a:rPr lang="en-US" sz="1200" dirty="0">
                <a:ea typeface="ＭＳ Ｐゴシック" pitchFamily="50" charset="-128"/>
              </a:rPr>
              <a:t>performance</a:t>
            </a:r>
          </a:p>
        </p:txBody>
      </p:sp>
      <p:sp>
        <p:nvSpPr>
          <p:cNvPr id="12" name="Oval 11"/>
          <p:cNvSpPr>
            <a:spLocks noChangeArrowheads="1"/>
          </p:cNvSpPr>
          <p:nvPr/>
        </p:nvSpPr>
        <p:spPr bwMode="blackWhite">
          <a:xfrm>
            <a:off x="5291505" y="4017958"/>
            <a:ext cx="1920240" cy="1097280"/>
          </a:xfrm>
          <a:prstGeom prst="ellipse">
            <a:avLst/>
          </a:prstGeom>
          <a:solidFill>
            <a:schemeClr val="bg2"/>
          </a:solidFill>
          <a:ln w="12700">
            <a:noFill/>
            <a:round/>
            <a:headEnd/>
            <a:tailEnd/>
          </a:ln>
        </p:spPr>
        <p:txBody>
          <a:bodyPr lIns="88900" tIns="88900" rIns="88900" bIns="88900" anchor="ctr">
            <a:noAutofit/>
          </a:bodyPr>
          <a:lstStyle/>
          <a:p>
            <a:pPr algn="ctr" defTabSz="820738">
              <a:defRPr/>
            </a:pPr>
            <a:r>
              <a:rPr lang="en-US" sz="1200" dirty="0">
                <a:ea typeface="ＭＳ Ｐゴシック" pitchFamily="50" charset="-128"/>
              </a:rPr>
              <a:t>Grow through</a:t>
            </a:r>
          </a:p>
          <a:p>
            <a:pPr algn="ctr" defTabSz="820738">
              <a:defRPr/>
            </a:pPr>
            <a:r>
              <a:rPr lang="en-US" sz="1200" dirty="0">
                <a:ea typeface="ＭＳ Ｐゴシック" pitchFamily="50" charset="-128"/>
              </a:rPr>
              <a:t>acquisition</a:t>
            </a:r>
          </a:p>
          <a:p>
            <a:pPr algn="ctr" defTabSz="820738">
              <a:defRPr/>
            </a:pPr>
            <a:r>
              <a:rPr lang="en-US" sz="1200" dirty="0">
                <a:ea typeface="ＭＳ Ｐゴシック" pitchFamily="50" charset="-128"/>
              </a:rPr>
              <a:t>and/or merger</a:t>
            </a:r>
          </a:p>
        </p:txBody>
      </p:sp>
      <p:sp>
        <p:nvSpPr>
          <p:cNvPr id="13" name="Oval 12"/>
          <p:cNvSpPr>
            <a:spLocks noChangeArrowheads="1"/>
          </p:cNvSpPr>
          <p:nvPr/>
        </p:nvSpPr>
        <p:spPr bwMode="blackWhite">
          <a:xfrm>
            <a:off x="1907932" y="4017958"/>
            <a:ext cx="1920240" cy="1097280"/>
          </a:xfrm>
          <a:prstGeom prst="ellipse">
            <a:avLst/>
          </a:prstGeom>
          <a:solidFill>
            <a:schemeClr val="bg2"/>
          </a:solidFill>
          <a:ln w="12700">
            <a:noFill/>
            <a:round/>
            <a:headEnd/>
            <a:tailEnd/>
          </a:ln>
        </p:spPr>
        <p:txBody>
          <a:bodyPr lIns="88900" tIns="88900" rIns="88900" bIns="88900" anchor="ctr">
            <a:noAutofit/>
          </a:bodyPr>
          <a:lstStyle/>
          <a:p>
            <a:pPr algn="ctr" defTabSz="820738">
              <a:defRPr/>
            </a:pPr>
            <a:r>
              <a:rPr lang="en-US" sz="1200" dirty="0">
                <a:ea typeface="ＭＳ Ｐゴシック" pitchFamily="50" charset="-128"/>
              </a:rPr>
              <a:t>Adopt sound</a:t>
            </a:r>
          </a:p>
          <a:p>
            <a:pPr algn="ctr" defTabSz="820738">
              <a:defRPr/>
            </a:pPr>
            <a:r>
              <a:rPr lang="en-US" sz="1200" dirty="0">
                <a:ea typeface="ＭＳ Ｐゴシック" pitchFamily="50" charset="-128"/>
              </a:rPr>
              <a:t>financing</a:t>
            </a:r>
          </a:p>
          <a:p>
            <a:pPr algn="ctr" defTabSz="820738">
              <a:defRPr/>
            </a:pPr>
            <a:r>
              <a:rPr lang="en-US" sz="1200" dirty="0">
                <a:ea typeface="ＭＳ Ｐゴシック" pitchFamily="50" charset="-128"/>
              </a:rPr>
              <a:t>approach</a:t>
            </a:r>
          </a:p>
        </p:txBody>
      </p:sp>
      <p:cxnSp>
        <p:nvCxnSpPr>
          <p:cNvPr id="4" name="Straight Connector 3"/>
          <p:cNvCxnSpPr>
            <a:stCxn id="8" idx="4"/>
            <a:endCxn id="9" idx="0"/>
          </p:cNvCxnSpPr>
          <p:nvPr/>
        </p:nvCxnSpPr>
        <p:spPr>
          <a:xfrm>
            <a:off x="4559838" y="3939332"/>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3546959"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3599718" y="2842052"/>
            <a:ext cx="1920240" cy="1097280"/>
          </a:xfrm>
          <a:prstGeom prst="ellipse">
            <a:avLst/>
          </a:prstGeom>
          <a:solidFill>
            <a:schemeClr val="accent1"/>
          </a:solidFill>
          <a:ln w="12700">
            <a:noFill/>
            <a:round/>
            <a:headEnd/>
            <a:tailEnd/>
          </a:ln>
        </p:spPr>
        <p:txBody>
          <a:bodyPr lIns="88900" tIns="88900" rIns="88900" bIns="88900" anchor="ctr">
            <a:noAutofit/>
          </a:bodyPr>
          <a:lstStyle/>
          <a:p>
            <a:pPr algn="ctr" defTabSz="820738">
              <a:defRPr/>
            </a:pPr>
            <a:r>
              <a:rPr lang="en-US" sz="1400" dirty="0">
                <a:ea typeface="ＭＳ Ｐゴシック" pitchFamily="50" charset="-128"/>
              </a:rPr>
              <a:t>Maximize</a:t>
            </a:r>
          </a:p>
          <a:p>
            <a:pPr algn="ctr" defTabSz="820738">
              <a:defRPr/>
            </a:pPr>
            <a:r>
              <a:rPr lang="en-US" sz="1400" dirty="0">
                <a:ea typeface="ＭＳ Ｐゴシック" pitchFamily="50" charset="-128"/>
              </a:rPr>
              <a:t>shareholder</a:t>
            </a:r>
          </a:p>
          <a:p>
            <a:pPr algn="ctr" defTabSz="820738">
              <a:defRPr/>
            </a:pPr>
            <a:r>
              <a:rPr lang="en-US" sz="1400" dirty="0">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5169" name="Title 1"/>
          <p:cNvSpPr>
            <a:spLocks noGrp="1"/>
          </p:cNvSpPr>
          <p:nvPr>
            <p:ph type="title"/>
          </p:nvPr>
        </p:nvSpPr>
        <p:spPr/>
        <p:txBody>
          <a:bodyPr/>
          <a:lstStyle/>
          <a:p>
            <a:r>
              <a:rPr lang="en-US" altLang="ja-JP"/>
              <a:t>Portfolio matrix</a:t>
            </a:r>
            <a:endParaRPr lang="en-US" dirty="0"/>
          </a:p>
        </p:txBody>
      </p:sp>
      <p:sp>
        <p:nvSpPr>
          <p:cNvPr id="3" name="Text Placeholder 2"/>
          <p:cNvSpPr>
            <a:spLocks noGrp="1"/>
          </p:cNvSpPr>
          <p:nvPr>
            <p:ph type="body" sz="quarter"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sp>
        <p:nvSpPr>
          <p:cNvPr id="24" name="Text Placeholder 3"/>
          <p:cNvSpPr txBox="1">
            <a:spLocks/>
          </p:cNvSpPr>
          <p:nvPr/>
        </p:nvSpPr>
        <p:spPr>
          <a:xfrm>
            <a:off x="376238" y="1818421"/>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638" marR="0" lvl="0" indent="-27463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GB" sz="1800" b="0" i="0" u="none" strike="noStrike" kern="1200" cap="none" spc="0" normalizeH="0" baseline="0" noProof="0" dirty="0">
              <a:ln>
                <a:noFill/>
              </a:ln>
              <a:solidFill>
                <a:srgbClr val="313131"/>
              </a:solidFill>
              <a:effectLst/>
              <a:uLnTx/>
              <a:uFillTx/>
              <a:latin typeface="Arial"/>
            </a:endParaRPr>
          </a:p>
        </p:txBody>
      </p:sp>
      <p:sp>
        <p:nvSpPr>
          <p:cNvPr id="30" name="Rectangle 3"/>
          <p:cNvSpPr>
            <a:spLocks noChangeArrowheads="1"/>
          </p:cNvSpPr>
          <p:nvPr/>
        </p:nvSpPr>
        <p:spPr bwMode="auto">
          <a:xfrm>
            <a:off x="6020544" y="5221257"/>
            <a:ext cx="2577630" cy="307777"/>
          </a:xfrm>
          <a:prstGeom prst="rect">
            <a:avLst/>
          </a:prstGeom>
          <a:noFill/>
          <a:ln w="9525">
            <a:noFill/>
            <a:miter lim="800000"/>
            <a:headEnd/>
            <a:tailEnd/>
          </a:ln>
        </p:spPr>
        <p:txBody>
          <a:bodyPr wrap="none" lIns="0" tIns="0" rIns="0" bIns="0" anchor="ctr">
            <a:spAutoFit/>
          </a:bodyPr>
          <a:lstStyle/>
          <a:p>
            <a:pPr algn="ctr" eaLnBrk="1" hangingPunct="1">
              <a:spcBef>
                <a:spcPts val="0"/>
              </a:spcBef>
            </a:pPr>
            <a:r>
              <a:rPr lang="en-GB" altLang="ja-JP" sz="1000" dirty="0">
                <a:ea typeface="ＭＳ Ｐゴシック" charset="-128"/>
                <a:cs typeface="Arial" pitchFamily="34" charset="0"/>
              </a:rPr>
              <a:t>Competitive position</a:t>
            </a:r>
          </a:p>
          <a:p>
            <a:pPr algn="ctr" eaLnBrk="1" hangingPunct="1">
              <a:spcBef>
                <a:spcPts val="0"/>
              </a:spcBef>
            </a:pPr>
            <a:r>
              <a:rPr lang="en-GB" altLang="ja-JP" sz="1000"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5847791" y="5029105"/>
            <a:ext cx="254878"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Low</a:t>
            </a:r>
          </a:p>
        </p:txBody>
      </p:sp>
      <p:sp>
        <p:nvSpPr>
          <p:cNvPr id="32" name="Text Box 5"/>
          <p:cNvSpPr txBox="1">
            <a:spLocks noChangeArrowheads="1"/>
          </p:cNvSpPr>
          <p:nvPr/>
        </p:nvSpPr>
        <p:spPr bwMode="auto">
          <a:xfrm>
            <a:off x="8509281" y="5029105"/>
            <a:ext cx="29335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High</a:t>
            </a:r>
          </a:p>
        </p:txBody>
      </p:sp>
      <p:sp>
        <p:nvSpPr>
          <p:cNvPr id="33" name="AutoShape 6"/>
          <p:cNvSpPr>
            <a:spLocks noChangeArrowheads="1"/>
          </p:cNvSpPr>
          <p:nvPr/>
        </p:nvSpPr>
        <p:spPr bwMode="auto">
          <a:xfrm flipH="1" flipV="1">
            <a:off x="5840128" y="2065682"/>
            <a:ext cx="2941922" cy="2932165"/>
          </a:xfrm>
          <a:prstGeom prst="rtTriangle">
            <a:avLst/>
          </a:prstGeom>
          <a:solidFill>
            <a:schemeClr val="accent3"/>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dirty="0">
              <a:solidFill>
                <a:srgbClr val="002776"/>
              </a:solidFill>
              <a:ea typeface="+mn-ea"/>
              <a:cs typeface="Arial" pitchFamily="34" charset="0"/>
            </a:endParaRPr>
          </a:p>
        </p:txBody>
      </p:sp>
      <p:sp>
        <p:nvSpPr>
          <p:cNvPr id="34" name="Rectangle 7"/>
          <p:cNvSpPr>
            <a:spLocks noChangeArrowheads="1"/>
          </p:cNvSpPr>
          <p:nvPr/>
        </p:nvSpPr>
        <p:spPr bwMode="auto">
          <a:xfrm>
            <a:off x="4785928" y="3079652"/>
            <a:ext cx="987204" cy="923330"/>
          </a:xfrm>
          <a:prstGeom prst="rect">
            <a:avLst/>
          </a:prstGeom>
          <a:noFill/>
          <a:ln w="9525">
            <a:noFill/>
            <a:miter lim="800000"/>
            <a:headEnd/>
            <a:tailEnd/>
          </a:ln>
        </p:spPr>
        <p:txBody>
          <a:bodyPr wrap="square" lIns="0" tIns="0" rIns="0" bIns="0" anchor="ctr">
            <a:spAutoFit/>
          </a:bodyPr>
          <a:lstStyle/>
          <a:p>
            <a:pPr algn="ctr" eaLnBrk="1" hangingPunct="1">
              <a:spcBef>
                <a:spcPts val="0"/>
              </a:spcBef>
            </a:pPr>
            <a:r>
              <a:rPr lang="en-GB" altLang="ja-JP" sz="1000" dirty="0">
                <a:ea typeface="ＭＳ Ｐゴシック" charset="-128"/>
                <a:cs typeface="Arial" pitchFamily="34" charset="0"/>
              </a:rPr>
              <a:t>Market attractiveness</a:t>
            </a:r>
          </a:p>
          <a:p>
            <a:pPr algn="ctr" eaLnBrk="1" hangingPunct="1">
              <a:spcBef>
                <a:spcPts val="0"/>
              </a:spcBef>
            </a:pPr>
            <a:r>
              <a:rPr lang="en-GB" altLang="ja-JP" sz="1000"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5836953" y="2060975"/>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dirty="0">
              <a:solidFill>
                <a:srgbClr val="002776"/>
              </a:solidFill>
              <a:ea typeface="+mn-ea"/>
              <a:cs typeface="Arial" pitchFamily="34" charset="0"/>
            </a:endParaRPr>
          </a:p>
        </p:txBody>
      </p:sp>
      <p:sp>
        <p:nvSpPr>
          <p:cNvPr id="36" name="Line 10"/>
          <p:cNvSpPr>
            <a:spLocks noChangeShapeType="1"/>
          </p:cNvSpPr>
          <p:nvPr/>
        </p:nvSpPr>
        <p:spPr bwMode="auto">
          <a:xfrm flipV="1">
            <a:off x="5836953"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ea typeface="+mn-ea"/>
              <a:cs typeface="Arial" pitchFamily="34" charset="0"/>
            </a:endParaRPr>
          </a:p>
        </p:txBody>
      </p:sp>
      <p:sp>
        <p:nvSpPr>
          <p:cNvPr id="37" name="Text Box 11"/>
          <p:cNvSpPr txBox="1">
            <a:spLocks noChangeArrowheads="1"/>
          </p:cNvSpPr>
          <p:nvPr/>
        </p:nvSpPr>
        <p:spPr bwMode="auto">
          <a:xfrm>
            <a:off x="7881820" y="2132478"/>
            <a:ext cx="814325" cy="153888"/>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000" dirty="0">
                <a:ea typeface="ＭＳ Ｐゴシック" charset="-128"/>
                <a:cs typeface="Arial" pitchFamily="34" charset="0"/>
              </a:rPr>
              <a:t>ROCE &gt; CoC</a:t>
            </a:r>
          </a:p>
        </p:txBody>
      </p:sp>
      <p:sp>
        <p:nvSpPr>
          <p:cNvPr id="38" name="Text Box 12"/>
          <p:cNvSpPr txBox="1">
            <a:spLocks noChangeArrowheads="1"/>
          </p:cNvSpPr>
          <p:nvPr/>
        </p:nvSpPr>
        <p:spPr bwMode="auto">
          <a:xfrm>
            <a:off x="5938528" y="4797150"/>
            <a:ext cx="862416" cy="15388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000"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7511393" y="4259097"/>
            <a:ext cx="862417" cy="15388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000" b="1" dirty="0">
                <a:ea typeface="ＭＳ Ｐゴシック" charset="-128"/>
                <a:cs typeface="Arial" pitchFamily="34" charset="0"/>
              </a:rPr>
              <a:t>ROCE = CoC</a:t>
            </a:r>
          </a:p>
        </p:txBody>
      </p:sp>
      <p:sp>
        <p:nvSpPr>
          <p:cNvPr id="40" name="Text Box 14"/>
          <p:cNvSpPr txBox="1">
            <a:spLocks noChangeArrowheads="1"/>
          </p:cNvSpPr>
          <p:nvPr/>
        </p:nvSpPr>
        <p:spPr bwMode="auto">
          <a:xfrm>
            <a:off x="5469323" y="2060975"/>
            <a:ext cx="29335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High</a:t>
            </a:r>
          </a:p>
        </p:txBody>
      </p:sp>
      <p:sp>
        <p:nvSpPr>
          <p:cNvPr id="41" name="Text Box 15"/>
          <p:cNvSpPr txBox="1">
            <a:spLocks noChangeArrowheads="1"/>
          </p:cNvSpPr>
          <p:nvPr/>
        </p:nvSpPr>
        <p:spPr bwMode="auto">
          <a:xfrm>
            <a:off x="5507795" y="4848724"/>
            <a:ext cx="254878"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Low</a:t>
            </a:r>
          </a:p>
        </p:txBody>
      </p:sp>
      <p:sp>
        <p:nvSpPr>
          <p:cNvPr id="42" name="Line 10"/>
          <p:cNvSpPr>
            <a:spLocks noChangeShapeType="1"/>
          </p:cNvSpPr>
          <p:nvPr/>
        </p:nvSpPr>
        <p:spPr bwMode="auto">
          <a:xfrm flipV="1">
            <a:off x="7330791"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ea typeface="+mn-ea"/>
              <a:cs typeface="Arial" pitchFamily="34" charset="0"/>
            </a:endParaRPr>
          </a:p>
        </p:txBody>
      </p:sp>
      <p:sp>
        <p:nvSpPr>
          <p:cNvPr id="43" name="Line 9"/>
          <p:cNvSpPr>
            <a:spLocks noChangeShapeType="1"/>
          </p:cNvSpPr>
          <p:nvPr/>
        </p:nvSpPr>
        <p:spPr bwMode="auto">
          <a:xfrm flipH="1">
            <a:off x="7308566" y="3544516"/>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ea typeface="+mn-ea"/>
              <a:cs typeface="Arial" pitchFamily="34" charset="0"/>
            </a:endParaRPr>
          </a:p>
        </p:txBody>
      </p:sp>
      <p:sp>
        <p:nvSpPr>
          <p:cNvPr id="44" name="Line 9"/>
          <p:cNvSpPr>
            <a:spLocks noChangeShapeType="1"/>
          </p:cNvSpPr>
          <p:nvPr/>
        </p:nvSpPr>
        <p:spPr bwMode="auto">
          <a:xfrm flipH="1">
            <a:off x="7322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ea typeface="+mn-ea"/>
              <a:cs typeface="Arial" pitchFamily="34" charset="0"/>
            </a:endParaRPr>
          </a:p>
        </p:txBody>
      </p:sp>
      <p:sp>
        <p:nvSpPr>
          <p:cNvPr id="45" name="TextBox 44"/>
          <p:cNvSpPr txBox="1"/>
          <p:nvPr/>
        </p:nvSpPr>
        <p:spPr bwMode="gray">
          <a:xfrm>
            <a:off x="4663440" y="1696377"/>
            <a:ext cx="4114800" cy="184666"/>
          </a:xfrm>
          <a:prstGeom prst="rect">
            <a:avLst/>
          </a:prstGeom>
          <a:noFill/>
        </p:spPr>
        <p:txBody>
          <a:bodyPr wrap="square" lIns="0" tIns="0" rIns="0" bIns="0" rtlCol="0">
            <a:spAutoFit/>
          </a:bodyPr>
          <a:lstStyle/>
          <a:p>
            <a:r>
              <a:rPr lang="en-US" sz="1200" dirty="0"/>
              <a:t>Chart title runs here (units)</a:t>
            </a:r>
          </a:p>
        </p:txBody>
      </p:sp>
    </p:spTree>
    <p:extLst>
      <p:ext uri="{BB962C8B-B14F-4D97-AF65-F5344CB8AC3E}">
        <p14:creationId xmlns:p14="http://schemas.microsoft.com/office/powerpoint/2010/main" val="2133129224"/>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6193" name="Title 1"/>
          <p:cNvSpPr>
            <a:spLocks noGrp="1"/>
          </p:cNvSpPr>
          <p:nvPr>
            <p:ph type="title"/>
          </p:nvPr>
        </p:nvSpPr>
        <p:spPr/>
        <p:txBody>
          <a:bodyPr/>
          <a:lstStyle/>
          <a:p>
            <a:r>
              <a:rPr lang="en-US"/>
              <a:t>Business portfolio 3x3</a:t>
            </a:r>
            <a:endParaRPr lang="en-US" dirty="0"/>
          </a:p>
        </p:txBody>
      </p:sp>
      <p:sp>
        <p:nvSpPr>
          <p:cNvPr id="6" name="Text Placeholder 5"/>
          <p:cNvSpPr>
            <a:spLocks noGrp="1"/>
          </p:cNvSpPr>
          <p:nvPr>
            <p:ph type="body" sz="quarter"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sp>
        <p:nvSpPr>
          <p:cNvPr id="776195" name="Rectangle 3"/>
          <p:cNvSpPr>
            <a:spLocks noChangeArrowheads="1"/>
          </p:cNvSpPr>
          <p:nvPr/>
        </p:nvSpPr>
        <p:spPr bwMode="auto">
          <a:xfrm>
            <a:off x="4554415" y="2061502"/>
            <a:ext cx="818522" cy="292388"/>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000" dirty="0">
                <a:ea typeface="ＭＳ Ｐゴシック" charset="-128"/>
              </a:rPr>
              <a:t>Competitive position</a:t>
            </a:r>
          </a:p>
        </p:txBody>
      </p:sp>
      <p:sp>
        <p:nvSpPr>
          <p:cNvPr id="776196" name="Rectangle 4"/>
          <p:cNvSpPr>
            <a:spLocks noChangeArrowheads="1"/>
          </p:cNvSpPr>
          <p:nvPr/>
        </p:nvSpPr>
        <p:spPr bwMode="auto">
          <a:xfrm>
            <a:off x="5077778" y="4818789"/>
            <a:ext cx="254878"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Low</a:t>
            </a:r>
          </a:p>
        </p:txBody>
      </p:sp>
      <p:sp>
        <p:nvSpPr>
          <p:cNvPr id="776197" name="Rectangle 5"/>
          <p:cNvSpPr>
            <a:spLocks noChangeArrowheads="1"/>
          </p:cNvSpPr>
          <p:nvPr/>
        </p:nvSpPr>
        <p:spPr bwMode="auto">
          <a:xfrm>
            <a:off x="4826107" y="3722911"/>
            <a:ext cx="506549"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Medium</a:t>
            </a:r>
          </a:p>
        </p:txBody>
      </p:sp>
      <p:sp>
        <p:nvSpPr>
          <p:cNvPr id="776198" name="Rectangle 6"/>
          <p:cNvSpPr>
            <a:spLocks noChangeArrowheads="1"/>
          </p:cNvSpPr>
          <p:nvPr/>
        </p:nvSpPr>
        <p:spPr bwMode="auto">
          <a:xfrm>
            <a:off x="5039306" y="2521526"/>
            <a:ext cx="29335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High</a:t>
            </a:r>
          </a:p>
        </p:txBody>
      </p:sp>
      <p:sp>
        <p:nvSpPr>
          <p:cNvPr id="776199" name="Rectangle 7"/>
          <p:cNvSpPr>
            <a:spLocks noChangeArrowheads="1"/>
          </p:cNvSpPr>
          <p:nvPr/>
        </p:nvSpPr>
        <p:spPr bwMode="auto">
          <a:xfrm>
            <a:off x="6235708" y="5722461"/>
            <a:ext cx="1963679"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a:ea typeface="ＭＳ Ｐゴシック" charset="-128"/>
              </a:rPr>
              <a:t>Product/market attractiveness</a:t>
            </a:r>
          </a:p>
        </p:txBody>
      </p:sp>
      <p:sp>
        <p:nvSpPr>
          <p:cNvPr id="776200" name="Rectangle 8"/>
          <p:cNvSpPr>
            <a:spLocks noChangeArrowheads="1"/>
          </p:cNvSpPr>
          <p:nvPr/>
        </p:nvSpPr>
        <p:spPr bwMode="auto">
          <a:xfrm>
            <a:off x="5787905" y="5498845"/>
            <a:ext cx="25487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Low</a:t>
            </a:r>
          </a:p>
        </p:txBody>
      </p:sp>
      <p:sp>
        <p:nvSpPr>
          <p:cNvPr id="776201" name="Rectangle 9"/>
          <p:cNvSpPr>
            <a:spLocks noChangeArrowheads="1"/>
          </p:cNvSpPr>
          <p:nvPr/>
        </p:nvSpPr>
        <p:spPr bwMode="auto">
          <a:xfrm>
            <a:off x="6852063" y="5498845"/>
            <a:ext cx="506549"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Medium</a:t>
            </a:r>
          </a:p>
        </p:txBody>
      </p:sp>
      <p:sp>
        <p:nvSpPr>
          <p:cNvPr id="776202" name="Rectangle 10"/>
          <p:cNvSpPr>
            <a:spLocks noChangeArrowheads="1"/>
          </p:cNvSpPr>
          <p:nvPr/>
        </p:nvSpPr>
        <p:spPr bwMode="auto">
          <a:xfrm>
            <a:off x="8170638" y="5498845"/>
            <a:ext cx="29335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High</a:t>
            </a:r>
          </a:p>
        </p:txBody>
      </p:sp>
      <p:grpSp>
        <p:nvGrpSpPr>
          <p:cNvPr id="26" name="Group 25"/>
          <p:cNvGrpSpPr>
            <a:grpSpLocks noChangeAspect="1"/>
          </p:cNvGrpSpPr>
          <p:nvPr/>
        </p:nvGrpSpPr>
        <p:grpSpPr>
          <a:xfrm>
            <a:off x="5374153" y="2050545"/>
            <a:ext cx="3411072" cy="3411072"/>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Box 24"/>
          <p:cNvSpPr txBox="1"/>
          <p:nvPr/>
        </p:nvSpPr>
        <p:spPr bwMode="gray">
          <a:xfrm>
            <a:off x="4663440" y="1696377"/>
            <a:ext cx="4114800" cy="184666"/>
          </a:xfrm>
          <a:prstGeom prst="rect">
            <a:avLst/>
          </a:prstGeom>
          <a:noFill/>
        </p:spPr>
        <p:txBody>
          <a:bodyPr wrap="square" lIns="0" tIns="0" rIns="0" bIns="0" rtlCol="0">
            <a:spAutoFit/>
          </a:bodyPr>
          <a:lstStyle/>
          <a:p>
            <a:r>
              <a:rPr lang="en-US" sz="1200" dirty="0"/>
              <a:t>Chart title runs here (units)</a:t>
            </a:r>
          </a:p>
        </p:txBody>
      </p:sp>
    </p:spTree>
    <p:extLst>
      <p:ext uri="{BB962C8B-B14F-4D97-AF65-F5344CB8AC3E}">
        <p14:creationId xmlns:p14="http://schemas.microsoft.com/office/powerpoint/2010/main" val="1251791800"/>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1859" name="Title 1"/>
          <p:cNvSpPr>
            <a:spLocks noGrp="1"/>
          </p:cNvSpPr>
          <p:nvPr>
            <p:ph type="title"/>
          </p:nvPr>
        </p:nvSpPr>
        <p:spPr/>
        <p:txBody>
          <a:bodyPr/>
          <a:lstStyle/>
          <a:p>
            <a:r>
              <a:rPr lang="en-US"/>
              <a:t>Business portfolio 3x3</a:t>
            </a:r>
            <a:endParaRPr lang="en-US" dirty="0"/>
          </a:p>
        </p:txBody>
      </p:sp>
      <p:sp>
        <p:nvSpPr>
          <p:cNvPr id="3" name="Text Placeholder 2"/>
          <p:cNvSpPr>
            <a:spLocks noGrp="1"/>
          </p:cNvSpPr>
          <p:nvPr>
            <p:ph type="body" sz="quarter"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sp>
        <p:nvSpPr>
          <p:cNvPr id="17" name="Rectangle 16"/>
          <p:cNvSpPr>
            <a:spLocks noChangeArrowheads="1"/>
          </p:cNvSpPr>
          <p:nvPr/>
        </p:nvSpPr>
        <p:spPr bwMode="blackWhite">
          <a:xfrm>
            <a:off x="5476973" y="2054829"/>
            <a:ext cx="3293239" cy="784822"/>
          </a:xfrm>
          <a:prstGeom prst="rect">
            <a:avLst/>
          </a:prstGeom>
          <a:solidFill>
            <a:schemeClr val="accent5"/>
          </a:solidFill>
          <a:ln w="12700">
            <a:solidFill>
              <a:schemeClr val="bg1"/>
            </a:solidFill>
            <a:miter lim="800000"/>
            <a:headEnd/>
            <a:tailEnd/>
          </a:ln>
        </p:spPr>
        <p:txBody>
          <a:bodyPr wrap="square" lIns="0" tIns="0" rIns="0" bIns="0">
            <a:noAutofit/>
          </a:bodyPr>
          <a:lstStyle/>
          <a:p>
            <a:pPr algn="ctr">
              <a:spcBef>
                <a:spcPct val="0"/>
              </a:spcBef>
            </a:pPr>
            <a:endParaRPr lang="en-US" sz="1000" dirty="0"/>
          </a:p>
        </p:txBody>
      </p:sp>
      <p:sp>
        <p:nvSpPr>
          <p:cNvPr id="19" name="Rectangle 18"/>
          <p:cNvSpPr>
            <a:spLocks noChangeArrowheads="1"/>
          </p:cNvSpPr>
          <p:nvPr/>
        </p:nvSpPr>
        <p:spPr bwMode="blackWhite">
          <a:xfrm>
            <a:off x="4903719" y="3584726"/>
            <a:ext cx="500137"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Benefit </a:t>
            </a:r>
          </a:p>
        </p:txBody>
      </p:sp>
      <p:sp>
        <p:nvSpPr>
          <p:cNvPr id="22" name="Rectangle 21"/>
          <p:cNvSpPr>
            <a:spLocks noChangeArrowheads="1"/>
          </p:cNvSpPr>
          <p:nvPr/>
        </p:nvSpPr>
        <p:spPr bwMode="blackWhite">
          <a:xfrm>
            <a:off x="5593785" y="2124973"/>
            <a:ext cx="775853"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i="1" dirty="0">
                <a:solidFill>
                  <a:schemeClr val="bg1"/>
                </a:solidFill>
                <a:ea typeface="ＭＳ Ｐゴシック" pitchFamily="50" charset="-128"/>
              </a:rPr>
              <a:t>Competitive</a:t>
            </a:r>
            <a:br>
              <a:rPr lang="en-US" sz="1000" i="1" dirty="0">
                <a:solidFill>
                  <a:schemeClr val="bg1"/>
                </a:solidFill>
                <a:ea typeface="ＭＳ Ｐゴシック" pitchFamily="50" charset="-128"/>
              </a:rPr>
            </a:br>
            <a:r>
              <a:rPr lang="en-US" sz="1000" i="1" dirty="0">
                <a:solidFill>
                  <a:schemeClr val="bg1"/>
                </a:solidFill>
                <a:ea typeface="ＭＳ Ｐゴシック" pitchFamily="50" charset="-128"/>
              </a:rPr>
              <a:t>advantage </a:t>
            </a:r>
          </a:p>
        </p:txBody>
      </p:sp>
      <p:sp>
        <p:nvSpPr>
          <p:cNvPr id="29" name="Text Placeholder 3"/>
          <p:cNvSpPr txBox="1">
            <a:spLocks/>
          </p:cNvSpPr>
          <p:nvPr/>
        </p:nvSpPr>
        <p:spPr>
          <a:xfrm>
            <a:off x="376238" y="1818421"/>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23" name="TextBox 22"/>
          <p:cNvSpPr txBox="1"/>
          <p:nvPr/>
        </p:nvSpPr>
        <p:spPr bwMode="gray">
          <a:xfrm>
            <a:off x="4663440" y="1696377"/>
            <a:ext cx="4114800" cy="184666"/>
          </a:xfrm>
          <a:prstGeom prst="rect">
            <a:avLst/>
          </a:prstGeom>
          <a:noFill/>
        </p:spPr>
        <p:txBody>
          <a:bodyPr wrap="square" lIns="0" tIns="0" rIns="0" bIns="0" rtlCol="0">
            <a:spAutoFit/>
          </a:bodyPr>
          <a:lstStyle/>
          <a:p>
            <a:r>
              <a:rPr lang="en-US" sz="1200" dirty="0"/>
              <a:t>Chart title runs here (units)</a:t>
            </a:r>
          </a:p>
        </p:txBody>
      </p:sp>
      <p:sp>
        <p:nvSpPr>
          <p:cNvPr id="18" name="Freeform 17"/>
          <p:cNvSpPr>
            <a:spLocks/>
          </p:cNvSpPr>
          <p:nvPr/>
        </p:nvSpPr>
        <p:spPr bwMode="blackWhite">
          <a:xfrm>
            <a:off x="5478217" y="2058003"/>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dirty="0"/>
          </a:p>
        </p:txBody>
      </p:sp>
      <p:sp>
        <p:nvSpPr>
          <p:cNvPr id="8" name="Freeform 7"/>
          <p:cNvSpPr/>
          <p:nvPr/>
        </p:nvSpPr>
        <p:spPr bwMode="gray">
          <a:xfrm>
            <a:off x="5481687" y="2050553"/>
            <a:ext cx="3285241"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dirty="0"/>
          </a:p>
        </p:txBody>
      </p:sp>
      <p:sp>
        <p:nvSpPr>
          <p:cNvPr id="20" name="Rectangle 19"/>
          <p:cNvSpPr>
            <a:spLocks noChangeArrowheads="1"/>
          </p:cNvSpPr>
          <p:nvPr/>
        </p:nvSpPr>
        <p:spPr bwMode="blackWhite">
          <a:xfrm>
            <a:off x="6948117" y="5443340"/>
            <a:ext cx="354264"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Price</a:t>
            </a:r>
            <a:r>
              <a:rPr lang="en-US" sz="1000" b="1" dirty="0">
                <a:ea typeface="ＭＳ Ｐゴシック" pitchFamily="50" charset="-128"/>
              </a:rPr>
              <a:t> </a:t>
            </a:r>
          </a:p>
        </p:txBody>
      </p:sp>
      <p:sp>
        <p:nvSpPr>
          <p:cNvPr id="21" name="Rectangle 20"/>
          <p:cNvSpPr>
            <a:spLocks noChangeArrowheads="1"/>
          </p:cNvSpPr>
          <p:nvPr/>
        </p:nvSpPr>
        <p:spPr bwMode="blackWhite">
          <a:xfrm>
            <a:off x="7786888" y="4932428"/>
            <a:ext cx="859210" cy="292388"/>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000" i="1" dirty="0">
                <a:ea typeface="ＭＳ Ｐゴシック" pitchFamily="50" charset="-128"/>
              </a:rPr>
              <a:t>Competitive</a:t>
            </a:r>
            <a:br>
              <a:rPr lang="en-US" sz="1000" i="1" dirty="0">
                <a:ea typeface="ＭＳ Ｐゴシック" pitchFamily="50" charset="-128"/>
              </a:rPr>
            </a:br>
            <a:r>
              <a:rPr lang="en-US" sz="1000" i="1" dirty="0">
                <a:ea typeface="ＭＳ Ｐゴシック" pitchFamily="50" charset="-128"/>
              </a:rPr>
              <a:t>disadvantage</a:t>
            </a:r>
          </a:p>
        </p:txBody>
      </p:sp>
      <p:sp>
        <p:nvSpPr>
          <p:cNvPr id="26" name="Line 9"/>
          <p:cNvSpPr>
            <a:spLocks noChangeShapeType="1"/>
          </p:cNvSpPr>
          <p:nvPr/>
        </p:nvSpPr>
        <p:spPr bwMode="blackWhite">
          <a:xfrm>
            <a:off x="6713292" y="3140679"/>
            <a:ext cx="898525" cy="938213"/>
          </a:xfrm>
          <a:prstGeom prst="line">
            <a:avLst/>
          </a:prstGeom>
          <a:noFill/>
          <a:ln w="57150">
            <a:solidFill>
              <a:schemeClr val="accent6"/>
            </a:solidFill>
            <a:round/>
            <a:headEnd type="triangle" w="med" len="med"/>
            <a:tailEnd type="triangle" w="med" len="med"/>
          </a:ln>
        </p:spPr>
        <p:txBody>
          <a:bodyPr lIns="0" tIns="0" rIns="0" bIns="0">
            <a:spAutoFit/>
          </a:bodyPr>
          <a:lstStyle/>
          <a:p>
            <a:endParaRPr lang="en-US" sz="1000"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a:t>Subtitle runs here</a:t>
            </a:r>
            <a:endParaRPr lang="en-US" dirty="0"/>
          </a:p>
        </p:txBody>
      </p:sp>
      <p:sp>
        <p:nvSpPr>
          <p:cNvPr id="779265" name="Title 1"/>
          <p:cNvSpPr>
            <a:spLocks noGrp="1"/>
          </p:cNvSpPr>
          <p:nvPr>
            <p:ph type="title"/>
          </p:nvPr>
        </p:nvSpPr>
        <p:spPr/>
        <p:txBody>
          <a:bodyPr/>
          <a:lstStyle/>
          <a:p>
            <a:r>
              <a:rPr lang="en-US" altLang="ja-JP"/>
              <a:t>Five forces</a:t>
            </a:r>
            <a:endParaRPr lang="en-US" dirty="0"/>
          </a:p>
        </p:txBody>
      </p:sp>
      <p:sp>
        <p:nvSpPr>
          <p:cNvPr id="3" name="Text Placeholder 2"/>
          <p:cNvSpPr>
            <a:spLocks noGrp="1"/>
          </p:cNvSpPr>
          <p:nvPr>
            <p:ph type="body" sz="quarter" idx="1"/>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sp>
        <p:nvSpPr>
          <p:cNvPr id="4" name="AutoShape 3"/>
          <p:cNvSpPr>
            <a:spLocks noChangeArrowheads="1"/>
          </p:cNvSpPr>
          <p:nvPr/>
        </p:nvSpPr>
        <p:spPr bwMode="auto">
          <a:xfrm>
            <a:off x="6106940" y="3154203"/>
            <a:ext cx="1181721"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ea typeface="ＭＳ Ｐゴシック" pitchFamily="50" charset="-128"/>
              </a:rPr>
              <a:t>Competitors</a:t>
            </a:r>
          </a:p>
          <a:p>
            <a:pPr algn="ctr">
              <a:defRPr/>
            </a:pPr>
            <a:endParaRPr lang="en-US" sz="1200" dirty="0">
              <a:ea typeface="ＭＳ Ｐゴシック" pitchFamily="50" charset="-128"/>
            </a:endParaRPr>
          </a:p>
          <a:p>
            <a:pPr algn="ctr">
              <a:defRPr/>
            </a:pPr>
            <a:endParaRPr lang="en-US" sz="1200" dirty="0">
              <a:ea typeface="ＭＳ Ｐゴシック" pitchFamily="50" charset="-128"/>
            </a:endParaRPr>
          </a:p>
        </p:txBody>
      </p:sp>
      <p:sp>
        <p:nvSpPr>
          <p:cNvPr id="5" name="AutoShape 4"/>
          <p:cNvSpPr>
            <a:spLocks noChangeArrowheads="1"/>
          </p:cNvSpPr>
          <p:nvPr/>
        </p:nvSpPr>
        <p:spPr bwMode="auto">
          <a:xfrm>
            <a:off x="7725556" y="3152229"/>
            <a:ext cx="1047495"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ea typeface="ＭＳ Ｐゴシック" pitchFamily="50" charset="-128"/>
              </a:rPr>
              <a:t>Customers</a:t>
            </a:r>
          </a:p>
        </p:txBody>
      </p:sp>
      <p:sp>
        <p:nvSpPr>
          <p:cNvPr id="6" name="AutoShape 5"/>
          <p:cNvSpPr>
            <a:spLocks noChangeArrowheads="1"/>
          </p:cNvSpPr>
          <p:nvPr/>
        </p:nvSpPr>
        <p:spPr bwMode="auto">
          <a:xfrm>
            <a:off x="4658082" y="3152229"/>
            <a:ext cx="1048810"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ea typeface="ＭＳ Ｐゴシック" pitchFamily="50" charset="-128"/>
              </a:rPr>
              <a:t>Suppliers</a:t>
            </a:r>
          </a:p>
        </p:txBody>
      </p:sp>
      <p:sp>
        <p:nvSpPr>
          <p:cNvPr id="7" name="AutoShape 6"/>
          <p:cNvSpPr>
            <a:spLocks noChangeArrowheads="1"/>
          </p:cNvSpPr>
          <p:nvPr/>
        </p:nvSpPr>
        <p:spPr bwMode="auto">
          <a:xfrm>
            <a:off x="6106940" y="4265521"/>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ea typeface="ＭＳ Ｐゴシック" pitchFamily="50" charset="-128"/>
              </a:rPr>
              <a:t>Substitutes</a:t>
            </a:r>
          </a:p>
        </p:txBody>
      </p:sp>
      <p:sp>
        <p:nvSpPr>
          <p:cNvPr id="8" name="AutoShape 7"/>
          <p:cNvSpPr>
            <a:spLocks noChangeArrowheads="1"/>
          </p:cNvSpPr>
          <p:nvPr/>
        </p:nvSpPr>
        <p:spPr bwMode="auto">
          <a:xfrm>
            <a:off x="6106940" y="2042885"/>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ea typeface="ＭＳ Ｐゴシック" pitchFamily="50" charset="-128"/>
              </a:rPr>
              <a:t>New entrants</a:t>
            </a:r>
          </a:p>
        </p:txBody>
      </p:sp>
      <p:sp>
        <p:nvSpPr>
          <p:cNvPr id="33" name="Text Placeholder 3"/>
          <p:cNvSpPr txBox="1">
            <a:spLocks/>
          </p:cNvSpPr>
          <p:nvPr/>
        </p:nvSpPr>
        <p:spPr>
          <a:xfrm>
            <a:off x="376238" y="1818421"/>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37" name="TextBox 36"/>
          <p:cNvSpPr txBox="1"/>
          <p:nvPr/>
        </p:nvSpPr>
        <p:spPr bwMode="gray">
          <a:xfrm>
            <a:off x="4663440" y="1696377"/>
            <a:ext cx="4114800" cy="184666"/>
          </a:xfrm>
          <a:prstGeom prst="rect">
            <a:avLst/>
          </a:prstGeom>
          <a:noFill/>
        </p:spPr>
        <p:txBody>
          <a:bodyPr wrap="square" lIns="0" tIns="0" rIns="0" bIns="0" rtlCol="0">
            <a:spAutoFit/>
          </a:bodyPr>
          <a:lstStyle/>
          <a:p>
            <a:r>
              <a:rPr lang="en-US" sz="1200" dirty="0"/>
              <a:t>Chart title runs here</a:t>
            </a:r>
          </a:p>
        </p:txBody>
      </p:sp>
      <p:sp>
        <p:nvSpPr>
          <p:cNvPr id="38" name="AutoShape 11"/>
          <p:cNvSpPr>
            <a:spLocks noChangeArrowheads="1"/>
          </p:cNvSpPr>
          <p:nvPr/>
        </p:nvSpPr>
        <p:spPr bwMode="gray">
          <a:xfrm rot="5400000">
            <a:off x="7344915" y="3361013"/>
            <a:ext cx="324388" cy="265409"/>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39" name="AutoShape 11"/>
          <p:cNvSpPr>
            <a:spLocks noChangeArrowheads="1"/>
          </p:cNvSpPr>
          <p:nvPr/>
        </p:nvSpPr>
        <p:spPr bwMode="gray">
          <a:xfrm>
            <a:off x="6535606" y="2807328"/>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0" name="AutoShape 11"/>
          <p:cNvSpPr>
            <a:spLocks noChangeArrowheads="1"/>
          </p:cNvSpPr>
          <p:nvPr/>
        </p:nvSpPr>
        <p:spPr bwMode="gray">
          <a:xfrm rot="16200000">
            <a:off x="5744722" y="3361013"/>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1" name="AutoShape 11"/>
          <p:cNvSpPr>
            <a:spLocks noChangeArrowheads="1"/>
          </p:cNvSpPr>
          <p:nvPr/>
        </p:nvSpPr>
        <p:spPr bwMode="gray">
          <a:xfrm rot="10800000">
            <a:off x="6535607" y="3918646"/>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2" name="Freeform 12"/>
          <p:cNvSpPr>
            <a:spLocks/>
          </p:cNvSpPr>
          <p:nvPr/>
        </p:nvSpPr>
        <p:spPr bwMode="gray">
          <a:xfrm rot="6101577">
            <a:off x="6527258" y="3363791"/>
            <a:ext cx="341084" cy="53662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dirty="0">
              <a:solidFill>
                <a:schemeClr val="bg1"/>
              </a:solidFill>
            </a:endParaRPr>
          </a:p>
        </p:txBody>
      </p:sp>
      <p:grpSp>
        <p:nvGrpSpPr>
          <p:cNvPr id="26" name="Group 25"/>
          <p:cNvGrpSpPr/>
          <p:nvPr/>
        </p:nvGrpSpPr>
        <p:grpSpPr>
          <a:xfrm>
            <a:off x="5617248" y="6129407"/>
            <a:ext cx="2226803" cy="226386"/>
            <a:chOff x="5831034" y="6058564"/>
            <a:chExt cx="3190784"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30" name="Text Box 26"/>
            <p:cNvSpPr txBox="1">
              <a:spLocks noChangeArrowheads="1"/>
            </p:cNvSpPr>
            <p:nvPr/>
          </p:nvSpPr>
          <p:spPr bwMode="auto">
            <a:xfrm>
              <a:off x="6220002" y="6128416"/>
              <a:ext cx="62247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1"/>
              <a:ext cx="863650"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Moderate</a:t>
              </a:r>
            </a:p>
          </p:txBody>
        </p:sp>
        <p:sp>
          <p:nvSpPr>
            <p:cNvPr id="45" name="Text Box 26"/>
            <p:cNvSpPr txBox="1">
              <a:spLocks noChangeArrowheads="1"/>
            </p:cNvSpPr>
            <p:nvPr/>
          </p:nvSpPr>
          <p:spPr bwMode="auto">
            <a:xfrm>
              <a:off x="8511897" y="6128421"/>
              <a:ext cx="50992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Weak</a:t>
              </a:r>
            </a:p>
          </p:txBody>
        </p:sp>
      </p:grpSp>
    </p:spTree>
    <p:extLst>
      <p:ext uri="{BB962C8B-B14F-4D97-AF65-F5344CB8AC3E}">
        <p14:creationId xmlns:p14="http://schemas.microsoft.com/office/powerpoint/2010/main" val="100607084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02" name="Text Box 3"/>
          <p:cNvSpPr txBox="1">
            <a:spLocks noChangeArrowheads="1"/>
          </p:cNvSpPr>
          <p:nvPr/>
        </p:nvSpPr>
        <p:spPr bwMode="auto">
          <a:xfrm>
            <a:off x="365125" y="199450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03" name="Rectangle 102"/>
          <p:cNvSpPr>
            <a:spLocks noChangeArrowheads="1"/>
          </p:cNvSpPr>
          <p:nvPr/>
        </p:nvSpPr>
        <p:spPr bwMode="auto">
          <a:xfrm>
            <a:off x="2076393" y="197888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04" name="Rectangle 5"/>
          <p:cNvSpPr>
            <a:spLocks noChangeArrowheads="1"/>
          </p:cNvSpPr>
          <p:nvPr/>
        </p:nvSpPr>
        <p:spPr bwMode="auto">
          <a:xfrm>
            <a:off x="3206450" y="197888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05" name="Rectangle 104"/>
          <p:cNvSpPr>
            <a:spLocks noChangeArrowheads="1"/>
          </p:cNvSpPr>
          <p:nvPr/>
        </p:nvSpPr>
        <p:spPr bwMode="auto">
          <a:xfrm>
            <a:off x="4336507" y="197888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06" name="Rectangle 105"/>
          <p:cNvSpPr>
            <a:spLocks noChangeArrowheads="1"/>
          </p:cNvSpPr>
          <p:nvPr/>
        </p:nvSpPr>
        <p:spPr bwMode="auto">
          <a:xfrm>
            <a:off x="5466564" y="197888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07" name="Rectangle 106"/>
          <p:cNvSpPr>
            <a:spLocks noChangeArrowheads="1"/>
          </p:cNvSpPr>
          <p:nvPr/>
        </p:nvSpPr>
        <p:spPr bwMode="auto">
          <a:xfrm>
            <a:off x="6596621" y="197888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08" name="Rectangle 107"/>
          <p:cNvSpPr>
            <a:spLocks noChangeArrowheads="1"/>
          </p:cNvSpPr>
          <p:nvPr/>
        </p:nvSpPr>
        <p:spPr bwMode="auto">
          <a:xfrm>
            <a:off x="7726680" y="197888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09" name="Text Box 10"/>
          <p:cNvSpPr txBox="1">
            <a:spLocks noChangeArrowheads="1"/>
          </p:cNvSpPr>
          <p:nvPr/>
        </p:nvSpPr>
        <p:spPr bwMode="auto">
          <a:xfrm>
            <a:off x="365125" y="253697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0" name="Rectangle 109"/>
          <p:cNvSpPr>
            <a:spLocks noChangeArrowheads="1"/>
          </p:cNvSpPr>
          <p:nvPr/>
        </p:nvSpPr>
        <p:spPr bwMode="auto">
          <a:xfrm>
            <a:off x="2076393" y="2521360"/>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1" name="Rectangle 110"/>
          <p:cNvSpPr>
            <a:spLocks noChangeArrowheads="1"/>
          </p:cNvSpPr>
          <p:nvPr/>
        </p:nvSpPr>
        <p:spPr bwMode="auto">
          <a:xfrm>
            <a:off x="3206450" y="252136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2" name="Rectangle 13"/>
          <p:cNvSpPr>
            <a:spLocks noChangeArrowheads="1"/>
          </p:cNvSpPr>
          <p:nvPr/>
        </p:nvSpPr>
        <p:spPr bwMode="auto">
          <a:xfrm>
            <a:off x="4336507" y="252136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13" name="Rectangle 112"/>
          <p:cNvSpPr>
            <a:spLocks noChangeArrowheads="1"/>
          </p:cNvSpPr>
          <p:nvPr/>
        </p:nvSpPr>
        <p:spPr bwMode="auto">
          <a:xfrm>
            <a:off x="5466564" y="252136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4" name="Rectangle 113"/>
          <p:cNvSpPr>
            <a:spLocks noChangeArrowheads="1"/>
          </p:cNvSpPr>
          <p:nvPr/>
        </p:nvSpPr>
        <p:spPr bwMode="auto">
          <a:xfrm>
            <a:off x="6596621" y="252136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5" name="Rectangle 114"/>
          <p:cNvSpPr>
            <a:spLocks noChangeArrowheads="1"/>
          </p:cNvSpPr>
          <p:nvPr/>
        </p:nvSpPr>
        <p:spPr bwMode="auto">
          <a:xfrm>
            <a:off x="7726680" y="252136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6" name="Text Box 17"/>
          <p:cNvSpPr txBox="1">
            <a:spLocks noChangeArrowheads="1"/>
          </p:cNvSpPr>
          <p:nvPr/>
        </p:nvSpPr>
        <p:spPr bwMode="auto">
          <a:xfrm>
            <a:off x="365125" y="307945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7" name="Rectangle 116"/>
          <p:cNvSpPr>
            <a:spLocks noChangeArrowheads="1"/>
          </p:cNvSpPr>
          <p:nvPr/>
        </p:nvSpPr>
        <p:spPr bwMode="auto">
          <a:xfrm>
            <a:off x="2076393" y="306383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18" name="Rectangle 19"/>
          <p:cNvSpPr>
            <a:spLocks noChangeArrowheads="1"/>
          </p:cNvSpPr>
          <p:nvPr/>
        </p:nvSpPr>
        <p:spPr bwMode="auto">
          <a:xfrm>
            <a:off x="3206450" y="306383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19" name="Rectangle 20"/>
          <p:cNvSpPr>
            <a:spLocks noChangeArrowheads="1"/>
          </p:cNvSpPr>
          <p:nvPr/>
        </p:nvSpPr>
        <p:spPr bwMode="auto">
          <a:xfrm>
            <a:off x="4336507" y="3063836"/>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20" name="Rectangle 21"/>
          <p:cNvSpPr>
            <a:spLocks noChangeArrowheads="1"/>
          </p:cNvSpPr>
          <p:nvPr/>
        </p:nvSpPr>
        <p:spPr bwMode="auto">
          <a:xfrm>
            <a:off x="5466564" y="306383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21" name="Rectangle 22"/>
          <p:cNvSpPr>
            <a:spLocks noChangeArrowheads="1"/>
          </p:cNvSpPr>
          <p:nvPr/>
        </p:nvSpPr>
        <p:spPr bwMode="auto">
          <a:xfrm>
            <a:off x="6596621" y="306383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22" name="Rectangle 121"/>
          <p:cNvSpPr>
            <a:spLocks noChangeArrowheads="1"/>
          </p:cNvSpPr>
          <p:nvPr/>
        </p:nvSpPr>
        <p:spPr bwMode="auto">
          <a:xfrm>
            <a:off x="7726680" y="306383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23" name="Text Box 24"/>
          <p:cNvSpPr txBox="1">
            <a:spLocks noChangeArrowheads="1"/>
          </p:cNvSpPr>
          <p:nvPr/>
        </p:nvSpPr>
        <p:spPr bwMode="auto">
          <a:xfrm>
            <a:off x="365125" y="362192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24" name="Rectangle 123"/>
          <p:cNvSpPr>
            <a:spLocks noChangeArrowheads="1"/>
          </p:cNvSpPr>
          <p:nvPr/>
        </p:nvSpPr>
        <p:spPr bwMode="auto">
          <a:xfrm>
            <a:off x="2076393" y="3606312"/>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25" name="Rectangle 124"/>
          <p:cNvSpPr>
            <a:spLocks noChangeArrowheads="1"/>
          </p:cNvSpPr>
          <p:nvPr/>
        </p:nvSpPr>
        <p:spPr bwMode="auto">
          <a:xfrm>
            <a:off x="3206450" y="3606312"/>
            <a:ext cx="731520" cy="215900"/>
          </a:xfrm>
          <a:prstGeom prst="rect">
            <a:avLst/>
          </a:prstGeom>
          <a:solidFill>
            <a:schemeClr val="bg2"/>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26" name="Rectangle 125"/>
          <p:cNvSpPr>
            <a:spLocks noChangeArrowheads="1"/>
          </p:cNvSpPr>
          <p:nvPr/>
        </p:nvSpPr>
        <p:spPr bwMode="auto">
          <a:xfrm>
            <a:off x="4336507" y="3606312"/>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27" name="Rectangle 28"/>
          <p:cNvSpPr>
            <a:spLocks noChangeArrowheads="1"/>
          </p:cNvSpPr>
          <p:nvPr/>
        </p:nvSpPr>
        <p:spPr bwMode="auto">
          <a:xfrm>
            <a:off x="5466564" y="360631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28" name="Rectangle 127"/>
          <p:cNvSpPr>
            <a:spLocks noChangeArrowheads="1"/>
          </p:cNvSpPr>
          <p:nvPr/>
        </p:nvSpPr>
        <p:spPr bwMode="auto">
          <a:xfrm>
            <a:off x="6596621" y="3606312"/>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29" name="Rectangle 128"/>
          <p:cNvSpPr>
            <a:spLocks noChangeArrowheads="1"/>
          </p:cNvSpPr>
          <p:nvPr/>
        </p:nvSpPr>
        <p:spPr bwMode="auto">
          <a:xfrm>
            <a:off x="7726680" y="3606312"/>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0" name="Text Box 31"/>
          <p:cNvSpPr txBox="1">
            <a:spLocks noChangeArrowheads="1"/>
          </p:cNvSpPr>
          <p:nvPr/>
        </p:nvSpPr>
        <p:spPr bwMode="auto">
          <a:xfrm>
            <a:off x="365125" y="416440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1" name="Rectangle 130"/>
          <p:cNvSpPr>
            <a:spLocks noChangeArrowheads="1"/>
          </p:cNvSpPr>
          <p:nvPr/>
        </p:nvSpPr>
        <p:spPr bwMode="auto">
          <a:xfrm>
            <a:off x="2076393" y="414878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2" name="Rectangle 131"/>
          <p:cNvSpPr>
            <a:spLocks noChangeArrowheads="1"/>
          </p:cNvSpPr>
          <p:nvPr/>
        </p:nvSpPr>
        <p:spPr bwMode="auto">
          <a:xfrm>
            <a:off x="3206450" y="414878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3" name="Rectangle 132"/>
          <p:cNvSpPr>
            <a:spLocks noChangeArrowheads="1"/>
          </p:cNvSpPr>
          <p:nvPr/>
        </p:nvSpPr>
        <p:spPr bwMode="auto">
          <a:xfrm>
            <a:off x="4336507" y="4148788"/>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4" name="Rectangle 35"/>
          <p:cNvSpPr>
            <a:spLocks noChangeArrowheads="1"/>
          </p:cNvSpPr>
          <p:nvPr/>
        </p:nvSpPr>
        <p:spPr bwMode="auto">
          <a:xfrm>
            <a:off x="5466564" y="414878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35" name="Rectangle 36"/>
          <p:cNvSpPr>
            <a:spLocks noChangeArrowheads="1"/>
          </p:cNvSpPr>
          <p:nvPr/>
        </p:nvSpPr>
        <p:spPr bwMode="auto">
          <a:xfrm>
            <a:off x="6596621" y="414878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36" name="Rectangle 135"/>
          <p:cNvSpPr>
            <a:spLocks noChangeArrowheads="1"/>
          </p:cNvSpPr>
          <p:nvPr/>
        </p:nvSpPr>
        <p:spPr bwMode="auto">
          <a:xfrm>
            <a:off x="7726680" y="4148788"/>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7" name="Text Box 38"/>
          <p:cNvSpPr txBox="1">
            <a:spLocks noChangeArrowheads="1"/>
          </p:cNvSpPr>
          <p:nvPr/>
        </p:nvSpPr>
        <p:spPr bwMode="auto">
          <a:xfrm>
            <a:off x="365125" y="470688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8" name="Rectangle 137"/>
          <p:cNvSpPr>
            <a:spLocks noChangeArrowheads="1"/>
          </p:cNvSpPr>
          <p:nvPr/>
        </p:nvSpPr>
        <p:spPr bwMode="auto">
          <a:xfrm>
            <a:off x="2076393" y="469126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39" name="Rectangle 138"/>
          <p:cNvSpPr>
            <a:spLocks noChangeArrowheads="1"/>
          </p:cNvSpPr>
          <p:nvPr/>
        </p:nvSpPr>
        <p:spPr bwMode="auto">
          <a:xfrm>
            <a:off x="3206450" y="469126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0" name="Rectangle 139"/>
          <p:cNvSpPr>
            <a:spLocks noChangeArrowheads="1"/>
          </p:cNvSpPr>
          <p:nvPr/>
        </p:nvSpPr>
        <p:spPr bwMode="auto">
          <a:xfrm>
            <a:off x="4336507" y="469126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1" name="Rectangle 42"/>
          <p:cNvSpPr>
            <a:spLocks noChangeArrowheads="1"/>
          </p:cNvSpPr>
          <p:nvPr/>
        </p:nvSpPr>
        <p:spPr bwMode="auto">
          <a:xfrm>
            <a:off x="5466564" y="469126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42" name="Rectangle 141"/>
          <p:cNvSpPr>
            <a:spLocks noChangeArrowheads="1"/>
          </p:cNvSpPr>
          <p:nvPr/>
        </p:nvSpPr>
        <p:spPr bwMode="auto">
          <a:xfrm>
            <a:off x="6596621" y="469126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3" name="Rectangle 142"/>
          <p:cNvSpPr>
            <a:spLocks noChangeArrowheads="1"/>
          </p:cNvSpPr>
          <p:nvPr/>
        </p:nvSpPr>
        <p:spPr bwMode="auto">
          <a:xfrm>
            <a:off x="7726680" y="4691264"/>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4" name="Text Box 45"/>
          <p:cNvSpPr txBox="1">
            <a:spLocks noChangeArrowheads="1"/>
          </p:cNvSpPr>
          <p:nvPr/>
        </p:nvSpPr>
        <p:spPr bwMode="auto">
          <a:xfrm>
            <a:off x="365125" y="524935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45" name="Rectangle 144"/>
          <p:cNvSpPr>
            <a:spLocks noChangeArrowheads="1"/>
          </p:cNvSpPr>
          <p:nvPr/>
        </p:nvSpPr>
        <p:spPr bwMode="auto">
          <a:xfrm>
            <a:off x="2076393" y="523374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6" name="Rectangle 145"/>
          <p:cNvSpPr>
            <a:spLocks noChangeArrowheads="1"/>
          </p:cNvSpPr>
          <p:nvPr/>
        </p:nvSpPr>
        <p:spPr bwMode="auto">
          <a:xfrm>
            <a:off x="3206450" y="523374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47" name="Rectangle 48"/>
          <p:cNvSpPr>
            <a:spLocks noChangeArrowheads="1"/>
          </p:cNvSpPr>
          <p:nvPr/>
        </p:nvSpPr>
        <p:spPr bwMode="auto">
          <a:xfrm>
            <a:off x="4336507" y="523374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48" name="Rectangle 49"/>
          <p:cNvSpPr>
            <a:spLocks noChangeArrowheads="1"/>
          </p:cNvSpPr>
          <p:nvPr/>
        </p:nvSpPr>
        <p:spPr bwMode="auto">
          <a:xfrm>
            <a:off x="5466564" y="523374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ea typeface="+mn-ea"/>
              <a:cs typeface="Arial" pitchFamily="34" charset="0"/>
            </a:endParaRPr>
          </a:p>
        </p:txBody>
      </p:sp>
      <p:sp>
        <p:nvSpPr>
          <p:cNvPr id="149" name="Rectangle 148"/>
          <p:cNvSpPr>
            <a:spLocks noChangeArrowheads="1"/>
          </p:cNvSpPr>
          <p:nvPr/>
        </p:nvSpPr>
        <p:spPr bwMode="auto">
          <a:xfrm>
            <a:off x="6596621" y="523374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50" name="Rectangle 149"/>
          <p:cNvSpPr>
            <a:spLocks noChangeArrowheads="1"/>
          </p:cNvSpPr>
          <p:nvPr/>
        </p:nvSpPr>
        <p:spPr bwMode="auto">
          <a:xfrm>
            <a:off x="7726680" y="5233740"/>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ea typeface="+mn-ea"/>
              <a:cs typeface="Arial" pitchFamily="34" charset="0"/>
            </a:endParaRPr>
          </a:p>
        </p:txBody>
      </p:sp>
      <p:sp>
        <p:nvSpPr>
          <p:cNvPr id="151" name="Rectangle 52"/>
          <p:cNvSpPr>
            <a:spLocks noChangeArrowheads="1"/>
          </p:cNvSpPr>
          <p:nvPr/>
        </p:nvSpPr>
        <p:spPr bwMode="auto">
          <a:xfrm>
            <a:off x="4710540" y="6184841"/>
            <a:ext cx="325391"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dirty="0">
              <a:ea typeface="+mn-ea"/>
              <a:cs typeface="Arial" pitchFamily="34" charset="0"/>
            </a:endParaRPr>
          </a:p>
        </p:txBody>
      </p:sp>
      <p:sp>
        <p:nvSpPr>
          <p:cNvPr id="152" name="Text Box 54"/>
          <p:cNvSpPr txBox="1">
            <a:spLocks noChangeArrowheads="1"/>
          </p:cNvSpPr>
          <p:nvPr/>
        </p:nvSpPr>
        <p:spPr bwMode="auto">
          <a:xfrm>
            <a:off x="5107699" y="6189950"/>
            <a:ext cx="689291"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153" name="Rectangle 152"/>
          <p:cNvSpPr>
            <a:spLocks noChangeArrowheads="1"/>
          </p:cNvSpPr>
          <p:nvPr/>
        </p:nvSpPr>
        <p:spPr bwMode="auto">
          <a:xfrm>
            <a:off x="6218845" y="6184841"/>
            <a:ext cx="325391"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dirty="0">
              <a:ea typeface="+mn-ea"/>
              <a:cs typeface="Arial" pitchFamily="34" charset="0"/>
            </a:endParaRPr>
          </a:p>
        </p:txBody>
      </p:sp>
      <p:sp>
        <p:nvSpPr>
          <p:cNvPr id="154" name="Text Box 55"/>
          <p:cNvSpPr txBox="1">
            <a:spLocks noChangeArrowheads="1"/>
          </p:cNvSpPr>
          <p:nvPr/>
        </p:nvSpPr>
        <p:spPr bwMode="auto">
          <a:xfrm>
            <a:off x="6616004" y="6189950"/>
            <a:ext cx="424796"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155" name="Rectangle 154"/>
          <p:cNvSpPr>
            <a:spLocks noChangeArrowheads="1"/>
          </p:cNvSpPr>
          <p:nvPr/>
        </p:nvSpPr>
        <p:spPr bwMode="auto">
          <a:xfrm>
            <a:off x="7461051" y="6184841"/>
            <a:ext cx="325391"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dirty="0">
              <a:ea typeface="+mn-ea"/>
              <a:cs typeface="Arial" pitchFamily="34" charset="0"/>
            </a:endParaRPr>
          </a:p>
        </p:txBody>
      </p:sp>
      <p:sp>
        <p:nvSpPr>
          <p:cNvPr id="156" name="Text Box 57"/>
          <p:cNvSpPr txBox="1">
            <a:spLocks noChangeArrowheads="1"/>
          </p:cNvSpPr>
          <p:nvPr/>
        </p:nvSpPr>
        <p:spPr bwMode="auto">
          <a:xfrm>
            <a:off x="7858210" y="6189950"/>
            <a:ext cx="86081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157" name="Text Box 58"/>
          <p:cNvSpPr txBox="1">
            <a:spLocks noChangeArrowheads="1"/>
          </p:cNvSpPr>
          <p:nvPr/>
        </p:nvSpPr>
        <p:spPr bwMode="auto">
          <a:xfrm>
            <a:off x="2167833"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8" name="Text Box 59"/>
          <p:cNvSpPr txBox="1">
            <a:spLocks noChangeArrowheads="1"/>
          </p:cNvSpPr>
          <p:nvPr/>
        </p:nvSpPr>
        <p:spPr bwMode="auto">
          <a:xfrm>
            <a:off x="2167833"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9" name="Text Box 60"/>
          <p:cNvSpPr txBox="1">
            <a:spLocks noChangeArrowheads="1"/>
          </p:cNvSpPr>
          <p:nvPr/>
        </p:nvSpPr>
        <p:spPr bwMode="auto">
          <a:xfrm>
            <a:off x="2167833"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0" name="Text Box 61"/>
          <p:cNvSpPr txBox="1">
            <a:spLocks noChangeArrowheads="1"/>
          </p:cNvSpPr>
          <p:nvPr/>
        </p:nvSpPr>
        <p:spPr bwMode="auto">
          <a:xfrm>
            <a:off x="2167833"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1" name="Text Box 62"/>
          <p:cNvSpPr txBox="1">
            <a:spLocks noChangeArrowheads="1"/>
          </p:cNvSpPr>
          <p:nvPr/>
        </p:nvSpPr>
        <p:spPr bwMode="auto">
          <a:xfrm>
            <a:off x="2167833"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2" name="Text Box 63"/>
          <p:cNvSpPr txBox="1">
            <a:spLocks noChangeArrowheads="1"/>
          </p:cNvSpPr>
          <p:nvPr/>
        </p:nvSpPr>
        <p:spPr bwMode="auto">
          <a:xfrm>
            <a:off x="2167833"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3" name="Text Box 64"/>
          <p:cNvSpPr txBox="1">
            <a:spLocks noChangeArrowheads="1"/>
          </p:cNvSpPr>
          <p:nvPr/>
        </p:nvSpPr>
        <p:spPr bwMode="auto">
          <a:xfrm>
            <a:off x="2167833"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4" name="Text Box 65"/>
          <p:cNvSpPr txBox="1">
            <a:spLocks noChangeArrowheads="1"/>
          </p:cNvSpPr>
          <p:nvPr/>
        </p:nvSpPr>
        <p:spPr bwMode="auto">
          <a:xfrm>
            <a:off x="3297890"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5" name="Text Box 66"/>
          <p:cNvSpPr txBox="1">
            <a:spLocks noChangeArrowheads="1"/>
          </p:cNvSpPr>
          <p:nvPr/>
        </p:nvSpPr>
        <p:spPr bwMode="auto">
          <a:xfrm>
            <a:off x="3297890"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6" name="Text Box 67"/>
          <p:cNvSpPr txBox="1">
            <a:spLocks noChangeArrowheads="1"/>
          </p:cNvSpPr>
          <p:nvPr/>
        </p:nvSpPr>
        <p:spPr bwMode="auto">
          <a:xfrm>
            <a:off x="3297890"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7" name="Text Box 68"/>
          <p:cNvSpPr txBox="1">
            <a:spLocks noChangeArrowheads="1"/>
          </p:cNvSpPr>
          <p:nvPr/>
        </p:nvSpPr>
        <p:spPr bwMode="auto">
          <a:xfrm>
            <a:off x="3297890"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8" name="Text Box 69"/>
          <p:cNvSpPr txBox="1">
            <a:spLocks noChangeArrowheads="1"/>
          </p:cNvSpPr>
          <p:nvPr/>
        </p:nvSpPr>
        <p:spPr bwMode="auto">
          <a:xfrm>
            <a:off x="3297890"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9" name="Text Box 70"/>
          <p:cNvSpPr txBox="1">
            <a:spLocks noChangeArrowheads="1"/>
          </p:cNvSpPr>
          <p:nvPr/>
        </p:nvSpPr>
        <p:spPr bwMode="auto">
          <a:xfrm>
            <a:off x="3297890"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0" name="Text Box 71"/>
          <p:cNvSpPr txBox="1">
            <a:spLocks noChangeArrowheads="1"/>
          </p:cNvSpPr>
          <p:nvPr/>
        </p:nvSpPr>
        <p:spPr bwMode="auto">
          <a:xfrm>
            <a:off x="3297890"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1" name="Text Box 72"/>
          <p:cNvSpPr txBox="1">
            <a:spLocks noChangeArrowheads="1"/>
          </p:cNvSpPr>
          <p:nvPr/>
        </p:nvSpPr>
        <p:spPr bwMode="auto">
          <a:xfrm>
            <a:off x="4427947"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2" name="Text Box 73"/>
          <p:cNvSpPr txBox="1">
            <a:spLocks noChangeArrowheads="1"/>
          </p:cNvSpPr>
          <p:nvPr/>
        </p:nvSpPr>
        <p:spPr bwMode="auto">
          <a:xfrm>
            <a:off x="4427947"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3" name="Text Box 74"/>
          <p:cNvSpPr txBox="1">
            <a:spLocks noChangeArrowheads="1"/>
          </p:cNvSpPr>
          <p:nvPr/>
        </p:nvSpPr>
        <p:spPr bwMode="auto">
          <a:xfrm>
            <a:off x="4427947"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4" name="Text Box 75"/>
          <p:cNvSpPr txBox="1">
            <a:spLocks noChangeArrowheads="1"/>
          </p:cNvSpPr>
          <p:nvPr/>
        </p:nvSpPr>
        <p:spPr bwMode="auto">
          <a:xfrm>
            <a:off x="4427947"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5" name="Text Box 76"/>
          <p:cNvSpPr txBox="1">
            <a:spLocks noChangeArrowheads="1"/>
          </p:cNvSpPr>
          <p:nvPr/>
        </p:nvSpPr>
        <p:spPr bwMode="auto">
          <a:xfrm>
            <a:off x="4427947"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6" name="Text Box 77"/>
          <p:cNvSpPr txBox="1">
            <a:spLocks noChangeArrowheads="1"/>
          </p:cNvSpPr>
          <p:nvPr/>
        </p:nvSpPr>
        <p:spPr bwMode="auto">
          <a:xfrm>
            <a:off x="4427947"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7" name="Text Box 78"/>
          <p:cNvSpPr txBox="1">
            <a:spLocks noChangeArrowheads="1"/>
          </p:cNvSpPr>
          <p:nvPr/>
        </p:nvSpPr>
        <p:spPr bwMode="auto">
          <a:xfrm>
            <a:off x="4427947"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8" name="Text Box 79"/>
          <p:cNvSpPr txBox="1">
            <a:spLocks noChangeArrowheads="1"/>
          </p:cNvSpPr>
          <p:nvPr/>
        </p:nvSpPr>
        <p:spPr bwMode="auto">
          <a:xfrm>
            <a:off x="5558004"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9" name="Text Box 80"/>
          <p:cNvSpPr txBox="1">
            <a:spLocks noChangeArrowheads="1"/>
          </p:cNvSpPr>
          <p:nvPr/>
        </p:nvSpPr>
        <p:spPr bwMode="auto">
          <a:xfrm>
            <a:off x="5558004"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0" name="Text Box 81"/>
          <p:cNvSpPr txBox="1">
            <a:spLocks noChangeArrowheads="1"/>
          </p:cNvSpPr>
          <p:nvPr/>
        </p:nvSpPr>
        <p:spPr bwMode="auto">
          <a:xfrm>
            <a:off x="5558004"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1" name="Text Box 82"/>
          <p:cNvSpPr txBox="1">
            <a:spLocks noChangeArrowheads="1"/>
          </p:cNvSpPr>
          <p:nvPr/>
        </p:nvSpPr>
        <p:spPr bwMode="auto">
          <a:xfrm>
            <a:off x="5558004"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2" name="Text Box 83"/>
          <p:cNvSpPr txBox="1">
            <a:spLocks noChangeArrowheads="1"/>
          </p:cNvSpPr>
          <p:nvPr/>
        </p:nvSpPr>
        <p:spPr bwMode="auto">
          <a:xfrm>
            <a:off x="5558004"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3" name="Text Box 84"/>
          <p:cNvSpPr txBox="1">
            <a:spLocks noChangeArrowheads="1"/>
          </p:cNvSpPr>
          <p:nvPr/>
        </p:nvSpPr>
        <p:spPr bwMode="auto">
          <a:xfrm>
            <a:off x="5558004"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4" name="Text Box 85"/>
          <p:cNvSpPr txBox="1">
            <a:spLocks noChangeArrowheads="1"/>
          </p:cNvSpPr>
          <p:nvPr/>
        </p:nvSpPr>
        <p:spPr bwMode="auto">
          <a:xfrm>
            <a:off x="5558004"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5" name="Text Box 86"/>
          <p:cNvSpPr txBox="1">
            <a:spLocks noChangeArrowheads="1"/>
          </p:cNvSpPr>
          <p:nvPr/>
        </p:nvSpPr>
        <p:spPr bwMode="auto">
          <a:xfrm>
            <a:off x="6688061"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6" name="Text Box 87"/>
          <p:cNvSpPr txBox="1">
            <a:spLocks noChangeArrowheads="1"/>
          </p:cNvSpPr>
          <p:nvPr/>
        </p:nvSpPr>
        <p:spPr bwMode="auto">
          <a:xfrm>
            <a:off x="6688061"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7" name="Text Box 88"/>
          <p:cNvSpPr txBox="1">
            <a:spLocks noChangeArrowheads="1"/>
          </p:cNvSpPr>
          <p:nvPr/>
        </p:nvSpPr>
        <p:spPr bwMode="auto">
          <a:xfrm>
            <a:off x="6688061"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8" name="Text Box 89"/>
          <p:cNvSpPr txBox="1">
            <a:spLocks noChangeArrowheads="1"/>
          </p:cNvSpPr>
          <p:nvPr/>
        </p:nvSpPr>
        <p:spPr bwMode="auto">
          <a:xfrm>
            <a:off x="6688061"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9" name="Text Box 90"/>
          <p:cNvSpPr txBox="1">
            <a:spLocks noChangeArrowheads="1"/>
          </p:cNvSpPr>
          <p:nvPr/>
        </p:nvSpPr>
        <p:spPr bwMode="auto">
          <a:xfrm>
            <a:off x="6688061"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0" name="Text Box 91"/>
          <p:cNvSpPr txBox="1">
            <a:spLocks noChangeArrowheads="1"/>
          </p:cNvSpPr>
          <p:nvPr/>
        </p:nvSpPr>
        <p:spPr bwMode="auto">
          <a:xfrm>
            <a:off x="6688061"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1" name="Text Box 92"/>
          <p:cNvSpPr txBox="1">
            <a:spLocks noChangeArrowheads="1"/>
          </p:cNvSpPr>
          <p:nvPr/>
        </p:nvSpPr>
        <p:spPr bwMode="auto">
          <a:xfrm>
            <a:off x="6688061"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2" name="Text Box 93"/>
          <p:cNvSpPr txBox="1">
            <a:spLocks noChangeArrowheads="1"/>
          </p:cNvSpPr>
          <p:nvPr/>
        </p:nvSpPr>
        <p:spPr bwMode="auto">
          <a:xfrm>
            <a:off x="7818120" y="222952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3" name="Text Box 94"/>
          <p:cNvSpPr txBox="1">
            <a:spLocks noChangeArrowheads="1"/>
          </p:cNvSpPr>
          <p:nvPr/>
        </p:nvSpPr>
        <p:spPr bwMode="auto">
          <a:xfrm>
            <a:off x="7818120" y="277200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4" name="Text Box 95"/>
          <p:cNvSpPr txBox="1">
            <a:spLocks noChangeArrowheads="1"/>
          </p:cNvSpPr>
          <p:nvPr/>
        </p:nvSpPr>
        <p:spPr bwMode="auto">
          <a:xfrm>
            <a:off x="7818120" y="331447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5" name="Text Box 96"/>
          <p:cNvSpPr txBox="1">
            <a:spLocks noChangeArrowheads="1"/>
          </p:cNvSpPr>
          <p:nvPr/>
        </p:nvSpPr>
        <p:spPr bwMode="auto">
          <a:xfrm>
            <a:off x="7818120" y="385695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6" name="Text Box 97"/>
          <p:cNvSpPr txBox="1">
            <a:spLocks noChangeArrowheads="1"/>
          </p:cNvSpPr>
          <p:nvPr/>
        </p:nvSpPr>
        <p:spPr bwMode="auto">
          <a:xfrm>
            <a:off x="7818120" y="439943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7" name="Text Box 98"/>
          <p:cNvSpPr txBox="1">
            <a:spLocks noChangeArrowheads="1"/>
          </p:cNvSpPr>
          <p:nvPr/>
        </p:nvSpPr>
        <p:spPr bwMode="auto">
          <a:xfrm>
            <a:off x="7818120" y="494190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8" name="Text Box 99"/>
          <p:cNvSpPr txBox="1">
            <a:spLocks noChangeArrowheads="1"/>
          </p:cNvSpPr>
          <p:nvPr/>
        </p:nvSpPr>
        <p:spPr bwMode="auto">
          <a:xfrm>
            <a:off x="7818120" y="548438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200" name="TextBox 199"/>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sp>
        <p:nvSpPr>
          <p:cNvPr id="269" name="Rectangle 238"/>
          <p:cNvSpPr>
            <a:spLocks noChangeArrowheads="1"/>
          </p:cNvSpPr>
          <p:nvPr/>
        </p:nvSpPr>
        <p:spPr bwMode="auto">
          <a:xfrm>
            <a:off x="5001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700" dirty="0">
              <a:ea typeface="+mn-ea"/>
              <a:cs typeface="Arial" pitchFamily="34" charset="0"/>
            </a:endParaRPr>
          </a:p>
        </p:txBody>
      </p:sp>
      <p:sp>
        <p:nvSpPr>
          <p:cNvPr id="270" name="Rectangle 239"/>
          <p:cNvSpPr>
            <a:spLocks noChangeArrowheads="1"/>
          </p:cNvSpPr>
          <p:nvPr/>
        </p:nvSpPr>
        <p:spPr bwMode="auto">
          <a:xfrm>
            <a:off x="5996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700" dirty="0">
              <a:ea typeface="+mn-ea"/>
              <a:cs typeface="Arial" pitchFamily="34" charset="0"/>
            </a:endParaRPr>
          </a:p>
        </p:txBody>
      </p:sp>
      <p:sp>
        <p:nvSpPr>
          <p:cNvPr id="271" name="Rectangle 240"/>
          <p:cNvSpPr>
            <a:spLocks noChangeArrowheads="1"/>
          </p:cNvSpPr>
          <p:nvPr/>
        </p:nvSpPr>
        <p:spPr bwMode="auto">
          <a:xfrm>
            <a:off x="6763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700" dirty="0">
              <a:ea typeface="+mn-ea"/>
              <a:cs typeface="Arial" pitchFamily="34" charset="0"/>
            </a:endParaRPr>
          </a:p>
        </p:txBody>
      </p:sp>
      <p:sp>
        <p:nvSpPr>
          <p:cNvPr id="272" name="Rectangle 241"/>
          <p:cNvSpPr>
            <a:spLocks noChangeArrowheads="1"/>
          </p:cNvSpPr>
          <p:nvPr/>
        </p:nvSpPr>
        <p:spPr bwMode="auto">
          <a:xfrm>
            <a:off x="7895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00" dirty="0">
              <a:ea typeface="+mn-ea"/>
              <a:cs typeface="Arial" pitchFamily="34" charset="0"/>
            </a:endParaRPr>
          </a:p>
        </p:txBody>
      </p:sp>
      <p:sp>
        <p:nvSpPr>
          <p:cNvPr id="273" name="Rectangle 242"/>
          <p:cNvSpPr>
            <a:spLocks noChangeArrowheads="1"/>
          </p:cNvSpPr>
          <p:nvPr/>
        </p:nvSpPr>
        <p:spPr bwMode="auto">
          <a:xfrm>
            <a:off x="5338893" y="6223404"/>
            <a:ext cx="5943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Advantaged</a:t>
            </a:r>
          </a:p>
        </p:txBody>
      </p:sp>
      <p:sp>
        <p:nvSpPr>
          <p:cNvPr id="274" name="Rectangle 243"/>
          <p:cNvSpPr>
            <a:spLocks noChangeArrowheads="1"/>
          </p:cNvSpPr>
          <p:nvPr/>
        </p:nvSpPr>
        <p:spPr bwMode="auto">
          <a:xfrm>
            <a:off x="6334211" y="6223404"/>
            <a:ext cx="3657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eutral</a:t>
            </a:r>
          </a:p>
        </p:txBody>
      </p:sp>
      <p:sp>
        <p:nvSpPr>
          <p:cNvPr id="275" name="Rectangle 244"/>
          <p:cNvSpPr>
            <a:spLocks noChangeArrowheads="1"/>
          </p:cNvSpPr>
          <p:nvPr/>
        </p:nvSpPr>
        <p:spPr bwMode="auto">
          <a:xfrm>
            <a:off x="7100929" y="6223404"/>
            <a:ext cx="73152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Disadvantaged</a:t>
            </a:r>
          </a:p>
        </p:txBody>
      </p:sp>
      <p:sp>
        <p:nvSpPr>
          <p:cNvPr id="276" name="Rectangle 245"/>
          <p:cNvSpPr>
            <a:spLocks noChangeArrowheads="1"/>
          </p:cNvSpPr>
          <p:nvPr/>
        </p:nvSpPr>
        <p:spPr bwMode="auto">
          <a:xfrm>
            <a:off x="8233410" y="6223404"/>
            <a:ext cx="54864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o position</a:t>
            </a:r>
          </a:p>
        </p:txBody>
      </p:sp>
      <p:cxnSp>
        <p:nvCxnSpPr>
          <p:cNvPr id="277" name="iBar:31/270"/>
          <p:cNvCxnSpPr/>
          <p:nvPr/>
        </p:nvCxnSpPr>
        <p:spPr>
          <a:xfrm>
            <a:off x="2082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2082988" y="1617838"/>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279" name="iBar:31/270"/>
          <p:cNvCxnSpPr/>
          <p:nvPr/>
        </p:nvCxnSpPr>
        <p:spPr>
          <a:xfrm>
            <a:off x="5736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5736787" y="1612612"/>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358" name="iBar:31/270"/>
          <p:cNvCxnSpPr/>
          <p:nvPr/>
        </p:nvCxnSpPr>
        <p:spPr>
          <a:xfrm>
            <a:off x="7183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7183873" y="1617838"/>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291" name="Rectangle 12"/>
          <p:cNvSpPr>
            <a:spLocks noChangeArrowheads="1"/>
          </p:cNvSpPr>
          <p:nvPr/>
        </p:nvSpPr>
        <p:spPr bwMode="auto">
          <a:xfrm>
            <a:off x="365125" y="2009890"/>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293" name="Rectangle 73"/>
          <p:cNvSpPr>
            <a:spLocks noChangeArrowheads="1"/>
          </p:cNvSpPr>
          <p:nvPr/>
        </p:nvSpPr>
        <p:spPr bwMode="auto">
          <a:xfrm>
            <a:off x="2082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297" name="AutoShape 246"/>
          <p:cNvSpPr>
            <a:spLocks noChangeArrowheads="1"/>
          </p:cNvSpPr>
          <p:nvPr/>
        </p:nvSpPr>
        <p:spPr bwMode="auto">
          <a:xfrm rot="16200000">
            <a:off x="2169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0" name="Rectangle 67"/>
          <p:cNvSpPr>
            <a:spLocks noChangeArrowheads="1"/>
          </p:cNvSpPr>
          <p:nvPr/>
        </p:nvSpPr>
        <p:spPr bwMode="auto">
          <a:xfrm>
            <a:off x="2037268"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03" name="Rectangle 73"/>
          <p:cNvSpPr>
            <a:spLocks noChangeArrowheads="1"/>
          </p:cNvSpPr>
          <p:nvPr/>
        </p:nvSpPr>
        <p:spPr bwMode="auto">
          <a:xfrm>
            <a:off x="4290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06" name="AutoShape 246"/>
          <p:cNvSpPr>
            <a:spLocks noChangeArrowheads="1"/>
          </p:cNvSpPr>
          <p:nvPr/>
        </p:nvSpPr>
        <p:spPr bwMode="auto">
          <a:xfrm rot="16200000">
            <a:off x="4376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9" name="Rectangle 67"/>
          <p:cNvSpPr>
            <a:spLocks noChangeArrowheads="1"/>
          </p:cNvSpPr>
          <p:nvPr/>
        </p:nvSpPr>
        <p:spPr bwMode="auto">
          <a:xfrm>
            <a:off x="4244458"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2" name="Rectangle 73"/>
          <p:cNvSpPr>
            <a:spLocks noChangeArrowheads="1"/>
          </p:cNvSpPr>
          <p:nvPr/>
        </p:nvSpPr>
        <p:spPr bwMode="auto">
          <a:xfrm>
            <a:off x="2524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13" name="AutoShape 246"/>
          <p:cNvSpPr>
            <a:spLocks noChangeArrowheads="1"/>
          </p:cNvSpPr>
          <p:nvPr/>
        </p:nvSpPr>
        <p:spPr bwMode="auto">
          <a:xfrm rot="16200000">
            <a:off x="2601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14" name="Rectangle 67"/>
          <p:cNvSpPr>
            <a:spLocks noChangeArrowheads="1"/>
          </p:cNvSpPr>
          <p:nvPr/>
        </p:nvSpPr>
        <p:spPr bwMode="auto">
          <a:xfrm>
            <a:off x="2478706"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5" name="Rectangle 73"/>
          <p:cNvSpPr>
            <a:spLocks noChangeArrowheads="1"/>
          </p:cNvSpPr>
          <p:nvPr/>
        </p:nvSpPr>
        <p:spPr bwMode="auto">
          <a:xfrm>
            <a:off x="5173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18" name="AutoShape 246"/>
          <p:cNvSpPr>
            <a:spLocks noChangeArrowheads="1"/>
          </p:cNvSpPr>
          <p:nvPr/>
        </p:nvSpPr>
        <p:spPr bwMode="auto">
          <a:xfrm rot="16200000">
            <a:off x="5250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21" name="Rectangle 67"/>
          <p:cNvSpPr>
            <a:spLocks noChangeArrowheads="1"/>
          </p:cNvSpPr>
          <p:nvPr/>
        </p:nvSpPr>
        <p:spPr bwMode="auto">
          <a:xfrm>
            <a:off x="5127337"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24" name="Rectangle 73"/>
          <p:cNvSpPr>
            <a:spLocks noChangeArrowheads="1"/>
          </p:cNvSpPr>
          <p:nvPr/>
        </p:nvSpPr>
        <p:spPr bwMode="auto">
          <a:xfrm>
            <a:off x="4731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27" name="AutoShape 246"/>
          <p:cNvSpPr>
            <a:spLocks noChangeArrowheads="1"/>
          </p:cNvSpPr>
          <p:nvPr/>
        </p:nvSpPr>
        <p:spPr bwMode="auto">
          <a:xfrm rot="16200000">
            <a:off x="4808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30" name="Rectangle 67"/>
          <p:cNvSpPr>
            <a:spLocks noChangeArrowheads="1"/>
          </p:cNvSpPr>
          <p:nvPr/>
        </p:nvSpPr>
        <p:spPr bwMode="auto">
          <a:xfrm>
            <a:off x="4685896"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33" name="Rectangle 73"/>
          <p:cNvSpPr>
            <a:spLocks noChangeArrowheads="1"/>
          </p:cNvSpPr>
          <p:nvPr/>
        </p:nvSpPr>
        <p:spPr bwMode="auto">
          <a:xfrm>
            <a:off x="2965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36" name="AutoShape 246"/>
          <p:cNvSpPr>
            <a:spLocks noChangeArrowheads="1"/>
          </p:cNvSpPr>
          <p:nvPr/>
        </p:nvSpPr>
        <p:spPr bwMode="auto">
          <a:xfrm rot="16200000">
            <a:off x="3043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39" name="Rectangle 67"/>
          <p:cNvSpPr>
            <a:spLocks noChangeArrowheads="1"/>
          </p:cNvSpPr>
          <p:nvPr/>
        </p:nvSpPr>
        <p:spPr bwMode="auto">
          <a:xfrm>
            <a:off x="2920144"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3" name="Rectangle 73"/>
          <p:cNvSpPr>
            <a:spLocks noChangeArrowheads="1"/>
          </p:cNvSpPr>
          <p:nvPr/>
        </p:nvSpPr>
        <p:spPr bwMode="auto">
          <a:xfrm>
            <a:off x="3407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44" name="AutoShape 246"/>
          <p:cNvSpPr>
            <a:spLocks noChangeArrowheads="1"/>
          </p:cNvSpPr>
          <p:nvPr/>
        </p:nvSpPr>
        <p:spPr bwMode="auto">
          <a:xfrm rot="16200000">
            <a:off x="3484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45" name="Rectangle 67"/>
          <p:cNvSpPr>
            <a:spLocks noChangeArrowheads="1"/>
          </p:cNvSpPr>
          <p:nvPr/>
        </p:nvSpPr>
        <p:spPr bwMode="auto">
          <a:xfrm>
            <a:off x="3361582"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6" name="Rectangle 73"/>
          <p:cNvSpPr>
            <a:spLocks noChangeArrowheads="1"/>
          </p:cNvSpPr>
          <p:nvPr/>
        </p:nvSpPr>
        <p:spPr bwMode="auto">
          <a:xfrm>
            <a:off x="3848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47" name="AutoShape 246"/>
          <p:cNvSpPr>
            <a:spLocks noChangeArrowheads="1"/>
          </p:cNvSpPr>
          <p:nvPr/>
        </p:nvSpPr>
        <p:spPr bwMode="auto">
          <a:xfrm rot="16200000">
            <a:off x="3935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48" name="Rectangle 67"/>
          <p:cNvSpPr>
            <a:spLocks noChangeArrowheads="1"/>
          </p:cNvSpPr>
          <p:nvPr/>
        </p:nvSpPr>
        <p:spPr bwMode="auto">
          <a:xfrm>
            <a:off x="3803020"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9" name="Rectangle 73"/>
          <p:cNvSpPr>
            <a:spLocks noChangeArrowheads="1"/>
          </p:cNvSpPr>
          <p:nvPr/>
        </p:nvSpPr>
        <p:spPr bwMode="auto">
          <a:xfrm>
            <a:off x="5736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0" name="AutoShape 246"/>
          <p:cNvSpPr>
            <a:spLocks noChangeArrowheads="1"/>
          </p:cNvSpPr>
          <p:nvPr/>
        </p:nvSpPr>
        <p:spPr bwMode="auto">
          <a:xfrm rot="16200000">
            <a:off x="5823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1" name="Rectangle 67"/>
          <p:cNvSpPr>
            <a:spLocks noChangeArrowheads="1"/>
          </p:cNvSpPr>
          <p:nvPr/>
        </p:nvSpPr>
        <p:spPr bwMode="auto">
          <a:xfrm>
            <a:off x="5691067"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2" name="Rectangle 73"/>
          <p:cNvSpPr>
            <a:spLocks noChangeArrowheads="1"/>
          </p:cNvSpPr>
          <p:nvPr/>
        </p:nvSpPr>
        <p:spPr bwMode="auto">
          <a:xfrm>
            <a:off x="6178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3" name="AutoShape 246"/>
          <p:cNvSpPr>
            <a:spLocks noChangeArrowheads="1"/>
          </p:cNvSpPr>
          <p:nvPr/>
        </p:nvSpPr>
        <p:spPr bwMode="auto">
          <a:xfrm rot="16200000">
            <a:off x="6255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4" name="Rectangle 67"/>
          <p:cNvSpPr>
            <a:spLocks noChangeArrowheads="1"/>
          </p:cNvSpPr>
          <p:nvPr/>
        </p:nvSpPr>
        <p:spPr bwMode="auto">
          <a:xfrm>
            <a:off x="6132505"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5" name="Rectangle 73"/>
          <p:cNvSpPr>
            <a:spLocks noChangeArrowheads="1"/>
          </p:cNvSpPr>
          <p:nvPr/>
        </p:nvSpPr>
        <p:spPr bwMode="auto">
          <a:xfrm>
            <a:off x="6619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6" name="AutoShape 246"/>
          <p:cNvSpPr>
            <a:spLocks noChangeArrowheads="1"/>
          </p:cNvSpPr>
          <p:nvPr/>
        </p:nvSpPr>
        <p:spPr bwMode="auto">
          <a:xfrm rot="16200000">
            <a:off x="6696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57" name="Rectangle 67"/>
          <p:cNvSpPr>
            <a:spLocks noChangeArrowheads="1"/>
          </p:cNvSpPr>
          <p:nvPr/>
        </p:nvSpPr>
        <p:spPr bwMode="auto">
          <a:xfrm>
            <a:off x="6573943"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0" name="Rectangle 73"/>
          <p:cNvSpPr>
            <a:spLocks noChangeArrowheads="1"/>
          </p:cNvSpPr>
          <p:nvPr/>
        </p:nvSpPr>
        <p:spPr bwMode="auto">
          <a:xfrm>
            <a:off x="7625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1" name="AutoShape 246"/>
          <p:cNvSpPr>
            <a:spLocks noChangeArrowheads="1"/>
          </p:cNvSpPr>
          <p:nvPr/>
        </p:nvSpPr>
        <p:spPr bwMode="auto">
          <a:xfrm rot="16200000">
            <a:off x="7711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2" name="Rectangle 67"/>
          <p:cNvSpPr>
            <a:spLocks noChangeArrowheads="1"/>
          </p:cNvSpPr>
          <p:nvPr/>
        </p:nvSpPr>
        <p:spPr bwMode="auto">
          <a:xfrm>
            <a:off x="7579591"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3" name="Rectangle 73"/>
          <p:cNvSpPr>
            <a:spLocks noChangeArrowheads="1"/>
          </p:cNvSpPr>
          <p:nvPr/>
        </p:nvSpPr>
        <p:spPr bwMode="auto">
          <a:xfrm>
            <a:off x="8508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4" name="AutoShape 246"/>
          <p:cNvSpPr>
            <a:spLocks noChangeArrowheads="1"/>
          </p:cNvSpPr>
          <p:nvPr/>
        </p:nvSpPr>
        <p:spPr bwMode="auto">
          <a:xfrm rot="16200000">
            <a:off x="8585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5" name="Rectangle 67"/>
          <p:cNvSpPr>
            <a:spLocks noChangeArrowheads="1"/>
          </p:cNvSpPr>
          <p:nvPr/>
        </p:nvSpPr>
        <p:spPr bwMode="auto">
          <a:xfrm>
            <a:off x="8462470"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6" name="Rectangle 73"/>
          <p:cNvSpPr>
            <a:spLocks noChangeArrowheads="1"/>
          </p:cNvSpPr>
          <p:nvPr/>
        </p:nvSpPr>
        <p:spPr bwMode="auto">
          <a:xfrm>
            <a:off x="8066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7" name="AutoShape 246"/>
          <p:cNvSpPr>
            <a:spLocks noChangeArrowheads="1"/>
          </p:cNvSpPr>
          <p:nvPr/>
        </p:nvSpPr>
        <p:spPr bwMode="auto">
          <a:xfrm rot="16200000">
            <a:off x="8144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68" name="Rectangle 67"/>
          <p:cNvSpPr>
            <a:spLocks noChangeArrowheads="1"/>
          </p:cNvSpPr>
          <p:nvPr/>
        </p:nvSpPr>
        <p:spPr bwMode="auto">
          <a:xfrm>
            <a:off x="8021029"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9" name="Rectangle 73"/>
          <p:cNvSpPr>
            <a:spLocks noChangeArrowheads="1"/>
          </p:cNvSpPr>
          <p:nvPr/>
        </p:nvSpPr>
        <p:spPr bwMode="auto">
          <a:xfrm>
            <a:off x="7183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70" name="AutoShape 246"/>
          <p:cNvSpPr>
            <a:spLocks noChangeArrowheads="1"/>
          </p:cNvSpPr>
          <p:nvPr/>
        </p:nvSpPr>
        <p:spPr bwMode="auto">
          <a:xfrm rot="16200000">
            <a:off x="7270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71" name="Rectangle 67"/>
          <p:cNvSpPr>
            <a:spLocks noChangeArrowheads="1"/>
          </p:cNvSpPr>
          <p:nvPr/>
        </p:nvSpPr>
        <p:spPr bwMode="auto">
          <a:xfrm>
            <a:off x="7138153" y="211306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72" name="Rectangle 12"/>
          <p:cNvSpPr>
            <a:spLocks noChangeArrowheads="1"/>
          </p:cNvSpPr>
          <p:nvPr/>
        </p:nvSpPr>
        <p:spPr bwMode="auto">
          <a:xfrm>
            <a:off x="365125" y="2414834"/>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373" name="Rectangle 73"/>
          <p:cNvSpPr>
            <a:spLocks noChangeArrowheads="1"/>
          </p:cNvSpPr>
          <p:nvPr/>
        </p:nvSpPr>
        <p:spPr bwMode="auto">
          <a:xfrm>
            <a:off x="2082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74" name="AutoShape 246"/>
          <p:cNvSpPr>
            <a:spLocks noChangeArrowheads="1"/>
          </p:cNvSpPr>
          <p:nvPr/>
        </p:nvSpPr>
        <p:spPr bwMode="auto">
          <a:xfrm rot="16200000">
            <a:off x="2160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75" name="Rectangle 67"/>
          <p:cNvSpPr>
            <a:spLocks noChangeArrowheads="1"/>
          </p:cNvSpPr>
          <p:nvPr/>
        </p:nvSpPr>
        <p:spPr bwMode="auto">
          <a:xfrm>
            <a:off x="2037268"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1" name="Rectangle 73"/>
          <p:cNvSpPr>
            <a:spLocks noChangeArrowheads="1"/>
          </p:cNvSpPr>
          <p:nvPr/>
        </p:nvSpPr>
        <p:spPr bwMode="auto">
          <a:xfrm>
            <a:off x="4290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82" name="AutoShape 246"/>
          <p:cNvSpPr>
            <a:spLocks noChangeArrowheads="1"/>
          </p:cNvSpPr>
          <p:nvPr/>
        </p:nvSpPr>
        <p:spPr bwMode="auto">
          <a:xfrm rot="16200000">
            <a:off x="4376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83" name="Rectangle 67"/>
          <p:cNvSpPr>
            <a:spLocks noChangeArrowheads="1"/>
          </p:cNvSpPr>
          <p:nvPr/>
        </p:nvSpPr>
        <p:spPr bwMode="auto">
          <a:xfrm>
            <a:off x="4244458"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4" name="Rectangle 73"/>
          <p:cNvSpPr>
            <a:spLocks noChangeArrowheads="1"/>
          </p:cNvSpPr>
          <p:nvPr/>
        </p:nvSpPr>
        <p:spPr bwMode="auto">
          <a:xfrm>
            <a:off x="2524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5" name="AutoShape 246"/>
          <p:cNvSpPr>
            <a:spLocks noChangeArrowheads="1"/>
          </p:cNvSpPr>
          <p:nvPr/>
        </p:nvSpPr>
        <p:spPr bwMode="auto">
          <a:xfrm rot="16200000">
            <a:off x="2609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86" name="Rectangle 67"/>
          <p:cNvSpPr>
            <a:spLocks noChangeArrowheads="1"/>
          </p:cNvSpPr>
          <p:nvPr/>
        </p:nvSpPr>
        <p:spPr bwMode="auto">
          <a:xfrm>
            <a:off x="2478706"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7" name="Rectangle 73"/>
          <p:cNvSpPr>
            <a:spLocks noChangeArrowheads="1"/>
          </p:cNvSpPr>
          <p:nvPr/>
        </p:nvSpPr>
        <p:spPr bwMode="auto">
          <a:xfrm>
            <a:off x="2965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88" name="AutoShape 246"/>
          <p:cNvSpPr>
            <a:spLocks noChangeArrowheads="1"/>
          </p:cNvSpPr>
          <p:nvPr/>
        </p:nvSpPr>
        <p:spPr bwMode="auto">
          <a:xfrm rot="16200000">
            <a:off x="3052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9" name="Rectangle 67"/>
          <p:cNvSpPr>
            <a:spLocks noChangeArrowheads="1"/>
          </p:cNvSpPr>
          <p:nvPr/>
        </p:nvSpPr>
        <p:spPr bwMode="auto">
          <a:xfrm>
            <a:off x="2920144"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0" name="Rectangle 73"/>
          <p:cNvSpPr>
            <a:spLocks noChangeArrowheads="1"/>
          </p:cNvSpPr>
          <p:nvPr/>
        </p:nvSpPr>
        <p:spPr bwMode="auto">
          <a:xfrm>
            <a:off x="3407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1" name="AutoShape 246"/>
          <p:cNvSpPr>
            <a:spLocks noChangeArrowheads="1"/>
          </p:cNvSpPr>
          <p:nvPr/>
        </p:nvSpPr>
        <p:spPr bwMode="auto">
          <a:xfrm rot="16200000">
            <a:off x="3484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2" name="Rectangle 67"/>
          <p:cNvSpPr>
            <a:spLocks noChangeArrowheads="1"/>
          </p:cNvSpPr>
          <p:nvPr/>
        </p:nvSpPr>
        <p:spPr bwMode="auto">
          <a:xfrm>
            <a:off x="3361582"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3" name="Rectangle 73"/>
          <p:cNvSpPr>
            <a:spLocks noChangeArrowheads="1"/>
          </p:cNvSpPr>
          <p:nvPr/>
        </p:nvSpPr>
        <p:spPr bwMode="auto">
          <a:xfrm>
            <a:off x="3848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4" name="AutoShape 246"/>
          <p:cNvSpPr>
            <a:spLocks noChangeArrowheads="1"/>
          </p:cNvSpPr>
          <p:nvPr/>
        </p:nvSpPr>
        <p:spPr bwMode="auto">
          <a:xfrm rot="16200000">
            <a:off x="3926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5" name="Rectangle 67"/>
          <p:cNvSpPr>
            <a:spLocks noChangeArrowheads="1"/>
          </p:cNvSpPr>
          <p:nvPr/>
        </p:nvSpPr>
        <p:spPr bwMode="auto">
          <a:xfrm>
            <a:off x="3803020"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6" name="Rectangle 73"/>
          <p:cNvSpPr>
            <a:spLocks noChangeArrowheads="1"/>
          </p:cNvSpPr>
          <p:nvPr/>
        </p:nvSpPr>
        <p:spPr bwMode="auto">
          <a:xfrm>
            <a:off x="5736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7" name="AutoShape 246"/>
          <p:cNvSpPr>
            <a:spLocks noChangeArrowheads="1"/>
          </p:cNvSpPr>
          <p:nvPr/>
        </p:nvSpPr>
        <p:spPr bwMode="auto">
          <a:xfrm rot="16200000">
            <a:off x="5823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398" name="Rectangle 67"/>
          <p:cNvSpPr>
            <a:spLocks noChangeArrowheads="1"/>
          </p:cNvSpPr>
          <p:nvPr/>
        </p:nvSpPr>
        <p:spPr bwMode="auto">
          <a:xfrm>
            <a:off x="5691067"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9" name="Rectangle 73"/>
          <p:cNvSpPr>
            <a:spLocks noChangeArrowheads="1"/>
          </p:cNvSpPr>
          <p:nvPr/>
        </p:nvSpPr>
        <p:spPr bwMode="auto">
          <a:xfrm>
            <a:off x="6178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0" name="AutoShape 246"/>
          <p:cNvSpPr>
            <a:spLocks noChangeArrowheads="1"/>
          </p:cNvSpPr>
          <p:nvPr/>
        </p:nvSpPr>
        <p:spPr bwMode="auto">
          <a:xfrm rot="16200000">
            <a:off x="6255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1" name="Rectangle 67"/>
          <p:cNvSpPr>
            <a:spLocks noChangeArrowheads="1"/>
          </p:cNvSpPr>
          <p:nvPr/>
        </p:nvSpPr>
        <p:spPr bwMode="auto">
          <a:xfrm>
            <a:off x="6132505"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2" name="Rectangle 73"/>
          <p:cNvSpPr>
            <a:spLocks noChangeArrowheads="1"/>
          </p:cNvSpPr>
          <p:nvPr/>
        </p:nvSpPr>
        <p:spPr bwMode="auto">
          <a:xfrm>
            <a:off x="6619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3" name="AutoShape 246"/>
          <p:cNvSpPr>
            <a:spLocks noChangeArrowheads="1"/>
          </p:cNvSpPr>
          <p:nvPr/>
        </p:nvSpPr>
        <p:spPr bwMode="auto">
          <a:xfrm rot="16200000">
            <a:off x="6696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4" name="Rectangle 67"/>
          <p:cNvSpPr>
            <a:spLocks noChangeArrowheads="1"/>
          </p:cNvSpPr>
          <p:nvPr/>
        </p:nvSpPr>
        <p:spPr bwMode="auto">
          <a:xfrm>
            <a:off x="6573943"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5" name="Rectangle 73"/>
          <p:cNvSpPr>
            <a:spLocks noChangeArrowheads="1"/>
          </p:cNvSpPr>
          <p:nvPr/>
        </p:nvSpPr>
        <p:spPr bwMode="auto">
          <a:xfrm>
            <a:off x="7625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6" name="AutoShape 246"/>
          <p:cNvSpPr>
            <a:spLocks noChangeArrowheads="1"/>
          </p:cNvSpPr>
          <p:nvPr/>
        </p:nvSpPr>
        <p:spPr bwMode="auto">
          <a:xfrm rot="16200000">
            <a:off x="7711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7" name="Rectangle 67"/>
          <p:cNvSpPr>
            <a:spLocks noChangeArrowheads="1"/>
          </p:cNvSpPr>
          <p:nvPr/>
        </p:nvSpPr>
        <p:spPr bwMode="auto">
          <a:xfrm>
            <a:off x="7579591"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8" name="Rectangle 73"/>
          <p:cNvSpPr>
            <a:spLocks noChangeArrowheads="1"/>
          </p:cNvSpPr>
          <p:nvPr/>
        </p:nvSpPr>
        <p:spPr bwMode="auto">
          <a:xfrm>
            <a:off x="7183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09" name="AutoShape 246"/>
          <p:cNvSpPr>
            <a:spLocks noChangeArrowheads="1"/>
          </p:cNvSpPr>
          <p:nvPr/>
        </p:nvSpPr>
        <p:spPr bwMode="auto">
          <a:xfrm rot="16200000">
            <a:off x="7270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0" name="Rectangle 67"/>
          <p:cNvSpPr>
            <a:spLocks noChangeArrowheads="1"/>
          </p:cNvSpPr>
          <p:nvPr/>
        </p:nvSpPr>
        <p:spPr bwMode="auto">
          <a:xfrm>
            <a:off x="7138153" y="2556409"/>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1" name="Rectangle 12"/>
          <p:cNvSpPr>
            <a:spLocks noChangeArrowheads="1"/>
          </p:cNvSpPr>
          <p:nvPr/>
        </p:nvSpPr>
        <p:spPr bwMode="auto">
          <a:xfrm>
            <a:off x="365125" y="2858182"/>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12" name="Rectangle 73"/>
          <p:cNvSpPr>
            <a:spLocks noChangeArrowheads="1"/>
          </p:cNvSpPr>
          <p:nvPr/>
        </p:nvSpPr>
        <p:spPr bwMode="auto">
          <a:xfrm>
            <a:off x="2082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3" name="AutoShape 246"/>
          <p:cNvSpPr>
            <a:spLocks noChangeArrowheads="1"/>
          </p:cNvSpPr>
          <p:nvPr/>
        </p:nvSpPr>
        <p:spPr bwMode="auto">
          <a:xfrm rot="16200000">
            <a:off x="2169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4" name="Rectangle 67"/>
          <p:cNvSpPr>
            <a:spLocks noChangeArrowheads="1"/>
          </p:cNvSpPr>
          <p:nvPr/>
        </p:nvSpPr>
        <p:spPr bwMode="auto">
          <a:xfrm>
            <a:off x="2037268"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5" name="Rectangle 73"/>
          <p:cNvSpPr>
            <a:spLocks noChangeArrowheads="1"/>
          </p:cNvSpPr>
          <p:nvPr/>
        </p:nvSpPr>
        <p:spPr bwMode="auto">
          <a:xfrm>
            <a:off x="4290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6" name="AutoShape 246"/>
          <p:cNvSpPr>
            <a:spLocks noChangeArrowheads="1"/>
          </p:cNvSpPr>
          <p:nvPr/>
        </p:nvSpPr>
        <p:spPr bwMode="auto">
          <a:xfrm rot="16200000">
            <a:off x="4376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7" name="Rectangle 67"/>
          <p:cNvSpPr>
            <a:spLocks noChangeArrowheads="1"/>
          </p:cNvSpPr>
          <p:nvPr/>
        </p:nvSpPr>
        <p:spPr bwMode="auto">
          <a:xfrm>
            <a:off x="4244458"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8" name="Rectangle 73"/>
          <p:cNvSpPr>
            <a:spLocks noChangeArrowheads="1"/>
          </p:cNvSpPr>
          <p:nvPr/>
        </p:nvSpPr>
        <p:spPr bwMode="auto">
          <a:xfrm>
            <a:off x="2524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19" name="AutoShape 246"/>
          <p:cNvSpPr>
            <a:spLocks noChangeArrowheads="1"/>
          </p:cNvSpPr>
          <p:nvPr/>
        </p:nvSpPr>
        <p:spPr bwMode="auto">
          <a:xfrm rot="16200000">
            <a:off x="2601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0" name="Rectangle 67"/>
          <p:cNvSpPr>
            <a:spLocks noChangeArrowheads="1"/>
          </p:cNvSpPr>
          <p:nvPr/>
        </p:nvSpPr>
        <p:spPr bwMode="auto">
          <a:xfrm>
            <a:off x="2478706"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1" name="Rectangle 73"/>
          <p:cNvSpPr>
            <a:spLocks noChangeArrowheads="1"/>
          </p:cNvSpPr>
          <p:nvPr/>
        </p:nvSpPr>
        <p:spPr bwMode="auto">
          <a:xfrm>
            <a:off x="5173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2" name="AutoShape 246"/>
          <p:cNvSpPr>
            <a:spLocks noChangeArrowheads="1"/>
          </p:cNvSpPr>
          <p:nvPr/>
        </p:nvSpPr>
        <p:spPr bwMode="auto">
          <a:xfrm rot="16200000">
            <a:off x="5250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3" name="Rectangle 67"/>
          <p:cNvSpPr>
            <a:spLocks noChangeArrowheads="1"/>
          </p:cNvSpPr>
          <p:nvPr/>
        </p:nvSpPr>
        <p:spPr bwMode="auto">
          <a:xfrm>
            <a:off x="5127337"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4" name="Rectangle 73"/>
          <p:cNvSpPr>
            <a:spLocks noChangeArrowheads="1"/>
          </p:cNvSpPr>
          <p:nvPr/>
        </p:nvSpPr>
        <p:spPr bwMode="auto">
          <a:xfrm>
            <a:off x="4731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5" name="AutoShape 246"/>
          <p:cNvSpPr>
            <a:spLocks noChangeArrowheads="1"/>
          </p:cNvSpPr>
          <p:nvPr/>
        </p:nvSpPr>
        <p:spPr bwMode="auto">
          <a:xfrm rot="16200000">
            <a:off x="4808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6" name="Rectangle 67"/>
          <p:cNvSpPr>
            <a:spLocks noChangeArrowheads="1"/>
          </p:cNvSpPr>
          <p:nvPr/>
        </p:nvSpPr>
        <p:spPr bwMode="auto">
          <a:xfrm>
            <a:off x="4685896"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7" name="Rectangle 73"/>
          <p:cNvSpPr>
            <a:spLocks noChangeArrowheads="1"/>
          </p:cNvSpPr>
          <p:nvPr/>
        </p:nvSpPr>
        <p:spPr bwMode="auto">
          <a:xfrm>
            <a:off x="2965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8" name="AutoShape 246"/>
          <p:cNvSpPr>
            <a:spLocks noChangeArrowheads="1"/>
          </p:cNvSpPr>
          <p:nvPr/>
        </p:nvSpPr>
        <p:spPr bwMode="auto">
          <a:xfrm rot="16200000">
            <a:off x="3043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29" name="Rectangle 67"/>
          <p:cNvSpPr>
            <a:spLocks noChangeArrowheads="1"/>
          </p:cNvSpPr>
          <p:nvPr/>
        </p:nvSpPr>
        <p:spPr bwMode="auto">
          <a:xfrm>
            <a:off x="2920144"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0" name="Rectangle 73"/>
          <p:cNvSpPr>
            <a:spLocks noChangeArrowheads="1"/>
          </p:cNvSpPr>
          <p:nvPr/>
        </p:nvSpPr>
        <p:spPr bwMode="auto">
          <a:xfrm>
            <a:off x="3407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1" name="AutoShape 246"/>
          <p:cNvSpPr>
            <a:spLocks noChangeArrowheads="1"/>
          </p:cNvSpPr>
          <p:nvPr/>
        </p:nvSpPr>
        <p:spPr bwMode="auto">
          <a:xfrm rot="16200000">
            <a:off x="3484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2" name="Rectangle 67"/>
          <p:cNvSpPr>
            <a:spLocks noChangeArrowheads="1"/>
          </p:cNvSpPr>
          <p:nvPr/>
        </p:nvSpPr>
        <p:spPr bwMode="auto">
          <a:xfrm>
            <a:off x="3361582"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3" name="Rectangle 73"/>
          <p:cNvSpPr>
            <a:spLocks noChangeArrowheads="1"/>
          </p:cNvSpPr>
          <p:nvPr/>
        </p:nvSpPr>
        <p:spPr bwMode="auto">
          <a:xfrm>
            <a:off x="3848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4" name="AutoShape 246"/>
          <p:cNvSpPr>
            <a:spLocks noChangeArrowheads="1"/>
          </p:cNvSpPr>
          <p:nvPr/>
        </p:nvSpPr>
        <p:spPr bwMode="auto">
          <a:xfrm rot="16200000">
            <a:off x="3935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5" name="Rectangle 67"/>
          <p:cNvSpPr>
            <a:spLocks noChangeArrowheads="1"/>
          </p:cNvSpPr>
          <p:nvPr/>
        </p:nvSpPr>
        <p:spPr bwMode="auto">
          <a:xfrm>
            <a:off x="3803020"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6" name="Rectangle 73"/>
          <p:cNvSpPr>
            <a:spLocks noChangeArrowheads="1"/>
          </p:cNvSpPr>
          <p:nvPr/>
        </p:nvSpPr>
        <p:spPr bwMode="auto">
          <a:xfrm>
            <a:off x="5736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7" name="AutoShape 246"/>
          <p:cNvSpPr>
            <a:spLocks noChangeArrowheads="1"/>
          </p:cNvSpPr>
          <p:nvPr/>
        </p:nvSpPr>
        <p:spPr bwMode="auto">
          <a:xfrm rot="16200000">
            <a:off x="5814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38" name="Rectangle 67"/>
          <p:cNvSpPr>
            <a:spLocks noChangeArrowheads="1"/>
          </p:cNvSpPr>
          <p:nvPr/>
        </p:nvSpPr>
        <p:spPr bwMode="auto">
          <a:xfrm>
            <a:off x="5691067"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9" name="Rectangle 73"/>
          <p:cNvSpPr>
            <a:spLocks noChangeArrowheads="1"/>
          </p:cNvSpPr>
          <p:nvPr/>
        </p:nvSpPr>
        <p:spPr bwMode="auto">
          <a:xfrm>
            <a:off x="7183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0" name="AutoShape 246"/>
          <p:cNvSpPr>
            <a:spLocks noChangeArrowheads="1"/>
          </p:cNvSpPr>
          <p:nvPr/>
        </p:nvSpPr>
        <p:spPr bwMode="auto">
          <a:xfrm rot="16200000">
            <a:off x="7270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1" name="Rectangle 67"/>
          <p:cNvSpPr>
            <a:spLocks noChangeArrowheads="1"/>
          </p:cNvSpPr>
          <p:nvPr/>
        </p:nvSpPr>
        <p:spPr bwMode="auto">
          <a:xfrm>
            <a:off x="7138153" y="299975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2" name="Rectangle 12"/>
          <p:cNvSpPr>
            <a:spLocks noChangeArrowheads="1"/>
          </p:cNvSpPr>
          <p:nvPr/>
        </p:nvSpPr>
        <p:spPr bwMode="auto">
          <a:xfrm>
            <a:off x="365125" y="3301530"/>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43" name="Rectangle 73"/>
          <p:cNvSpPr>
            <a:spLocks noChangeArrowheads="1"/>
          </p:cNvSpPr>
          <p:nvPr/>
        </p:nvSpPr>
        <p:spPr bwMode="auto">
          <a:xfrm>
            <a:off x="2082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4" name="AutoShape 246"/>
          <p:cNvSpPr>
            <a:spLocks noChangeArrowheads="1"/>
          </p:cNvSpPr>
          <p:nvPr/>
        </p:nvSpPr>
        <p:spPr bwMode="auto">
          <a:xfrm rot="16200000">
            <a:off x="2169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5" name="Rectangle 67"/>
          <p:cNvSpPr>
            <a:spLocks noChangeArrowheads="1"/>
          </p:cNvSpPr>
          <p:nvPr/>
        </p:nvSpPr>
        <p:spPr bwMode="auto">
          <a:xfrm>
            <a:off x="2037268"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6" name="Rectangle 73"/>
          <p:cNvSpPr>
            <a:spLocks noChangeArrowheads="1"/>
          </p:cNvSpPr>
          <p:nvPr/>
        </p:nvSpPr>
        <p:spPr bwMode="auto">
          <a:xfrm>
            <a:off x="4290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7" name="AutoShape 246"/>
          <p:cNvSpPr>
            <a:spLocks noChangeArrowheads="1"/>
          </p:cNvSpPr>
          <p:nvPr/>
        </p:nvSpPr>
        <p:spPr bwMode="auto">
          <a:xfrm rot="16200000">
            <a:off x="4376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48" name="Rectangle 67"/>
          <p:cNvSpPr>
            <a:spLocks noChangeArrowheads="1"/>
          </p:cNvSpPr>
          <p:nvPr/>
        </p:nvSpPr>
        <p:spPr bwMode="auto">
          <a:xfrm>
            <a:off x="4244458"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9" name="Rectangle 73"/>
          <p:cNvSpPr>
            <a:spLocks noChangeArrowheads="1"/>
          </p:cNvSpPr>
          <p:nvPr/>
        </p:nvSpPr>
        <p:spPr bwMode="auto">
          <a:xfrm>
            <a:off x="2524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0" name="AutoShape 246"/>
          <p:cNvSpPr>
            <a:spLocks noChangeArrowheads="1"/>
          </p:cNvSpPr>
          <p:nvPr/>
        </p:nvSpPr>
        <p:spPr bwMode="auto">
          <a:xfrm rot="16200000">
            <a:off x="2601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1" name="Rectangle 67"/>
          <p:cNvSpPr>
            <a:spLocks noChangeArrowheads="1"/>
          </p:cNvSpPr>
          <p:nvPr/>
        </p:nvSpPr>
        <p:spPr bwMode="auto">
          <a:xfrm>
            <a:off x="2478706"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2" name="Rectangle 73"/>
          <p:cNvSpPr>
            <a:spLocks noChangeArrowheads="1"/>
          </p:cNvSpPr>
          <p:nvPr/>
        </p:nvSpPr>
        <p:spPr bwMode="auto">
          <a:xfrm>
            <a:off x="5173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3" name="AutoShape 246"/>
          <p:cNvSpPr>
            <a:spLocks noChangeArrowheads="1"/>
          </p:cNvSpPr>
          <p:nvPr/>
        </p:nvSpPr>
        <p:spPr bwMode="auto">
          <a:xfrm rot="16200000">
            <a:off x="5250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4" name="Rectangle 67"/>
          <p:cNvSpPr>
            <a:spLocks noChangeArrowheads="1"/>
          </p:cNvSpPr>
          <p:nvPr/>
        </p:nvSpPr>
        <p:spPr bwMode="auto">
          <a:xfrm>
            <a:off x="5127337"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5" name="Rectangle 73"/>
          <p:cNvSpPr>
            <a:spLocks noChangeArrowheads="1"/>
          </p:cNvSpPr>
          <p:nvPr/>
        </p:nvSpPr>
        <p:spPr bwMode="auto">
          <a:xfrm>
            <a:off x="4731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6" name="AutoShape 246"/>
          <p:cNvSpPr>
            <a:spLocks noChangeArrowheads="1"/>
          </p:cNvSpPr>
          <p:nvPr/>
        </p:nvSpPr>
        <p:spPr bwMode="auto">
          <a:xfrm rot="16200000">
            <a:off x="4808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7" name="Rectangle 67"/>
          <p:cNvSpPr>
            <a:spLocks noChangeArrowheads="1"/>
          </p:cNvSpPr>
          <p:nvPr/>
        </p:nvSpPr>
        <p:spPr bwMode="auto">
          <a:xfrm>
            <a:off x="4685896"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8" name="Rectangle 73"/>
          <p:cNvSpPr>
            <a:spLocks noChangeArrowheads="1"/>
          </p:cNvSpPr>
          <p:nvPr/>
        </p:nvSpPr>
        <p:spPr bwMode="auto">
          <a:xfrm>
            <a:off x="2965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59" name="AutoShape 246"/>
          <p:cNvSpPr>
            <a:spLocks noChangeArrowheads="1"/>
          </p:cNvSpPr>
          <p:nvPr/>
        </p:nvSpPr>
        <p:spPr bwMode="auto">
          <a:xfrm rot="16200000">
            <a:off x="3043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0" name="Rectangle 67"/>
          <p:cNvSpPr>
            <a:spLocks noChangeArrowheads="1"/>
          </p:cNvSpPr>
          <p:nvPr/>
        </p:nvSpPr>
        <p:spPr bwMode="auto">
          <a:xfrm>
            <a:off x="2920144"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1" name="Rectangle 73"/>
          <p:cNvSpPr>
            <a:spLocks noChangeArrowheads="1"/>
          </p:cNvSpPr>
          <p:nvPr/>
        </p:nvSpPr>
        <p:spPr bwMode="auto">
          <a:xfrm>
            <a:off x="3407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2" name="AutoShape 246"/>
          <p:cNvSpPr>
            <a:spLocks noChangeArrowheads="1"/>
          </p:cNvSpPr>
          <p:nvPr/>
        </p:nvSpPr>
        <p:spPr bwMode="auto">
          <a:xfrm rot="16200000">
            <a:off x="3493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3" name="Rectangle 67"/>
          <p:cNvSpPr>
            <a:spLocks noChangeArrowheads="1"/>
          </p:cNvSpPr>
          <p:nvPr/>
        </p:nvSpPr>
        <p:spPr bwMode="auto">
          <a:xfrm>
            <a:off x="3361582"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4" name="Rectangle 73"/>
          <p:cNvSpPr>
            <a:spLocks noChangeArrowheads="1"/>
          </p:cNvSpPr>
          <p:nvPr/>
        </p:nvSpPr>
        <p:spPr bwMode="auto">
          <a:xfrm>
            <a:off x="3848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5" name="AutoShape 246"/>
          <p:cNvSpPr>
            <a:spLocks noChangeArrowheads="1"/>
          </p:cNvSpPr>
          <p:nvPr/>
        </p:nvSpPr>
        <p:spPr bwMode="auto">
          <a:xfrm rot="16200000">
            <a:off x="3935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6" name="Rectangle 67"/>
          <p:cNvSpPr>
            <a:spLocks noChangeArrowheads="1"/>
          </p:cNvSpPr>
          <p:nvPr/>
        </p:nvSpPr>
        <p:spPr bwMode="auto">
          <a:xfrm>
            <a:off x="3803020" y="344310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7" name="Rectangle 12"/>
          <p:cNvSpPr>
            <a:spLocks noChangeArrowheads="1"/>
          </p:cNvSpPr>
          <p:nvPr/>
        </p:nvSpPr>
        <p:spPr bwMode="auto">
          <a:xfrm>
            <a:off x="365125" y="3744878"/>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68" name="Rectangle 73"/>
          <p:cNvSpPr>
            <a:spLocks noChangeArrowheads="1"/>
          </p:cNvSpPr>
          <p:nvPr/>
        </p:nvSpPr>
        <p:spPr bwMode="auto">
          <a:xfrm>
            <a:off x="2082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69" name="AutoShape 246"/>
          <p:cNvSpPr>
            <a:spLocks noChangeArrowheads="1"/>
          </p:cNvSpPr>
          <p:nvPr/>
        </p:nvSpPr>
        <p:spPr bwMode="auto">
          <a:xfrm rot="16200000">
            <a:off x="2169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0" name="Rectangle 67"/>
          <p:cNvSpPr>
            <a:spLocks noChangeArrowheads="1"/>
          </p:cNvSpPr>
          <p:nvPr/>
        </p:nvSpPr>
        <p:spPr bwMode="auto">
          <a:xfrm>
            <a:off x="2037268" y="388645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1" name="Rectangle 73"/>
          <p:cNvSpPr>
            <a:spLocks noChangeArrowheads="1"/>
          </p:cNvSpPr>
          <p:nvPr/>
        </p:nvSpPr>
        <p:spPr bwMode="auto">
          <a:xfrm>
            <a:off x="2524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2" name="AutoShape 246"/>
          <p:cNvSpPr>
            <a:spLocks noChangeArrowheads="1"/>
          </p:cNvSpPr>
          <p:nvPr/>
        </p:nvSpPr>
        <p:spPr bwMode="auto">
          <a:xfrm rot="16200000">
            <a:off x="2601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3" name="Rectangle 67"/>
          <p:cNvSpPr>
            <a:spLocks noChangeArrowheads="1"/>
          </p:cNvSpPr>
          <p:nvPr/>
        </p:nvSpPr>
        <p:spPr bwMode="auto">
          <a:xfrm>
            <a:off x="2478706" y="388645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4" name="Rectangle 73"/>
          <p:cNvSpPr>
            <a:spLocks noChangeArrowheads="1"/>
          </p:cNvSpPr>
          <p:nvPr/>
        </p:nvSpPr>
        <p:spPr bwMode="auto">
          <a:xfrm>
            <a:off x="2965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5" name="AutoShape 246"/>
          <p:cNvSpPr>
            <a:spLocks noChangeArrowheads="1"/>
          </p:cNvSpPr>
          <p:nvPr/>
        </p:nvSpPr>
        <p:spPr bwMode="auto">
          <a:xfrm rot="16200000">
            <a:off x="3043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6" name="Rectangle 67"/>
          <p:cNvSpPr>
            <a:spLocks noChangeArrowheads="1"/>
          </p:cNvSpPr>
          <p:nvPr/>
        </p:nvSpPr>
        <p:spPr bwMode="auto">
          <a:xfrm>
            <a:off x="2920144" y="388645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7" name="Rectangle 73"/>
          <p:cNvSpPr>
            <a:spLocks noChangeArrowheads="1"/>
          </p:cNvSpPr>
          <p:nvPr/>
        </p:nvSpPr>
        <p:spPr bwMode="auto">
          <a:xfrm>
            <a:off x="3407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8" name="AutoShape 246"/>
          <p:cNvSpPr>
            <a:spLocks noChangeArrowheads="1"/>
          </p:cNvSpPr>
          <p:nvPr/>
        </p:nvSpPr>
        <p:spPr bwMode="auto">
          <a:xfrm rot="16200000">
            <a:off x="3484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79" name="Rectangle 67"/>
          <p:cNvSpPr>
            <a:spLocks noChangeArrowheads="1"/>
          </p:cNvSpPr>
          <p:nvPr/>
        </p:nvSpPr>
        <p:spPr bwMode="auto">
          <a:xfrm>
            <a:off x="3361582" y="388645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0" name="Rectangle 73"/>
          <p:cNvSpPr>
            <a:spLocks noChangeArrowheads="1"/>
          </p:cNvSpPr>
          <p:nvPr/>
        </p:nvSpPr>
        <p:spPr bwMode="auto">
          <a:xfrm>
            <a:off x="3848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1" name="AutoShape 246"/>
          <p:cNvSpPr>
            <a:spLocks noChangeArrowheads="1"/>
          </p:cNvSpPr>
          <p:nvPr/>
        </p:nvSpPr>
        <p:spPr bwMode="auto">
          <a:xfrm rot="16200000">
            <a:off x="3926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2" name="Rectangle 67"/>
          <p:cNvSpPr>
            <a:spLocks noChangeArrowheads="1"/>
          </p:cNvSpPr>
          <p:nvPr/>
        </p:nvSpPr>
        <p:spPr bwMode="auto">
          <a:xfrm>
            <a:off x="3803020" y="388645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3" name="Rectangle 12"/>
          <p:cNvSpPr>
            <a:spLocks noChangeArrowheads="1"/>
          </p:cNvSpPr>
          <p:nvPr/>
        </p:nvSpPr>
        <p:spPr bwMode="auto">
          <a:xfrm>
            <a:off x="365125" y="4188225"/>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84" name="Rectangle 73"/>
          <p:cNvSpPr>
            <a:spLocks noChangeArrowheads="1"/>
          </p:cNvSpPr>
          <p:nvPr/>
        </p:nvSpPr>
        <p:spPr bwMode="auto">
          <a:xfrm>
            <a:off x="2082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5" name="AutoShape 246"/>
          <p:cNvSpPr>
            <a:spLocks noChangeArrowheads="1"/>
          </p:cNvSpPr>
          <p:nvPr/>
        </p:nvSpPr>
        <p:spPr bwMode="auto">
          <a:xfrm rot="16200000">
            <a:off x="2169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6" name="Rectangle 67"/>
          <p:cNvSpPr>
            <a:spLocks noChangeArrowheads="1"/>
          </p:cNvSpPr>
          <p:nvPr/>
        </p:nvSpPr>
        <p:spPr bwMode="auto">
          <a:xfrm>
            <a:off x="2037268" y="432980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7" name="Rectangle 73"/>
          <p:cNvSpPr>
            <a:spLocks noChangeArrowheads="1"/>
          </p:cNvSpPr>
          <p:nvPr/>
        </p:nvSpPr>
        <p:spPr bwMode="auto">
          <a:xfrm>
            <a:off x="2524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8" name="AutoShape 246"/>
          <p:cNvSpPr>
            <a:spLocks noChangeArrowheads="1"/>
          </p:cNvSpPr>
          <p:nvPr/>
        </p:nvSpPr>
        <p:spPr bwMode="auto">
          <a:xfrm rot="16200000">
            <a:off x="2601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89" name="Rectangle 67"/>
          <p:cNvSpPr>
            <a:spLocks noChangeArrowheads="1"/>
          </p:cNvSpPr>
          <p:nvPr/>
        </p:nvSpPr>
        <p:spPr bwMode="auto">
          <a:xfrm>
            <a:off x="2478706" y="432980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90" name="Rectangle 73"/>
          <p:cNvSpPr>
            <a:spLocks noChangeArrowheads="1"/>
          </p:cNvSpPr>
          <p:nvPr/>
        </p:nvSpPr>
        <p:spPr bwMode="auto">
          <a:xfrm>
            <a:off x="2965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91" name="AutoShape 246"/>
          <p:cNvSpPr>
            <a:spLocks noChangeArrowheads="1"/>
          </p:cNvSpPr>
          <p:nvPr/>
        </p:nvSpPr>
        <p:spPr bwMode="auto">
          <a:xfrm rot="16200000">
            <a:off x="3052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492" name="Rectangle 67"/>
          <p:cNvSpPr>
            <a:spLocks noChangeArrowheads="1"/>
          </p:cNvSpPr>
          <p:nvPr/>
        </p:nvSpPr>
        <p:spPr bwMode="auto">
          <a:xfrm>
            <a:off x="2920144" y="432980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cxnSp>
        <p:nvCxnSpPr>
          <p:cNvPr id="493" name="iBar:31/270"/>
          <p:cNvCxnSpPr/>
          <p:nvPr/>
        </p:nvCxnSpPr>
        <p:spPr>
          <a:xfrm>
            <a:off x="3967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3967780" y="4706372"/>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5" name="iBar:31/270"/>
          <p:cNvCxnSpPr/>
          <p:nvPr/>
        </p:nvCxnSpPr>
        <p:spPr>
          <a:xfrm>
            <a:off x="2082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2082988" y="4706372"/>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7" name="iBar:31/270"/>
          <p:cNvCxnSpPr/>
          <p:nvPr/>
        </p:nvCxnSpPr>
        <p:spPr>
          <a:xfrm>
            <a:off x="5412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5412950" y="4706372"/>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9" name="iBar:31/270"/>
          <p:cNvCxnSpPr/>
          <p:nvPr/>
        </p:nvCxnSpPr>
        <p:spPr>
          <a:xfrm>
            <a:off x="6859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6859382" y="4706372"/>
            <a:ext cx="583493" cy="163122"/>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501" name="Rectangle 12"/>
          <p:cNvSpPr>
            <a:spLocks noChangeArrowheads="1"/>
          </p:cNvSpPr>
          <p:nvPr/>
        </p:nvSpPr>
        <p:spPr bwMode="auto">
          <a:xfrm>
            <a:off x="365125" y="4959461"/>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02" name="Rectangle 73"/>
          <p:cNvSpPr>
            <a:spLocks noChangeArrowheads="1"/>
          </p:cNvSpPr>
          <p:nvPr/>
        </p:nvSpPr>
        <p:spPr bwMode="auto">
          <a:xfrm>
            <a:off x="3967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03" name="AutoShape 246"/>
          <p:cNvSpPr>
            <a:spLocks noChangeArrowheads="1"/>
          </p:cNvSpPr>
          <p:nvPr/>
        </p:nvSpPr>
        <p:spPr bwMode="auto">
          <a:xfrm rot="16200000">
            <a:off x="4054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04" name="Rectangle 67"/>
          <p:cNvSpPr>
            <a:spLocks noChangeArrowheads="1"/>
          </p:cNvSpPr>
          <p:nvPr/>
        </p:nvSpPr>
        <p:spPr bwMode="auto">
          <a:xfrm>
            <a:off x="3922060"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5" name="Rectangle 73"/>
          <p:cNvSpPr>
            <a:spLocks noChangeArrowheads="1"/>
          </p:cNvSpPr>
          <p:nvPr/>
        </p:nvSpPr>
        <p:spPr bwMode="auto">
          <a:xfrm>
            <a:off x="4409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06" name="AutoShape 246"/>
          <p:cNvSpPr>
            <a:spLocks noChangeArrowheads="1"/>
          </p:cNvSpPr>
          <p:nvPr/>
        </p:nvSpPr>
        <p:spPr bwMode="auto">
          <a:xfrm rot="16200000">
            <a:off x="4486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07" name="Rectangle 67"/>
          <p:cNvSpPr>
            <a:spLocks noChangeArrowheads="1"/>
          </p:cNvSpPr>
          <p:nvPr/>
        </p:nvSpPr>
        <p:spPr bwMode="auto">
          <a:xfrm>
            <a:off x="4363498"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8" name="Rectangle 73"/>
          <p:cNvSpPr>
            <a:spLocks noChangeArrowheads="1"/>
          </p:cNvSpPr>
          <p:nvPr/>
        </p:nvSpPr>
        <p:spPr bwMode="auto">
          <a:xfrm>
            <a:off x="4850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09" name="AutoShape 246"/>
          <p:cNvSpPr>
            <a:spLocks noChangeArrowheads="1"/>
          </p:cNvSpPr>
          <p:nvPr/>
        </p:nvSpPr>
        <p:spPr bwMode="auto">
          <a:xfrm rot="16200000">
            <a:off x="4927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0" name="Rectangle 67"/>
          <p:cNvSpPr>
            <a:spLocks noChangeArrowheads="1"/>
          </p:cNvSpPr>
          <p:nvPr/>
        </p:nvSpPr>
        <p:spPr bwMode="auto">
          <a:xfrm>
            <a:off x="4804936"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1" name="Rectangle 73"/>
          <p:cNvSpPr>
            <a:spLocks noChangeArrowheads="1"/>
          </p:cNvSpPr>
          <p:nvPr/>
        </p:nvSpPr>
        <p:spPr bwMode="auto">
          <a:xfrm>
            <a:off x="2519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2" name="AutoShape 246"/>
          <p:cNvSpPr>
            <a:spLocks noChangeArrowheads="1"/>
          </p:cNvSpPr>
          <p:nvPr/>
        </p:nvSpPr>
        <p:spPr bwMode="auto">
          <a:xfrm rot="16200000">
            <a:off x="2605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3" name="Rectangle 67"/>
          <p:cNvSpPr>
            <a:spLocks noChangeArrowheads="1"/>
          </p:cNvSpPr>
          <p:nvPr/>
        </p:nvSpPr>
        <p:spPr bwMode="auto">
          <a:xfrm>
            <a:off x="2473580"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4" name="Rectangle 73"/>
          <p:cNvSpPr>
            <a:spLocks noChangeArrowheads="1"/>
          </p:cNvSpPr>
          <p:nvPr/>
        </p:nvSpPr>
        <p:spPr bwMode="auto">
          <a:xfrm>
            <a:off x="3402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5" name="AutoShape 246"/>
          <p:cNvSpPr>
            <a:spLocks noChangeArrowheads="1"/>
          </p:cNvSpPr>
          <p:nvPr/>
        </p:nvSpPr>
        <p:spPr bwMode="auto">
          <a:xfrm rot="16200000">
            <a:off x="3479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6" name="Rectangle 67"/>
          <p:cNvSpPr>
            <a:spLocks noChangeArrowheads="1"/>
          </p:cNvSpPr>
          <p:nvPr/>
        </p:nvSpPr>
        <p:spPr bwMode="auto">
          <a:xfrm>
            <a:off x="3356459"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7" name="Rectangle 73"/>
          <p:cNvSpPr>
            <a:spLocks noChangeArrowheads="1"/>
          </p:cNvSpPr>
          <p:nvPr/>
        </p:nvSpPr>
        <p:spPr bwMode="auto">
          <a:xfrm>
            <a:off x="2960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8" name="AutoShape 246"/>
          <p:cNvSpPr>
            <a:spLocks noChangeArrowheads="1"/>
          </p:cNvSpPr>
          <p:nvPr/>
        </p:nvSpPr>
        <p:spPr bwMode="auto">
          <a:xfrm rot="16200000">
            <a:off x="3038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19" name="Rectangle 67"/>
          <p:cNvSpPr>
            <a:spLocks noChangeArrowheads="1"/>
          </p:cNvSpPr>
          <p:nvPr/>
        </p:nvSpPr>
        <p:spPr bwMode="auto">
          <a:xfrm>
            <a:off x="2915018"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0" name="Rectangle 73"/>
          <p:cNvSpPr>
            <a:spLocks noChangeArrowheads="1"/>
          </p:cNvSpPr>
          <p:nvPr/>
        </p:nvSpPr>
        <p:spPr bwMode="auto">
          <a:xfrm>
            <a:off x="2077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1" name="AutoShape 246"/>
          <p:cNvSpPr>
            <a:spLocks noChangeArrowheads="1"/>
          </p:cNvSpPr>
          <p:nvPr/>
        </p:nvSpPr>
        <p:spPr bwMode="auto">
          <a:xfrm rot="16200000">
            <a:off x="2164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2" name="Rectangle 67"/>
          <p:cNvSpPr>
            <a:spLocks noChangeArrowheads="1"/>
          </p:cNvSpPr>
          <p:nvPr/>
        </p:nvSpPr>
        <p:spPr bwMode="auto">
          <a:xfrm>
            <a:off x="2032142"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3" name="Rectangle 73"/>
          <p:cNvSpPr>
            <a:spLocks noChangeArrowheads="1"/>
          </p:cNvSpPr>
          <p:nvPr/>
        </p:nvSpPr>
        <p:spPr bwMode="auto">
          <a:xfrm>
            <a:off x="5412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4" name="AutoShape 246"/>
          <p:cNvSpPr>
            <a:spLocks noChangeArrowheads="1"/>
          </p:cNvSpPr>
          <p:nvPr/>
        </p:nvSpPr>
        <p:spPr bwMode="auto">
          <a:xfrm rot="16200000">
            <a:off x="5499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5" name="Rectangle 67"/>
          <p:cNvSpPr>
            <a:spLocks noChangeArrowheads="1"/>
          </p:cNvSpPr>
          <p:nvPr/>
        </p:nvSpPr>
        <p:spPr bwMode="auto">
          <a:xfrm>
            <a:off x="5367230"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6" name="Rectangle 73"/>
          <p:cNvSpPr>
            <a:spLocks noChangeArrowheads="1"/>
          </p:cNvSpPr>
          <p:nvPr/>
        </p:nvSpPr>
        <p:spPr bwMode="auto">
          <a:xfrm>
            <a:off x="5854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7" name="AutoShape 246"/>
          <p:cNvSpPr>
            <a:spLocks noChangeArrowheads="1"/>
          </p:cNvSpPr>
          <p:nvPr/>
        </p:nvSpPr>
        <p:spPr bwMode="auto">
          <a:xfrm rot="16200000">
            <a:off x="5931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28" name="Rectangle 67"/>
          <p:cNvSpPr>
            <a:spLocks noChangeArrowheads="1"/>
          </p:cNvSpPr>
          <p:nvPr/>
        </p:nvSpPr>
        <p:spPr bwMode="auto">
          <a:xfrm>
            <a:off x="5808668"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9" name="Rectangle 73"/>
          <p:cNvSpPr>
            <a:spLocks noChangeArrowheads="1"/>
          </p:cNvSpPr>
          <p:nvPr/>
        </p:nvSpPr>
        <p:spPr bwMode="auto">
          <a:xfrm>
            <a:off x="6295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0" name="AutoShape 246"/>
          <p:cNvSpPr>
            <a:spLocks noChangeArrowheads="1"/>
          </p:cNvSpPr>
          <p:nvPr/>
        </p:nvSpPr>
        <p:spPr bwMode="auto">
          <a:xfrm rot="16200000">
            <a:off x="6373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1" name="Rectangle 67"/>
          <p:cNvSpPr>
            <a:spLocks noChangeArrowheads="1"/>
          </p:cNvSpPr>
          <p:nvPr/>
        </p:nvSpPr>
        <p:spPr bwMode="auto">
          <a:xfrm>
            <a:off x="6250106"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2" name="Rectangle 73"/>
          <p:cNvSpPr>
            <a:spLocks noChangeArrowheads="1"/>
          </p:cNvSpPr>
          <p:nvPr/>
        </p:nvSpPr>
        <p:spPr bwMode="auto">
          <a:xfrm>
            <a:off x="6859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3" name="AutoShape 246"/>
          <p:cNvSpPr>
            <a:spLocks noChangeArrowheads="1"/>
          </p:cNvSpPr>
          <p:nvPr/>
        </p:nvSpPr>
        <p:spPr bwMode="auto">
          <a:xfrm rot="16200000">
            <a:off x="6945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4" name="Rectangle 67"/>
          <p:cNvSpPr>
            <a:spLocks noChangeArrowheads="1"/>
          </p:cNvSpPr>
          <p:nvPr/>
        </p:nvSpPr>
        <p:spPr bwMode="auto">
          <a:xfrm>
            <a:off x="6813662"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5" name="Rectangle 73"/>
          <p:cNvSpPr>
            <a:spLocks noChangeArrowheads="1"/>
          </p:cNvSpPr>
          <p:nvPr/>
        </p:nvSpPr>
        <p:spPr bwMode="auto">
          <a:xfrm>
            <a:off x="7300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6" name="AutoShape 246"/>
          <p:cNvSpPr>
            <a:spLocks noChangeArrowheads="1"/>
          </p:cNvSpPr>
          <p:nvPr/>
        </p:nvSpPr>
        <p:spPr bwMode="auto">
          <a:xfrm rot="16200000">
            <a:off x="7378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37" name="Rectangle 67"/>
          <p:cNvSpPr>
            <a:spLocks noChangeArrowheads="1"/>
          </p:cNvSpPr>
          <p:nvPr/>
        </p:nvSpPr>
        <p:spPr bwMode="auto">
          <a:xfrm>
            <a:off x="7255100" y="51010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8" name="Rectangle 12"/>
          <p:cNvSpPr>
            <a:spLocks noChangeArrowheads="1"/>
          </p:cNvSpPr>
          <p:nvPr/>
        </p:nvSpPr>
        <p:spPr bwMode="auto">
          <a:xfrm>
            <a:off x="365125" y="5398679"/>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39" name="Rectangle 73"/>
          <p:cNvSpPr>
            <a:spLocks noChangeArrowheads="1"/>
          </p:cNvSpPr>
          <p:nvPr/>
        </p:nvSpPr>
        <p:spPr bwMode="auto">
          <a:xfrm>
            <a:off x="3967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0" name="AutoShape 246"/>
          <p:cNvSpPr>
            <a:spLocks noChangeArrowheads="1"/>
          </p:cNvSpPr>
          <p:nvPr/>
        </p:nvSpPr>
        <p:spPr bwMode="auto">
          <a:xfrm rot="16200000">
            <a:off x="4054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1" name="Rectangle 67"/>
          <p:cNvSpPr>
            <a:spLocks noChangeArrowheads="1"/>
          </p:cNvSpPr>
          <p:nvPr/>
        </p:nvSpPr>
        <p:spPr bwMode="auto">
          <a:xfrm>
            <a:off x="3922060"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2" name="Rectangle 73"/>
          <p:cNvSpPr>
            <a:spLocks noChangeArrowheads="1"/>
          </p:cNvSpPr>
          <p:nvPr/>
        </p:nvSpPr>
        <p:spPr bwMode="auto">
          <a:xfrm>
            <a:off x="4409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3" name="AutoShape 246"/>
          <p:cNvSpPr>
            <a:spLocks noChangeArrowheads="1"/>
          </p:cNvSpPr>
          <p:nvPr/>
        </p:nvSpPr>
        <p:spPr bwMode="auto">
          <a:xfrm rot="16200000">
            <a:off x="4486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4" name="Rectangle 67"/>
          <p:cNvSpPr>
            <a:spLocks noChangeArrowheads="1"/>
          </p:cNvSpPr>
          <p:nvPr/>
        </p:nvSpPr>
        <p:spPr bwMode="auto">
          <a:xfrm>
            <a:off x="4363498"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5" name="Rectangle 73"/>
          <p:cNvSpPr>
            <a:spLocks noChangeArrowheads="1"/>
          </p:cNvSpPr>
          <p:nvPr/>
        </p:nvSpPr>
        <p:spPr bwMode="auto">
          <a:xfrm>
            <a:off x="2519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6" name="AutoShape 246"/>
          <p:cNvSpPr>
            <a:spLocks noChangeArrowheads="1"/>
          </p:cNvSpPr>
          <p:nvPr/>
        </p:nvSpPr>
        <p:spPr bwMode="auto">
          <a:xfrm rot="16200000">
            <a:off x="2605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7" name="Rectangle 67"/>
          <p:cNvSpPr>
            <a:spLocks noChangeArrowheads="1"/>
          </p:cNvSpPr>
          <p:nvPr/>
        </p:nvSpPr>
        <p:spPr bwMode="auto">
          <a:xfrm>
            <a:off x="2473580"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8" name="Rectangle 73"/>
          <p:cNvSpPr>
            <a:spLocks noChangeArrowheads="1"/>
          </p:cNvSpPr>
          <p:nvPr/>
        </p:nvSpPr>
        <p:spPr bwMode="auto">
          <a:xfrm>
            <a:off x="3402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49" name="AutoShape 246"/>
          <p:cNvSpPr>
            <a:spLocks noChangeArrowheads="1"/>
          </p:cNvSpPr>
          <p:nvPr/>
        </p:nvSpPr>
        <p:spPr bwMode="auto">
          <a:xfrm rot="16200000">
            <a:off x="3479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0" name="Rectangle 67"/>
          <p:cNvSpPr>
            <a:spLocks noChangeArrowheads="1"/>
          </p:cNvSpPr>
          <p:nvPr/>
        </p:nvSpPr>
        <p:spPr bwMode="auto">
          <a:xfrm>
            <a:off x="3356459"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1" name="Rectangle 73"/>
          <p:cNvSpPr>
            <a:spLocks noChangeArrowheads="1"/>
          </p:cNvSpPr>
          <p:nvPr/>
        </p:nvSpPr>
        <p:spPr bwMode="auto">
          <a:xfrm>
            <a:off x="2960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2" name="AutoShape 246"/>
          <p:cNvSpPr>
            <a:spLocks noChangeArrowheads="1"/>
          </p:cNvSpPr>
          <p:nvPr/>
        </p:nvSpPr>
        <p:spPr bwMode="auto">
          <a:xfrm rot="16200000">
            <a:off x="3038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3" name="Rectangle 67"/>
          <p:cNvSpPr>
            <a:spLocks noChangeArrowheads="1"/>
          </p:cNvSpPr>
          <p:nvPr/>
        </p:nvSpPr>
        <p:spPr bwMode="auto">
          <a:xfrm>
            <a:off x="2915018"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4" name="Rectangle 73"/>
          <p:cNvSpPr>
            <a:spLocks noChangeArrowheads="1"/>
          </p:cNvSpPr>
          <p:nvPr/>
        </p:nvSpPr>
        <p:spPr bwMode="auto">
          <a:xfrm>
            <a:off x="2077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5" name="AutoShape 246"/>
          <p:cNvSpPr>
            <a:spLocks noChangeArrowheads="1"/>
          </p:cNvSpPr>
          <p:nvPr/>
        </p:nvSpPr>
        <p:spPr bwMode="auto">
          <a:xfrm rot="16200000">
            <a:off x="2155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6" name="Rectangle 67"/>
          <p:cNvSpPr>
            <a:spLocks noChangeArrowheads="1"/>
          </p:cNvSpPr>
          <p:nvPr/>
        </p:nvSpPr>
        <p:spPr bwMode="auto">
          <a:xfrm>
            <a:off x="2032142"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7" name="Rectangle 73"/>
          <p:cNvSpPr>
            <a:spLocks noChangeArrowheads="1"/>
          </p:cNvSpPr>
          <p:nvPr/>
        </p:nvSpPr>
        <p:spPr bwMode="auto">
          <a:xfrm>
            <a:off x="5412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8" name="AutoShape 246"/>
          <p:cNvSpPr>
            <a:spLocks noChangeArrowheads="1"/>
          </p:cNvSpPr>
          <p:nvPr/>
        </p:nvSpPr>
        <p:spPr bwMode="auto">
          <a:xfrm rot="16200000">
            <a:off x="5490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59" name="Rectangle 67"/>
          <p:cNvSpPr>
            <a:spLocks noChangeArrowheads="1"/>
          </p:cNvSpPr>
          <p:nvPr/>
        </p:nvSpPr>
        <p:spPr bwMode="auto">
          <a:xfrm>
            <a:off x="5367230"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0" name="Rectangle 73"/>
          <p:cNvSpPr>
            <a:spLocks noChangeArrowheads="1"/>
          </p:cNvSpPr>
          <p:nvPr/>
        </p:nvSpPr>
        <p:spPr bwMode="auto">
          <a:xfrm>
            <a:off x="5854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1" name="AutoShape 246"/>
          <p:cNvSpPr>
            <a:spLocks noChangeArrowheads="1"/>
          </p:cNvSpPr>
          <p:nvPr/>
        </p:nvSpPr>
        <p:spPr bwMode="auto">
          <a:xfrm rot="16200000">
            <a:off x="5940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2" name="Rectangle 67"/>
          <p:cNvSpPr>
            <a:spLocks noChangeArrowheads="1"/>
          </p:cNvSpPr>
          <p:nvPr/>
        </p:nvSpPr>
        <p:spPr bwMode="auto">
          <a:xfrm>
            <a:off x="5808668"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3" name="Rectangle 73"/>
          <p:cNvSpPr>
            <a:spLocks noChangeArrowheads="1"/>
          </p:cNvSpPr>
          <p:nvPr/>
        </p:nvSpPr>
        <p:spPr bwMode="auto">
          <a:xfrm>
            <a:off x="6295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4" name="AutoShape 246"/>
          <p:cNvSpPr>
            <a:spLocks noChangeArrowheads="1"/>
          </p:cNvSpPr>
          <p:nvPr/>
        </p:nvSpPr>
        <p:spPr bwMode="auto">
          <a:xfrm rot="16200000">
            <a:off x="6373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5" name="Rectangle 67"/>
          <p:cNvSpPr>
            <a:spLocks noChangeArrowheads="1"/>
          </p:cNvSpPr>
          <p:nvPr/>
        </p:nvSpPr>
        <p:spPr bwMode="auto">
          <a:xfrm>
            <a:off x="6250106"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6" name="Rectangle 73"/>
          <p:cNvSpPr>
            <a:spLocks noChangeArrowheads="1"/>
          </p:cNvSpPr>
          <p:nvPr/>
        </p:nvSpPr>
        <p:spPr bwMode="auto">
          <a:xfrm>
            <a:off x="6859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7" name="AutoShape 246"/>
          <p:cNvSpPr>
            <a:spLocks noChangeArrowheads="1"/>
          </p:cNvSpPr>
          <p:nvPr/>
        </p:nvSpPr>
        <p:spPr bwMode="auto">
          <a:xfrm rot="16200000">
            <a:off x="6936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68" name="Rectangle 67"/>
          <p:cNvSpPr>
            <a:spLocks noChangeArrowheads="1"/>
          </p:cNvSpPr>
          <p:nvPr/>
        </p:nvSpPr>
        <p:spPr bwMode="auto">
          <a:xfrm>
            <a:off x="6813662" y="55402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9" name="Rectangle 12"/>
          <p:cNvSpPr>
            <a:spLocks noChangeArrowheads="1"/>
          </p:cNvSpPr>
          <p:nvPr/>
        </p:nvSpPr>
        <p:spPr bwMode="auto">
          <a:xfrm>
            <a:off x="365125" y="5837897"/>
            <a:ext cx="1645920"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70" name="Rectangle 73"/>
          <p:cNvSpPr>
            <a:spLocks noChangeArrowheads="1"/>
          </p:cNvSpPr>
          <p:nvPr/>
        </p:nvSpPr>
        <p:spPr bwMode="auto">
          <a:xfrm>
            <a:off x="3967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1" name="AutoShape 246"/>
          <p:cNvSpPr>
            <a:spLocks noChangeArrowheads="1"/>
          </p:cNvSpPr>
          <p:nvPr/>
        </p:nvSpPr>
        <p:spPr bwMode="auto">
          <a:xfrm rot="16200000">
            <a:off x="4045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2" name="Rectangle 67"/>
          <p:cNvSpPr>
            <a:spLocks noChangeArrowheads="1"/>
          </p:cNvSpPr>
          <p:nvPr/>
        </p:nvSpPr>
        <p:spPr bwMode="auto">
          <a:xfrm>
            <a:off x="3922060" y="597947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3" name="Rectangle 73"/>
          <p:cNvSpPr>
            <a:spLocks noChangeArrowheads="1"/>
          </p:cNvSpPr>
          <p:nvPr/>
        </p:nvSpPr>
        <p:spPr bwMode="auto">
          <a:xfrm>
            <a:off x="2519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4" name="AutoShape 246"/>
          <p:cNvSpPr>
            <a:spLocks noChangeArrowheads="1"/>
          </p:cNvSpPr>
          <p:nvPr/>
        </p:nvSpPr>
        <p:spPr bwMode="auto">
          <a:xfrm rot="16200000">
            <a:off x="2605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5" name="Rectangle 67"/>
          <p:cNvSpPr>
            <a:spLocks noChangeArrowheads="1"/>
          </p:cNvSpPr>
          <p:nvPr/>
        </p:nvSpPr>
        <p:spPr bwMode="auto">
          <a:xfrm>
            <a:off x="2473580" y="597947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6" name="Rectangle 73"/>
          <p:cNvSpPr>
            <a:spLocks noChangeArrowheads="1"/>
          </p:cNvSpPr>
          <p:nvPr/>
        </p:nvSpPr>
        <p:spPr bwMode="auto">
          <a:xfrm>
            <a:off x="2077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7" name="AutoShape 246"/>
          <p:cNvSpPr>
            <a:spLocks noChangeArrowheads="1"/>
          </p:cNvSpPr>
          <p:nvPr/>
        </p:nvSpPr>
        <p:spPr bwMode="auto">
          <a:xfrm rot="16200000">
            <a:off x="2155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78" name="Rectangle 67"/>
          <p:cNvSpPr>
            <a:spLocks noChangeArrowheads="1"/>
          </p:cNvSpPr>
          <p:nvPr/>
        </p:nvSpPr>
        <p:spPr bwMode="auto">
          <a:xfrm>
            <a:off x="2032142" y="597947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9" name="Rectangle 73"/>
          <p:cNvSpPr>
            <a:spLocks noChangeArrowheads="1"/>
          </p:cNvSpPr>
          <p:nvPr/>
        </p:nvSpPr>
        <p:spPr bwMode="auto">
          <a:xfrm>
            <a:off x="5412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80" name="AutoShape 246"/>
          <p:cNvSpPr>
            <a:spLocks noChangeArrowheads="1"/>
          </p:cNvSpPr>
          <p:nvPr/>
        </p:nvSpPr>
        <p:spPr bwMode="auto">
          <a:xfrm rot="16200000">
            <a:off x="5499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ea typeface="+mn-ea"/>
              <a:cs typeface="Arial" pitchFamily="34" charset="0"/>
            </a:endParaRPr>
          </a:p>
        </p:txBody>
      </p:sp>
      <p:sp>
        <p:nvSpPr>
          <p:cNvPr id="581" name="Rectangle 67"/>
          <p:cNvSpPr>
            <a:spLocks noChangeArrowheads="1"/>
          </p:cNvSpPr>
          <p:nvPr/>
        </p:nvSpPr>
        <p:spPr bwMode="auto">
          <a:xfrm>
            <a:off x="5367230" y="597023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Tree>
    <p:extLst>
      <p:ext uri="{BB962C8B-B14F-4D97-AF65-F5344CB8AC3E}">
        <p14:creationId xmlns:p14="http://schemas.microsoft.com/office/powerpoint/2010/main" val="2549388961"/>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Competitor overview</a:t>
            </a:r>
            <a:endParaRPr lang="en-US" dirty="0"/>
          </a:p>
        </p:txBody>
      </p:sp>
      <p:sp>
        <p:nvSpPr>
          <p:cNvPr id="783361" name="Title 1"/>
          <p:cNvSpPr>
            <a:spLocks noGrp="1"/>
          </p:cNvSpPr>
          <p:nvPr>
            <p:ph type="title"/>
          </p:nvPr>
        </p:nvSpPr>
        <p:spPr/>
        <p:txBody>
          <a:bodyPr/>
          <a:lstStyle/>
          <a:p>
            <a:r>
              <a:rPr lang="en-US" altLang="ja-JP"/>
              <a:t>Activity map</a:t>
            </a:r>
            <a:endParaRPr lang="en-US" dirty="0"/>
          </a:p>
        </p:txBody>
      </p:sp>
      <p:sp>
        <p:nvSpPr>
          <p:cNvPr id="74" name="Rectangle 52"/>
          <p:cNvSpPr>
            <a:spLocks noChangeArrowheads="1"/>
          </p:cNvSpPr>
          <p:nvPr/>
        </p:nvSpPr>
        <p:spPr bwMode="auto">
          <a:xfrm>
            <a:off x="4710540" y="6184841"/>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b="1" dirty="0">
              <a:ea typeface="+mn-ea"/>
              <a:cs typeface="Arial" pitchFamily="34" charset="0"/>
            </a:endParaRPr>
          </a:p>
        </p:txBody>
      </p:sp>
      <p:sp>
        <p:nvSpPr>
          <p:cNvPr id="79" name="Text Box 54"/>
          <p:cNvSpPr txBox="1">
            <a:spLocks noChangeArrowheads="1"/>
          </p:cNvSpPr>
          <p:nvPr/>
        </p:nvSpPr>
        <p:spPr bwMode="auto">
          <a:xfrm>
            <a:off x="5107699" y="6189950"/>
            <a:ext cx="689291"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80" name="Rectangle 79"/>
          <p:cNvSpPr>
            <a:spLocks noChangeArrowheads="1"/>
          </p:cNvSpPr>
          <p:nvPr/>
        </p:nvSpPr>
        <p:spPr bwMode="auto">
          <a:xfrm>
            <a:off x="6218845" y="6184841"/>
            <a:ext cx="325391" cy="148719"/>
          </a:xfrm>
          <a:prstGeom prst="rect">
            <a:avLst/>
          </a:prstGeom>
          <a:solidFill>
            <a:schemeClr val="bg2"/>
          </a:solidFill>
          <a:ln w="9525" algn="ctr">
            <a:noFill/>
            <a:miter lim="800000"/>
            <a:headEnd/>
            <a:tailEnd/>
          </a:ln>
        </p:spPr>
        <p:txBody>
          <a:bodyPr wrap="none" anchor="ctr"/>
          <a:lstStyle/>
          <a:p>
            <a:pPr eaLnBrk="1" hangingPunct="1">
              <a:spcBef>
                <a:spcPct val="20000"/>
              </a:spcBef>
              <a:defRPr/>
            </a:pPr>
            <a:endParaRPr lang="en-GB" sz="900" b="1" dirty="0">
              <a:ea typeface="+mn-ea"/>
              <a:cs typeface="Arial" pitchFamily="34" charset="0"/>
            </a:endParaRPr>
          </a:p>
        </p:txBody>
      </p:sp>
      <p:sp>
        <p:nvSpPr>
          <p:cNvPr id="81" name="Text Box 55"/>
          <p:cNvSpPr txBox="1">
            <a:spLocks noChangeArrowheads="1"/>
          </p:cNvSpPr>
          <p:nvPr/>
        </p:nvSpPr>
        <p:spPr bwMode="auto">
          <a:xfrm>
            <a:off x="6616004" y="6189950"/>
            <a:ext cx="424796"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82" name="Rectangle 81"/>
          <p:cNvSpPr>
            <a:spLocks noChangeArrowheads="1"/>
          </p:cNvSpPr>
          <p:nvPr/>
        </p:nvSpPr>
        <p:spPr bwMode="auto">
          <a:xfrm>
            <a:off x="7461051" y="6184841"/>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b="1" dirty="0">
              <a:ea typeface="+mn-ea"/>
              <a:cs typeface="Arial" pitchFamily="34" charset="0"/>
            </a:endParaRPr>
          </a:p>
        </p:txBody>
      </p:sp>
      <p:sp>
        <p:nvSpPr>
          <p:cNvPr id="83" name="Text Box 57"/>
          <p:cNvSpPr txBox="1">
            <a:spLocks noChangeArrowheads="1"/>
          </p:cNvSpPr>
          <p:nvPr/>
        </p:nvSpPr>
        <p:spPr bwMode="auto">
          <a:xfrm>
            <a:off x="7858210" y="6189950"/>
            <a:ext cx="86081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187" name="Text Box 3"/>
          <p:cNvSpPr txBox="1">
            <a:spLocks noChangeArrowheads="1"/>
          </p:cNvSpPr>
          <p:nvPr/>
        </p:nvSpPr>
        <p:spPr bwMode="auto">
          <a:xfrm>
            <a:off x="365125" y="199205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88" name="Rectangle 187"/>
          <p:cNvSpPr>
            <a:spLocks noChangeArrowheads="1"/>
          </p:cNvSpPr>
          <p:nvPr/>
        </p:nvSpPr>
        <p:spPr bwMode="auto">
          <a:xfrm>
            <a:off x="2076393" y="197643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89" name="Rectangle 5"/>
          <p:cNvSpPr>
            <a:spLocks noChangeArrowheads="1"/>
          </p:cNvSpPr>
          <p:nvPr/>
        </p:nvSpPr>
        <p:spPr bwMode="auto">
          <a:xfrm>
            <a:off x="3206450" y="1976438"/>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190" name="Rectangle 189"/>
          <p:cNvSpPr>
            <a:spLocks noChangeArrowheads="1"/>
          </p:cNvSpPr>
          <p:nvPr/>
        </p:nvSpPr>
        <p:spPr bwMode="auto">
          <a:xfrm>
            <a:off x="4336507" y="197643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1" name="Rectangle 190"/>
          <p:cNvSpPr>
            <a:spLocks noChangeArrowheads="1"/>
          </p:cNvSpPr>
          <p:nvPr/>
        </p:nvSpPr>
        <p:spPr bwMode="auto">
          <a:xfrm>
            <a:off x="5466564" y="1976438"/>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2" name="Rectangle 191"/>
          <p:cNvSpPr>
            <a:spLocks noChangeArrowheads="1"/>
          </p:cNvSpPr>
          <p:nvPr/>
        </p:nvSpPr>
        <p:spPr bwMode="auto">
          <a:xfrm>
            <a:off x="6596621" y="1976438"/>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3" name="Rectangle 192"/>
          <p:cNvSpPr>
            <a:spLocks noChangeArrowheads="1"/>
          </p:cNvSpPr>
          <p:nvPr/>
        </p:nvSpPr>
        <p:spPr bwMode="auto">
          <a:xfrm>
            <a:off x="7726680" y="1976438"/>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4" name="Text Box 10"/>
          <p:cNvSpPr txBox="1">
            <a:spLocks noChangeArrowheads="1"/>
          </p:cNvSpPr>
          <p:nvPr/>
        </p:nvSpPr>
        <p:spPr bwMode="auto">
          <a:xfrm>
            <a:off x="365125" y="253453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95" name="Rectangle 194"/>
          <p:cNvSpPr>
            <a:spLocks noChangeArrowheads="1"/>
          </p:cNvSpPr>
          <p:nvPr/>
        </p:nvSpPr>
        <p:spPr bwMode="auto">
          <a:xfrm>
            <a:off x="2076393" y="2518914"/>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6" name="Rectangle 195"/>
          <p:cNvSpPr>
            <a:spLocks noChangeArrowheads="1"/>
          </p:cNvSpPr>
          <p:nvPr/>
        </p:nvSpPr>
        <p:spPr bwMode="auto">
          <a:xfrm>
            <a:off x="3206450" y="251891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7" name="Rectangle 13"/>
          <p:cNvSpPr>
            <a:spLocks noChangeArrowheads="1"/>
          </p:cNvSpPr>
          <p:nvPr/>
        </p:nvSpPr>
        <p:spPr bwMode="auto">
          <a:xfrm>
            <a:off x="4336507" y="2518914"/>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198" name="Rectangle 197"/>
          <p:cNvSpPr>
            <a:spLocks noChangeArrowheads="1"/>
          </p:cNvSpPr>
          <p:nvPr/>
        </p:nvSpPr>
        <p:spPr bwMode="auto">
          <a:xfrm>
            <a:off x="5466564" y="251891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199" name="Rectangle 198"/>
          <p:cNvSpPr>
            <a:spLocks noChangeArrowheads="1"/>
          </p:cNvSpPr>
          <p:nvPr/>
        </p:nvSpPr>
        <p:spPr bwMode="auto">
          <a:xfrm>
            <a:off x="6596621" y="251891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00" name="Rectangle 199"/>
          <p:cNvSpPr>
            <a:spLocks noChangeArrowheads="1"/>
          </p:cNvSpPr>
          <p:nvPr/>
        </p:nvSpPr>
        <p:spPr bwMode="auto">
          <a:xfrm>
            <a:off x="7726680" y="251891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01" name="Text Box 17"/>
          <p:cNvSpPr txBox="1">
            <a:spLocks noChangeArrowheads="1"/>
          </p:cNvSpPr>
          <p:nvPr/>
        </p:nvSpPr>
        <p:spPr bwMode="auto">
          <a:xfrm>
            <a:off x="365125" y="307700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02" name="Rectangle 201"/>
          <p:cNvSpPr>
            <a:spLocks noChangeArrowheads="1"/>
          </p:cNvSpPr>
          <p:nvPr/>
        </p:nvSpPr>
        <p:spPr bwMode="auto">
          <a:xfrm>
            <a:off x="2076393" y="3061390"/>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03" name="Rectangle 19"/>
          <p:cNvSpPr>
            <a:spLocks noChangeArrowheads="1"/>
          </p:cNvSpPr>
          <p:nvPr/>
        </p:nvSpPr>
        <p:spPr bwMode="auto">
          <a:xfrm>
            <a:off x="3206450" y="3061390"/>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04" name="Rectangle 20"/>
          <p:cNvSpPr>
            <a:spLocks noChangeArrowheads="1"/>
          </p:cNvSpPr>
          <p:nvPr/>
        </p:nvSpPr>
        <p:spPr bwMode="auto">
          <a:xfrm>
            <a:off x="4336507" y="3061390"/>
            <a:ext cx="731520" cy="215900"/>
          </a:xfrm>
          <a:prstGeom prst="rect">
            <a:avLst/>
          </a:prstGeom>
          <a:solidFill>
            <a:schemeClr val="accent3"/>
          </a:solidFill>
          <a:ln w="9525">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05" name="Rectangle 21"/>
          <p:cNvSpPr>
            <a:spLocks noChangeArrowheads="1"/>
          </p:cNvSpPr>
          <p:nvPr/>
        </p:nvSpPr>
        <p:spPr bwMode="auto">
          <a:xfrm>
            <a:off x="5466564" y="3061390"/>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06" name="Rectangle 22"/>
          <p:cNvSpPr>
            <a:spLocks noChangeArrowheads="1"/>
          </p:cNvSpPr>
          <p:nvPr/>
        </p:nvSpPr>
        <p:spPr bwMode="auto">
          <a:xfrm>
            <a:off x="6596621" y="3061390"/>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07" name="Rectangle 206"/>
          <p:cNvSpPr>
            <a:spLocks noChangeArrowheads="1"/>
          </p:cNvSpPr>
          <p:nvPr/>
        </p:nvSpPr>
        <p:spPr bwMode="auto">
          <a:xfrm>
            <a:off x="7726680" y="3061390"/>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08" name="Text Box 24"/>
          <p:cNvSpPr txBox="1">
            <a:spLocks noChangeArrowheads="1"/>
          </p:cNvSpPr>
          <p:nvPr/>
        </p:nvSpPr>
        <p:spPr bwMode="auto">
          <a:xfrm>
            <a:off x="365125" y="361948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09" name="Rectangle 208"/>
          <p:cNvSpPr>
            <a:spLocks noChangeArrowheads="1"/>
          </p:cNvSpPr>
          <p:nvPr/>
        </p:nvSpPr>
        <p:spPr bwMode="auto">
          <a:xfrm>
            <a:off x="2076393" y="3603866"/>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0" name="Rectangle 209"/>
          <p:cNvSpPr>
            <a:spLocks noChangeArrowheads="1"/>
          </p:cNvSpPr>
          <p:nvPr/>
        </p:nvSpPr>
        <p:spPr bwMode="auto">
          <a:xfrm>
            <a:off x="3206450" y="3603866"/>
            <a:ext cx="731520" cy="215900"/>
          </a:xfrm>
          <a:prstGeom prst="rect">
            <a:avLst/>
          </a:prstGeom>
          <a:solidFill>
            <a:schemeClr val="bg2"/>
          </a:solidFill>
          <a:ln w="9525"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1" name="Rectangle 210"/>
          <p:cNvSpPr>
            <a:spLocks noChangeArrowheads="1"/>
          </p:cNvSpPr>
          <p:nvPr/>
        </p:nvSpPr>
        <p:spPr bwMode="auto">
          <a:xfrm>
            <a:off x="4336507" y="3603866"/>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2" name="Rectangle 28"/>
          <p:cNvSpPr>
            <a:spLocks noChangeArrowheads="1"/>
          </p:cNvSpPr>
          <p:nvPr/>
        </p:nvSpPr>
        <p:spPr bwMode="auto">
          <a:xfrm>
            <a:off x="5466564" y="3603866"/>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13" name="Rectangle 212"/>
          <p:cNvSpPr>
            <a:spLocks noChangeArrowheads="1"/>
          </p:cNvSpPr>
          <p:nvPr/>
        </p:nvSpPr>
        <p:spPr bwMode="auto">
          <a:xfrm>
            <a:off x="6596621" y="3603866"/>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4" name="Rectangle 213"/>
          <p:cNvSpPr>
            <a:spLocks noChangeArrowheads="1"/>
          </p:cNvSpPr>
          <p:nvPr/>
        </p:nvSpPr>
        <p:spPr bwMode="auto">
          <a:xfrm>
            <a:off x="7726680" y="3603866"/>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5" name="Text Box 31"/>
          <p:cNvSpPr txBox="1">
            <a:spLocks noChangeArrowheads="1"/>
          </p:cNvSpPr>
          <p:nvPr/>
        </p:nvSpPr>
        <p:spPr bwMode="auto">
          <a:xfrm>
            <a:off x="365125" y="416195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16" name="Rectangle 215"/>
          <p:cNvSpPr>
            <a:spLocks noChangeArrowheads="1"/>
          </p:cNvSpPr>
          <p:nvPr/>
        </p:nvSpPr>
        <p:spPr bwMode="auto">
          <a:xfrm>
            <a:off x="2076393" y="4146342"/>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7" name="Rectangle 216"/>
          <p:cNvSpPr>
            <a:spLocks noChangeArrowheads="1"/>
          </p:cNvSpPr>
          <p:nvPr/>
        </p:nvSpPr>
        <p:spPr bwMode="auto">
          <a:xfrm>
            <a:off x="3206450" y="4146342"/>
            <a:ext cx="731520" cy="215900"/>
          </a:xfrm>
          <a:prstGeom prst="rect">
            <a:avLst/>
          </a:prstGeom>
          <a:solidFill>
            <a:schemeClr val="bg2">
              <a:lumMod val="75000"/>
            </a:schemeClr>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8" name="Rectangle 217"/>
          <p:cNvSpPr>
            <a:spLocks noChangeArrowheads="1"/>
          </p:cNvSpPr>
          <p:nvPr/>
        </p:nvSpPr>
        <p:spPr bwMode="auto">
          <a:xfrm>
            <a:off x="4336507" y="4146342"/>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19" name="Rectangle 35"/>
          <p:cNvSpPr>
            <a:spLocks noChangeArrowheads="1"/>
          </p:cNvSpPr>
          <p:nvPr/>
        </p:nvSpPr>
        <p:spPr bwMode="auto">
          <a:xfrm>
            <a:off x="5466564" y="4146342"/>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20" name="Rectangle 36"/>
          <p:cNvSpPr>
            <a:spLocks noChangeArrowheads="1"/>
          </p:cNvSpPr>
          <p:nvPr/>
        </p:nvSpPr>
        <p:spPr bwMode="auto">
          <a:xfrm>
            <a:off x="6596621" y="4146342"/>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21" name="Rectangle 220"/>
          <p:cNvSpPr>
            <a:spLocks noChangeArrowheads="1"/>
          </p:cNvSpPr>
          <p:nvPr/>
        </p:nvSpPr>
        <p:spPr bwMode="auto">
          <a:xfrm>
            <a:off x="7726680" y="4146342"/>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2" name="Text Box 38"/>
          <p:cNvSpPr txBox="1">
            <a:spLocks noChangeArrowheads="1"/>
          </p:cNvSpPr>
          <p:nvPr/>
        </p:nvSpPr>
        <p:spPr bwMode="auto">
          <a:xfrm>
            <a:off x="365125" y="470443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23" name="Rectangle 222"/>
          <p:cNvSpPr>
            <a:spLocks noChangeArrowheads="1"/>
          </p:cNvSpPr>
          <p:nvPr/>
        </p:nvSpPr>
        <p:spPr bwMode="auto">
          <a:xfrm>
            <a:off x="2076393" y="468881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4" name="Rectangle 223"/>
          <p:cNvSpPr>
            <a:spLocks noChangeArrowheads="1"/>
          </p:cNvSpPr>
          <p:nvPr/>
        </p:nvSpPr>
        <p:spPr bwMode="auto">
          <a:xfrm>
            <a:off x="3206450" y="468881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5" name="Rectangle 224"/>
          <p:cNvSpPr>
            <a:spLocks noChangeArrowheads="1"/>
          </p:cNvSpPr>
          <p:nvPr/>
        </p:nvSpPr>
        <p:spPr bwMode="auto">
          <a:xfrm>
            <a:off x="4336507" y="468881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6" name="Rectangle 42"/>
          <p:cNvSpPr>
            <a:spLocks noChangeArrowheads="1"/>
          </p:cNvSpPr>
          <p:nvPr/>
        </p:nvSpPr>
        <p:spPr bwMode="auto">
          <a:xfrm>
            <a:off x="5466564" y="4688818"/>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27" name="Rectangle 226"/>
          <p:cNvSpPr>
            <a:spLocks noChangeArrowheads="1"/>
          </p:cNvSpPr>
          <p:nvPr/>
        </p:nvSpPr>
        <p:spPr bwMode="auto">
          <a:xfrm>
            <a:off x="6596621" y="468881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8" name="Rectangle 227"/>
          <p:cNvSpPr>
            <a:spLocks noChangeArrowheads="1"/>
          </p:cNvSpPr>
          <p:nvPr/>
        </p:nvSpPr>
        <p:spPr bwMode="auto">
          <a:xfrm>
            <a:off x="7726680" y="4688818"/>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29" name="Text Box 45"/>
          <p:cNvSpPr txBox="1">
            <a:spLocks noChangeArrowheads="1"/>
          </p:cNvSpPr>
          <p:nvPr/>
        </p:nvSpPr>
        <p:spPr bwMode="auto">
          <a:xfrm>
            <a:off x="365125" y="524691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30" name="Rectangle 229"/>
          <p:cNvSpPr>
            <a:spLocks noChangeArrowheads="1"/>
          </p:cNvSpPr>
          <p:nvPr/>
        </p:nvSpPr>
        <p:spPr bwMode="auto">
          <a:xfrm>
            <a:off x="2076393" y="523129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31" name="Rectangle 230"/>
          <p:cNvSpPr>
            <a:spLocks noChangeArrowheads="1"/>
          </p:cNvSpPr>
          <p:nvPr/>
        </p:nvSpPr>
        <p:spPr bwMode="auto">
          <a:xfrm>
            <a:off x="3206450" y="523129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32" name="Rectangle 48"/>
          <p:cNvSpPr>
            <a:spLocks noChangeArrowheads="1"/>
          </p:cNvSpPr>
          <p:nvPr/>
        </p:nvSpPr>
        <p:spPr bwMode="auto">
          <a:xfrm>
            <a:off x="4336507" y="5231294"/>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33" name="Rectangle 49"/>
          <p:cNvSpPr>
            <a:spLocks noChangeArrowheads="1"/>
          </p:cNvSpPr>
          <p:nvPr/>
        </p:nvSpPr>
        <p:spPr bwMode="auto">
          <a:xfrm>
            <a:off x="5466564" y="5231294"/>
            <a:ext cx="731520" cy="215900"/>
          </a:xfrm>
          <a:prstGeom prst="rect">
            <a:avLst/>
          </a:prstGeom>
          <a:solidFill>
            <a:schemeClr val="accent3"/>
          </a:solidFill>
          <a:ln w="9525"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solidFill>
                <a:srgbClr val="002776"/>
              </a:solidFill>
              <a:ea typeface="+mn-ea"/>
              <a:cs typeface="Arial" pitchFamily="34" charset="0"/>
            </a:endParaRPr>
          </a:p>
        </p:txBody>
      </p:sp>
      <p:sp>
        <p:nvSpPr>
          <p:cNvPr id="234" name="Rectangle 233"/>
          <p:cNvSpPr>
            <a:spLocks noChangeArrowheads="1"/>
          </p:cNvSpPr>
          <p:nvPr/>
        </p:nvSpPr>
        <p:spPr bwMode="auto">
          <a:xfrm>
            <a:off x="6596621" y="523129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35" name="Rectangle 234"/>
          <p:cNvSpPr>
            <a:spLocks noChangeArrowheads="1"/>
          </p:cNvSpPr>
          <p:nvPr/>
        </p:nvSpPr>
        <p:spPr bwMode="auto">
          <a:xfrm>
            <a:off x="7726680" y="5231294"/>
            <a:ext cx="731520" cy="215900"/>
          </a:xfrm>
          <a:prstGeom prst="rect">
            <a:avLst/>
          </a:prstGeom>
          <a:solidFill>
            <a:schemeClr val="bg2"/>
          </a:solidFill>
          <a:ln w="9525">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solidFill>
                <a:srgbClr val="002776"/>
              </a:solidFill>
              <a:ea typeface="+mn-ea"/>
              <a:cs typeface="Arial" pitchFamily="34" charset="0"/>
            </a:endParaRPr>
          </a:p>
        </p:txBody>
      </p:sp>
      <p:sp>
        <p:nvSpPr>
          <p:cNvPr id="236" name="Text Box 58"/>
          <p:cNvSpPr txBox="1">
            <a:spLocks noChangeArrowheads="1"/>
          </p:cNvSpPr>
          <p:nvPr/>
        </p:nvSpPr>
        <p:spPr bwMode="auto">
          <a:xfrm>
            <a:off x="2101317"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
        <p:nvSpPr>
          <p:cNvPr id="243" name="Text Box 65"/>
          <p:cNvSpPr txBox="1">
            <a:spLocks noChangeArrowheads="1"/>
          </p:cNvSpPr>
          <p:nvPr/>
        </p:nvSpPr>
        <p:spPr bwMode="auto">
          <a:xfrm>
            <a:off x="3231216"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
        <p:nvSpPr>
          <p:cNvPr id="250" name="Text Box 72"/>
          <p:cNvSpPr txBox="1">
            <a:spLocks noChangeArrowheads="1"/>
          </p:cNvSpPr>
          <p:nvPr/>
        </p:nvSpPr>
        <p:spPr bwMode="auto">
          <a:xfrm>
            <a:off x="4361115"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
        <p:nvSpPr>
          <p:cNvPr id="257" name="Text Box 79"/>
          <p:cNvSpPr txBox="1">
            <a:spLocks noChangeArrowheads="1"/>
          </p:cNvSpPr>
          <p:nvPr/>
        </p:nvSpPr>
        <p:spPr bwMode="auto">
          <a:xfrm>
            <a:off x="5491014"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
        <p:nvSpPr>
          <p:cNvPr id="264" name="Text Box 86"/>
          <p:cNvSpPr txBox="1">
            <a:spLocks noChangeArrowheads="1"/>
          </p:cNvSpPr>
          <p:nvPr/>
        </p:nvSpPr>
        <p:spPr bwMode="auto">
          <a:xfrm>
            <a:off x="6620913"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
        <p:nvSpPr>
          <p:cNvPr id="271" name="Text Box 93"/>
          <p:cNvSpPr txBox="1">
            <a:spLocks noChangeArrowheads="1"/>
          </p:cNvSpPr>
          <p:nvPr/>
        </p:nvSpPr>
        <p:spPr bwMode="auto">
          <a:xfrm>
            <a:off x="7750810" y="1614488"/>
            <a:ext cx="731520" cy="153888"/>
          </a:xfrm>
          <a:prstGeom prst="rect">
            <a:avLst/>
          </a:prstGeom>
          <a:noFill/>
          <a:ln w="9525">
            <a:noFill/>
            <a:miter lim="800000"/>
            <a:headEnd type="none" w="sm" len="sm"/>
            <a:tailEnd type="none" w="med" len="lg"/>
          </a:ln>
        </p:spPr>
        <p:txBody>
          <a:bodyPr wrap="square" lIns="0" tIns="0" rIns="0" bIns="0">
            <a:noAutofit/>
          </a:bodyPr>
          <a:lstStyle/>
          <a:p>
            <a:pPr eaLnBrk="1" hangingPunct="1">
              <a:spcBef>
                <a:spcPct val="20000"/>
              </a:spcBef>
            </a:pPr>
            <a:r>
              <a:rPr lang="en-GB" altLang="ja-JP" sz="1200" dirty="0">
                <a:ea typeface="ＭＳ Ｐゴシック" charset="-128"/>
                <a:cs typeface="Arial" pitchFamily="34" charset="0"/>
              </a:rPr>
              <a:t>Text</a:t>
            </a:r>
          </a:p>
        </p:txBody>
      </p:sp>
    </p:spTree>
    <p:extLst>
      <p:ext uri="{BB962C8B-B14F-4D97-AF65-F5344CB8AC3E}">
        <p14:creationId xmlns:p14="http://schemas.microsoft.com/office/powerpoint/2010/main" val="22609594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7"/>
          </p:nvPr>
        </p:nvSpPr>
        <p:spPr/>
        <p:txBody>
          <a:bodyPr/>
          <a:lstStyle/>
          <a:p>
            <a:r>
              <a:rPr lang="en-US" dirty="0"/>
              <a:t>Text box title runs here</a:t>
            </a:r>
          </a:p>
          <a:p>
            <a:pPr lvl="2"/>
            <a:r>
              <a:rPr lang="en-GB" dirty="0"/>
              <a:t>This is dummy text it</a:t>
            </a:r>
          </a:p>
          <a:p>
            <a:pPr lvl="2"/>
            <a:r>
              <a:rPr lang="en-GB" dirty="0"/>
              <a:t>This is dummy text it is not here to be read</a:t>
            </a:r>
          </a:p>
          <a:p>
            <a:pPr lvl="2"/>
            <a:r>
              <a:rPr lang="en-GB" dirty="0"/>
              <a:t>This is dummy text it is not here to be read </a:t>
            </a:r>
          </a:p>
          <a:p>
            <a:pPr lvl="3"/>
            <a:r>
              <a:rPr lang="en-GB" dirty="0"/>
              <a:t>This is dummy text it is not here to be read</a:t>
            </a:r>
          </a:p>
        </p:txBody>
      </p:sp>
      <p:sp>
        <p:nvSpPr>
          <p:cNvPr id="6" name="Text Placeholder 5"/>
          <p:cNvSpPr>
            <a:spLocks noGrp="1"/>
          </p:cNvSpPr>
          <p:nvPr>
            <p:ph type="body" sz="quarter" idx="21"/>
          </p:nvPr>
        </p:nvSpPr>
        <p:spPr/>
        <p:txBody>
          <a:bodyPr/>
          <a:lstStyle/>
          <a:p>
            <a:r>
              <a:rPr lang="en-GB"/>
              <a:t>Text box title runs here</a:t>
            </a:r>
            <a:endParaRPr lang="en-US"/>
          </a:p>
          <a:p>
            <a:pPr lvl="2"/>
            <a:r>
              <a:rPr lang="en-GB"/>
              <a:t>This is dummy text it</a:t>
            </a:r>
          </a:p>
          <a:p>
            <a:pPr lvl="2"/>
            <a:r>
              <a:rPr lang="en-GB"/>
              <a:t>This is dummy text it is not here to be read</a:t>
            </a:r>
          </a:p>
          <a:p>
            <a:pPr lvl="2"/>
            <a:r>
              <a:rPr lang="en-GB"/>
              <a:t>This is dummy text it is not here to be read </a:t>
            </a:r>
          </a:p>
          <a:p>
            <a:pPr lvl="3"/>
            <a:r>
              <a:rPr lang="en-GB"/>
              <a:t>This is dummy text it is not here to be read</a:t>
            </a:r>
            <a:endParaRPr lang="en-GB" dirty="0"/>
          </a:p>
        </p:txBody>
      </p:sp>
      <p:sp>
        <p:nvSpPr>
          <p:cNvPr id="3" name="Title 2"/>
          <p:cNvSpPr>
            <a:spLocks noGrp="1"/>
          </p:cNvSpPr>
          <p:nvPr>
            <p:ph type="title"/>
          </p:nvPr>
        </p:nvSpPr>
        <p:spPr/>
        <p:txBody>
          <a:bodyPr/>
          <a:lstStyle/>
          <a:p>
            <a:r>
              <a:rPr lang="en-US"/>
              <a:t>Text boxes</a:t>
            </a:r>
            <a:endParaRPr lang="en-US" dirty="0"/>
          </a:p>
        </p:txBody>
      </p:sp>
      <p:sp>
        <p:nvSpPr>
          <p:cNvPr id="14" name="Picture Placeholder 13"/>
          <p:cNvSpPr>
            <a:spLocks noGrp="1"/>
          </p:cNvSpPr>
          <p:nvPr>
            <p:ph type="pic" sz="quarter" idx="19"/>
          </p:nvPr>
        </p:nvSpPr>
        <p:spPr/>
      </p:sp>
      <p:sp>
        <p:nvSpPr>
          <p:cNvPr id="15" name="Picture Placeholder 14"/>
          <p:cNvSpPr>
            <a:spLocks noGrp="1"/>
          </p:cNvSpPr>
          <p:nvPr>
            <p:ph type="pic" sz="quarter" idx="20"/>
          </p:nvPr>
        </p:nvSpPr>
        <p:spPr/>
      </p:sp>
      <p:sp>
        <p:nvSpPr>
          <p:cNvPr id="2" name="Text Placeholder 1"/>
          <p:cNvSpPr>
            <a:spLocks noGrp="1"/>
          </p:cNvSpPr>
          <p:nvPr>
            <p:ph type="body" sz="quarter" idx="22"/>
          </p:nvPr>
        </p:nvSpPr>
        <p:spPr/>
        <p:txBody>
          <a:bodyPr/>
          <a:lstStyle/>
          <a:p>
            <a:r>
              <a:rPr lang="en-US"/>
              <a:t>Text box title runs here</a:t>
            </a:r>
          </a:p>
          <a:p>
            <a:pPr lvl="2"/>
            <a:r>
              <a:rPr lang="en-GB"/>
              <a:t>This is dummy text it</a:t>
            </a:r>
          </a:p>
          <a:p>
            <a:pPr lvl="2"/>
            <a:r>
              <a:rPr lang="en-GB"/>
              <a:t>This is dummy text it is not here to be read</a:t>
            </a:r>
          </a:p>
          <a:p>
            <a:pPr lvl="2"/>
            <a:r>
              <a:rPr lang="en-GB"/>
              <a:t>This is dummy text it is not here to be read </a:t>
            </a:r>
          </a:p>
          <a:p>
            <a:pPr lvl="3"/>
            <a:r>
              <a:rPr lang="en-GB"/>
              <a:t>This is dummy text it is not here to be read</a:t>
            </a:r>
            <a:endParaRPr lang="en-GB" dirty="0"/>
          </a:p>
        </p:txBody>
      </p:sp>
      <p:sp>
        <p:nvSpPr>
          <p:cNvPr id="13" name="Text Placeholder 12"/>
          <p:cNvSpPr>
            <a:spLocks noGrp="1"/>
          </p:cNvSpPr>
          <p:nvPr>
            <p:ph type="body" sz="quarter" idx="23"/>
          </p:nvPr>
        </p:nvSpPr>
        <p:spPr/>
        <p:txBody>
          <a:bodyPr/>
          <a:lstStyle/>
          <a:p>
            <a:pPr lvl="0"/>
            <a:r>
              <a:rPr lang="en-GB"/>
              <a:t>Text box title runs here</a:t>
            </a:r>
            <a:endParaRPr lang="en-US"/>
          </a:p>
          <a:p>
            <a:pPr lvl="2"/>
            <a:r>
              <a:rPr lang="en-GB"/>
              <a:t>This is dummy text it</a:t>
            </a:r>
          </a:p>
          <a:p>
            <a:pPr lvl="2"/>
            <a:r>
              <a:rPr lang="en-GB"/>
              <a:t>This is dummy text it is not here to be read</a:t>
            </a:r>
          </a:p>
          <a:p>
            <a:pPr lvl="2"/>
            <a:r>
              <a:rPr lang="en-GB"/>
              <a:t>This is dummy text it is not here to be read </a:t>
            </a:r>
          </a:p>
          <a:p>
            <a:pPr lvl="3"/>
            <a:r>
              <a:rPr lang="en-GB"/>
              <a:t>This is dummy text it is not here to be read</a:t>
            </a:r>
            <a:endParaRPr lang="en-GB" dirty="0"/>
          </a:p>
        </p:txBody>
      </p:sp>
      <p:sp>
        <p:nvSpPr>
          <p:cNvPr id="16" name="Picture Placeholder 15"/>
          <p:cNvSpPr>
            <a:spLocks noGrp="1"/>
          </p:cNvSpPr>
          <p:nvPr>
            <p:ph type="pic" sz="quarter" idx="24"/>
          </p:nvPr>
        </p:nvSpPr>
        <p:spPr/>
      </p:sp>
      <p:sp>
        <p:nvSpPr>
          <p:cNvPr id="17" name="Picture Placeholder 16"/>
          <p:cNvSpPr>
            <a:spLocks noGrp="1"/>
          </p:cNvSpPr>
          <p:nvPr>
            <p:ph type="pic" sz="quarter" idx="25"/>
          </p:nvPr>
        </p:nvSpPr>
        <p:spPr/>
      </p:sp>
      <p:sp>
        <p:nvSpPr>
          <p:cNvPr id="8" name="Text Placeholder 7"/>
          <p:cNvSpPr>
            <a:spLocks noGrp="1"/>
          </p:cNvSpPr>
          <p:nvPr>
            <p:ph type="body" sz="quarter" idx="13"/>
          </p:nvPr>
        </p:nvSpPr>
        <p:spPr/>
        <p:txBody>
          <a:bodyPr/>
          <a:lstStyle/>
          <a:p>
            <a:r>
              <a:rPr lang="en-US"/>
              <a:t>Two-by-two</a:t>
            </a:r>
            <a:endParaRPr lang="en-US" dirty="0"/>
          </a:p>
        </p:txBody>
      </p:sp>
    </p:spTree>
    <p:extLst>
      <p:ext uri="{BB962C8B-B14F-4D97-AF65-F5344CB8AC3E}">
        <p14:creationId xmlns:p14="http://schemas.microsoft.com/office/powerpoint/2010/main" val="4285259599"/>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4076079" y="6163224"/>
            <a:ext cx="689291"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Advantaged</a:t>
            </a:r>
          </a:p>
        </p:txBody>
      </p:sp>
      <p:sp>
        <p:nvSpPr>
          <p:cNvPr id="784391" name="Text Box 7"/>
          <p:cNvSpPr txBox="1">
            <a:spLocks noChangeArrowheads="1"/>
          </p:cNvSpPr>
          <p:nvPr/>
        </p:nvSpPr>
        <p:spPr bwMode="auto">
          <a:xfrm>
            <a:off x="6572884" y="6163224"/>
            <a:ext cx="86081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Disadvantaged</a:t>
            </a:r>
          </a:p>
        </p:txBody>
      </p:sp>
      <p:sp>
        <p:nvSpPr>
          <p:cNvPr id="784484" name="Text Box 100"/>
          <p:cNvSpPr txBox="1">
            <a:spLocks noChangeArrowheads="1"/>
          </p:cNvSpPr>
          <p:nvPr/>
        </p:nvSpPr>
        <p:spPr bwMode="auto">
          <a:xfrm>
            <a:off x="8125859" y="6149128"/>
            <a:ext cx="654025"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o position</a:t>
            </a:r>
          </a:p>
        </p:txBody>
      </p:sp>
      <p:grpSp>
        <p:nvGrpSpPr>
          <p:cNvPr id="7" name="Group 6"/>
          <p:cNvGrpSpPr/>
          <p:nvPr/>
        </p:nvGrpSpPr>
        <p:grpSpPr>
          <a:xfrm>
            <a:off x="5974277" y="6132218"/>
            <a:ext cx="530225" cy="215900"/>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grpSp>
        <p:nvGrpSpPr>
          <p:cNvPr id="8" name="Group 7"/>
          <p:cNvGrpSpPr/>
          <p:nvPr/>
        </p:nvGrpSpPr>
        <p:grpSpPr>
          <a:xfrm>
            <a:off x="7527250" y="6132218"/>
            <a:ext cx="530225" cy="215900"/>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A</a:t>
              </a:r>
            </a:p>
          </p:txBody>
        </p:sp>
      </p:grpSp>
      <p:grpSp>
        <p:nvGrpSpPr>
          <p:cNvPr id="6" name="Group 5"/>
          <p:cNvGrpSpPr/>
          <p:nvPr/>
        </p:nvGrpSpPr>
        <p:grpSpPr>
          <a:xfrm>
            <a:off x="4858924" y="6132218"/>
            <a:ext cx="530225" cy="215900"/>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sp>
        <p:nvSpPr>
          <p:cNvPr id="784490" name="Text Box 106"/>
          <p:cNvSpPr txBox="1">
            <a:spLocks noChangeArrowheads="1"/>
          </p:cNvSpPr>
          <p:nvPr/>
        </p:nvSpPr>
        <p:spPr bwMode="auto">
          <a:xfrm>
            <a:off x="5457531" y="6163224"/>
            <a:ext cx="424796"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eutral</a:t>
            </a:r>
          </a:p>
        </p:txBody>
      </p:sp>
      <p:grpSp>
        <p:nvGrpSpPr>
          <p:cNvPr id="4" name="Group 3"/>
          <p:cNvGrpSpPr/>
          <p:nvPr/>
        </p:nvGrpSpPr>
        <p:grpSpPr>
          <a:xfrm>
            <a:off x="3479060" y="6132218"/>
            <a:ext cx="528637" cy="215900"/>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A	</a:t>
              </a:r>
            </a:p>
          </p:txBody>
        </p:sp>
      </p:grpSp>
      <p:sp>
        <p:nvSpPr>
          <p:cNvPr id="119" name="Rounded Rectangle 118"/>
          <p:cNvSpPr>
            <a:spLocks noChangeArrowheads="1"/>
          </p:cNvSpPr>
          <p:nvPr/>
        </p:nvSpPr>
        <p:spPr bwMode="auto">
          <a:xfrm>
            <a:off x="3951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8" name="Rounded Rectangle 127"/>
          <p:cNvSpPr>
            <a:spLocks noChangeArrowheads="1"/>
          </p:cNvSpPr>
          <p:nvPr/>
        </p:nvSpPr>
        <p:spPr bwMode="auto">
          <a:xfrm>
            <a:off x="2029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9" name="Rounded Rectangle 128"/>
          <p:cNvSpPr>
            <a:spLocks noChangeArrowheads="1"/>
          </p:cNvSpPr>
          <p:nvPr/>
        </p:nvSpPr>
        <p:spPr bwMode="auto">
          <a:xfrm>
            <a:off x="2950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0" name="Rounded Rectangle 129"/>
          <p:cNvSpPr>
            <a:spLocks noChangeArrowheads="1"/>
          </p:cNvSpPr>
          <p:nvPr/>
        </p:nvSpPr>
        <p:spPr bwMode="auto">
          <a:xfrm>
            <a:off x="4884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2" name="Rounded Rectangle 131"/>
          <p:cNvSpPr>
            <a:spLocks noChangeArrowheads="1"/>
          </p:cNvSpPr>
          <p:nvPr/>
        </p:nvSpPr>
        <p:spPr bwMode="auto">
          <a:xfrm>
            <a:off x="5872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3" name="Rounded Rectangle 132"/>
          <p:cNvSpPr>
            <a:spLocks noChangeArrowheads="1"/>
          </p:cNvSpPr>
          <p:nvPr/>
        </p:nvSpPr>
        <p:spPr bwMode="auto">
          <a:xfrm>
            <a:off x="6814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0" name="Rounded Rectangle 149"/>
          <p:cNvSpPr>
            <a:spLocks noChangeArrowheads="1"/>
          </p:cNvSpPr>
          <p:nvPr/>
        </p:nvSpPr>
        <p:spPr bwMode="auto">
          <a:xfrm>
            <a:off x="4884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7" name="Rounded Rectangle 156"/>
          <p:cNvSpPr>
            <a:spLocks noChangeArrowheads="1"/>
          </p:cNvSpPr>
          <p:nvPr/>
        </p:nvSpPr>
        <p:spPr bwMode="auto">
          <a:xfrm>
            <a:off x="5872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8" name="Rounded Rectangle 157"/>
          <p:cNvSpPr>
            <a:spLocks noChangeArrowheads="1"/>
          </p:cNvSpPr>
          <p:nvPr/>
        </p:nvSpPr>
        <p:spPr bwMode="auto">
          <a:xfrm>
            <a:off x="3951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1" name="TextBox 130"/>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
        <p:nvSpPr>
          <p:cNvPr id="47" name="Rectangle 46"/>
          <p:cNvSpPr>
            <a:spLocks noChangeArrowheads="1"/>
          </p:cNvSpPr>
          <p:nvPr/>
        </p:nvSpPr>
        <p:spPr bwMode="auto">
          <a:xfrm>
            <a:off x="2069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8" name="Rectangle 47"/>
          <p:cNvSpPr>
            <a:spLocks noChangeArrowheads="1"/>
          </p:cNvSpPr>
          <p:nvPr/>
        </p:nvSpPr>
        <p:spPr bwMode="auto">
          <a:xfrm>
            <a:off x="3000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1" name="Rectangle 50"/>
          <p:cNvSpPr>
            <a:spLocks noChangeArrowheads="1"/>
          </p:cNvSpPr>
          <p:nvPr/>
        </p:nvSpPr>
        <p:spPr bwMode="auto">
          <a:xfrm>
            <a:off x="3997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2" name="Rectangle 51"/>
          <p:cNvSpPr>
            <a:spLocks noChangeArrowheads="1"/>
          </p:cNvSpPr>
          <p:nvPr/>
        </p:nvSpPr>
        <p:spPr bwMode="auto">
          <a:xfrm>
            <a:off x="4927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1" name="Rectangle 70"/>
          <p:cNvSpPr>
            <a:spLocks noChangeArrowheads="1"/>
          </p:cNvSpPr>
          <p:nvPr/>
        </p:nvSpPr>
        <p:spPr bwMode="auto">
          <a:xfrm>
            <a:off x="2335094"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2" name="Rectangle 71"/>
          <p:cNvSpPr>
            <a:spLocks noChangeArrowheads="1"/>
          </p:cNvSpPr>
          <p:nvPr/>
        </p:nvSpPr>
        <p:spPr bwMode="auto">
          <a:xfrm>
            <a:off x="3265369"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3" name="Rectangle 72"/>
          <p:cNvSpPr>
            <a:spLocks noChangeArrowheads="1"/>
          </p:cNvSpPr>
          <p:nvPr/>
        </p:nvSpPr>
        <p:spPr bwMode="auto">
          <a:xfrm>
            <a:off x="4263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4" name="Rectangle 73"/>
          <p:cNvSpPr>
            <a:spLocks noChangeArrowheads="1"/>
          </p:cNvSpPr>
          <p:nvPr/>
        </p:nvSpPr>
        <p:spPr bwMode="auto">
          <a:xfrm>
            <a:off x="5194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7" name="Rectangle 17"/>
          <p:cNvSpPr>
            <a:spLocks noChangeArrowheads="1"/>
          </p:cNvSpPr>
          <p:nvPr/>
        </p:nvSpPr>
        <p:spPr bwMode="auto">
          <a:xfrm>
            <a:off x="3000257" y="22543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5" name="Rectangle 17"/>
          <p:cNvSpPr>
            <a:spLocks noChangeArrowheads="1"/>
          </p:cNvSpPr>
          <p:nvPr/>
        </p:nvSpPr>
        <p:spPr bwMode="auto">
          <a:xfrm>
            <a:off x="2069982" y="22543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3" name="Rectangle 17"/>
          <p:cNvSpPr>
            <a:spLocks noChangeArrowheads="1"/>
          </p:cNvSpPr>
          <p:nvPr/>
        </p:nvSpPr>
        <p:spPr bwMode="auto">
          <a:xfrm>
            <a:off x="3997207" y="22543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1" name="Rectangle 17"/>
          <p:cNvSpPr>
            <a:spLocks noChangeArrowheads="1"/>
          </p:cNvSpPr>
          <p:nvPr/>
        </p:nvSpPr>
        <p:spPr bwMode="auto">
          <a:xfrm>
            <a:off x="4927482" y="22543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9" name="Text Box 3"/>
          <p:cNvSpPr txBox="1">
            <a:spLocks noChangeArrowheads="1"/>
          </p:cNvSpPr>
          <p:nvPr/>
        </p:nvSpPr>
        <p:spPr bwMode="auto">
          <a:xfrm>
            <a:off x="365125" y="199205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55" name="Rectangle 54"/>
          <p:cNvSpPr>
            <a:spLocks noChangeArrowheads="1"/>
          </p:cNvSpPr>
          <p:nvPr/>
        </p:nvSpPr>
        <p:spPr bwMode="auto">
          <a:xfrm>
            <a:off x="2069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6" name="Rectangle 55"/>
          <p:cNvSpPr>
            <a:spLocks noChangeArrowheads="1"/>
          </p:cNvSpPr>
          <p:nvPr/>
        </p:nvSpPr>
        <p:spPr bwMode="auto">
          <a:xfrm>
            <a:off x="3000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9" name="Rectangle 58"/>
          <p:cNvSpPr>
            <a:spLocks noChangeArrowheads="1"/>
          </p:cNvSpPr>
          <p:nvPr/>
        </p:nvSpPr>
        <p:spPr bwMode="auto">
          <a:xfrm>
            <a:off x="3997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0" name="Rectangle 59"/>
          <p:cNvSpPr>
            <a:spLocks noChangeArrowheads="1"/>
          </p:cNvSpPr>
          <p:nvPr/>
        </p:nvSpPr>
        <p:spPr bwMode="auto">
          <a:xfrm>
            <a:off x="4927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5" name="Rectangle 74"/>
          <p:cNvSpPr>
            <a:spLocks noChangeArrowheads="1"/>
          </p:cNvSpPr>
          <p:nvPr/>
        </p:nvSpPr>
        <p:spPr bwMode="auto">
          <a:xfrm>
            <a:off x="2335094"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6" name="Rectangle 75"/>
          <p:cNvSpPr>
            <a:spLocks noChangeArrowheads="1"/>
          </p:cNvSpPr>
          <p:nvPr/>
        </p:nvSpPr>
        <p:spPr bwMode="auto">
          <a:xfrm>
            <a:off x="3265369"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7" name="Rectangle 76"/>
          <p:cNvSpPr>
            <a:spLocks noChangeArrowheads="1"/>
          </p:cNvSpPr>
          <p:nvPr/>
        </p:nvSpPr>
        <p:spPr bwMode="auto">
          <a:xfrm>
            <a:off x="4263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8" name="Rectangle 77"/>
          <p:cNvSpPr>
            <a:spLocks noChangeArrowheads="1"/>
          </p:cNvSpPr>
          <p:nvPr/>
        </p:nvSpPr>
        <p:spPr bwMode="auto">
          <a:xfrm>
            <a:off x="5194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6" name="Rectangle 17"/>
          <p:cNvSpPr>
            <a:spLocks noChangeArrowheads="1"/>
          </p:cNvSpPr>
          <p:nvPr/>
        </p:nvSpPr>
        <p:spPr bwMode="auto">
          <a:xfrm>
            <a:off x="3000257" y="279617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4" name="Rectangle 17"/>
          <p:cNvSpPr>
            <a:spLocks noChangeArrowheads="1"/>
          </p:cNvSpPr>
          <p:nvPr/>
        </p:nvSpPr>
        <p:spPr bwMode="auto">
          <a:xfrm>
            <a:off x="2069982" y="279617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2" name="Rectangle 17"/>
          <p:cNvSpPr>
            <a:spLocks noChangeArrowheads="1"/>
          </p:cNvSpPr>
          <p:nvPr/>
        </p:nvSpPr>
        <p:spPr bwMode="auto">
          <a:xfrm>
            <a:off x="3997207" y="279617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0" name="Rectangle 17"/>
          <p:cNvSpPr>
            <a:spLocks noChangeArrowheads="1"/>
          </p:cNvSpPr>
          <p:nvPr/>
        </p:nvSpPr>
        <p:spPr bwMode="auto">
          <a:xfrm>
            <a:off x="4927482" y="279617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4" name="Text Box 10"/>
          <p:cNvSpPr txBox="1">
            <a:spLocks noChangeArrowheads="1"/>
          </p:cNvSpPr>
          <p:nvPr/>
        </p:nvSpPr>
        <p:spPr bwMode="auto">
          <a:xfrm>
            <a:off x="365125" y="253466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24" name="Rectangle 23"/>
          <p:cNvSpPr>
            <a:spLocks noChangeArrowheads="1"/>
          </p:cNvSpPr>
          <p:nvPr/>
        </p:nvSpPr>
        <p:spPr bwMode="auto">
          <a:xfrm>
            <a:off x="2069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25" name="Rectangle 24"/>
          <p:cNvSpPr>
            <a:spLocks noChangeArrowheads="1"/>
          </p:cNvSpPr>
          <p:nvPr/>
        </p:nvSpPr>
        <p:spPr bwMode="auto">
          <a:xfrm>
            <a:off x="3000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7" name="Rectangle 36"/>
          <p:cNvSpPr>
            <a:spLocks noChangeArrowheads="1"/>
          </p:cNvSpPr>
          <p:nvPr/>
        </p:nvSpPr>
        <p:spPr bwMode="auto">
          <a:xfrm>
            <a:off x="3995619"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1" name="Rectangle 60"/>
          <p:cNvSpPr>
            <a:spLocks noChangeArrowheads="1"/>
          </p:cNvSpPr>
          <p:nvPr/>
        </p:nvSpPr>
        <p:spPr bwMode="auto">
          <a:xfrm>
            <a:off x="2335094"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2" name="Rectangle 61"/>
          <p:cNvSpPr>
            <a:spLocks noChangeArrowheads="1"/>
          </p:cNvSpPr>
          <p:nvPr/>
        </p:nvSpPr>
        <p:spPr bwMode="auto">
          <a:xfrm>
            <a:off x="3265369"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5" name="Rectangle 64"/>
          <p:cNvSpPr>
            <a:spLocks noChangeArrowheads="1"/>
          </p:cNvSpPr>
          <p:nvPr/>
        </p:nvSpPr>
        <p:spPr bwMode="auto">
          <a:xfrm>
            <a:off x="4262319"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5" name="Rectangle 17"/>
          <p:cNvSpPr>
            <a:spLocks noChangeArrowheads="1"/>
          </p:cNvSpPr>
          <p:nvPr/>
        </p:nvSpPr>
        <p:spPr bwMode="auto">
          <a:xfrm>
            <a:off x="3000257" y="333799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3" name="Rectangle 17"/>
          <p:cNvSpPr>
            <a:spLocks noChangeArrowheads="1"/>
          </p:cNvSpPr>
          <p:nvPr/>
        </p:nvSpPr>
        <p:spPr bwMode="auto">
          <a:xfrm>
            <a:off x="2069982" y="333799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1" name="Rectangle 17"/>
          <p:cNvSpPr>
            <a:spLocks noChangeArrowheads="1"/>
          </p:cNvSpPr>
          <p:nvPr/>
        </p:nvSpPr>
        <p:spPr bwMode="auto">
          <a:xfrm>
            <a:off x="3997207" y="333799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9" name="Text Box 17"/>
          <p:cNvSpPr txBox="1">
            <a:spLocks noChangeArrowheads="1"/>
          </p:cNvSpPr>
          <p:nvPr/>
        </p:nvSpPr>
        <p:spPr bwMode="auto">
          <a:xfrm>
            <a:off x="365125" y="307728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38" name="Rectangle 37"/>
          <p:cNvSpPr>
            <a:spLocks noChangeArrowheads="1"/>
          </p:cNvSpPr>
          <p:nvPr/>
        </p:nvSpPr>
        <p:spPr bwMode="auto">
          <a:xfrm>
            <a:off x="3000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5" name="Rectangle 44"/>
          <p:cNvSpPr>
            <a:spLocks noChangeArrowheads="1"/>
          </p:cNvSpPr>
          <p:nvPr/>
        </p:nvSpPr>
        <p:spPr bwMode="auto">
          <a:xfrm>
            <a:off x="2069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116" name="Rectangle 115"/>
          <p:cNvSpPr>
            <a:spLocks noChangeArrowheads="1"/>
          </p:cNvSpPr>
          <p:nvPr/>
        </p:nvSpPr>
        <p:spPr bwMode="auto">
          <a:xfrm>
            <a:off x="2335094"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7" name="Rectangle 116"/>
          <p:cNvSpPr>
            <a:spLocks noChangeArrowheads="1"/>
          </p:cNvSpPr>
          <p:nvPr/>
        </p:nvSpPr>
        <p:spPr bwMode="auto">
          <a:xfrm>
            <a:off x="3265369"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4" name="Rectangle 17"/>
          <p:cNvSpPr>
            <a:spLocks noChangeArrowheads="1"/>
          </p:cNvSpPr>
          <p:nvPr/>
        </p:nvSpPr>
        <p:spPr bwMode="auto">
          <a:xfrm>
            <a:off x="3000257" y="387981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2" name="Rectangle 17"/>
          <p:cNvSpPr>
            <a:spLocks noChangeArrowheads="1"/>
          </p:cNvSpPr>
          <p:nvPr/>
        </p:nvSpPr>
        <p:spPr bwMode="auto">
          <a:xfrm>
            <a:off x="2069982" y="387981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70" name="Text Box 24"/>
          <p:cNvSpPr txBox="1">
            <a:spLocks noChangeArrowheads="1"/>
          </p:cNvSpPr>
          <p:nvPr/>
        </p:nvSpPr>
        <p:spPr bwMode="auto">
          <a:xfrm>
            <a:off x="365125" y="361989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784401" name="Rectangle 17"/>
          <p:cNvSpPr>
            <a:spLocks noChangeArrowheads="1"/>
          </p:cNvSpPr>
          <p:nvPr/>
        </p:nvSpPr>
        <p:spPr bwMode="auto">
          <a:xfrm>
            <a:off x="3000257" y="442163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3" name="Rectangle 32"/>
          <p:cNvSpPr>
            <a:spLocks noChangeArrowheads="1"/>
          </p:cNvSpPr>
          <p:nvPr/>
        </p:nvSpPr>
        <p:spPr bwMode="auto">
          <a:xfrm>
            <a:off x="2069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9" name="Rectangle 38"/>
          <p:cNvSpPr>
            <a:spLocks noChangeArrowheads="1"/>
          </p:cNvSpPr>
          <p:nvPr/>
        </p:nvSpPr>
        <p:spPr bwMode="auto">
          <a:xfrm>
            <a:off x="3000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5" name="Rectangle 114"/>
          <p:cNvSpPr>
            <a:spLocks noChangeArrowheads="1"/>
          </p:cNvSpPr>
          <p:nvPr/>
        </p:nvSpPr>
        <p:spPr bwMode="auto">
          <a:xfrm>
            <a:off x="2335094"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8" name="Rectangle 117"/>
          <p:cNvSpPr>
            <a:spLocks noChangeArrowheads="1"/>
          </p:cNvSpPr>
          <p:nvPr/>
        </p:nvSpPr>
        <p:spPr bwMode="auto">
          <a:xfrm>
            <a:off x="3265369"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41" name="Rectangle 17"/>
          <p:cNvSpPr>
            <a:spLocks noChangeArrowheads="1"/>
          </p:cNvSpPr>
          <p:nvPr/>
        </p:nvSpPr>
        <p:spPr bwMode="auto">
          <a:xfrm>
            <a:off x="2069982" y="442163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71" name="Text Box 31"/>
          <p:cNvSpPr txBox="1">
            <a:spLocks noChangeArrowheads="1"/>
          </p:cNvSpPr>
          <p:nvPr/>
        </p:nvSpPr>
        <p:spPr bwMode="auto">
          <a:xfrm>
            <a:off x="365125" y="416251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84" name="Rectangle 83"/>
          <p:cNvSpPr>
            <a:spLocks noChangeArrowheads="1"/>
          </p:cNvSpPr>
          <p:nvPr/>
        </p:nvSpPr>
        <p:spPr bwMode="auto">
          <a:xfrm>
            <a:off x="2069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5" name="Rectangle 84"/>
          <p:cNvSpPr>
            <a:spLocks noChangeArrowheads="1"/>
          </p:cNvSpPr>
          <p:nvPr/>
        </p:nvSpPr>
        <p:spPr bwMode="auto">
          <a:xfrm>
            <a:off x="3000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6" name="Rectangle 85"/>
          <p:cNvSpPr>
            <a:spLocks noChangeArrowheads="1"/>
          </p:cNvSpPr>
          <p:nvPr/>
        </p:nvSpPr>
        <p:spPr bwMode="auto">
          <a:xfrm>
            <a:off x="3995619"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8" name="Rectangle 87"/>
          <p:cNvSpPr>
            <a:spLocks noChangeArrowheads="1"/>
          </p:cNvSpPr>
          <p:nvPr/>
        </p:nvSpPr>
        <p:spPr bwMode="auto">
          <a:xfrm>
            <a:off x="4925894"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9" name="Rectangle 88"/>
          <p:cNvSpPr>
            <a:spLocks noChangeArrowheads="1"/>
          </p:cNvSpPr>
          <p:nvPr/>
        </p:nvSpPr>
        <p:spPr bwMode="auto">
          <a:xfrm>
            <a:off x="5926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0" name="Rectangle 89"/>
          <p:cNvSpPr>
            <a:spLocks noChangeArrowheads="1"/>
          </p:cNvSpPr>
          <p:nvPr/>
        </p:nvSpPr>
        <p:spPr bwMode="auto">
          <a:xfrm>
            <a:off x="6856294"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1" name="Rectangle 90"/>
          <p:cNvSpPr>
            <a:spLocks noChangeArrowheads="1"/>
          </p:cNvSpPr>
          <p:nvPr/>
        </p:nvSpPr>
        <p:spPr bwMode="auto">
          <a:xfrm>
            <a:off x="2335094"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2" name="Rectangle 91"/>
          <p:cNvSpPr>
            <a:spLocks noChangeArrowheads="1"/>
          </p:cNvSpPr>
          <p:nvPr/>
        </p:nvSpPr>
        <p:spPr bwMode="auto">
          <a:xfrm>
            <a:off x="3265369"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3" name="Rectangle 92"/>
          <p:cNvSpPr>
            <a:spLocks noChangeArrowheads="1"/>
          </p:cNvSpPr>
          <p:nvPr/>
        </p:nvSpPr>
        <p:spPr bwMode="auto">
          <a:xfrm>
            <a:off x="4262319"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4" name="Rectangle 93"/>
          <p:cNvSpPr>
            <a:spLocks noChangeArrowheads="1"/>
          </p:cNvSpPr>
          <p:nvPr/>
        </p:nvSpPr>
        <p:spPr bwMode="auto">
          <a:xfrm>
            <a:off x="5192594"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5" name="Rectangle 94"/>
          <p:cNvSpPr>
            <a:spLocks noChangeArrowheads="1"/>
          </p:cNvSpPr>
          <p:nvPr/>
        </p:nvSpPr>
        <p:spPr bwMode="auto">
          <a:xfrm>
            <a:off x="6192719"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6" name="Rectangle 95"/>
          <p:cNvSpPr>
            <a:spLocks noChangeArrowheads="1"/>
          </p:cNvSpPr>
          <p:nvPr/>
        </p:nvSpPr>
        <p:spPr bwMode="auto">
          <a:xfrm>
            <a:off x="7121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8" name="Rectangle 17"/>
          <p:cNvSpPr>
            <a:spLocks noChangeArrowheads="1"/>
          </p:cNvSpPr>
          <p:nvPr/>
        </p:nvSpPr>
        <p:spPr bwMode="auto">
          <a:xfrm>
            <a:off x="3000257"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6" name="Rectangle 17"/>
          <p:cNvSpPr>
            <a:spLocks noChangeArrowheads="1"/>
          </p:cNvSpPr>
          <p:nvPr/>
        </p:nvSpPr>
        <p:spPr bwMode="auto">
          <a:xfrm>
            <a:off x="2069982"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4" name="Rectangle 17"/>
          <p:cNvSpPr>
            <a:spLocks noChangeArrowheads="1"/>
          </p:cNvSpPr>
          <p:nvPr/>
        </p:nvSpPr>
        <p:spPr bwMode="auto">
          <a:xfrm>
            <a:off x="3997207"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2" name="Rectangle 17"/>
          <p:cNvSpPr>
            <a:spLocks noChangeArrowheads="1"/>
          </p:cNvSpPr>
          <p:nvPr/>
        </p:nvSpPr>
        <p:spPr bwMode="auto">
          <a:xfrm>
            <a:off x="4927482"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5" name="Rectangle 17"/>
          <p:cNvSpPr>
            <a:spLocks noChangeArrowheads="1"/>
          </p:cNvSpPr>
          <p:nvPr/>
        </p:nvSpPr>
        <p:spPr bwMode="auto">
          <a:xfrm>
            <a:off x="5926019"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7" name="Rectangle 17"/>
          <p:cNvSpPr>
            <a:spLocks noChangeArrowheads="1"/>
          </p:cNvSpPr>
          <p:nvPr/>
        </p:nvSpPr>
        <p:spPr bwMode="auto">
          <a:xfrm>
            <a:off x="6856294" y="4963451"/>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72" name="Text Box 38"/>
          <p:cNvSpPr txBox="1">
            <a:spLocks noChangeArrowheads="1"/>
          </p:cNvSpPr>
          <p:nvPr/>
        </p:nvSpPr>
        <p:spPr bwMode="auto">
          <a:xfrm>
            <a:off x="365125" y="470512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49" name="Rounded Rectangle 148"/>
          <p:cNvSpPr>
            <a:spLocks noChangeArrowheads="1"/>
          </p:cNvSpPr>
          <p:nvPr/>
        </p:nvSpPr>
        <p:spPr bwMode="auto">
          <a:xfrm>
            <a:off x="2950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26" name="Rectangle 25"/>
          <p:cNvSpPr>
            <a:spLocks noChangeArrowheads="1"/>
          </p:cNvSpPr>
          <p:nvPr/>
        </p:nvSpPr>
        <p:spPr bwMode="auto">
          <a:xfrm>
            <a:off x="2069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0" name="Rectangle 39"/>
          <p:cNvSpPr>
            <a:spLocks noChangeArrowheads="1"/>
          </p:cNvSpPr>
          <p:nvPr/>
        </p:nvSpPr>
        <p:spPr bwMode="auto">
          <a:xfrm>
            <a:off x="3000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1" name="Rectangle 40"/>
          <p:cNvSpPr>
            <a:spLocks noChangeArrowheads="1"/>
          </p:cNvSpPr>
          <p:nvPr/>
        </p:nvSpPr>
        <p:spPr bwMode="auto">
          <a:xfrm>
            <a:off x="3995619"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2" name="Rectangle 41"/>
          <p:cNvSpPr>
            <a:spLocks noChangeArrowheads="1"/>
          </p:cNvSpPr>
          <p:nvPr/>
        </p:nvSpPr>
        <p:spPr bwMode="auto">
          <a:xfrm>
            <a:off x="4925894"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3" name="Rectangle 62"/>
          <p:cNvSpPr>
            <a:spLocks noChangeArrowheads="1"/>
          </p:cNvSpPr>
          <p:nvPr/>
        </p:nvSpPr>
        <p:spPr bwMode="auto">
          <a:xfrm>
            <a:off x="2335094"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6" name="Rectangle 65"/>
          <p:cNvSpPr>
            <a:spLocks noChangeArrowheads="1"/>
          </p:cNvSpPr>
          <p:nvPr/>
        </p:nvSpPr>
        <p:spPr bwMode="auto">
          <a:xfrm>
            <a:off x="3265369"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7" name="Rectangle 66"/>
          <p:cNvSpPr>
            <a:spLocks noChangeArrowheads="1"/>
          </p:cNvSpPr>
          <p:nvPr/>
        </p:nvSpPr>
        <p:spPr bwMode="auto">
          <a:xfrm>
            <a:off x="4262319"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8" name="Rectangle 67"/>
          <p:cNvSpPr>
            <a:spLocks noChangeArrowheads="1"/>
          </p:cNvSpPr>
          <p:nvPr/>
        </p:nvSpPr>
        <p:spPr bwMode="auto">
          <a:xfrm>
            <a:off x="5192594"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09" name="Rectangle 108"/>
          <p:cNvSpPr>
            <a:spLocks noChangeArrowheads="1"/>
          </p:cNvSpPr>
          <p:nvPr/>
        </p:nvSpPr>
        <p:spPr bwMode="auto">
          <a:xfrm>
            <a:off x="5926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0" name="Rectangle 109"/>
          <p:cNvSpPr>
            <a:spLocks noChangeArrowheads="1"/>
          </p:cNvSpPr>
          <p:nvPr/>
        </p:nvSpPr>
        <p:spPr bwMode="auto">
          <a:xfrm>
            <a:off x="6192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2" name="Rectangle 111"/>
          <p:cNvSpPr>
            <a:spLocks noChangeArrowheads="1"/>
          </p:cNvSpPr>
          <p:nvPr/>
        </p:nvSpPr>
        <p:spPr bwMode="auto">
          <a:xfrm>
            <a:off x="6854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3" name="Rectangle 112"/>
          <p:cNvSpPr>
            <a:spLocks noChangeArrowheads="1"/>
          </p:cNvSpPr>
          <p:nvPr/>
        </p:nvSpPr>
        <p:spPr bwMode="auto">
          <a:xfrm>
            <a:off x="7121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9" name="Rectangle 17"/>
          <p:cNvSpPr>
            <a:spLocks noChangeArrowheads="1"/>
          </p:cNvSpPr>
          <p:nvPr/>
        </p:nvSpPr>
        <p:spPr bwMode="auto">
          <a:xfrm>
            <a:off x="3000257"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7" name="Rectangle 17"/>
          <p:cNvSpPr>
            <a:spLocks noChangeArrowheads="1"/>
          </p:cNvSpPr>
          <p:nvPr/>
        </p:nvSpPr>
        <p:spPr bwMode="auto">
          <a:xfrm>
            <a:off x="2069982"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5" name="Rectangle 17"/>
          <p:cNvSpPr>
            <a:spLocks noChangeArrowheads="1"/>
          </p:cNvSpPr>
          <p:nvPr/>
        </p:nvSpPr>
        <p:spPr bwMode="auto">
          <a:xfrm>
            <a:off x="3997207"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3" name="Rectangle 17"/>
          <p:cNvSpPr>
            <a:spLocks noChangeArrowheads="1"/>
          </p:cNvSpPr>
          <p:nvPr/>
        </p:nvSpPr>
        <p:spPr bwMode="auto">
          <a:xfrm>
            <a:off x="4927482"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6" name="Rectangle 17"/>
          <p:cNvSpPr>
            <a:spLocks noChangeArrowheads="1"/>
          </p:cNvSpPr>
          <p:nvPr/>
        </p:nvSpPr>
        <p:spPr bwMode="auto">
          <a:xfrm>
            <a:off x="5926019"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8" name="Rectangle 17"/>
          <p:cNvSpPr>
            <a:spLocks noChangeArrowheads="1"/>
          </p:cNvSpPr>
          <p:nvPr/>
        </p:nvSpPr>
        <p:spPr bwMode="auto">
          <a:xfrm>
            <a:off x="6856294" y="5505269"/>
            <a:ext cx="253274" cy="9695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73" name="Text Box 45"/>
          <p:cNvSpPr txBox="1">
            <a:spLocks noChangeArrowheads="1"/>
          </p:cNvSpPr>
          <p:nvPr/>
        </p:nvSpPr>
        <p:spPr bwMode="auto">
          <a:xfrm>
            <a:off x="365125" y="5247736"/>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sp>
        <p:nvSpPr>
          <p:cNvPr id="5" name="Rectangle 3"/>
          <p:cNvSpPr>
            <a:spLocks noChangeArrowheads="1"/>
          </p:cNvSpPr>
          <p:nvPr/>
        </p:nvSpPr>
        <p:spPr bwMode="auto">
          <a:xfrm>
            <a:off x="2686347" y="1969190"/>
            <a:ext cx="731837" cy="215900"/>
          </a:xfrm>
          <a:prstGeom prst="rect">
            <a:avLst/>
          </a:prstGeom>
          <a:solidFill>
            <a:schemeClr val="bg2"/>
          </a:solidFill>
          <a:ln w="9525" algn="ctr">
            <a:noFill/>
            <a:miter lim="800000"/>
            <a:headEnd/>
            <a:tailEnd/>
          </a:ln>
        </p:spPr>
        <p:txBody>
          <a:bodyPr wrap="none" anchor="ctr"/>
          <a:lstStyle/>
          <a:p>
            <a:pPr algn="ctr">
              <a:defRPr/>
            </a:pPr>
            <a:endParaRPr lang="en-US" sz="1200" dirty="0"/>
          </a:p>
        </p:txBody>
      </p:sp>
      <p:sp>
        <p:nvSpPr>
          <p:cNvPr id="6" name="Rectangle 4"/>
          <p:cNvSpPr>
            <a:spLocks noChangeArrowheads="1"/>
          </p:cNvSpPr>
          <p:nvPr/>
        </p:nvSpPr>
        <p:spPr bwMode="auto">
          <a:xfrm>
            <a:off x="2686346" y="415207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7" name="Rectangle 5"/>
          <p:cNvSpPr>
            <a:spLocks noChangeArrowheads="1"/>
          </p:cNvSpPr>
          <p:nvPr/>
        </p:nvSpPr>
        <p:spPr bwMode="auto">
          <a:xfrm>
            <a:off x="2686346" y="4697795"/>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8" name="Rectangle 6"/>
          <p:cNvSpPr>
            <a:spLocks noChangeArrowheads="1"/>
          </p:cNvSpPr>
          <p:nvPr/>
        </p:nvSpPr>
        <p:spPr bwMode="auto">
          <a:xfrm>
            <a:off x="4199235" y="1969190"/>
            <a:ext cx="731837" cy="215900"/>
          </a:xfrm>
          <a:prstGeom prst="rect">
            <a:avLst/>
          </a:prstGeom>
          <a:solidFill>
            <a:schemeClr val="bg2"/>
          </a:solidFill>
          <a:ln w="9525" algn="ctr">
            <a:noFill/>
            <a:miter lim="800000"/>
            <a:headEnd/>
            <a:tailEnd/>
          </a:ln>
        </p:spPr>
        <p:txBody>
          <a:bodyPr wrap="none" anchor="ctr"/>
          <a:lstStyle/>
          <a:p>
            <a:pPr algn="ctr">
              <a:defRPr/>
            </a:pPr>
            <a:endParaRPr lang="en-US" altLang="ja-JP" sz="1200" dirty="0">
              <a:ea typeface="ＭＳ Ｐゴシック" pitchFamily="50" charset="-128"/>
            </a:endParaRPr>
          </a:p>
        </p:txBody>
      </p:sp>
      <p:sp>
        <p:nvSpPr>
          <p:cNvPr id="785415" name="Rectangle 7"/>
          <p:cNvSpPr>
            <a:spLocks noChangeArrowheads="1"/>
          </p:cNvSpPr>
          <p:nvPr/>
        </p:nvSpPr>
        <p:spPr bwMode="auto">
          <a:xfrm>
            <a:off x="4199235" y="4152074"/>
            <a:ext cx="731837"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0" name="Rectangle 8"/>
          <p:cNvSpPr>
            <a:spLocks noChangeArrowheads="1"/>
          </p:cNvSpPr>
          <p:nvPr/>
        </p:nvSpPr>
        <p:spPr bwMode="auto">
          <a:xfrm>
            <a:off x="4199235" y="4697795"/>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11" name="Rectangle 9"/>
          <p:cNvSpPr>
            <a:spLocks noChangeArrowheads="1"/>
          </p:cNvSpPr>
          <p:nvPr/>
        </p:nvSpPr>
        <p:spPr bwMode="auto">
          <a:xfrm>
            <a:off x="2686347" y="5243513"/>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0" name="Rectangle 12"/>
          <p:cNvSpPr>
            <a:spLocks noChangeArrowheads="1"/>
          </p:cNvSpPr>
          <p:nvPr/>
        </p:nvSpPr>
        <p:spPr bwMode="auto">
          <a:xfrm>
            <a:off x="5943896" y="1969190"/>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5" name="Rectangle 13"/>
          <p:cNvSpPr>
            <a:spLocks noChangeArrowheads="1"/>
          </p:cNvSpPr>
          <p:nvPr/>
        </p:nvSpPr>
        <p:spPr bwMode="auto">
          <a:xfrm>
            <a:off x="5943896" y="2514911"/>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200" dirty="0"/>
          </a:p>
        </p:txBody>
      </p:sp>
      <p:sp>
        <p:nvSpPr>
          <p:cNvPr id="16" name="Rectangle 14"/>
          <p:cNvSpPr>
            <a:spLocks noChangeArrowheads="1"/>
          </p:cNvSpPr>
          <p:nvPr/>
        </p:nvSpPr>
        <p:spPr bwMode="auto">
          <a:xfrm>
            <a:off x="5943896" y="3060632"/>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3" name="Rectangle 15"/>
          <p:cNvSpPr>
            <a:spLocks noChangeArrowheads="1"/>
          </p:cNvSpPr>
          <p:nvPr/>
        </p:nvSpPr>
        <p:spPr bwMode="auto">
          <a:xfrm>
            <a:off x="5943896" y="3606353"/>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4" name="Rectangle 16"/>
          <p:cNvSpPr>
            <a:spLocks noChangeArrowheads="1"/>
          </p:cNvSpPr>
          <p:nvPr/>
        </p:nvSpPr>
        <p:spPr bwMode="auto">
          <a:xfrm>
            <a:off x="5943896" y="4152074"/>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5" name="Rectangle 17"/>
          <p:cNvSpPr>
            <a:spLocks noChangeArrowheads="1"/>
          </p:cNvSpPr>
          <p:nvPr/>
        </p:nvSpPr>
        <p:spPr bwMode="auto">
          <a:xfrm>
            <a:off x="5943896" y="4697795"/>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20" name="Rectangle 18"/>
          <p:cNvSpPr>
            <a:spLocks noChangeArrowheads="1"/>
          </p:cNvSpPr>
          <p:nvPr/>
        </p:nvSpPr>
        <p:spPr bwMode="auto">
          <a:xfrm>
            <a:off x="5943896" y="5243513"/>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9" name="Text Box 21"/>
          <p:cNvSpPr txBox="1">
            <a:spLocks noChangeArrowheads="1"/>
          </p:cNvSpPr>
          <p:nvPr/>
        </p:nvSpPr>
        <p:spPr bwMode="auto">
          <a:xfrm>
            <a:off x="3005778" y="1614488"/>
            <a:ext cx="105798"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A</a:t>
            </a:r>
          </a:p>
        </p:txBody>
      </p:sp>
      <p:sp>
        <p:nvSpPr>
          <p:cNvPr id="785430" name="Text Box 22"/>
          <p:cNvSpPr txBox="1">
            <a:spLocks noChangeArrowheads="1"/>
          </p:cNvSpPr>
          <p:nvPr/>
        </p:nvSpPr>
        <p:spPr bwMode="auto">
          <a:xfrm>
            <a:off x="4518666" y="1614488"/>
            <a:ext cx="105798"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B</a:t>
            </a:r>
          </a:p>
        </p:txBody>
      </p:sp>
      <p:sp>
        <p:nvSpPr>
          <p:cNvPr id="785431" name="Text Box 23"/>
          <p:cNvSpPr txBox="1">
            <a:spLocks noChangeArrowheads="1"/>
          </p:cNvSpPr>
          <p:nvPr/>
        </p:nvSpPr>
        <p:spPr bwMode="auto">
          <a:xfrm>
            <a:off x="6074181" y="1614488"/>
            <a:ext cx="588303"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New Co</a:t>
            </a:r>
          </a:p>
        </p:txBody>
      </p:sp>
      <p:sp>
        <p:nvSpPr>
          <p:cNvPr id="785432" name="Text Box 24"/>
          <p:cNvSpPr txBox="1">
            <a:spLocks noChangeArrowheads="1"/>
          </p:cNvSpPr>
          <p:nvPr/>
        </p:nvSpPr>
        <p:spPr bwMode="auto">
          <a:xfrm>
            <a:off x="3741383" y="4127919"/>
            <a:ext cx="189154"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785433" name="Text Box 25"/>
          <p:cNvSpPr txBox="1">
            <a:spLocks noChangeArrowheads="1"/>
          </p:cNvSpPr>
          <p:nvPr/>
        </p:nvSpPr>
        <p:spPr bwMode="auto">
          <a:xfrm>
            <a:off x="5370158" y="4127919"/>
            <a:ext cx="189154"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28" name="Rectangle 26"/>
          <p:cNvSpPr>
            <a:spLocks noChangeArrowheads="1"/>
          </p:cNvSpPr>
          <p:nvPr/>
        </p:nvSpPr>
        <p:spPr bwMode="auto">
          <a:xfrm>
            <a:off x="4199234" y="2514911"/>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29" name="Rectangle 27"/>
          <p:cNvSpPr>
            <a:spLocks noChangeArrowheads="1"/>
          </p:cNvSpPr>
          <p:nvPr/>
        </p:nvSpPr>
        <p:spPr bwMode="auto">
          <a:xfrm>
            <a:off x="4199234" y="3060632"/>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36" name="Rectangle 28"/>
          <p:cNvSpPr>
            <a:spLocks noChangeArrowheads="1"/>
          </p:cNvSpPr>
          <p:nvPr/>
        </p:nvSpPr>
        <p:spPr bwMode="auto">
          <a:xfrm>
            <a:off x="4199234" y="3606353"/>
            <a:ext cx="731838"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58" name="Text Box 3"/>
          <p:cNvSpPr txBox="1">
            <a:spLocks noChangeArrowheads="1"/>
          </p:cNvSpPr>
          <p:nvPr/>
        </p:nvSpPr>
        <p:spPr bwMode="auto">
          <a:xfrm>
            <a:off x="365125" y="199205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59" name="Text Box 10"/>
          <p:cNvSpPr txBox="1">
            <a:spLocks noChangeArrowheads="1"/>
          </p:cNvSpPr>
          <p:nvPr/>
        </p:nvSpPr>
        <p:spPr bwMode="auto">
          <a:xfrm>
            <a:off x="365125" y="253466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0" name="Text Box 17"/>
          <p:cNvSpPr txBox="1">
            <a:spLocks noChangeArrowheads="1"/>
          </p:cNvSpPr>
          <p:nvPr/>
        </p:nvSpPr>
        <p:spPr bwMode="auto">
          <a:xfrm>
            <a:off x="365125" y="307728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1" name="Text Box 24"/>
          <p:cNvSpPr txBox="1">
            <a:spLocks noChangeArrowheads="1"/>
          </p:cNvSpPr>
          <p:nvPr/>
        </p:nvSpPr>
        <p:spPr bwMode="auto">
          <a:xfrm>
            <a:off x="365125" y="361989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2" name="Text Box 31"/>
          <p:cNvSpPr txBox="1">
            <a:spLocks noChangeArrowheads="1"/>
          </p:cNvSpPr>
          <p:nvPr/>
        </p:nvSpPr>
        <p:spPr bwMode="auto">
          <a:xfrm>
            <a:off x="365125" y="416251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3" name="Text Box 38"/>
          <p:cNvSpPr txBox="1">
            <a:spLocks noChangeArrowheads="1"/>
          </p:cNvSpPr>
          <p:nvPr/>
        </p:nvSpPr>
        <p:spPr bwMode="auto">
          <a:xfrm>
            <a:off x="365125" y="470512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4" name="Text Box 45"/>
          <p:cNvSpPr txBox="1">
            <a:spLocks noChangeArrowheads="1"/>
          </p:cNvSpPr>
          <p:nvPr/>
        </p:nvSpPr>
        <p:spPr bwMode="auto">
          <a:xfrm>
            <a:off x="365125" y="5247736"/>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65" name="Rectangle 52"/>
          <p:cNvSpPr>
            <a:spLocks noChangeArrowheads="1"/>
          </p:cNvSpPr>
          <p:nvPr/>
        </p:nvSpPr>
        <p:spPr bwMode="auto">
          <a:xfrm>
            <a:off x="3037031" y="6184841"/>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dirty="0">
              <a:ea typeface="+mn-ea"/>
              <a:cs typeface="Arial" pitchFamily="34" charset="0"/>
            </a:endParaRPr>
          </a:p>
        </p:txBody>
      </p:sp>
      <p:sp>
        <p:nvSpPr>
          <p:cNvPr id="66" name="Text Box 54"/>
          <p:cNvSpPr txBox="1">
            <a:spLocks noChangeArrowheads="1"/>
          </p:cNvSpPr>
          <p:nvPr/>
        </p:nvSpPr>
        <p:spPr bwMode="auto">
          <a:xfrm>
            <a:off x="3434190" y="6189950"/>
            <a:ext cx="689291"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67" name="Rectangle 66"/>
          <p:cNvSpPr>
            <a:spLocks noChangeArrowheads="1"/>
          </p:cNvSpPr>
          <p:nvPr/>
        </p:nvSpPr>
        <p:spPr bwMode="auto">
          <a:xfrm>
            <a:off x="4545336" y="6184841"/>
            <a:ext cx="325391" cy="148719"/>
          </a:xfrm>
          <a:prstGeom prst="rect">
            <a:avLst/>
          </a:prstGeom>
          <a:solidFill>
            <a:schemeClr val="bg2"/>
          </a:solidFill>
          <a:ln w="9525" algn="ctr">
            <a:noFill/>
            <a:miter lim="800000"/>
            <a:headEnd/>
            <a:tailEnd/>
          </a:ln>
        </p:spPr>
        <p:txBody>
          <a:bodyPr wrap="none" anchor="ctr"/>
          <a:lstStyle/>
          <a:p>
            <a:pPr eaLnBrk="1" hangingPunct="1">
              <a:spcBef>
                <a:spcPct val="20000"/>
              </a:spcBef>
              <a:defRPr/>
            </a:pPr>
            <a:endParaRPr lang="en-GB" sz="900" dirty="0">
              <a:ea typeface="+mn-ea"/>
              <a:cs typeface="Arial" pitchFamily="34" charset="0"/>
            </a:endParaRPr>
          </a:p>
        </p:txBody>
      </p:sp>
      <p:sp>
        <p:nvSpPr>
          <p:cNvPr id="68" name="Text Box 55"/>
          <p:cNvSpPr txBox="1">
            <a:spLocks noChangeArrowheads="1"/>
          </p:cNvSpPr>
          <p:nvPr/>
        </p:nvSpPr>
        <p:spPr bwMode="auto">
          <a:xfrm>
            <a:off x="4942495" y="6189950"/>
            <a:ext cx="424796"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69" name="Rectangle 68"/>
          <p:cNvSpPr>
            <a:spLocks noChangeArrowheads="1"/>
          </p:cNvSpPr>
          <p:nvPr/>
        </p:nvSpPr>
        <p:spPr bwMode="auto">
          <a:xfrm>
            <a:off x="5787542" y="6184841"/>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dirty="0">
              <a:ea typeface="+mn-ea"/>
              <a:cs typeface="Arial" pitchFamily="34" charset="0"/>
            </a:endParaRPr>
          </a:p>
        </p:txBody>
      </p:sp>
      <p:sp>
        <p:nvSpPr>
          <p:cNvPr id="70" name="Text Box 57"/>
          <p:cNvSpPr txBox="1">
            <a:spLocks noChangeArrowheads="1"/>
          </p:cNvSpPr>
          <p:nvPr/>
        </p:nvSpPr>
        <p:spPr bwMode="auto">
          <a:xfrm>
            <a:off x="6184701" y="6189950"/>
            <a:ext cx="86081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71" name="Rectangle 70"/>
          <p:cNvSpPr>
            <a:spLocks noChangeArrowheads="1"/>
          </p:cNvSpPr>
          <p:nvPr/>
        </p:nvSpPr>
        <p:spPr bwMode="auto">
          <a:xfrm>
            <a:off x="7470491" y="6184841"/>
            <a:ext cx="325391"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dirty="0">
              <a:ea typeface="+mn-ea"/>
              <a:cs typeface="Arial" pitchFamily="34" charset="0"/>
            </a:endParaRPr>
          </a:p>
        </p:txBody>
      </p:sp>
      <p:sp>
        <p:nvSpPr>
          <p:cNvPr id="72" name="Text Box 57"/>
          <p:cNvSpPr txBox="1">
            <a:spLocks noChangeArrowheads="1"/>
          </p:cNvSpPr>
          <p:nvPr/>
        </p:nvSpPr>
        <p:spPr bwMode="auto">
          <a:xfrm>
            <a:off x="7867650" y="6189950"/>
            <a:ext cx="654025" cy="138499"/>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900"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331066" y="3845494"/>
            <a:ext cx="1497205"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6" name="Text Box 4"/>
          <p:cNvSpPr txBox="1">
            <a:spLocks noChangeArrowheads="1"/>
          </p:cNvSpPr>
          <p:nvPr/>
        </p:nvSpPr>
        <p:spPr bwMode="auto">
          <a:xfrm>
            <a:off x="2382760" y="60236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7" name="Text Box 5"/>
          <p:cNvSpPr txBox="1">
            <a:spLocks noChangeArrowheads="1"/>
          </p:cNvSpPr>
          <p:nvPr/>
        </p:nvSpPr>
        <p:spPr bwMode="auto">
          <a:xfrm>
            <a:off x="337874" y="6092911"/>
            <a:ext cx="1497205"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8" name="Text Box 6"/>
          <p:cNvSpPr txBox="1">
            <a:spLocks noChangeArrowheads="1"/>
          </p:cNvSpPr>
          <p:nvPr/>
        </p:nvSpPr>
        <p:spPr bwMode="auto">
          <a:xfrm>
            <a:off x="6105883" y="60236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9" name="Rectangle 7"/>
          <p:cNvSpPr>
            <a:spLocks noChangeArrowheads="1"/>
          </p:cNvSpPr>
          <p:nvPr/>
        </p:nvSpPr>
        <p:spPr bwMode="auto">
          <a:xfrm>
            <a:off x="1652942" y="2727521"/>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 name="Rectangle 8"/>
          <p:cNvSpPr>
            <a:spLocks noChangeArrowheads="1"/>
          </p:cNvSpPr>
          <p:nvPr/>
        </p:nvSpPr>
        <p:spPr bwMode="auto">
          <a:xfrm>
            <a:off x="2410183" y="2726678"/>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 name="Rectangle 9"/>
          <p:cNvSpPr>
            <a:spLocks noChangeArrowheads="1"/>
          </p:cNvSpPr>
          <p:nvPr/>
        </p:nvSpPr>
        <p:spPr bwMode="auto">
          <a:xfrm>
            <a:off x="2410183" y="297115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 name="Rectangle 10"/>
          <p:cNvSpPr>
            <a:spLocks noChangeArrowheads="1"/>
          </p:cNvSpPr>
          <p:nvPr/>
        </p:nvSpPr>
        <p:spPr bwMode="auto">
          <a:xfrm>
            <a:off x="2410183" y="3215628"/>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3" name="Rectangle 12"/>
          <p:cNvSpPr>
            <a:spLocks noChangeArrowheads="1"/>
          </p:cNvSpPr>
          <p:nvPr/>
        </p:nvSpPr>
        <p:spPr bwMode="auto">
          <a:xfrm>
            <a:off x="1551346" y="1967201"/>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45" name="Text Box 13"/>
          <p:cNvSpPr txBox="1">
            <a:spLocks noChangeArrowheads="1"/>
          </p:cNvSpPr>
          <p:nvPr/>
        </p:nvSpPr>
        <p:spPr bwMode="auto">
          <a:xfrm>
            <a:off x="2382760" y="3776242"/>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15" name="Line 14"/>
          <p:cNvSpPr>
            <a:spLocks noChangeShapeType="1"/>
          </p:cNvSpPr>
          <p:nvPr/>
        </p:nvSpPr>
        <p:spPr bwMode="auto">
          <a:xfrm>
            <a:off x="1842180" y="3930132"/>
            <a:ext cx="457200" cy="0"/>
          </a:xfrm>
          <a:prstGeom prst="line">
            <a:avLst/>
          </a:prstGeom>
          <a:noFill/>
          <a:ln w="9525">
            <a:solidFill>
              <a:schemeClr val="bg2"/>
            </a:solidFill>
            <a:round/>
            <a:headEnd/>
            <a:tailEnd type="triangle" w="med" len="med"/>
          </a:ln>
        </p:spPr>
        <p:txBody>
          <a:bodyPr lIns="90000" tIns="46800" rIns="90000" bIns="46800" anchor="ctr"/>
          <a:lstStyle/>
          <a:p>
            <a:pPr>
              <a:defRPr/>
            </a:pPr>
            <a:endParaRPr lang="en-US" sz="3200" dirty="0"/>
          </a:p>
        </p:txBody>
      </p:sp>
      <p:sp>
        <p:nvSpPr>
          <p:cNvPr id="786447" name="Rectangle 15"/>
          <p:cNvSpPr>
            <a:spLocks noChangeArrowheads="1"/>
          </p:cNvSpPr>
          <p:nvPr/>
        </p:nvSpPr>
        <p:spPr bwMode="auto">
          <a:xfrm>
            <a:off x="1652942" y="2971996"/>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8" name="Rectangle 16"/>
          <p:cNvSpPr>
            <a:spLocks noChangeArrowheads="1"/>
          </p:cNvSpPr>
          <p:nvPr/>
        </p:nvSpPr>
        <p:spPr bwMode="auto">
          <a:xfrm>
            <a:off x="1652942" y="3217265"/>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9" name="Rectangle 17"/>
          <p:cNvSpPr>
            <a:spLocks noChangeArrowheads="1"/>
          </p:cNvSpPr>
          <p:nvPr/>
        </p:nvSpPr>
        <p:spPr bwMode="auto">
          <a:xfrm>
            <a:off x="1652942" y="3463328"/>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9" name="Rectangle 18"/>
          <p:cNvSpPr>
            <a:spLocks noChangeArrowheads="1"/>
          </p:cNvSpPr>
          <p:nvPr/>
        </p:nvSpPr>
        <p:spPr bwMode="auto">
          <a:xfrm>
            <a:off x="2410183" y="3461691"/>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51" name="Rectangle 19"/>
          <p:cNvSpPr>
            <a:spLocks noChangeArrowheads="1"/>
          </p:cNvSpPr>
          <p:nvPr/>
        </p:nvSpPr>
        <p:spPr bwMode="auto">
          <a:xfrm>
            <a:off x="1652942" y="2483046"/>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21" name="Rectangle 20"/>
          <p:cNvSpPr>
            <a:spLocks noChangeArrowheads="1"/>
          </p:cNvSpPr>
          <p:nvPr/>
        </p:nvSpPr>
        <p:spPr bwMode="auto">
          <a:xfrm>
            <a:off x="2410183" y="248220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2" name="Rectangle 21"/>
          <p:cNvSpPr>
            <a:spLocks noChangeArrowheads="1"/>
          </p:cNvSpPr>
          <p:nvPr/>
        </p:nvSpPr>
        <p:spPr bwMode="auto">
          <a:xfrm>
            <a:off x="2876908" y="2726678"/>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3" name="Rectangle 22"/>
          <p:cNvSpPr>
            <a:spLocks noChangeArrowheads="1"/>
          </p:cNvSpPr>
          <p:nvPr/>
        </p:nvSpPr>
        <p:spPr bwMode="auto">
          <a:xfrm>
            <a:off x="2876908" y="2971153"/>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4" name="Rectangle 23"/>
          <p:cNvSpPr>
            <a:spLocks noChangeArrowheads="1"/>
          </p:cNvSpPr>
          <p:nvPr/>
        </p:nvSpPr>
        <p:spPr bwMode="auto">
          <a:xfrm>
            <a:off x="2876908" y="3215628"/>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5" name="Rectangle 24"/>
          <p:cNvSpPr>
            <a:spLocks noChangeArrowheads="1"/>
          </p:cNvSpPr>
          <p:nvPr/>
        </p:nvSpPr>
        <p:spPr bwMode="auto">
          <a:xfrm>
            <a:off x="2876908" y="3461691"/>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6" name="Rectangle 25"/>
          <p:cNvSpPr>
            <a:spLocks noChangeArrowheads="1"/>
          </p:cNvSpPr>
          <p:nvPr/>
        </p:nvSpPr>
        <p:spPr bwMode="auto">
          <a:xfrm>
            <a:off x="2876908" y="2482203"/>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7" name="Rectangle 26"/>
          <p:cNvSpPr>
            <a:spLocks noChangeArrowheads="1"/>
          </p:cNvSpPr>
          <p:nvPr/>
        </p:nvSpPr>
        <p:spPr bwMode="auto">
          <a:xfrm>
            <a:off x="3340458" y="2726678"/>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8" name="Rectangle 27"/>
          <p:cNvSpPr>
            <a:spLocks noChangeArrowheads="1"/>
          </p:cNvSpPr>
          <p:nvPr/>
        </p:nvSpPr>
        <p:spPr bwMode="auto">
          <a:xfrm>
            <a:off x="3340458" y="2971153"/>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9" name="Rectangle 28"/>
          <p:cNvSpPr>
            <a:spLocks noChangeArrowheads="1"/>
          </p:cNvSpPr>
          <p:nvPr/>
        </p:nvSpPr>
        <p:spPr bwMode="auto">
          <a:xfrm>
            <a:off x="3340458" y="3215628"/>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0" name="Rectangle 29"/>
          <p:cNvSpPr>
            <a:spLocks noChangeArrowheads="1"/>
          </p:cNvSpPr>
          <p:nvPr/>
        </p:nvSpPr>
        <p:spPr bwMode="auto">
          <a:xfrm>
            <a:off x="3340458" y="3461691"/>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1" name="Rectangle 30"/>
          <p:cNvSpPr>
            <a:spLocks noChangeArrowheads="1"/>
          </p:cNvSpPr>
          <p:nvPr/>
        </p:nvSpPr>
        <p:spPr bwMode="auto">
          <a:xfrm>
            <a:off x="3340458" y="2482203"/>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2" name="Rectangle 31"/>
          <p:cNvSpPr>
            <a:spLocks noChangeArrowheads="1"/>
          </p:cNvSpPr>
          <p:nvPr/>
        </p:nvSpPr>
        <p:spPr bwMode="auto">
          <a:xfrm>
            <a:off x="3807183" y="2726678"/>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3" name="Rectangle 32"/>
          <p:cNvSpPr>
            <a:spLocks noChangeArrowheads="1"/>
          </p:cNvSpPr>
          <p:nvPr/>
        </p:nvSpPr>
        <p:spPr bwMode="auto">
          <a:xfrm>
            <a:off x="3807183" y="297115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4" name="Rectangle 33"/>
          <p:cNvSpPr>
            <a:spLocks noChangeArrowheads="1"/>
          </p:cNvSpPr>
          <p:nvPr/>
        </p:nvSpPr>
        <p:spPr bwMode="auto">
          <a:xfrm>
            <a:off x="3807183" y="3215628"/>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5" name="Rectangle 34"/>
          <p:cNvSpPr>
            <a:spLocks noChangeArrowheads="1"/>
          </p:cNvSpPr>
          <p:nvPr/>
        </p:nvSpPr>
        <p:spPr bwMode="auto">
          <a:xfrm>
            <a:off x="3807183" y="3461691"/>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6" name="Rectangle 35"/>
          <p:cNvSpPr>
            <a:spLocks noChangeArrowheads="1"/>
          </p:cNvSpPr>
          <p:nvPr/>
        </p:nvSpPr>
        <p:spPr bwMode="auto">
          <a:xfrm>
            <a:off x="3807183" y="248220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68" name="Rectangle 36"/>
          <p:cNvSpPr>
            <a:spLocks noChangeArrowheads="1"/>
          </p:cNvSpPr>
          <p:nvPr/>
        </p:nvSpPr>
        <p:spPr bwMode="auto">
          <a:xfrm>
            <a:off x="5376065" y="2727521"/>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38" name="Rectangle 37"/>
          <p:cNvSpPr>
            <a:spLocks noChangeArrowheads="1"/>
          </p:cNvSpPr>
          <p:nvPr/>
        </p:nvSpPr>
        <p:spPr bwMode="auto">
          <a:xfrm>
            <a:off x="6134894" y="2726678"/>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9" name="Rectangle 38"/>
          <p:cNvSpPr>
            <a:spLocks noChangeArrowheads="1"/>
          </p:cNvSpPr>
          <p:nvPr/>
        </p:nvSpPr>
        <p:spPr bwMode="auto">
          <a:xfrm>
            <a:off x="6134894" y="297115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0" name="Rectangle 39"/>
          <p:cNvSpPr>
            <a:spLocks noChangeArrowheads="1"/>
          </p:cNvSpPr>
          <p:nvPr/>
        </p:nvSpPr>
        <p:spPr bwMode="auto">
          <a:xfrm>
            <a:off x="6134894" y="3215628"/>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2" name="Rectangle 41"/>
          <p:cNvSpPr>
            <a:spLocks noChangeArrowheads="1"/>
          </p:cNvSpPr>
          <p:nvPr/>
        </p:nvSpPr>
        <p:spPr bwMode="auto">
          <a:xfrm>
            <a:off x="5274469" y="1967201"/>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74" name="Text Box 42"/>
          <p:cNvSpPr txBox="1">
            <a:spLocks noChangeArrowheads="1"/>
          </p:cNvSpPr>
          <p:nvPr/>
        </p:nvSpPr>
        <p:spPr bwMode="auto">
          <a:xfrm>
            <a:off x="6105883" y="3776242"/>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75" name="Rectangle 43"/>
          <p:cNvSpPr>
            <a:spLocks noChangeArrowheads="1"/>
          </p:cNvSpPr>
          <p:nvPr/>
        </p:nvSpPr>
        <p:spPr bwMode="auto">
          <a:xfrm>
            <a:off x="5376065" y="2971996"/>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6" name="Rectangle 44"/>
          <p:cNvSpPr>
            <a:spLocks noChangeArrowheads="1"/>
          </p:cNvSpPr>
          <p:nvPr/>
        </p:nvSpPr>
        <p:spPr bwMode="auto">
          <a:xfrm>
            <a:off x="5376065" y="3217265"/>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7" name="Rectangle 45"/>
          <p:cNvSpPr>
            <a:spLocks noChangeArrowheads="1"/>
          </p:cNvSpPr>
          <p:nvPr/>
        </p:nvSpPr>
        <p:spPr bwMode="auto">
          <a:xfrm>
            <a:off x="5376065" y="3463328"/>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7" name="Rectangle 46"/>
          <p:cNvSpPr>
            <a:spLocks noChangeArrowheads="1"/>
          </p:cNvSpPr>
          <p:nvPr/>
        </p:nvSpPr>
        <p:spPr bwMode="auto">
          <a:xfrm>
            <a:off x="6134894" y="3461691"/>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79" name="Rectangle 47"/>
          <p:cNvSpPr>
            <a:spLocks noChangeArrowheads="1"/>
          </p:cNvSpPr>
          <p:nvPr/>
        </p:nvSpPr>
        <p:spPr bwMode="auto">
          <a:xfrm>
            <a:off x="5376065" y="2483046"/>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9" name="Rectangle 48"/>
          <p:cNvSpPr>
            <a:spLocks noChangeArrowheads="1"/>
          </p:cNvSpPr>
          <p:nvPr/>
        </p:nvSpPr>
        <p:spPr bwMode="auto">
          <a:xfrm>
            <a:off x="6134894" y="248220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0" name="Rectangle 49"/>
          <p:cNvSpPr>
            <a:spLocks noChangeArrowheads="1"/>
          </p:cNvSpPr>
          <p:nvPr/>
        </p:nvSpPr>
        <p:spPr bwMode="auto">
          <a:xfrm>
            <a:off x="6600031" y="2726678"/>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1" name="Rectangle 50"/>
          <p:cNvSpPr>
            <a:spLocks noChangeArrowheads="1"/>
          </p:cNvSpPr>
          <p:nvPr/>
        </p:nvSpPr>
        <p:spPr bwMode="auto">
          <a:xfrm>
            <a:off x="6600031" y="2971153"/>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2" name="Rectangle 51"/>
          <p:cNvSpPr>
            <a:spLocks noChangeArrowheads="1"/>
          </p:cNvSpPr>
          <p:nvPr/>
        </p:nvSpPr>
        <p:spPr bwMode="auto">
          <a:xfrm>
            <a:off x="6600031" y="3215628"/>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3" name="Rectangle 52"/>
          <p:cNvSpPr>
            <a:spLocks noChangeArrowheads="1"/>
          </p:cNvSpPr>
          <p:nvPr/>
        </p:nvSpPr>
        <p:spPr bwMode="auto">
          <a:xfrm>
            <a:off x="6600031" y="3461691"/>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4" name="Rectangle 53"/>
          <p:cNvSpPr>
            <a:spLocks noChangeArrowheads="1"/>
          </p:cNvSpPr>
          <p:nvPr/>
        </p:nvSpPr>
        <p:spPr bwMode="auto">
          <a:xfrm>
            <a:off x="6600031" y="2482203"/>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5" name="Rectangle 54"/>
          <p:cNvSpPr>
            <a:spLocks noChangeArrowheads="1"/>
          </p:cNvSpPr>
          <p:nvPr/>
        </p:nvSpPr>
        <p:spPr bwMode="auto">
          <a:xfrm>
            <a:off x="7065169" y="2726678"/>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6" name="Rectangle 55"/>
          <p:cNvSpPr>
            <a:spLocks noChangeArrowheads="1"/>
          </p:cNvSpPr>
          <p:nvPr/>
        </p:nvSpPr>
        <p:spPr bwMode="auto">
          <a:xfrm>
            <a:off x="7065169" y="297115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7" name="Rectangle 56"/>
          <p:cNvSpPr>
            <a:spLocks noChangeArrowheads="1"/>
          </p:cNvSpPr>
          <p:nvPr/>
        </p:nvSpPr>
        <p:spPr bwMode="auto">
          <a:xfrm>
            <a:off x="7065169" y="3215628"/>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8" name="Rectangle 57"/>
          <p:cNvSpPr>
            <a:spLocks noChangeArrowheads="1"/>
          </p:cNvSpPr>
          <p:nvPr/>
        </p:nvSpPr>
        <p:spPr bwMode="auto">
          <a:xfrm>
            <a:off x="7065169" y="3461691"/>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9" name="Rectangle 58"/>
          <p:cNvSpPr>
            <a:spLocks noChangeArrowheads="1"/>
          </p:cNvSpPr>
          <p:nvPr/>
        </p:nvSpPr>
        <p:spPr bwMode="auto">
          <a:xfrm>
            <a:off x="7065169" y="2482203"/>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0" name="Rectangle 59"/>
          <p:cNvSpPr>
            <a:spLocks noChangeArrowheads="1"/>
          </p:cNvSpPr>
          <p:nvPr/>
        </p:nvSpPr>
        <p:spPr bwMode="auto">
          <a:xfrm>
            <a:off x="7531894" y="2726678"/>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1" name="Rectangle 60"/>
          <p:cNvSpPr>
            <a:spLocks noChangeArrowheads="1"/>
          </p:cNvSpPr>
          <p:nvPr/>
        </p:nvSpPr>
        <p:spPr bwMode="auto">
          <a:xfrm>
            <a:off x="7531894" y="2971153"/>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2" name="Rectangle 61"/>
          <p:cNvSpPr>
            <a:spLocks noChangeArrowheads="1"/>
          </p:cNvSpPr>
          <p:nvPr/>
        </p:nvSpPr>
        <p:spPr bwMode="auto">
          <a:xfrm>
            <a:off x="7531894" y="3215628"/>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3" name="Rectangle 62"/>
          <p:cNvSpPr>
            <a:spLocks noChangeArrowheads="1"/>
          </p:cNvSpPr>
          <p:nvPr/>
        </p:nvSpPr>
        <p:spPr bwMode="auto">
          <a:xfrm>
            <a:off x="7531894" y="3461691"/>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4" name="Rectangle 63"/>
          <p:cNvSpPr>
            <a:spLocks noChangeArrowheads="1"/>
          </p:cNvSpPr>
          <p:nvPr/>
        </p:nvSpPr>
        <p:spPr bwMode="auto">
          <a:xfrm>
            <a:off x="7531894" y="2482203"/>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96" name="Rectangle 64"/>
          <p:cNvSpPr>
            <a:spLocks noChangeArrowheads="1"/>
          </p:cNvSpPr>
          <p:nvPr/>
        </p:nvSpPr>
        <p:spPr bwMode="auto">
          <a:xfrm>
            <a:off x="1652942" y="4974938"/>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66" name="Rectangle 65"/>
          <p:cNvSpPr>
            <a:spLocks noChangeArrowheads="1"/>
          </p:cNvSpPr>
          <p:nvPr/>
        </p:nvSpPr>
        <p:spPr bwMode="auto">
          <a:xfrm>
            <a:off x="2410183" y="49740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7" name="Rectangle 66"/>
          <p:cNvSpPr>
            <a:spLocks noChangeArrowheads="1"/>
          </p:cNvSpPr>
          <p:nvPr/>
        </p:nvSpPr>
        <p:spPr bwMode="auto">
          <a:xfrm>
            <a:off x="2410183" y="52185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8" name="Rectangle 67"/>
          <p:cNvSpPr>
            <a:spLocks noChangeArrowheads="1"/>
          </p:cNvSpPr>
          <p:nvPr/>
        </p:nvSpPr>
        <p:spPr bwMode="auto">
          <a:xfrm>
            <a:off x="2410183" y="5463045"/>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0" name="Rectangle 69"/>
          <p:cNvSpPr>
            <a:spLocks noChangeArrowheads="1"/>
          </p:cNvSpPr>
          <p:nvPr/>
        </p:nvSpPr>
        <p:spPr bwMode="auto">
          <a:xfrm>
            <a:off x="1551346" y="4214618"/>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1" name="Line 70"/>
          <p:cNvSpPr>
            <a:spLocks noChangeShapeType="1"/>
          </p:cNvSpPr>
          <p:nvPr/>
        </p:nvSpPr>
        <p:spPr bwMode="auto">
          <a:xfrm>
            <a:off x="1842180" y="6177549"/>
            <a:ext cx="457200" cy="0"/>
          </a:xfrm>
          <a:prstGeom prst="line">
            <a:avLst/>
          </a:prstGeom>
          <a:noFill/>
          <a:ln w="6350">
            <a:solidFill>
              <a:srgbClr val="BBBCBC"/>
            </a:solidFill>
            <a:round/>
            <a:headEnd/>
            <a:tailEnd type="triangle" w="med" len="med"/>
          </a:ln>
        </p:spPr>
        <p:txBody>
          <a:bodyPr lIns="90000" tIns="46800" rIns="90000" bIns="46800" anchor="ctr"/>
          <a:lstStyle/>
          <a:p>
            <a:pPr>
              <a:defRPr/>
            </a:pPr>
            <a:endParaRPr lang="en-US" sz="1050" dirty="0"/>
          </a:p>
        </p:txBody>
      </p:sp>
      <p:sp>
        <p:nvSpPr>
          <p:cNvPr id="786503" name="Rectangle 71"/>
          <p:cNvSpPr>
            <a:spLocks noChangeArrowheads="1"/>
          </p:cNvSpPr>
          <p:nvPr/>
        </p:nvSpPr>
        <p:spPr bwMode="auto">
          <a:xfrm>
            <a:off x="1652942" y="5219413"/>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4" name="Rectangle 72"/>
          <p:cNvSpPr>
            <a:spLocks noChangeArrowheads="1"/>
          </p:cNvSpPr>
          <p:nvPr/>
        </p:nvSpPr>
        <p:spPr bwMode="auto">
          <a:xfrm>
            <a:off x="1652942" y="5464682"/>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5" name="Rectangle 73"/>
          <p:cNvSpPr>
            <a:spLocks noChangeArrowheads="1"/>
          </p:cNvSpPr>
          <p:nvPr/>
        </p:nvSpPr>
        <p:spPr bwMode="auto">
          <a:xfrm>
            <a:off x="1652942" y="5710744"/>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5" name="Rectangle 74"/>
          <p:cNvSpPr>
            <a:spLocks noChangeArrowheads="1"/>
          </p:cNvSpPr>
          <p:nvPr/>
        </p:nvSpPr>
        <p:spPr bwMode="auto">
          <a:xfrm>
            <a:off x="2410183" y="5709107"/>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07" name="Rectangle 75"/>
          <p:cNvSpPr>
            <a:spLocks noChangeArrowheads="1"/>
          </p:cNvSpPr>
          <p:nvPr/>
        </p:nvSpPr>
        <p:spPr bwMode="auto">
          <a:xfrm>
            <a:off x="1652942" y="4730463"/>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7" name="Rectangle 76"/>
          <p:cNvSpPr>
            <a:spLocks noChangeArrowheads="1"/>
          </p:cNvSpPr>
          <p:nvPr/>
        </p:nvSpPr>
        <p:spPr bwMode="auto">
          <a:xfrm>
            <a:off x="2410183" y="47296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 name="Rectangle 77"/>
          <p:cNvSpPr>
            <a:spLocks noChangeArrowheads="1"/>
          </p:cNvSpPr>
          <p:nvPr/>
        </p:nvSpPr>
        <p:spPr bwMode="auto">
          <a:xfrm>
            <a:off x="2876908" y="4974095"/>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9" name="Rectangle 78"/>
          <p:cNvSpPr>
            <a:spLocks noChangeArrowheads="1"/>
          </p:cNvSpPr>
          <p:nvPr/>
        </p:nvSpPr>
        <p:spPr bwMode="auto">
          <a:xfrm>
            <a:off x="2876908" y="521857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0" name="Rectangle 79"/>
          <p:cNvSpPr>
            <a:spLocks noChangeArrowheads="1"/>
          </p:cNvSpPr>
          <p:nvPr/>
        </p:nvSpPr>
        <p:spPr bwMode="auto">
          <a:xfrm>
            <a:off x="2876908" y="5463045"/>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1" name="Rectangle 80"/>
          <p:cNvSpPr>
            <a:spLocks noChangeArrowheads="1"/>
          </p:cNvSpPr>
          <p:nvPr/>
        </p:nvSpPr>
        <p:spPr bwMode="auto">
          <a:xfrm>
            <a:off x="2876908" y="5709107"/>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2" name="Rectangle 81"/>
          <p:cNvSpPr>
            <a:spLocks noChangeArrowheads="1"/>
          </p:cNvSpPr>
          <p:nvPr/>
        </p:nvSpPr>
        <p:spPr bwMode="auto">
          <a:xfrm>
            <a:off x="2876908" y="472962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3" name="Rectangle 82"/>
          <p:cNvSpPr>
            <a:spLocks noChangeArrowheads="1"/>
          </p:cNvSpPr>
          <p:nvPr/>
        </p:nvSpPr>
        <p:spPr bwMode="auto">
          <a:xfrm>
            <a:off x="3340458" y="49740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4" name="Rectangle 83"/>
          <p:cNvSpPr>
            <a:spLocks noChangeArrowheads="1"/>
          </p:cNvSpPr>
          <p:nvPr/>
        </p:nvSpPr>
        <p:spPr bwMode="auto">
          <a:xfrm>
            <a:off x="3340458" y="52185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5" name="Rectangle 84"/>
          <p:cNvSpPr>
            <a:spLocks noChangeArrowheads="1"/>
          </p:cNvSpPr>
          <p:nvPr/>
        </p:nvSpPr>
        <p:spPr bwMode="auto">
          <a:xfrm>
            <a:off x="3340458" y="5463045"/>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6" name="Rectangle 85"/>
          <p:cNvSpPr>
            <a:spLocks noChangeArrowheads="1"/>
          </p:cNvSpPr>
          <p:nvPr/>
        </p:nvSpPr>
        <p:spPr bwMode="auto">
          <a:xfrm>
            <a:off x="3340458" y="5709107"/>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7" name="Rectangle 86"/>
          <p:cNvSpPr>
            <a:spLocks noChangeArrowheads="1"/>
          </p:cNvSpPr>
          <p:nvPr/>
        </p:nvSpPr>
        <p:spPr bwMode="auto">
          <a:xfrm>
            <a:off x="3340458" y="47296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8" name="Rectangle 87"/>
          <p:cNvSpPr>
            <a:spLocks noChangeArrowheads="1"/>
          </p:cNvSpPr>
          <p:nvPr/>
        </p:nvSpPr>
        <p:spPr bwMode="auto">
          <a:xfrm>
            <a:off x="3807183" y="49740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9" name="Rectangle 88"/>
          <p:cNvSpPr>
            <a:spLocks noChangeArrowheads="1"/>
          </p:cNvSpPr>
          <p:nvPr/>
        </p:nvSpPr>
        <p:spPr bwMode="auto">
          <a:xfrm>
            <a:off x="3807183" y="52185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0" name="Rectangle 89"/>
          <p:cNvSpPr>
            <a:spLocks noChangeArrowheads="1"/>
          </p:cNvSpPr>
          <p:nvPr/>
        </p:nvSpPr>
        <p:spPr bwMode="auto">
          <a:xfrm>
            <a:off x="3807183" y="5463045"/>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1" name="Rectangle 90"/>
          <p:cNvSpPr>
            <a:spLocks noChangeArrowheads="1"/>
          </p:cNvSpPr>
          <p:nvPr/>
        </p:nvSpPr>
        <p:spPr bwMode="auto">
          <a:xfrm>
            <a:off x="3807183" y="5709107"/>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2" name="Rectangle 91"/>
          <p:cNvSpPr>
            <a:spLocks noChangeArrowheads="1"/>
          </p:cNvSpPr>
          <p:nvPr/>
        </p:nvSpPr>
        <p:spPr bwMode="auto">
          <a:xfrm>
            <a:off x="3807183" y="47296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24" name="Rectangle 92"/>
          <p:cNvSpPr>
            <a:spLocks noChangeArrowheads="1"/>
          </p:cNvSpPr>
          <p:nvPr/>
        </p:nvSpPr>
        <p:spPr bwMode="auto">
          <a:xfrm>
            <a:off x="5376065" y="4974938"/>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4" name="Rectangle 93"/>
          <p:cNvSpPr>
            <a:spLocks noChangeArrowheads="1"/>
          </p:cNvSpPr>
          <p:nvPr/>
        </p:nvSpPr>
        <p:spPr bwMode="auto">
          <a:xfrm>
            <a:off x="6134894" y="49740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5" name="Rectangle 94"/>
          <p:cNvSpPr>
            <a:spLocks noChangeArrowheads="1"/>
          </p:cNvSpPr>
          <p:nvPr/>
        </p:nvSpPr>
        <p:spPr bwMode="auto">
          <a:xfrm>
            <a:off x="6134894" y="52185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6" name="Rectangle 95"/>
          <p:cNvSpPr>
            <a:spLocks noChangeArrowheads="1"/>
          </p:cNvSpPr>
          <p:nvPr/>
        </p:nvSpPr>
        <p:spPr bwMode="auto">
          <a:xfrm>
            <a:off x="6134894" y="5463045"/>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8" name="Rectangle 97"/>
          <p:cNvSpPr>
            <a:spLocks noChangeArrowheads="1"/>
          </p:cNvSpPr>
          <p:nvPr/>
        </p:nvSpPr>
        <p:spPr bwMode="auto">
          <a:xfrm>
            <a:off x="5274469" y="4214618"/>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530" name="Rectangle 98"/>
          <p:cNvSpPr>
            <a:spLocks noChangeArrowheads="1"/>
          </p:cNvSpPr>
          <p:nvPr/>
        </p:nvSpPr>
        <p:spPr bwMode="auto">
          <a:xfrm>
            <a:off x="5376065" y="5219413"/>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1" name="Rectangle 99"/>
          <p:cNvSpPr>
            <a:spLocks noChangeArrowheads="1"/>
          </p:cNvSpPr>
          <p:nvPr/>
        </p:nvSpPr>
        <p:spPr bwMode="auto">
          <a:xfrm>
            <a:off x="5376065" y="5464682"/>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2" name="Rectangle 100"/>
          <p:cNvSpPr>
            <a:spLocks noChangeArrowheads="1"/>
          </p:cNvSpPr>
          <p:nvPr/>
        </p:nvSpPr>
        <p:spPr bwMode="auto">
          <a:xfrm>
            <a:off x="5376065" y="5710744"/>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2" name="Rectangle 101"/>
          <p:cNvSpPr>
            <a:spLocks noChangeArrowheads="1"/>
          </p:cNvSpPr>
          <p:nvPr/>
        </p:nvSpPr>
        <p:spPr bwMode="auto">
          <a:xfrm>
            <a:off x="6134894" y="5709107"/>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34" name="Rectangle 102"/>
          <p:cNvSpPr>
            <a:spLocks noChangeArrowheads="1"/>
          </p:cNvSpPr>
          <p:nvPr/>
        </p:nvSpPr>
        <p:spPr bwMode="auto">
          <a:xfrm>
            <a:off x="5376065" y="4730463"/>
            <a:ext cx="479298"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4" name="Rectangle 103"/>
          <p:cNvSpPr>
            <a:spLocks noChangeArrowheads="1"/>
          </p:cNvSpPr>
          <p:nvPr/>
        </p:nvSpPr>
        <p:spPr bwMode="auto">
          <a:xfrm>
            <a:off x="6134894" y="47296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5" name="Rectangle 104"/>
          <p:cNvSpPr>
            <a:spLocks noChangeArrowheads="1"/>
          </p:cNvSpPr>
          <p:nvPr/>
        </p:nvSpPr>
        <p:spPr bwMode="auto">
          <a:xfrm>
            <a:off x="6600031" y="49740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6" name="Rectangle 105"/>
          <p:cNvSpPr>
            <a:spLocks noChangeArrowheads="1"/>
          </p:cNvSpPr>
          <p:nvPr/>
        </p:nvSpPr>
        <p:spPr bwMode="auto">
          <a:xfrm>
            <a:off x="6600031" y="52185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7" name="Rectangle 106"/>
          <p:cNvSpPr>
            <a:spLocks noChangeArrowheads="1"/>
          </p:cNvSpPr>
          <p:nvPr/>
        </p:nvSpPr>
        <p:spPr bwMode="auto">
          <a:xfrm>
            <a:off x="6600031" y="5463045"/>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8" name="Rectangle 107"/>
          <p:cNvSpPr>
            <a:spLocks noChangeArrowheads="1"/>
          </p:cNvSpPr>
          <p:nvPr/>
        </p:nvSpPr>
        <p:spPr bwMode="auto">
          <a:xfrm>
            <a:off x="6600031" y="5709107"/>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9" name="Rectangle 108"/>
          <p:cNvSpPr>
            <a:spLocks noChangeArrowheads="1"/>
          </p:cNvSpPr>
          <p:nvPr/>
        </p:nvSpPr>
        <p:spPr bwMode="auto">
          <a:xfrm>
            <a:off x="6600031" y="47296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0" name="Rectangle 109"/>
          <p:cNvSpPr>
            <a:spLocks noChangeArrowheads="1"/>
          </p:cNvSpPr>
          <p:nvPr/>
        </p:nvSpPr>
        <p:spPr bwMode="auto">
          <a:xfrm>
            <a:off x="7065169" y="49740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1" name="Rectangle 110"/>
          <p:cNvSpPr>
            <a:spLocks noChangeArrowheads="1"/>
          </p:cNvSpPr>
          <p:nvPr/>
        </p:nvSpPr>
        <p:spPr bwMode="auto">
          <a:xfrm>
            <a:off x="7065169" y="52185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2" name="Rectangle 111"/>
          <p:cNvSpPr>
            <a:spLocks noChangeArrowheads="1"/>
          </p:cNvSpPr>
          <p:nvPr/>
        </p:nvSpPr>
        <p:spPr bwMode="auto">
          <a:xfrm>
            <a:off x="7065169" y="5463045"/>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3" name="Rectangle 112"/>
          <p:cNvSpPr>
            <a:spLocks noChangeArrowheads="1"/>
          </p:cNvSpPr>
          <p:nvPr/>
        </p:nvSpPr>
        <p:spPr bwMode="auto">
          <a:xfrm>
            <a:off x="7065169" y="5709107"/>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4" name="Rectangle 113"/>
          <p:cNvSpPr>
            <a:spLocks noChangeArrowheads="1"/>
          </p:cNvSpPr>
          <p:nvPr/>
        </p:nvSpPr>
        <p:spPr bwMode="auto">
          <a:xfrm>
            <a:off x="7065169" y="47296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5" name="Rectangle 114"/>
          <p:cNvSpPr>
            <a:spLocks noChangeArrowheads="1"/>
          </p:cNvSpPr>
          <p:nvPr/>
        </p:nvSpPr>
        <p:spPr bwMode="auto">
          <a:xfrm>
            <a:off x="7531894" y="4974095"/>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6" name="Rectangle 115"/>
          <p:cNvSpPr>
            <a:spLocks noChangeArrowheads="1"/>
          </p:cNvSpPr>
          <p:nvPr/>
        </p:nvSpPr>
        <p:spPr bwMode="auto">
          <a:xfrm>
            <a:off x="7531894" y="521857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7" name="Rectangle 116"/>
          <p:cNvSpPr>
            <a:spLocks noChangeArrowheads="1"/>
          </p:cNvSpPr>
          <p:nvPr/>
        </p:nvSpPr>
        <p:spPr bwMode="auto">
          <a:xfrm>
            <a:off x="7531894" y="5463045"/>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8" name="Rectangle 117"/>
          <p:cNvSpPr>
            <a:spLocks noChangeArrowheads="1"/>
          </p:cNvSpPr>
          <p:nvPr/>
        </p:nvSpPr>
        <p:spPr bwMode="auto">
          <a:xfrm>
            <a:off x="7531894" y="5709107"/>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9" name="Rectangle 118"/>
          <p:cNvSpPr>
            <a:spLocks noChangeArrowheads="1"/>
          </p:cNvSpPr>
          <p:nvPr/>
        </p:nvSpPr>
        <p:spPr bwMode="auto">
          <a:xfrm>
            <a:off x="7531894" y="472962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21" name="TextBox 120"/>
          <p:cNvSpPr txBox="1"/>
          <p:nvPr/>
        </p:nvSpPr>
        <p:spPr bwMode="gray">
          <a:xfrm>
            <a:off x="365125" y="1611313"/>
            <a:ext cx="8412480" cy="161583"/>
          </a:xfrm>
          <a:prstGeom prst="rect">
            <a:avLst/>
          </a:prstGeom>
          <a:noFill/>
        </p:spPr>
        <p:txBody>
          <a:bodyPr wrap="square" lIns="0" tIns="0" rIns="0" bIns="0" rtlCol="0">
            <a:spAutoFit/>
          </a:bodyPr>
          <a:lstStyle/>
          <a:p>
            <a:r>
              <a:rPr lang="en-US" sz="105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sp>
        <p:nvSpPr>
          <p:cNvPr id="4" name="Rectangle 3"/>
          <p:cNvSpPr>
            <a:spLocks noChangeArrowheads="1"/>
          </p:cNvSpPr>
          <p:nvPr/>
        </p:nvSpPr>
        <p:spPr bwMode="auto">
          <a:xfrm>
            <a:off x="1301750" y="3369629"/>
            <a:ext cx="1728788"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5" name="Rectangle 4"/>
          <p:cNvSpPr>
            <a:spLocks noChangeArrowheads="1"/>
          </p:cNvSpPr>
          <p:nvPr/>
        </p:nvSpPr>
        <p:spPr bwMode="auto">
          <a:xfrm>
            <a:off x="3218921" y="3369628"/>
            <a:ext cx="1730375"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6" name="Rectangle 5"/>
          <p:cNvSpPr>
            <a:spLocks noChangeArrowheads="1"/>
          </p:cNvSpPr>
          <p:nvPr/>
        </p:nvSpPr>
        <p:spPr bwMode="auto">
          <a:xfrm>
            <a:off x="5137679" y="3369628"/>
            <a:ext cx="1727200"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 name="Rectangle 6"/>
          <p:cNvSpPr>
            <a:spLocks noChangeArrowheads="1"/>
          </p:cNvSpPr>
          <p:nvPr/>
        </p:nvSpPr>
        <p:spPr bwMode="auto">
          <a:xfrm>
            <a:off x="7053263" y="3369628"/>
            <a:ext cx="1728787"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8" name="Rectangle 7"/>
          <p:cNvSpPr>
            <a:spLocks noChangeArrowheads="1"/>
          </p:cNvSpPr>
          <p:nvPr/>
        </p:nvSpPr>
        <p:spPr bwMode="auto">
          <a:xfrm>
            <a:off x="1301750" y="4066225"/>
            <a:ext cx="2325688"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9" name="Rectangle 8"/>
          <p:cNvSpPr>
            <a:spLocks noChangeArrowheads="1"/>
          </p:cNvSpPr>
          <p:nvPr/>
        </p:nvSpPr>
        <p:spPr bwMode="auto">
          <a:xfrm>
            <a:off x="3877469" y="4066224"/>
            <a:ext cx="2327275"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0" name="Rectangle 9"/>
          <p:cNvSpPr>
            <a:spLocks noChangeArrowheads="1"/>
          </p:cNvSpPr>
          <p:nvPr/>
        </p:nvSpPr>
        <p:spPr bwMode="auto">
          <a:xfrm>
            <a:off x="6454775" y="4066224"/>
            <a:ext cx="2327275"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1" name="Rectangle 10"/>
          <p:cNvSpPr>
            <a:spLocks noChangeArrowheads="1"/>
          </p:cNvSpPr>
          <p:nvPr/>
        </p:nvSpPr>
        <p:spPr bwMode="auto">
          <a:xfrm>
            <a:off x="5914629" y="2673033"/>
            <a:ext cx="1330325"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2" name="Rectangle 11"/>
          <p:cNvSpPr>
            <a:spLocks noChangeArrowheads="1"/>
          </p:cNvSpPr>
          <p:nvPr/>
        </p:nvSpPr>
        <p:spPr bwMode="auto">
          <a:xfrm>
            <a:off x="4377532" y="2673033"/>
            <a:ext cx="1330325"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3" name="Rectangle 12"/>
          <p:cNvSpPr>
            <a:spLocks noChangeArrowheads="1"/>
          </p:cNvSpPr>
          <p:nvPr/>
        </p:nvSpPr>
        <p:spPr bwMode="auto">
          <a:xfrm>
            <a:off x="2840435" y="2673033"/>
            <a:ext cx="1330325"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4" name="Rectangle 13"/>
          <p:cNvSpPr>
            <a:spLocks noChangeArrowheads="1"/>
          </p:cNvSpPr>
          <p:nvPr/>
        </p:nvSpPr>
        <p:spPr bwMode="auto">
          <a:xfrm>
            <a:off x="1301750" y="2673033"/>
            <a:ext cx="1331913"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5" name="Rectangle 14"/>
          <p:cNvSpPr>
            <a:spLocks noChangeArrowheads="1"/>
          </p:cNvSpPr>
          <p:nvPr/>
        </p:nvSpPr>
        <p:spPr bwMode="auto">
          <a:xfrm>
            <a:off x="7785100"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6" name="Rectangle 15"/>
          <p:cNvSpPr>
            <a:spLocks noChangeArrowheads="1"/>
          </p:cNvSpPr>
          <p:nvPr/>
        </p:nvSpPr>
        <p:spPr bwMode="auto">
          <a:xfrm>
            <a:off x="6704278"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7" name="Rectangle 16"/>
          <p:cNvSpPr>
            <a:spLocks noChangeArrowheads="1"/>
          </p:cNvSpPr>
          <p:nvPr/>
        </p:nvSpPr>
        <p:spPr bwMode="auto">
          <a:xfrm>
            <a:off x="2382573"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8" name="Rectangle 17"/>
          <p:cNvSpPr>
            <a:spLocks noChangeArrowheads="1"/>
          </p:cNvSpPr>
          <p:nvPr/>
        </p:nvSpPr>
        <p:spPr bwMode="auto">
          <a:xfrm>
            <a:off x="1301750"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9" name="Rectangle 18"/>
          <p:cNvSpPr>
            <a:spLocks noChangeArrowheads="1"/>
          </p:cNvSpPr>
          <p:nvPr/>
        </p:nvSpPr>
        <p:spPr bwMode="auto">
          <a:xfrm>
            <a:off x="5623455"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0" name="Rectangle 19"/>
          <p:cNvSpPr>
            <a:spLocks noChangeArrowheads="1"/>
          </p:cNvSpPr>
          <p:nvPr/>
        </p:nvSpPr>
        <p:spPr bwMode="auto">
          <a:xfrm>
            <a:off x="1301750" y="4762820"/>
            <a:ext cx="3589338"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1" name="Rectangle 20"/>
          <p:cNvSpPr>
            <a:spLocks noChangeArrowheads="1"/>
          </p:cNvSpPr>
          <p:nvPr/>
        </p:nvSpPr>
        <p:spPr bwMode="auto">
          <a:xfrm>
            <a:off x="5192713" y="4762820"/>
            <a:ext cx="3589337"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77" name="Text Box 21"/>
          <p:cNvSpPr txBox="1">
            <a:spLocks noChangeArrowheads="1"/>
          </p:cNvSpPr>
          <p:nvPr/>
        </p:nvSpPr>
        <p:spPr bwMode="auto">
          <a:xfrm>
            <a:off x="365125" y="2102143"/>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23" name="Line 22"/>
          <p:cNvSpPr>
            <a:spLocks noChangeShapeType="1"/>
          </p:cNvSpPr>
          <p:nvPr/>
        </p:nvSpPr>
        <p:spPr bwMode="auto">
          <a:xfrm>
            <a:off x="384176" y="2535079"/>
            <a:ext cx="836295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4" name="Line 23"/>
          <p:cNvSpPr>
            <a:spLocks noChangeShapeType="1"/>
          </p:cNvSpPr>
          <p:nvPr/>
        </p:nvSpPr>
        <p:spPr bwMode="auto">
          <a:xfrm>
            <a:off x="384175" y="3231674"/>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5" name="Line 24"/>
          <p:cNvSpPr>
            <a:spLocks noChangeShapeType="1"/>
          </p:cNvSpPr>
          <p:nvPr/>
        </p:nvSpPr>
        <p:spPr bwMode="auto">
          <a:xfrm>
            <a:off x="384175" y="3928270"/>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6" name="Line 25"/>
          <p:cNvSpPr>
            <a:spLocks noChangeShapeType="1"/>
          </p:cNvSpPr>
          <p:nvPr/>
        </p:nvSpPr>
        <p:spPr bwMode="auto">
          <a:xfrm>
            <a:off x="384175" y="4624866"/>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8" name="Rectangle 27"/>
          <p:cNvSpPr>
            <a:spLocks noChangeArrowheads="1"/>
          </p:cNvSpPr>
          <p:nvPr/>
        </p:nvSpPr>
        <p:spPr bwMode="auto">
          <a:xfrm>
            <a:off x="3228975" y="5459413"/>
            <a:ext cx="1730375"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9" name="Rectangle 28"/>
          <p:cNvSpPr>
            <a:spLocks noChangeArrowheads="1"/>
          </p:cNvSpPr>
          <p:nvPr/>
        </p:nvSpPr>
        <p:spPr bwMode="auto">
          <a:xfrm>
            <a:off x="5142706" y="5459413"/>
            <a:ext cx="1727200"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0" name="Rectangle 29"/>
          <p:cNvSpPr>
            <a:spLocks noChangeArrowheads="1"/>
          </p:cNvSpPr>
          <p:nvPr/>
        </p:nvSpPr>
        <p:spPr bwMode="auto">
          <a:xfrm>
            <a:off x="7053263" y="5459413"/>
            <a:ext cx="1728787" cy="420688"/>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1" name="Line 30"/>
          <p:cNvSpPr>
            <a:spLocks noChangeShapeType="1"/>
          </p:cNvSpPr>
          <p:nvPr/>
        </p:nvSpPr>
        <p:spPr bwMode="auto">
          <a:xfrm>
            <a:off x="384175" y="5321462"/>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32" name="Rectangle 31"/>
          <p:cNvSpPr>
            <a:spLocks noChangeArrowheads="1"/>
          </p:cNvSpPr>
          <p:nvPr/>
        </p:nvSpPr>
        <p:spPr bwMode="auto">
          <a:xfrm>
            <a:off x="7451725" y="2673033"/>
            <a:ext cx="1330325"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87" name="Text Box 32"/>
          <p:cNvSpPr txBox="1">
            <a:spLocks noChangeArrowheads="1"/>
          </p:cNvSpPr>
          <p:nvPr/>
        </p:nvSpPr>
        <p:spPr bwMode="auto">
          <a:xfrm>
            <a:off x="365125" y="2798738"/>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8" name="Text Box 33"/>
          <p:cNvSpPr txBox="1">
            <a:spLocks noChangeArrowheads="1"/>
          </p:cNvSpPr>
          <p:nvPr/>
        </p:nvSpPr>
        <p:spPr bwMode="auto">
          <a:xfrm>
            <a:off x="365125" y="3495333"/>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9" name="Text Box 34"/>
          <p:cNvSpPr txBox="1">
            <a:spLocks noChangeArrowheads="1"/>
          </p:cNvSpPr>
          <p:nvPr/>
        </p:nvSpPr>
        <p:spPr bwMode="auto">
          <a:xfrm>
            <a:off x="365125" y="4191928"/>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0" name="Text Box 35"/>
          <p:cNvSpPr txBox="1">
            <a:spLocks noChangeArrowheads="1"/>
          </p:cNvSpPr>
          <p:nvPr/>
        </p:nvSpPr>
        <p:spPr bwMode="auto">
          <a:xfrm>
            <a:off x="365125" y="4888523"/>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1" name="Text Box 36"/>
          <p:cNvSpPr txBox="1">
            <a:spLocks noChangeArrowheads="1"/>
          </p:cNvSpPr>
          <p:nvPr/>
        </p:nvSpPr>
        <p:spPr bwMode="auto">
          <a:xfrm>
            <a:off x="365125" y="558511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38" name="Rectangle 37"/>
          <p:cNvSpPr>
            <a:spLocks noChangeArrowheads="1"/>
          </p:cNvSpPr>
          <p:nvPr/>
        </p:nvSpPr>
        <p:spPr bwMode="auto">
          <a:xfrm>
            <a:off x="3463396" y="1976438"/>
            <a:ext cx="995363"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9" name="Rectangle 38"/>
          <p:cNvSpPr>
            <a:spLocks noChangeArrowheads="1"/>
          </p:cNvSpPr>
          <p:nvPr/>
        </p:nvSpPr>
        <p:spPr bwMode="auto">
          <a:xfrm>
            <a:off x="4542632" y="1976438"/>
            <a:ext cx="996950" cy="420687"/>
          </a:xfrm>
          <a:prstGeom prst="rect">
            <a:avLst/>
          </a:prstGeom>
          <a:solidFill>
            <a:schemeClr val="accent3"/>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40" name="TextBox 39"/>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sp>
        <p:nvSpPr>
          <p:cNvPr id="4" name="Rectangle 2"/>
          <p:cNvSpPr>
            <a:spLocks noChangeArrowheads="1"/>
          </p:cNvSpPr>
          <p:nvPr/>
        </p:nvSpPr>
        <p:spPr bwMode="auto">
          <a:xfrm>
            <a:off x="360941" y="1974586"/>
            <a:ext cx="8412480" cy="863600"/>
          </a:xfrm>
          <a:prstGeom prst="rect">
            <a:avLst/>
          </a:prstGeom>
          <a:solidFill>
            <a:schemeClr val="bg2"/>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5" name="Rectangle 3"/>
          <p:cNvSpPr>
            <a:spLocks noChangeArrowheads="1"/>
          </p:cNvSpPr>
          <p:nvPr/>
        </p:nvSpPr>
        <p:spPr bwMode="auto">
          <a:xfrm>
            <a:off x="360941" y="3606827"/>
            <a:ext cx="8412480" cy="863600"/>
          </a:xfrm>
          <a:prstGeom prst="rect">
            <a:avLst/>
          </a:prstGeom>
          <a:solidFill>
            <a:schemeClr val="bg2"/>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6" name="Rectangle 4"/>
          <p:cNvSpPr>
            <a:spLocks noChangeArrowheads="1"/>
          </p:cNvSpPr>
          <p:nvPr/>
        </p:nvSpPr>
        <p:spPr bwMode="auto">
          <a:xfrm>
            <a:off x="365703" y="5239068"/>
            <a:ext cx="8412480" cy="863600"/>
          </a:xfrm>
          <a:prstGeom prst="rect">
            <a:avLst/>
          </a:prstGeom>
          <a:solidFill>
            <a:schemeClr val="bg2"/>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788486" name="Text Box 6"/>
          <p:cNvSpPr txBox="1">
            <a:spLocks noChangeArrowheads="1"/>
          </p:cNvSpPr>
          <p:nvPr/>
        </p:nvSpPr>
        <p:spPr bwMode="auto">
          <a:xfrm>
            <a:off x="360941" y="2239674"/>
            <a:ext cx="953787"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8" name="Rectangle 7"/>
          <p:cNvSpPr>
            <a:spLocks noChangeArrowheads="1"/>
          </p:cNvSpPr>
          <p:nvPr/>
        </p:nvSpPr>
        <p:spPr bwMode="auto">
          <a:xfrm>
            <a:off x="1934581"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9" name="Rectangle 8"/>
          <p:cNvSpPr>
            <a:spLocks noChangeArrowheads="1"/>
          </p:cNvSpPr>
          <p:nvPr/>
        </p:nvSpPr>
        <p:spPr bwMode="auto">
          <a:xfrm>
            <a:off x="3091753"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 name="Rectangle 9"/>
          <p:cNvSpPr>
            <a:spLocks noChangeArrowheads="1"/>
          </p:cNvSpPr>
          <p:nvPr/>
        </p:nvSpPr>
        <p:spPr bwMode="auto">
          <a:xfrm>
            <a:off x="4248925"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 name="Rectangle 10"/>
          <p:cNvSpPr>
            <a:spLocks noChangeArrowheads="1"/>
          </p:cNvSpPr>
          <p:nvPr/>
        </p:nvSpPr>
        <p:spPr bwMode="auto">
          <a:xfrm>
            <a:off x="5406097"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 name="Rectangle 11"/>
          <p:cNvSpPr>
            <a:spLocks noChangeArrowheads="1"/>
          </p:cNvSpPr>
          <p:nvPr/>
        </p:nvSpPr>
        <p:spPr bwMode="auto">
          <a:xfrm>
            <a:off x="6563269"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 name="Rectangle 12"/>
          <p:cNvSpPr>
            <a:spLocks noChangeArrowheads="1"/>
          </p:cNvSpPr>
          <p:nvPr/>
        </p:nvSpPr>
        <p:spPr bwMode="auto">
          <a:xfrm>
            <a:off x="7720440" y="2155561"/>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2848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4006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5163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6320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7477669"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360941" y="3055795"/>
            <a:ext cx="953787"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20" name="Rectangle 19"/>
          <p:cNvSpPr>
            <a:spLocks noChangeArrowheads="1"/>
          </p:cNvSpPr>
          <p:nvPr/>
        </p:nvSpPr>
        <p:spPr bwMode="auto">
          <a:xfrm>
            <a:off x="1934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21" name="Rectangle 20"/>
          <p:cNvSpPr>
            <a:spLocks noChangeArrowheads="1"/>
          </p:cNvSpPr>
          <p:nvPr/>
        </p:nvSpPr>
        <p:spPr bwMode="auto">
          <a:xfrm>
            <a:off x="3091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22" name="Rectangle 21"/>
          <p:cNvSpPr>
            <a:spLocks noChangeArrowheads="1"/>
          </p:cNvSpPr>
          <p:nvPr/>
        </p:nvSpPr>
        <p:spPr bwMode="auto">
          <a:xfrm>
            <a:off x="4248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23" name="Rectangle 22"/>
          <p:cNvSpPr>
            <a:spLocks noChangeArrowheads="1"/>
          </p:cNvSpPr>
          <p:nvPr/>
        </p:nvSpPr>
        <p:spPr bwMode="auto">
          <a:xfrm>
            <a:off x="5406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24" name="Rectangle 23"/>
          <p:cNvSpPr>
            <a:spLocks noChangeArrowheads="1"/>
          </p:cNvSpPr>
          <p:nvPr/>
        </p:nvSpPr>
        <p:spPr bwMode="auto">
          <a:xfrm>
            <a:off x="6563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25" name="Rectangle 24"/>
          <p:cNvSpPr>
            <a:spLocks noChangeArrowheads="1"/>
          </p:cNvSpPr>
          <p:nvPr/>
        </p:nvSpPr>
        <p:spPr bwMode="auto">
          <a:xfrm>
            <a:off x="7720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2848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4006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5163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6320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7477669"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360941" y="3871916"/>
            <a:ext cx="953787"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1" name="Text Box 42"/>
          <p:cNvSpPr txBox="1">
            <a:spLocks noChangeArrowheads="1"/>
          </p:cNvSpPr>
          <p:nvPr/>
        </p:nvSpPr>
        <p:spPr bwMode="auto">
          <a:xfrm>
            <a:off x="360941" y="4688037"/>
            <a:ext cx="953787"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2" name="Text Box 54"/>
          <p:cNvSpPr txBox="1">
            <a:spLocks noChangeArrowheads="1"/>
          </p:cNvSpPr>
          <p:nvPr/>
        </p:nvSpPr>
        <p:spPr bwMode="auto">
          <a:xfrm>
            <a:off x="360941" y="5504156"/>
            <a:ext cx="953787"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2812537"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4706125" y="2658798"/>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6862479" y="2478196"/>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1934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2" name="Rectangle 101"/>
          <p:cNvSpPr>
            <a:spLocks noChangeArrowheads="1"/>
          </p:cNvSpPr>
          <p:nvPr/>
        </p:nvSpPr>
        <p:spPr bwMode="auto">
          <a:xfrm>
            <a:off x="3091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3" name="Rectangle 102"/>
          <p:cNvSpPr>
            <a:spLocks noChangeArrowheads="1"/>
          </p:cNvSpPr>
          <p:nvPr/>
        </p:nvSpPr>
        <p:spPr bwMode="auto">
          <a:xfrm>
            <a:off x="4248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4" name="Rectangle 103"/>
          <p:cNvSpPr>
            <a:spLocks noChangeArrowheads="1"/>
          </p:cNvSpPr>
          <p:nvPr/>
        </p:nvSpPr>
        <p:spPr bwMode="auto">
          <a:xfrm>
            <a:off x="5406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5" name="Rectangle 104"/>
          <p:cNvSpPr>
            <a:spLocks noChangeArrowheads="1"/>
          </p:cNvSpPr>
          <p:nvPr/>
        </p:nvSpPr>
        <p:spPr bwMode="auto">
          <a:xfrm>
            <a:off x="6563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6" name="Rectangle 105"/>
          <p:cNvSpPr>
            <a:spLocks noChangeArrowheads="1"/>
          </p:cNvSpPr>
          <p:nvPr/>
        </p:nvSpPr>
        <p:spPr bwMode="auto">
          <a:xfrm>
            <a:off x="7720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2848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4006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5163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6320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7477669"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1934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6" name="Rectangle 115"/>
          <p:cNvSpPr>
            <a:spLocks noChangeArrowheads="1"/>
          </p:cNvSpPr>
          <p:nvPr/>
        </p:nvSpPr>
        <p:spPr bwMode="auto">
          <a:xfrm>
            <a:off x="3091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7" name="Rectangle 116"/>
          <p:cNvSpPr>
            <a:spLocks noChangeArrowheads="1"/>
          </p:cNvSpPr>
          <p:nvPr/>
        </p:nvSpPr>
        <p:spPr bwMode="auto">
          <a:xfrm>
            <a:off x="4248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8" name="Rectangle 117"/>
          <p:cNvSpPr>
            <a:spLocks noChangeArrowheads="1"/>
          </p:cNvSpPr>
          <p:nvPr/>
        </p:nvSpPr>
        <p:spPr bwMode="auto">
          <a:xfrm>
            <a:off x="5406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9" name="Rectangle 118"/>
          <p:cNvSpPr>
            <a:spLocks noChangeArrowheads="1"/>
          </p:cNvSpPr>
          <p:nvPr/>
        </p:nvSpPr>
        <p:spPr bwMode="auto">
          <a:xfrm>
            <a:off x="6563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0" name="Rectangle 119"/>
          <p:cNvSpPr>
            <a:spLocks noChangeArrowheads="1"/>
          </p:cNvSpPr>
          <p:nvPr/>
        </p:nvSpPr>
        <p:spPr bwMode="auto">
          <a:xfrm>
            <a:off x="7720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2848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4006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5163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6320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7477669"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1934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7" name="Rectangle 126"/>
          <p:cNvSpPr>
            <a:spLocks noChangeArrowheads="1"/>
          </p:cNvSpPr>
          <p:nvPr/>
        </p:nvSpPr>
        <p:spPr bwMode="auto">
          <a:xfrm>
            <a:off x="3091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8" name="Rectangle 127"/>
          <p:cNvSpPr>
            <a:spLocks noChangeArrowheads="1"/>
          </p:cNvSpPr>
          <p:nvPr/>
        </p:nvSpPr>
        <p:spPr bwMode="auto">
          <a:xfrm>
            <a:off x="4248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9" name="Rectangle 128"/>
          <p:cNvSpPr>
            <a:spLocks noChangeArrowheads="1"/>
          </p:cNvSpPr>
          <p:nvPr/>
        </p:nvSpPr>
        <p:spPr bwMode="auto">
          <a:xfrm>
            <a:off x="5406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0" name="Rectangle 129"/>
          <p:cNvSpPr>
            <a:spLocks noChangeArrowheads="1"/>
          </p:cNvSpPr>
          <p:nvPr/>
        </p:nvSpPr>
        <p:spPr bwMode="auto">
          <a:xfrm>
            <a:off x="6563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1" name="Rectangle 130"/>
          <p:cNvSpPr>
            <a:spLocks noChangeArrowheads="1"/>
          </p:cNvSpPr>
          <p:nvPr/>
        </p:nvSpPr>
        <p:spPr bwMode="auto">
          <a:xfrm>
            <a:off x="7720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2848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4006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5163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6320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7477669" y="5682615"/>
            <a:ext cx="242771" cy="0"/>
          </a:xfrm>
          <a:prstGeom prst="straightConnector1">
            <a:avLst/>
          </a:prstGeom>
          <a:noFill/>
          <a:ln w="9525">
            <a:solidFill>
              <a:srgbClr val="53565A"/>
            </a:solidFill>
            <a:round/>
            <a:headEnd/>
            <a:tailEnd type="triangle" w="med" len="med"/>
          </a:ln>
        </p:spPr>
      </p:cxnSp>
      <p:sp>
        <p:nvSpPr>
          <p:cNvPr id="71" name="TextBox 70"/>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sp>
        <p:nvSpPr>
          <p:cNvPr id="4" name="Rectangle 3"/>
          <p:cNvSpPr>
            <a:spLocks noChangeArrowheads="1"/>
          </p:cNvSpPr>
          <p:nvPr/>
        </p:nvSpPr>
        <p:spPr bwMode="auto">
          <a:xfrm>
            <a:off x="365124" y="1976438"/>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5" name="Rectangle 4"/>
          <p:cNvSpPr>
            <a:spLocks noChangeArrowheads="1"/>
          </p:cNvSpPr>
          <p:nvPr/>
        </p:nvSpPr>
        <p:spPr bwMode="auto">
          <a:xfrm>
            <a:off x="365124" y="2624138"/>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6" name="Rectangle 5"/>
          <p:cNvSpPr>
            <a:spLocks noChangeArrowheads="1"/>
          </p:cNvSpPr>
          <p:nvPr/>
        </p:nvSpPr>
        <p:spPr bwMode="auto">
          <a:xfrm>
            <a:off x="365124" y="3273426"/>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7" name="Rectangle 6"/>
          <p:cNvSpPr>
            <a:spLocks noChangeArrowheads="1"/>
          </p:cNvSpPr>
          <p:nvPr/>
        </p:nvSpPr>
        <p:spPr bwMode="auto">
          <a:xfrm>
            <a:off x="365124" y="3921126"/>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8" name="Rectangle 7"/>
          <p:cNvSpPr>
            <a:spLocks noChangeArrowheads="1"/>
          </p:cNvSpPr>
          <p:nvPr/>
        </p:nvSpPr>
        <p:spPr bwMode="auto">
          <a:xfrm>
            <a:off x="365124" y="4568826"/>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9" name="Rectangle 8"/>
          <p:cNvSpPr>
            <a:spLocks noChangeArrowheads="1"/>
          </p:cNvSpPr>
          <p:nvPr/>
        </p:nvSpPr>
        <p:spPr bwMode="auto">
          <a:xfrm>
            <a:off x="365124" y="5199063"/>
            <a:ext cx="1371600" cy="548640"/>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US" sz="1100" dirty="0">
                <a:ea typeface="ＭＳ Ｐゴシック" pitchFamily="50" charset="-128"/>
              </a:rPr>
              <a:t>Process</a:t>
            </a:r>
          </a:p>
        </p:txBody>
      </p:sp>
      <p:sp>
        <p:nvSpPr>
          <p:cNvPr id="10" name="Rectangle 9"/>
          <p:cNvSpPr>
            <a:spLocks noChangeArrowheads="1"/>
          </p:cNvSpPr>
          <p:nvPr/>
        </p:nvSpPr>
        <p:spPr bwMode="auto">
          <a:xfrm>
            <a:off x="1996545" y="1976437"/>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1" name="Rectangle 10"/>
          <p:cNvSpPr>
            <a:spLocks noChangeArrowheads="1"/>
          </p:cNvSpPr>
          <p:nvPr/>
        </p:nvSpPr>
        <p:spPr bwMode="auto">
          <a:xfrm>
            <a:off x="1996545" y="2624137"/>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2" name="Rectangle 11"/>
          <p:cNvSpPr>
            <a:spLocks noChangeArrowheads="1"/>
          </p:cNvSpPr>
          <p:nvPr/>
        </p:nvSpPr>
        <p:spPr bwMode="auto">
          <a:xfrm>
            <a:off x="1996545" y="32734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3" name="Rectangle 12"/>
          <p:cNvSpPr>
            <a:spLocks noChangeArrowheads="1"/>
          </p:cNvSpPr>
          <p:nvPr/>
        </p:nvSpPr>
        <p:spPr bwMode="auto">
          <a:xfrm>
            <a:off x="1996545" y="39211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4" name="Rectangle 13"/>
          <p:cNvSpPr>
            <a:spLocks noChangeArrowheads="1"/>
          </p:cNvSpPr>
          <p:nvPr/>
        </p:nvSpPr>
        <p:spPr bwMode="auto">
          <a:xfrm>
            <a:off x="1996545" y="45688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5" name="Rectangle 14"/>
          <p:cNvSpPr>
            <a:spLocks noChangeArrowheads="1"/>
          </p:cNvSpPr>
          <p:nvPr/>
        </p:nvSpPr>
        <p:spPr bwMode="auto">
          <a:xfrm>
            <a:off x="1996545" y="5199062"/>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6" name="Rectangle 15"/>
          <p:cNvSpPr>
            <a:spLocks noChangeArrowheads="1"/>
          </p:cNvSpPr>
          <p:nvPr/>
        </p:nvSpPr>
        <p:spPr bwMode="auto">
          <a:xfrm>
            <a:off x="3170766" y="1976437"/>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7" name="Rectangle 16"/>
          <p:cNvSpPr>
            <a:spLocks noChangeArrowheads="1"/>
          </p:cNvSpPr>
          <p:nvPr/>
        </p:nvSpPr>
        <p:spPr bwMode="auto">
          <a:xfrm>
            <a:off x="3170766" y="2624137"/>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8" name="Rectangle 17"/>
          <p:cNvSpPr>
            <a:spLocks noChangeArrowheads="1"/>
          </p:cNvSpPr>
          <p:nvPr/>
        </p:nvSpPr>
        <p:spPr bwMode="auto">
          <a:xfrm>
            <a:off x="3170766" y="32734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9" name="Rectangle 18"/>
          <p:cNvSpPr>
            <a:spLocks noChangeArrowheads="1"/>
          </p:cNvSpPr>
          <p:nvPr/>
        </p:nvSpPr>
        <p:spPr bwMode="auto">
          <a:xfrm>
            <a:off x="3170766" y="39211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0" name="Rectangle 19"/>
          <p:cNvSpPr>
            <a:spLocks noChangeArrowheads="1"/>
          </p:cNvSpPr>
          <p:nvPr/>
        </p:nvSpPr>
        <p:spPr bwMode="auto">
          <a:xfrm>
            <a:off x="3170766" y="4568825"/>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1" name="Rectangle 20"/>
          <p:cNvSpPr>
            <a:spLocks noChangeArrowheads="1"/>
          </p:cNvSpPr>
          <p:nvPr/>
        </p:nvSpPr>
        <p:spPr bwMode="auto">
          <a:xfrm>
            <a:off x="3170766" y="5199062"/>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2" name="Rectangle 21"/>
          <p:cNvSpPr>
            <a:spLocks noChangeArrowheads="1"/>
          </p:cNvSpPr>
          <p:nvPr/>
        </p:nvSpPr>
        <p:spPr bwMode="auto">
          <a:xfrm>
            <a:off x="4344987" y="19764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3" name="Rectangle 22"/>
          <p:cNvSpPr>
            <a:spLocks noChangeArrowheads="1"/>
          </p:cNvSpPr>
          <p:nvPr/>
        </p:nvSpPr>
        <p:spPr bwMode="auto">
          <a:xfrm>
            <a:off x="4344987" y="26241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4" name="Rectangle 23"/>
          <p:cNvSpPr>
            <a:spLocks noChangeArrowheads="1"/>
          </p:cNvSpPr>
          <p:nvPr/>
        </p:nvSpPr>
        <p:spPr bwMode="auto">
          <a:xfrm>
            <a:off x="4344987" y="32734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5" name="Rectangle 24"/>
          <p:cNvSpPr>
            <a:spLocks noChangeArrowheads="1"/>
          </p:cNvSpPr>
          <p:nvPr/>
        </p:nvSpPr>
        <p:spPr bwMode="auto">
          <a:xfrm>
            <a:off x="4344987" y="39211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6" name="Rectangle 25"/>
          <p:cNvSpPr>
            <a:spLocks noChangeArrowheads="1"/>
          </p:cNvSpPr>
          <p:nvPr/>
        </p:nvSpPr>
        <p:spPr bwMode="auto">
          <a:xfrm>
            <a:off x="4344987" y="45688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7" name="Rectangle 26"/>
          <p:cNvSpPr>
            <a:spLocks noChangeArrowheads="1"/>
          </p:cNvSpPr>
          <p:nvPr/>
        </p:nvSpPr>
        <p:spPr bwMode="auto">
          <a:xfrm>
            <a:off x="4344987" y="5199062"/>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8" name="Rectangle 27"/>
          <p:cNvSpPr>
            <a:spLocks noChangeArrowheads="1"/>
          </p:cNvSpPr>
          <p:nvPr/>
        </p:nvSpPr>
        <p:spPr bwMode="auto">
          <a:xfrm>
            <a:off x="5519208" y="19764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9" name="Rectangle 28"/>
          <p:cNvSpPr>
            <a:spLocks noChangeArrowheads="1"/>
          </p:cNvSpPr>
          <p:nvPr/>
        </p:nvSpPr>
        <p:spPr bwMode="auto">
          <a:xfrm>
            <a:off x="5519208" y="26241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0" name="Rectangle 29"/>
          <p:cNvSpPr>
            <a:spLocks noChangeArrowheads="1"/>
          </p:cNvSpPr>
          <p:nvPr/>
        </p:nvSpPr>
        <p:spPr bwMode="auto">
          <a:xfrm>
            <a:off x="5519208" y="32734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1" name="Rectangle 30"/>
          <p:cNvSpPr>
            <a:spLocks noChangeArrowheads="1"/>
          </p:cNvSpPr>
          <p:nvPr/>
        </p:nvSpPr>
        <p:spPr bwMode="auto">
          <a:xfrm>
            <a:off x="5519208" y="39211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2" name="Rectangle 31"/>
          <p:cNvSpPr>
            <a:spLocks noChangeArrowheads="1"/>
          </p:cNvSpPr>
          <p:nvPr/>
        </p:nvSpPr>
        <p:spPr bwMode="auto">
          <a:xfrm>
            <a:off x="5519208" y="45688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3" name="Rectangle 32"/>
          <p:cNvSpPr>
            <a:spLocks noChangeArrowheads="1"/>
          </p:cNvSpPr>
          <p:nvPr/>
        </p:nvSpPr>
        <p:spPr bwMode="auto">
          <a:xfrm>
            <a:off x="5519208" y="5199063"/>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4" name="Rectangle 33"/>
          <p:cNvSpPr>
            <a:spLocks noChangeArrowheads="1"/>
          </p:cNvSpPr>
          <p:nvPr/>
        </p:nvSpPr>
        <p:spPr bwMode="auto">
          <a:xfrm>
            <a:off x="6693429" y="19764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5" name="Rectangle 34"/>
          <p:cNvSpPr>
            <a:spLocks noChangeArrowheads="1"/>
          </p:cNvSpPr>
          <p:nvPr/>
        </p:nvSpPr>
        <p:spPr bwMode="auto">
          <a:xfrm>
            <a:off x="6693429" y="26241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6" name="Rectangle 35"/>
          <p:cNvSpPr>
            <a:spLocks noChangeArrowheads="1"/>
          </p:cNvSpPr>
          <p:nvPr/>
        </p:nvSpPr>
        <p:spPr bwMode="auto">
          <a:xfrm>
            <a:off x="6693429" y="32734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7" name="Rectangle 36"/>
          <p:cNvSpPr>
            <a:spLocks noChangeArrowheads="1"/>
          </p:cNvSpPr>
          <p:nvPr/>
        </p:nvSpPr>
        <p:spPr bwMode="auto">
          <a:xfrm>
            <a:off x="6693429" y="39211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8" name="Rectangle 37"/>
          <p:cNvSpPr>
            <a:spLocks noChangeArrowheads="1"/>
          </p:cNvSpPr>
          <p:nvPr/>
        </p:nvSpPr>
        <p:spPr bwMode="auto">
          <a:xfrm>
            <a:off x="6693429" y="45688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9" name="Rectangle 38"/>
          <p:cNvSpPr>
            <a:spLocks noChangeArrowheads="1"/>
          </p:cNvSpPr>
          <p:nvPr/>
        </p:nvSpPr>
        <p:spPr bwMode="auto">
          <a:xfrm>
            <a:off x="6693429" y="5199063"/>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0" name="Rectangle 39"/>
          <p:cNvSpPr>
            <a:spLocks noChangeArrowheads="1"/>
          </p:cNvSpPr>
          <p:nvPr/>
        </p:nvSpPr>
        <p:spPr bwMode="auto">
          <a:xfrm>
            <a:off x="7867650" y="19764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1" name="Rectangle 40"/>
          <p:cNvSpPr>
            <a:spLocks noChangeArrowheads="1"/>
          </p:cNvSpPr>
          <p:nvPr/>
        </p:nvSpPr>
        <p:spPr bwMode="auto">
          <a:xfrm>
            <a:off x="7867650" y="2624138"/>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2" name="Rectangle 41"/>
          <p:cNvSpPr>
            <a:spLocks noChangeArrowheads="1"/>
          </p:cNvSpPr>
          <p:nvPr/>
        </p:nvSpPr>
        <p:spPr bwMode="auto">
          <a:xfrm>
            <a:off x="7867650" y="32734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3" name="Rectangle 42"/>
          <p:cNvSpPr>
            <a:spLocks noChangeArrowheads="1"/>
          </p:cNvSpPr>
          <p:nvPr/>
        </p:nvSpPr>
        <p:spPr bwMode="auto">
          <a:xfrm>
            <a:off x="7867650" y="39211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4" name="Rectangle 43"/>
          <p:cNvSpPr>
            <a:spLocks noChangeArrowheads="1"/>
          </p:cNvSpPr>
          <p:nvPr/>
        </p:nvSpPr>
        <p:spPr bwMode="auto">
          <a:xfrm>
            <a:off x="7867650" y="4568826"/>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5" name="Rectangle 44"/>
          <p:cNvSpPr>
            <a:spLocks noChangeArrowheads="1"/>
          </p:cNvSpPr>
          <p:nvPr/>
        </p:nvSpPr>
        <p:spPr bwMode="auto">
          <a:xfrm>
            <a:off x="7867650" y="5199063"/>
            <a:ext cx="914400" cy="548640"/>
          </a:xfrm>
          <a:prstGeom prst="rect">
            <a:avLst/>
          </a:prstGeom>
          <a:solidFill>
            <a:schemeClr val="bg2"/>
          </a:solidFill>
          <a:ln w="12700">
            <a:no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2910945"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2910945" y="3547745"/>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4085166" y="2250757"/>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5259387"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6433608"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7607829" y="2250758"/>
            <a:ext cx="259821" cy="3222625"/>
          </a:xfrm>
          <a:prstGeom prst="bentConnector3">
            <a:avLst>
              <a:gd name="adj1" fmla="val 50000"/>
            </a:avLst>
          </a:prstGeom>
          <a:noFill/>
          <a:ln w="9525">
            <a:solidFill>
              <a:srgbClr val="53565A"/>
            </a:solidFill>
            <a:miter lim="800000"/>
            <a:headEnd/>
            <a:tailEnd type="triangle" w="med" len="sm"/>
          </a:ln>
        </p:spPr>
      </p:cxnSp>
      <p:sp>
        <p:nvSpPr>
          <p:cNvPr id="55" name="TextBox 54"/>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Arrow Connector 58"/>
          <p:cNvCxnSpPr/>
          <p:nvPr/>
        </p:nvCxnSpPr>
        <p:spPr>
          <a:xfrm flipV="1">
            <a:off x="5560285" y="2341577"/>
            <a:ext cx="505229"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3" name="Group 58"/>
          <p:cNvGraphicFramePr>
            <a:graphicFrameLocks noGrp="1"/>
          </p:cNvGraphicFramePr>
          <p:nvPr>
            <p:extLst>
              <p:ext uri="{D42A27DB-BD31-4B8C-83A1-F6EECF244321}">
                <p14:modId xmlns:p14="http://schemas.microsoft.com/office/powerpoint/2010/main" val="811414207"/>
              </p:ext>
            </p:extLst>
          </p:nvPr>
        </p:nvGraphicFramePr>
        <p:xfrm>
          <a:off x="365760" y="1976440"/>
          <a:ext cx="8412480" cy="4370388"/>
        </p:xfrm>
        <a:graphic>
          <a:graphicData uri="http://schemas.openxmlformats.org/drawingml/2006/table">
            <a:tbl>
              <a:tblPr/>
              <a:tblGrid>
                <a:gridCol w="1371600">
                  <a:extLst>
                    <a:ext uri="{9D8B030D-6E8A-4147-A177-3AD203B41FA5}">
                      <a16:colId xmlns:a16="http://schemas.microsoft.com/office/drawing/2014/main" val="20000"/>
                    </a:ext>
                  </a:extLst>
                </a:gridCol>
                <a:gridCol w="7040880">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8" name="Rectangle 27"/>
          <p:cNvSpPr>
            <a:spLocks noChangeArrowheads="1"/>
          </p:cNvSpPr>
          <p:nvPr/>
        </p:nvSpPr>
        <p:spPr bwMode="auto">
          <a:xfrm>
            <a:off x="4995712" y="2019156"/>
            <a:ext cx="640080" cy="137160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sp>
        <p:nvSpPr>
          <p:cNvPr id="22" name="Rectangle 21"/>
          <p:cNvSpPr>
            <a:spLocks noChangeArrowheads="1"/>
          </p:cNvSpPr>
          <p:nvPr/>
        </p:nvSpPr>
        <p:spPr bwMode="auto">
          <a:xfrm>
            <a:off x="3868613" y="3475629"/>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23" name="Rectangle 22"/>
          <p:cNvSpPr>
            <a:spLocks noChangeArrowheads="1"/>
          </p:cNvSpPr>
          <p:nvPr/>
        </p:nvSpPr>
        <p:spPr bwMode="auto">
          <a:xfrm>
            <a:off x="3868613" y="4200582"/>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25" name="Rectangle 24"/>
          <p:cNvSpPr>
            <a:spLocks noChangeArrowheads="1"/>
          </p:cNvSpPr>
          <p:nvPr/>
        </p:nvSpPr>
        <p:spPr bwMode="auto">
          <a:xfrm>
            <a:off x="6065687" y="2750676"/>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26" name="Oval 25"/>
          <p:cNvSpPr>
            <a:spLocks noChangeArrowheads="1"/>
          </p:cNvSpPr>
          <p:nvPr/>
        </p:nvSpPr>
        <p:spPr bwMode="auto">
          <a:xfrm>
            <a:off x="1915962" y="2021537"/>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Start</a:t>
            </a:r>
          </a:p>
        </p:txBody>
      </p:sp>
      <p:sp>
        <p:nvSpPr>
          <p:cNvPr id="29" name="Rectangle 28"/>
          <p:cNvSpPr>
            <a:spLocks noChangeArrowheads="1"/>
          </p:cNvSpPr>
          <p:nvPr/>
        </p:nvSpPr>
        <p:spPr bwMode="auto">
          <a:xfrm>
            <a:off x="6859437" y="5663622"/>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33" name="Rectangle 32"/>
          <p:cNvSpPr>
            <a:spLocks noChangeArrowheads="1"/>
          </p:cNvSpPr>
          <p:nvPr/>
        </p:nvSpPr>
        <p:spPr bwMode="auto">
          <a:xfrm>
            <a:off x="2744637" y="2019156"/>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
        <p:nvSpPr>
          <p:cNvPr id="34" name="AutoShape 33"/>
          <p:cNvSpPr>
            <a:spLocks noChangeArrowheads="1"/>
          </p:cNvSpPr>
          <p:nvPr/>
        </p:nvSpPr>
        <p:spPr bwMode="auto">
          <a:xfrm>
            <a:off x="3579857" y="2121781"/>
            <a:ext cx="1220716" cy="434830"/>
          </a:xfrm>
          <a:prstGeom prst="diamond">
            <a:avLst/>
          </a:prstGeom>
          <a:solidFill>
            <a:schemeClr val="accent3"/>
          </a:solidFill>
          <a:ln w="12700">
            <a:noFill/>
            <a:miter lim="800000"/>
            <a:headEnd/>
            <a:tailEnd/>
          </a:ln>
        </p:spPr>
        <p:txBody>
          <a:bodyPr wrap="none" lIns="36000" tIns="36000" rIns="36000" bIns="36000" anchor="ctr">
            <a:spAutoFit/>
          </a:bodyPr>
          <a:lstStyle/>
          <a:p>
            <a:pPr algn="ctr">
              <a:lnSpc>
                <a:spcPct val="95000"/>
              </a:lnSpc>
              <a:defRPr/>
            </a:pPr>
            <a:r>
              <a:rPr lang="en-US" sz="1000" dirty="0">
                <a:ea typeface="ＭＳ Ｐゴシック" pitchFamily="50" charset="-128"/>
              </a:rPr>
              <a:t>Decision</a:t>
            </a:r>
          </a:p>
        </p:txBody>
      </p:sp>
      <p:sp>
        <p:nvSpPr>
          <p:cNvPr id="41" name="Oval 40"/>
          <p:cNvSpPr>
            <a:spLocks noChangeArrowheads="1"/>
          </p:cNvSpPr>
          <p:nvPr/>
        </p:nvSpPr>
        <p:spPr bwMode="auto">
          <a:xfrm>
            <a:off x="8025082" y="5663622"/>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End</a:t>
            </a:r>
          </a:p>
        </p:txBody>
      </p:sp>
      <p:sp>
        <p:nvSpPr>
          <p:cNvPr id="50" name="Rectangle 49"/>
          <p:cNvSpPr>
            <a:spLocks noChangeArrowheads="1"/>
          </p:cNvSpPr>
          <p:nvPr/>
        </p:nvSpPr>
        <p:spPr bwMode="auto">
          <a:xfrm>
            <a:off x="6065514" y="2021537"/>
            <a:ext cx="640080"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cxnSp>
        <p:nvCxnSpPr>
          <p:cNvPr id="3" name="Straight Arrow Connector 2"/>
          <p:cNvCxnSpPr>
            <a:stCxn id="26" idx="6"/>
            <a:endCxn id="33" idx="1"/>
          </p:cNvCxnSpPr>
          <p:nvPr/>
        </p:nvCxnSpPr>
        <p:spPr>
          <a:xfrm flipV="1">
            <a:off x="2556042" y="2339196"/>
            <a:ext cx="188595"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3384717" y="2339196"/>
            <a:ext cx="195140"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4800573" y="2339196"/>
            <a:ext cx="187995"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6385554" y="2661617"/>
            <a:ext cx="173"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4188653" y="2556611"/>
            <a:ext cx="1562" cy="919018"/>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4188653" y="4115709"/>
            <a:ext cx="0" cy="84873"/>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4508693" y="4520622"/>
            <a:ext cx="472732"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5570679" y="5978741"/>
            <a:ext cx="1288758" cy="492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7499517" y="5983662"/>
            <a:ext cx="52556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6705767" y="3070716"/>
            <a:ext cx="473710"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gray">
          <a:xfrm>
            <a:off x="365125" y="1611313"/>
            <a:ext cx="8412480" cy="184666"/>
          </a:xfrm>
          <a:prstGeom prst="rect">
            <a:avLst/>
          </a:prstGeom>
          <a:noFill/>
        </p:spPr>
        <p:txBody>
          <a:bodyPr wrap="square" lIns="0" tIns="0" rIns="0" bIns="0" rtlCol="0">
            <a:spAutoFit/>
          </a:bodyPr>
          <a:lstStyle/>
          <a:p>
            <a:r>
              <a:rPr lang="en-US" sz="1200" dirty="0"/>
              <a:t>Chart title runs here</a:t>
            </a:r>
          </a:p>
        </p:txBody>
      </p:sp>
      <p:sp>
        <p:nvSpPr>
          <p:cNvPr id="30" name="Rectangle 29"/>
          <p:cNvSpPr>
            <a:spLocks noChangeArrowheads="1"/>
          </p:cNvSpPr>
          <p:nvPr/>
        </p:nvSpPr>
        <p:spPr bwMode="auto">
          <a:xfrm>
            <a:off x="4992219" y="4200582"/>
            <a:ext cx="640080" cy="210312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ea typeface="ＭＳ Ｐゴシック" pitchFamily="50" charset="-128"/>
              </a:rPr>
              <a:t>Activity</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ceptual charts </a:t>
            </a:r>
            <a:endParaRPr lang="en-GB" dirty="0"/>
          </a:p>
        </p:txBody>
      </p:sp>
    </p:spTree>
    <p:extLst>
      <p:ext uri="{BB962C8B-B14F-4D97-AF65-F5344CB8AC3E}">
        <p14:creationId xmlns:p14="http://schemas.microsoft.com/office/powerpoint/2010/main" val="909223871"/>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2163119266"/>
              </p:ext>
            </p:extLst>
          </p:nvPr>
        </p:nvGraphicFramePr>
        <p:xfrm>
          <a:off x="397764" y="2011063"/>
          <a:ext cx="8348473" cy="3582225"/>
        </p:xfrm>
        <a:graphic>
          <a:graphicData uri="http://schemas.openxmlformats.org/drawingml/2006/table">
            <a:tbl>
              <a:tblPr/>
              <a:tblGrid>
                <a:gridCol w="1592743">
                  <a:extLst>
                    <a:ext uri="{9D8B030D-6E8A-4147-A177-3AD203B41FA5}">
                      <a16:colId xmlns:a16="http://schemas.microsoft.com/office/drawing/2014/main" val="20000"/>
                    </a:ext>
                  </a:extLst>
                </a:gridCol>
                <a:gridCol w="1125955">
                  <a:extLst>
                    <a:ext uri="{9D8B030D-6E8A-4147-A177-3AD203B41FA5}">
                      <a16:colId xmlns:a16="http://schemas.microsoft.com/office/drawing/2014/main" val="20001"/>
                    </a:ext>
                  </a:extLst>
                </a:gridCol>
                <a:gridCol w="1125955">
                  <a:extLst>
                    <a:ext uri="{9D8B030D-6E8A-4147-A177-3AD203B41FA5}">
                      <a16:colId xmlns:a16="http://schemas.microsoft.com/office/drawing/2014/main" val="20002"/>
                    </a:ext>
                  </a:extLst>
                </a:gridCol>
                <a:gridCol w="1125955">
                  <a:extLst>
                    <a:ext uri="{9D8B030D-6E8A-4147-A177-3AD203B41FA5}">
                      <a16:colId xmlns:a16="http://schemas.microsoft.com/office/drawing/2014/main" val="20003"/>
                    </a:ext>
                  </a:extLst>
                </a:gridCol>
                <a:gridCol w="1125955">
                  <a:extLst>
                    <a:ext uri="{9D8B030D-6E8A-4147-A177-3AD203B41FA5}">
                      <a16:colId xmlns:a16="http://schemas.microsoft.com/office/drawing/2014/main" val="20004"/>
                    </a:ext>
                  </a:extLst>
                </a:gridCol>
                <a:gridCol w="1125955">
                  <a:extLst>
                    <a:ext uri="{9D8B030D-6E8A-4147-A177-3AD203B41FA5}">
                      <a16:colId xmlns:a16="http://schemas.microsoft.com/office/drawing/2014/main" val="20005"/>
                    </a:ext>
                  </a:extLst>
                </a:gridCol>
                <a:gridCol w="112595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kern="1200" cap="none" normalizeH="0" baseline="0" dirty="0">
                          <a:ln>
                            <a:noFill/>
                          </a:ln>
                          <a:solidFill>
                            <a:schemeClr val="tx1"/>
                          </a:solidFill>
                          <a:effectLst/>
                          <a:latin typeface="+mn-lt"/>
                          <a:ea typeface="+mn-ea"/>
                          <a:cs typeface="+mn-cs"/>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Column</a:t>
                      </a:r>
                      <a:endParaRPr kumimoji="0" lang="en-US" sz="12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4" name="Rectangle 7"/>
          <p:cNvSpPr>
            <a:spLocks noChangeArrowheads="1"/>
          </p:cNvSpPr>
          <p:nvPr/>
        </p:nvSpPr>
        <p:spPr bwMode="auto">
          <a:xfrm>
            <a:off x="5029200" y="0"/>
            <a:ext cx="4114800" cy="870438"/>
          </a:xfrm>
          <a:prstGeom prst="rect">
            <a:avLst/>
          </a:prstGeom>
          <a:solidFill>
            <a:srgbClr val="FFCD00"/>
          </a:solidFill>
          <a:ln w="6350" algn="ctr">
            <a:noFill/>
            <a:miter lim="800000"/>
            <a:headEnd/>
            <a:tailEnd/>
          </a:ln>
        </p:spPr>
        <p:txBody>
          <a:bodyPr tIns="91440" bIns="91440" anchor="ctr" anchorCtr="0">
            <a:noAutofit/>
          </a:bodyPr>
          <a:lstStyle/>
          <a:p>
            <a:pPr>
              <a:defRPr/>
            </a:pPr>
            <a:r>
              <a:rPr lang="en-US" altLang="ja-JP" sz="1000" b="1" dirty="0">
                <a:ea typeface="ＭＳ Ｐゴシック" pitchFamily="50" charset="-128"/>
              </a:rPr>
              <a:t>Tip! </a:t>
            </a:r>
            <a:r>
              <a:rPr lang="en-US" altLang="ja-JP" sz="1000" dirty="0">
                <a:ea typeface="ＭＳ Ｐゴシック" pitchFamily="50" charset="-128"/>
              </a:rPr>
              <a:t>This is a table. Add or remove rows and columns as appropriate. Use Distribute Columns Evenly and Distribute Rows Evenly in Layout ribbon to keep equal column and row widths</a:t>
            </a:r>
            <a:endParaRPr lang="en-US" sz="1000" dirty="0">
              <a:ea typeface="ＭＳ Ｐゴシック" pitchFamily="50" charset="-128"/>
            </a:endParaRPr>
          </a:p>
        </p:txBody>
      </p:sp>
      <p:sp>
        <p:nvSpPr>
          <p:cNvPr id="104" name="Oval 19"/>
          <p:cNvSpPr>
            <a:spLocks noChangeArrowheads="1"/>
          </p:cNvSpPr>
          <p:nvPr/>
        </p:nvSpPr>
        <p:spPr bwMode="auto">
          <a:xfrm>
            <a:off x="8034422"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1" name="Oval 20"/>
          <p:cNvSpPr>
            <a:spLocks noChangeArrowheads="1"/>
          </p:cNvSpPr>
          <p:nvPr/>
        </p:nvSpPr>
        <p:spPr bwMode="auto">
          <a:xfrm>
            <a:off x="8034422"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9" name="Group 18"/>
          <p:cNvGrpSpPr/>
          <p:nvPr/>
        </p:nvGrpSpPr>
        <p:grpSpPr>
          <a:xfrm>
            <a:off x="8034422" y="3859827"/>
            <a:ext cx="288000" cy="288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 name="Group 2"/>
          <p:cNvGrpSpPr/>
          <p:nvPr/>
        </p:nvGrpSpPr>
        <p:grpSpPr>
          <a:xfrm>
            <a:off x="8034422" y="3224215"/>
            <a:ext cx="288000" cy="288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5" name="Group 24"/>
          <p:cNvGrpSpPr/>
          <p:nvPr/>
        </p:nvGrpSpPr>
        <p:grpSpPr>
          <a:xfrm>
            <a:off x="8034422" y="4495440"/>
            <a:ext cx="288000" cy="288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54" name="Oval 153"/>
          <p:cNvSpPr>
            <a:spLocks noChangeArrowheads="1"/>
          </p:cNvSpPr>
          <p:nvPr/>
        </p:nvSpPr>
        <p:spPr bwMode="auto">
          <a:xfrm>
            <a:off x="5785271"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57" name="Oval 156"/>
          <p:cNvSpPr>
            <a:spLocks noChangeArrowheads="1"/>
          </p:cNvSpPr>
          <p:nvPr/>
        </p:nvSpPr>
        <p:spPr bwMode="auto">
          <a:xfrm>
            <a:off x="5785271"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7" name="Group 16"/>
          <p:cNvGrpSpPr/>
          <p:nvPr/>
        </p:nvGrpSpPr>
        <p:grpSpPr>
          <a:xfrm>
            <a:off x="5785271" y="3859827"/>
            <a:ext cx="288000" cy="288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2" name="Group 11"/>
          <p:cNvGrpSpPr/>
          <p:nvPr/>
        </p:nvGrpSpPr>
        <p:grpSpPr>
          <a:xfrm>
            <a:off x="5785271" y="3224215"/>
            <a:ext cx="288000" cy="288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3" name="Group 22"/>
          <p:cNvGrpSpPr/>
          <p:nvPr/>
        </p:nvGrpSpPr>
        <p:grpSpPr>
          <a:xfrm>
            <a:off x="5785271" y="4495440"/>
            <a:ext cx="288000" cy="288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79" name="Oval 178"/>
          <p:cNvSpPr>
            <a:spLocks noChangeArrowheads="1"/>
          </p:cNvSpPr>
          <p:nvPr/>
        </p:nvSpPr>
        <p:spPr bwMode="auto">
          <a:xfrm>
            <a:off x="4660695"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80" name="Oval 179"/>
          <p:cNvSpPr>
            <a:spLocks noChangeArrowheads="1"/>
          </p:cNvSpPr>
          <p:nvPr/>
        </p:nvSpPr>
        <p:spPr bwMode="auto">
          <a:xfrm>
            <a:off x="4660695"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6" name="Group 15"/>
          <p:cNvGrpSpPr/>
          <p:nvPr/>
        </p:nvGrpSpPr>
        <p:grpSpPr>
          <a:xfrm>
            <a:off x="4660695" y="3859827"/>
            <a:ext cx="288000" cy="288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1" name="Group 10"/>
          <p:cNvGrpSpPr/>
          <p:nvPr/>
        </p:nvGrpSpPr>
        <p:grpSpPr>
          <a:xfrm>
            <a:off x="4660695" y="3224215"/>
            <a:ext cx="288000" cy="288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2" name="Group 21"/>
          <p:cNvGrpSpPr/>
          <p:nvPr/>
        </p:nvGrpSpPr>
        <p:grpSpPr>
          <a:xfrm>
            <a:off x="4660695" y="4495440"/>
            <a:ext cx="288000" cy="288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90" name="Oval 189"/>
          <p:cNvSpPr>
            <a:spLocks noChangeArrowheads="1"/>
          </p:cNvSpPr>
          <p:nvPr/>
        </p:nvSpPr>
        <p:spPr bwMode="auto">
          <a:xfrm>
            <a:off x="3536119"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91" name="Oval 190"/>
          <p:cNvSpPr>
            <a:spLocks noChangeArrowheads="1"/>
          </p:cNvSpPr>
          <p:nvPr/>
        </p:nvSpPr>
        <p:spPr bwMode="auto">
          <a:xfrm>
            <a:off x="3536119"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5" name="Group 14"/>
          <p:cNvGrpSpPr/>
          <p:nvPr/>
        </p:nvGrpSpPr>
        <p:grpSpPr>
          <a:xfrm>
            <a:off x="3536119" y="3859827"/>
            <a:ext cx="288000" cy="288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0" name="Group 9"/>
          <p:cNvGrpSpPr/>
          <p:nvPr/>
        </p:nvGrpSpPr>
        <p:grpSpPr>
          <a:xfrm>
            <a:off x="3536119" y="3224215"/>
            <a:ext cx="288000" cy="288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1" name="Group 20"/>
          <p:cNvGrpSpPr/>
          <p:nvPr/>
        </p:nvGrpSpPr>
        <p:grpSpPr>
          <a:xfrm>
            <a:off x="3536119" y="4495440"/>
            <a:ext cx="288000" cy="288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01" name="Oval 200"/>
          <p:cNvSpPr>
            <a:spLocks noChangeArrowheads="1"/>
          </p:cNvSpPr>
          <p:nvPr/>
        </p:nvSpPr>
        <p:spPr bwMode="auto">
          <a:xfrm>
            <a:off x="2411543"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02" name="Oval 201"/>
          <p:cNvSpPr>
            <a:spLocks noChangeArrowheads="1"/>
          </p:cNvSpPr>
          <p:nvPr/>
        </p:nvSpPr>
        <p:spPr bwMode="auto">
          <a:xfrm>
            <a:off x="2411543"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4" name="Group 13"/>
          <p:cNvGrpSpPr/>
          <p:nvPr/>
        </p:nvGrpSpPr>
        <p:grpSpPr>
          <a:xfrm>
            <a:off x="2411543" y="3859827"/>
            <a:ext cx="288000" cy="288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7" name="Group 6"/>
          <p:cNvGrpSpPr/>
          <p:nvPr/>
        </p:nvGrpSpPr>
        <p:grpSpPr>
          <a:xfrm>
            <a:off x="2411543" y="3224215"/>
            <a:ext cx="288000" cy="288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0" name="Group 19"/>
          <p:cNvGrpSpPr/>
          <p:nvPr/>
        </p:nvGrpSpPr>
        <p:grpSpPr>
          <a:xfrm>
            <a:off x="2411543" y="4495440"/>
            <a:ext cx="288000" cy="288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12" name="Oval 19"/>
          <p:cNvSpPr>
            <a:spLocks noChangeArrowheads="1"/>
          </p:cNvSpPr>
          <p:nvPr/>
        </p:nvSpPr>
        <p:spPr bwMode="auto">
          <a:xfrm>
            <a:off x="6909847"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13" name="Oval 20"/>
          <p:cNvSpPr>
            <a:spLocks noChangeArrowheads="1"/>
          </p:cNvSpPr>
          <p:nvPr/>
        </p:nvSpPr>
        <p:spPr bwMode="auto">
          <a:xfrm>
            <a:off x="6909847"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8" name="Group 17"/>
          <p:cNvGrpSpPr/>
          <p:nvPr/>
        </p:nvGrpSpPr>
        <p:grpSpPr>
          <a:xfrm>
            <a:off x="6909847" y="3859827"/>
            <a:ext cx="288000" cy="288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3" name="Group 12"/>
          <p:cNvGrpSpPr/>
          <p:nvPr/>
        </p:nvGrpSpPr>
        <p:grpSpPr>
          <a:xfrm>
            <a:off x="6909847" y="3224215"/>
            <a:ext cx="288000" cy="288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4" name="Group 23"/>
          <p:cNvGrpSpPr/>
          <p:nvPr/>
        </p:nvGrpSpPr>
        <p:grpSpPr>
          <a:xfrm>
            <a:off x="6909847" y="4495440"/>
            <a:ext cx="288000" cy="288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81" name="Group 80"/>
          <p:cNvGrpSpPr/>
          <p:nvPr/>
        </p:nvGrpSpPr>
        <p:grpSpPr>
          <a:xfrm>
            <a:off x="3925601" y="6157055"/>
            <a:ext cx="1321653" cy="185415"/>
            <a:chOff x="6817465" y="6022432"/>
            <a:chExt cx="2281261"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400" dirty="0"/>
            </a:p>
          </p:txBody>
        </p:sp>
        <p:sp>
          <p:nvSpPr>
            <p:cNvPr id="83" name="Text Box 32"/>
            <p:cNvSpPr txBox="1">
              <a:spLocks noChangeArrowheads="1"/>
            </p:cNvSpPr>
            <p:nvPr/>
          </p:nvSpPr>
          <p:spPr bwMode="auto">
            <a:xfrm>
              <a:off x="7222523" y="6049642"/>
              <a:ext cx="749827"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400" dirty="0"/>
            </a:p>
          </p:txBody>
        </p:sp>
        <p:sp>
          <p:nvSpPr>
            <p:cNvPr id="85" name="Text Box 34"/>
            <p:cNvSpPr txBox="1">
              <a:spLocks noChangeArrowheads="1"/>
            </p:cNvSpPr>
            <p:nvPr/>
          </p:nvSpPr>
          <p:spPr bwMode="auto">
            <a:xfrm>
              <a:off x="8484476" y="6049642"/>
              <a:ext cx="614250"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87" name="TextBox 86"/>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able title runs here</a:t>
            </a:r>
          </a:p>
        </p:txBody>
      </p:sp>
    </p:spTree>
    <p:extLst>
      <p:ext uri="{BB962C8B-B14F-4D97-AF65-F5344CB8AC3E}">
        <p14:creationId xmlns:p14="http://schemas.microsoft.com/office/powerpoint/2010/main" val="3544893123"/>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 name="Oval 19"/>
          <p:cNvSpPr>
            <a:spLocks noChangeArrowheads="1"/>
          </p:cNvSpPr>
          <p:nvPr/>
        </p:nvSpPr>
        <p:spPr bwMode="auto">
          <a:xfrm>
            <a:off x="7299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7299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67" name="Group 266"/>
          <p:cNvGrpSpPr/>
          <p:nvPr/>
        </p:nvGrpSpPr>
        <p:grpSpPr>
          <a:xfrm>
            <a:off x="7299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0" name="Group 269"/>
          <p:cNvGrpSpPr/>
          <p:nvPr/>
        </p:nvGrpSpPr>
        <p:grpSpPr>
          <a:xfrm>
            <a:off x="7299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3" name="Group 272"/>
          <p:cNvGrpSpPr/>
          <p:nvPr/>
        </p:nvGrpSpPr>
        <p:grpSpPr>
          <a:xfrm>
            <a:off x="7299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7299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7299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56" name="Group 255"/>
          <p:cNvGrpSpPr/>
          <p:nvPr/>
        </p:nvGrpSpPr>
        <p:grpSpPr>
          <a:xfrm>
            <a:off x="7299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59" name="Group 258"/>
          <p:cNvGrpSpPr/>
          <p:nvPr/>
        </p:nvGrpSpPr>
        <p:grpSpPr>
          <a:xfrm>
            <a:off x="7299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62" name="Group 261"/>
          <p:cNvGrpSpPr/>
          <p:nvPr/>
        </p:nvGrpSpPr>
        <p:grpSpPr>
          <a:xfrm>
            <a:off x="7299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794625" name="Title 1"/>
          <p:cNvSpPr>
            <a:spLocks noGrp="1"/>
          </p:cNvSpPr>
          <p:nvPr>
            <p:ph type="title"/>
          </p:nvPr>
        </p:nvSpPr>
        <p:spPr/>
        <p:txBody>
          <a:bodyPr/>
          <a:lstStyle/>
          <a:p>
            <a:r>
              <a:rPr lang="en-US" altLang="ja-JP"/>
              <a:t>More moons (a.k.a. Harvey Balls)</a:t>
            </a:r>
            <a:endParaRPr lang="en-US" dirty="0"/>
          </a:p>
        </p:txBody>
      </p:sp>
      <p:sp>
        <p:nvSpPr>
          <p:cNvPr id="794632" name="Text Box 30"/>
          <p:cNvSpPr txBox="1">
            <a:spLocks noChangeArrowheads="1"/>
          </p:cNvSpPr>
          <p:nvPr/>
        </p:nvSpPr>
        <p:spPr bwMode="auto">
          <a:xfrm>
            <a:off x="1512143" y="2937669"/>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42" name="Text Box 64"/>
          <p:cNvSpPr txBox="1">
            <a:spLocks noChangeArrowheads="1"/>
          </p:cNvSpPr>
          <p:nvPr/>
        </p:nvSpPr>
        <p:spPr bwMode="auto">
          <a:xfrm>
            <a:off x="1512143" y="2482850"/>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48" name="Text Box 95"/>
          <p:cNvSpPr txBox="1">
            <a:spLocks noChangeArrowheads="1"/>
          </p:cNvSpPr>
          <p:nvPr/>
        </p:nvSpPr>
        <p:spPr bwMode="auto">
          <a:xfrm>
            <a:off x="1512143" y="2028825"/>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54" name="Text Box 107"/>
          <p:cNvSpPr txBox="1">
            <a:spLocks noChangeArrowheads="1"/>
          </p:cNvSpPr>
          <p:nvPr/>
        </p:nvSpPr>
        <p:spPr bwMode="auto">
          <a:xfrm>
            <a:off x="1535433" y="1574006"/>
            <a:ext cx="97784"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61" name="Text Box 114"/>
          <p:cNvSpPr txBox="1">
            <a:spLocks noChangeArrowheads="1"/>
          </p:cNvSpPr>
          <p:nvPr/>
        </p:nvSpPr>
        <p:spPr bwMode="auto">
          <a:xfrm>
            <a:off x="1535433" y="3392488"/>
            <a:ext cx="97784"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794668" name="Text Box 141"/>
          <p:cNvSpPr txBox="1">
            <a:spLocks noChangeArrowheads="1"/>
          </p:cNvSpPr>
          <p:nvPr/>
        </p:nvSpPr>
        <p:spPr bwMode="auto">
          <a:xfrm>
            <a:off x="1512143" y="5267788"/>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73" name="Text Box 166"/>
          <p:cNvSpPr txBox="1">
            <a:spLocks noChangeArrowheads="1"/>
          </p:cNvSpPr>
          <p:nvPr/>
        </p:nvSpPr>
        <p:spPr bwMode="auto">
          <a:xfrm>
            <a:off x="1512143" y="4812175"/>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76" name="Text Box 179"/>
          <p:cNvSpPr txBox="1">
            <a:spLocks noChangeArrowheads="1"/>
          </p:cNvSpPr>
          <p:nvPr/>
        </p:nvSpPr>
        <p:spPr bwMode="auto">
          <a:xfrm>
            <a:off x="1512143" y="4358150"/>
            <a:ext cx="15388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83" name="Text Box 198"/>
          <p:cNvSpPr txBox="1">
            <a:spLocks noChangeArrowheads="1"/>
          </p:cNvSpPr>
          <p:nvPr/>
        </p:nvSpPr>
        <p:spPr bwMode="auto">
          <a:xfrm>
            <a:off x="1535433" y="3904125"/>
            <a:ext cx="97784"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90" name="Text Box 205"/>
          <p:cNvSpPr txBox="1">
            <a:spLocks noChangeArrowheads="1"/>
          </p:cNvSpPr>
          <p:nvPr/>
        </p:nvSpPr>
        <p:spPr bwMode="auto">
          <a:xfrm>
            <a:off x="1535433" y="5721813"/>
            <a:ext cx="97784"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276" name="Oval 19"/>
          <p:cNvSpPr>
            <a:spLocks noChangeArrowheads="1"/>
          </p:cNvSpPr>
          <p:nvPr/>
        </p:nvSpPr>
        <p:spPr bwMode="auto">
          <a:xfrm>
            <a:off x="6255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6255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78" name="Group 277"/>
          <p:cNvGrpSpPr/>
          <p:nvPr/>
        </p:nvGrpSpPr>
        <p:grpSpPr>
          <a:xfrm>
            <a:off x="6255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1" name="Group 280"/>
          <p:cNvGrpSpPr/>
          <p:nvPr/>
        </p:nvGrpSpPr>
        <p:grpSpPr>
          <a:xfrm>
            <a:off x="6255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4" name="Group 283"/>
          <p:cNvGrpSpPr/>
          <p:nvPr/>
        </p:nvGrpSpPr>
        <p:grpSpPr>
          <a:xfrm>
            <a:off x="6255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6255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6255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89" name="Group 288"/>
          <p:cNvGrpSpPr/>
          <p:nvPr/>
        </p:nvGrpSpPr>
        <p:grpSpPr>
          <a:xfrm>
            <a:off x="6255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2" name="Group 291"/>
          <p:cNvGrpSpPr/>
          <p:nvPr/>
        </p:nvGrpSpPr>
        <p:grpSpPr>
          <a:xfrm>
            <a:off x="6255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5" name="Group 294"/>
          <p:cNvGrpSpPr/>
          <p:nvPr/>
        </p:nvGrpSpPr>
        <p:grpSpPr>
          <a:xfrm>
            <a:off x="6255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
        <p:nvSpPr>
          <p:cNvPr id="298" name="Oval 19"/>
          <p:cNvSpPr>
            <a:spLocks noChangeArrowheads="1"/>
          </p:cNvSpPr>
          <p:nvPr/>
        </p:nvSpPr>
        <p:spPr bwMode="auto">
          <a:xfrm>
            <a:off x="5247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5247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00" name="Group 299"/>
          <p:cNvGrpSpPr/>
          <p:nvPr/>
        </p:nvGrpSpPr>
        <p:grpSpPr>
          <a:xfrm>
            <a:off x="5247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3" name="Group 302"/>
          <p:cNvGrpSpPr/>
          <p:nvPr/>
        </p:nvGrpSpPr>
        <p:grpSpPr>
          <a:xfrm>
            <a:off x="5247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6" name="Group 305"/>
          <p:cNvGrpSpPr/>
          <p:nvPr/>
        </p:nvGrpSpPr>
        <p:grpSpPr>
          <a:xfrm>
            <a:off x="5247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5247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5247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11" name="Group 310"/>
          <p:cNvGrpSpPr/>
          <p:nvPr/>
        </p:nvGrpSpPr>
        <p:grpSpPr>
          <a:xfrm>
            <a:off x="5247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4" name="Group 313"/>
          <p:cNvGrpSpPr/>
          <p:nvPr/>
        </p:nvGrpSpPr>
        <p:grpSpPr>
          <a:xfrm>
            <a:off x="5247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7" name="Group 316"/>
          <p:cNvGrpSpPr/>
          <p:nvPr/>
        </p:nvGrpSpPr>
        <p:grpSpPr>
          <a:xfrm>
            <a:off x="5247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
        <p:nvSpPr>
          <p:cNvPr id="320" name="Oval 19"/>
          <p:cNvSpPr>
            <a:spLocks noChangeArrowheads="1"/>
          </p:cNvSpPr>
          <p:nvPr/>
        </p:nvSpPr>
        <p:spPr bwMode="auto">
          <a:xfrm>
            <a:off x="4278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4278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22" name="Group 321"/>
          <p:cNvGrpSpPr/>
          <p:nvPr/>
        </p:nvGrpSpPr>
        <p:grpSpPr>
          <a:xfrm>
            <a:off x="4278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5" name="Group 324"/>
          <p:cNvGrpSpPr/>
          <p:nvPr/>
        </p:nvGrpSpPr>
        <p:grpSpPr>
          <a:xfrm>
            <a:off x="4278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8" name="Group 327"/>
          <p:cNvGrpSpPr/>
          <p:nvPr/>
        </p:nvGrpSpPr>
        <p:grpSpPr>
          <a:xfrm>
            <a:off x="4278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4278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4278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33" name="Group 332"/>
          <p:cNvGrpSpPr/>
          <p:nvPr/>
        </p:nvGrpSpPr>
        <p:grpSpPr>
          <a:xfrm>
            <a:off x="4278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6" name="Group 335"/>
          <p:cNvGrpSpPr/>
          <p:nvPr/>
        </p:nvGrpSpPr>
        <p:grpSpPr>
          <a:xfrm>
            <a:off x="4278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9" name="Group 338"/>
          <p:cNvGrpSpPr/>
          <p:nvPr/>
        </p:nvGrpSpPr>
        <p:grpSpPr>
          <a:xfrm>
            <a:off x="4278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
        <p:nvSpPr>
          <p:cNvPr id="342" name="Oval 19"/>
          <p:cNvSpPr>
            <a:spLocks noChangeArrowheads="1"/>
          </p:cNvSpPr>
          <p:nvPr/>
        </p:nvSpPr>
        <p:spPr bwMode="auto">
          <a:xfrm>
            <a:off x="3345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3345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44" name="Group 343"/>
          <p:cNvGrpSpPr/>
          <p:nvPr/>
        </p:nvGrpSpPr>
        <p:grpSpPr>
          <a:xfrm>
            <a:off x="3345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47" name="Group 346"/>
          <p:cNvGrpSpPr/>
          <p:nvPr/>
        </p:nvGrpSpPr>
        <p:grpSpPr>
          <a:xfrm>
            <a:off x="3345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50" name="Group 349"/>
          <p:cNvGrpSpPr/>
          <p:nvPr/>
        </p:nvGrpSpPr>
        <p:grpSpPr>
          <a:xfrm>
            <a:off x="3345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3345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3345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55" name="Group 354"/>
          <p:cNvGrpSpPr/>
          <p:nvPr/>
        </p:nvGrpSpPr>
        <p:grpSpPr>
          <a:xfrm>
            <a:off x="3345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58" name="Group 357"/>
          <p:cNvGrpSpPr/>
          <p:nvPr/>
        </p:nvGrpSpPr>
        <p:grpSpPr>
          <a:xfrm>
            <a:off x="3345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61" name="Group 360"/>
          <p:cNvGrpSpPr/>
          <p:nvPr/>
        </p:nvGrpSpPr>
        <p:grpSpPr>
          <a:xfrm>
            <a:off x="3345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
        <p:nvSpPr>
          <p:cNvPr id="364" name="Oval 19"/>
          <p:cNvSpPr>
            <a:spLocks noChangeArrowheads="1"/>
          </p:cNvSpPr>
          <p:nvPr/>
        </p:nvSpPr>
        <p:spPr bwMode="auto">
          <a:xfrm>
            <a:off x="2450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2450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66" name="Group 365"/>
          <p:cNvGrpSpPr/>
          <p:nvPr/>
        </p:nvGrpSpPr>
        <p:grpSpPr>
          <a:xfrm>
            <a:off x="2450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69" name="Group 368"/>
          <p:cNvGrpSpPr/>
          <p:nvPr/>
        </p:nvGrpSpPr>
        <p:grpSpPr>
          <a:xfrm>
            <a:off x="2450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72" name="Group 371"/>
          <p:cNvGrpSpPr/>
          <p:nvPr/>
        </p:nvGrpSpPr>
        <p:grpSpPr>
          <a:xfrm>
            <a:off x="2450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2450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2450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77" name="Group 376"/>
          <p:cNvGrpSpPr/>
          <p:nvPr/>
        </p:nvGrpSpPr>
        <p:grpSpPr>
          <a:xfrm>
            <a:off x="2450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0" name="Group 379"/>
          <p:cNvGrpSpPr/>
          <p:nvPr/>
        </p:nvGrpSpPr>
        <p:grpSpPr>
          <a:xfrm>
            <a:off x="2450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3" name="Group 382"/>
          <p:cNvGrpSpPr/>
          <p:nvPr/>
        </p:nvGrpSpPr>
        <p:grpSpPr>
          <a:xfrm>
            <a:off x="2450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spTree>
    <p:extLst>
      <p:ext uri="{BB962C8B-B14F-4D97-AF65-F5344CB8AC3E}">
        <p14:creationId xmlns:p14="http://schemas.microsoft.com/office/powerpoint/2010/main" val="30146206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396000" y="651600"/>
            <a:ext cx="8352000" cy="757255"/>
          </a:xfrm>
        </p:spPr>
        <p:txBody>
          <a:bodyPr/>
          <a:lstStyle/>
          <a:p>
            <a:r>
              <a:rPr lang="en-US" dirty="0"/>
              <a:t>Two columns of numbered points for each point</a:t>
            </a:r>
          </a:p>
        </p:txBody>
      </p:sp>
      <p:sp>
        <p:nvSpPr>
          <p:cNvPr id="9" name="Title 8"/>
          <p:cNvSpPr>
            <a:spLocks noGrp="1"/>
          </p:cNvSpPr>
          <p:nvPr>
            <p:ph type="title"/>
          </p:nvPr>
        </p:nvSpPr>
        <p:spPr>
          <a:xfrm>
            <a:off x="396000" y="295683"/>
            <a:ext cx="8352000" cy="469492"/>
          </a:xfrm>
        </p:spPr>
        <p:txBody>
          <a:bodyPr/>
          <a:lstStyle/>
          <a:p>
            <a:r>
              <a:rPr lang="en-US"/>
              <a:t>Text boxes</a:t>
            </a:r>
            <a:endParaRPr lang="en-US" dirty="0"/>
          </a:p>
        </p:txBody>
      </p:sp>
      <p:sp>
        <p:nvSpPr>
          <p:cNvPr id="11" name="Rectangle 4"/>
          <p:cNvSpPr>
            <a:spLocks noChangeArrowheads="1"/>
          </p:cNvSpPr>
          <p:nvPr/>
        </p:nvSpPr>
        <p:spPr bwMode="auto">
          <a:xfrm>
            <a:off x="396000" y="3311603"/>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3</a:t>
            </a:r>
          </a:p>
        </p:txBody>
      </p:sp>
      <p:sp>
        <p:nvSpPr>
          <p:cNvPr id="12" name="Rectangle 4"/>
          <p:cNvSpPr>
            <a:spLocks noChangeArrowheads="1"/>
          </p:cNvSpPr>
          <p:nvPr/>
        </p:nvSpPr>
        <p:spPr bwMode="auto">
          <a:xfrm>
            <a:off x="396000" y="4281339"/>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4</a:t>
            </a:r>
          </a:p>
        </p:txBody>
      </p:sp>
      <p:sp>
        <p:nvSpPr>
          <p:cNvPr id="13" name="Rectangle 4"/>
          <p:cNvSpPr>
            <a:spLocks noChangeArrowheads="1"/>
          </p:cNvSpPr>
          <p:nvPr/>
        </p:nvSpPr>
        <p:spPr bwMode="auto">
          <a:xfrm>
            <a:off x="396000" y="525107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5</a:t>
            </a:r>
          </a:p>
        </p:txBody>
      </p:sp>
      <p:sp>
        <p:nvSpPr>
          <p:cNvPr id="14" name="Rectangle 4"/>
          <p:cNvSpPr>
            <a:spLocks noChangeArrowheads="1"/>
          </p:cNvSpPr>
          <p:nvPr/>
        </p:nvSpPr>
        <p:spPr bwMode="auto">
          <a:xfrm>
            <a:off x="396000" y="2341868"/>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2</a:t>
            </a:r>
          </a:p>
        </p:txBody>
      </p:sp>
      <p:sp>
        <p:nvSpPr>
          <p:cNvPr id="15" name="Rectangle 4"/>
          <p:cNvSpPr>
            <a:spLocks noChangeArrowheads="1"/>
          </p:cNvSpPr>
          <p:nvPr/>
        </p:nvSpPr>
        <p:spPr bwMode="auto">
          <a:xfrm>
            <a:off x="396000" y="136845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1</a:t>
            </a:r>
          </a:p>
        </p:txBody>
      </p:sp>
      <p:sp>
        <p:nvSpPr>
          <p:cNvPr id="16" name="Rectangle 4"/>
          <p:cNvSpPr>
            <a:spLocks noChangeArrowheads="1"/>
          </p:cNvSpPr>
          <p:nvPr/>
        </p:nvSpPr>
        <p:spPr bwMode="auto">
          <a:xfrm>
            <a:off x="4633200" y="3311603"/>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8</a:t>
            </a:r>
          </a:p>
        </p:txBody>
      </p:sp>
      <p:sp>
        <p:nvSpPr>
          <p:cNvPr id="17" name="Rectangle 4"/>
          <p:cNvSpPr>
            <a:spLocks noChangeArrowheads="1"/>
          </p:cNvSpPr>
          <p:nvPr/>
        </p:nvSpPr>
        <p:spPr bwMode="auto">
          <a:xfrm>
            <a:off x="4633200" y="4281339"/>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9</a:t>
            </a:r>
          </a:p>
        </p:txBody>
      </p:sp>
      <p:sp>
        <p:nvSpPr>
          <p:cNvPr id="18" name="Rectangle 4"/>
          <p:cNvSpPr>
            <a:spLocks noChangeArrowheads="1"/>
          </p:cNvSpPr>
          <p:nvPr/>
        </p:nvSpPr>
        <p:spPr bwMode="auto">
          <a:xfrm>
            <a:off x="4633200" y="525107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10</a:t>
            </a:r>
          </a:p>
        </p:txBody>
      </p:sp>
      <p:sp>
        <p:nvSpPr>
          <p:cNvPr id="19" name="Rectangle 4"/>
          <p:cNvSpPr>
            <a:spLocks noChangeArrowheads="1"/>
          </p:cNvSpPr>
          <p:nvPr/>
        </p:nvSpPr>
        <p:spPr bwMode="auto">
          <a:xfrm>
            <a:off x="4633200" y="2341868"/>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7</a:t>
            </a:r>
          </a:p>
        </p:txBody>
      </p:sp>
      <p:sp>
        <p:nvSpPr>
          <p:cNvPr id="20" name="Rectangle 4"/>
          <p:cNvSpPr>
            <a:spLocks noChangeArrowheads="1"/>
          </p:cNvSpPr>
          <p:nvPr/>
        </p:nvSpPr>
        <p:spPr bwMode="auto">
          <a:xfrm>
            <a:off x="4633200" y="136845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b="1" dirty="0">
                <a:solidFill>
                  <a:schemeClr val="bg1"/>
                </a:solidFill>
              </a:rPr>
              <a:t>6</a:t>
            </a:r>
          </a:p>
        </p:txBody>
      </p:sp>
      <p:sp>
        <p:nvSpPr>
          <p:cNvPr id="21" name="Text Placeholder 5"/>
          <p:cNvSpPr txBox="1">
            <a:spLocks/>
          </p:cNvSpPr>
          <p:nvPr/>
        </p:nvSpPr>
        <p:spPr>
          <a:xfrm>
            <a:off x="396000" y="1784611"/>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2" name="Text Placeholder 5"/>
          <p:cNvSpPr txBox="1">
            <a:spLocks/>
          </p:cNvSpPr>
          <p:nvPr/>
        </p:nvSpPr>
        <p:spPr>
          <a:xfrm>
            <a:off x="4633200" y="1784611"/>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3" name="Text Placeholder 5"/>
          <p:cNvSpPr txBox="1">
            <a:spLocks/>
          </p:cNvSpPr>
          <p:nvPr/>
        </p:nvSpPr>
        <p:spPr>
          <a:xfrm>
            <a:off x="396000" y="5670445"/>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4" name="Text Placeholder 5"/>
          <p:cNvSpPr txBox="1">
            <a:spLocks/>
          </p:cNvSpPr>
          <p:nvPr/>
        </p:nvSpPr>
        <p:spPr>
          <a:xfrm>
            <a:off x="4633200" y="5670445"/>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5" name="Text Placeholder 5"/>
          <p:cNvSpPr txBox="1">
            <a:spLocks/>
          </p:cNvSpPr>
          <p:nvPr/>
        </p:nvSpPr>
        <p:spPr>
          <a:xfrm>
            <a:off x="396000" y="2756069"/>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6" name="Text Placeholder 5"/>
          <p:cNvSpPr txBox="1">
            <a:spLocks/>
          </p:cNvSpPr>
          <p:nvPr/>
        </p:nvSpPr>
        <p:spPr>
          <a:xfrm>
            <a:off x="4633200" y="2756069"/>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7" name="Text Placeholder 5"/>
          <p:cNvSpPr txBox="1">
            <a:spLocks/>
          </p:cNvSpPr>
          <p:nvPr/>
        </p:nvSpPr>
        <p:spPr>
          <a:xfrm>
            <a:off x="396000" y="3727527"/>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8" name="Text Placeholder 5"/>
          <p:cNvSpPr txBox="1">
            <a:spLocks/>
          </p:cNvSpPr>
          <p:nvPr/>
        </p:nvSpPr>
        <p:spPr>
          <a:xfrm>
            <a:off x="4633200" y="3727527"/>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29" name="Text Placeholder 5"/>
          <p:cNvSpPr txBox="1">
            <a:spLocks/>
          </p:cNvSpPr>
          <p:nvPr/>
        </p:nvSpPr>
        <p:spPr>
          <a:xfrm>
            <a:off x="396000" y="4698986"/>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
        <p:nvSpPr>
          <p:cNvPr id="30" name="Text Placeholder 5"/>
          <p:cNvSpPr txBox="1">
            <a:spLocks/>
          </p:cNvSpPr>
          <p:nvPr/>
        </p:nvSpPr>
        <p:spPr>
          <a:xfrm>
            <a:off x="4633200" y="4698986"/>
            <a:ext cx="4114800" cy="3590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000" dirty="0">
                <a:solidFill>
                  <a:schemeClr val="tx1"/>
                </a:solidFill>
              </a:rPr>
              <a:t>This is dummy text it is not here to be read</a:t>
            </a:r>
          </a:p>
          <a:p>
            <a:pPr marL="254000" lvl="2" indent="-114300">
              <a:buSzPct val="100000"/>
              <a:buFont typeface="Arial"/>
              <a:buChar char="−"/>
            </a:pPr>
            <a:r>
              <a:rPr lang="en-US" sz="10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596911593"/>
              </p:ext>
            </p:extLst>
          </p:nvPr>
        </p:nvGraphicFramePr>
        <p:xfrm>
          <a:off x="397764" y="2011063"/>
          <a:ext cx="8348473" cy="3582225"/>
        </p:xfrm>
        <a:graphic>
          <a:graphicData uri="http://schemas.openxmlformats.org/drawingml/2006/table">
            <a:tbl>
              <a:tblPr/>
              <a:tblGrid>
                <a:gridCol w="1592743">
                  <a:extLst>
                    <a:ext uri="{9D8B030D-6E8A-4147-A177-3AD203B41FA5}">
                      <a16:colId xmlns:a16="http://schemas.microsoft.com/office/drawing/2014/main" val="20000"/>
                    </a:ext>
                  </a:extLst>
                </a:gridCol>
                <a:gridCol w="1125955">
                  <a:extLst>
                    <a:ext uri="{9D8B030D-6E8A-4147-A177-3AD203B41FA5}">
                      <a16:colId xmlns:a16="http://schemas.microsoft.com/office/drawing/2014/main" val="20001"/>
                    </a:ext>
                  </a:extLst>
                </a:gridCol>
                <a:gridCol w="1125955">
                  <a:extLst>
                    <a:ext uri="{9D8B030D-6E8A-4147-A177-3AD203B41FA5}">
                      <a16:colId xmlns:a16="http://schemas.microsoft.com/office/drawing/2014/main" val="20002"/>
                    </a:ext>
                  </a:extLst>
                </a:gridCol>
                <a:gridCol w="1125955">
                  <a:extLst>
                    <a:ext uri="{9D8B030D-6E8A-4147-A177-3AD203B41FA5}">
                      <a16:colId xmlns:a16="http://schemas.microsoft.com/office/drawing/2014/main" val="20003"/>
                    </a:ext>
                  </a:extLst>
                </a:gridCol>
                <a:gridCol w="1125955">
                  <a:extLst>
                    <a:ext uri="{9D8B030D-6E8A-4147-A177-3AD203B41FA5}">
                      <a16:colId xmlns:a16="http://schemas.microsoft.com/office/drawing/2014/main" val="20004"/>
                    </a:ext>
                  </a:extLst>
                </a:gridCol>
                <a:gridCol w="1125955">
                  <a:extLst>
                    <a:ext uri="{9D8B030D-6E8A-4147-A177-3AD203B41FA5}">
                      <a16:colId xmlns:a16="http://schemas.microsoft.com/office/drawing/2014/main" val="20005"/>
                    </a:ext>
                  </a:extLst>
                </a:gridCol>
                <a:gridCol w="112595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8034422"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54" name="Oval 53"/>
          <p:cNvSpPr>
            <a:spLocks noChangeArrowheads="1"/>
          </p:cNvSpPr>
          <p:nvPr/>
        </p:nvSpPr>
        <p:spPr bwMode="auto">
          <a:xfrm>
            <a:off x="5785271"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65" name="Oval 64"/>
          <p:cNvSpPr>
            <a:spLocks noChangeArrowheads="1"/>
          </p:cNvSpPr>
          <p:nvPr/>
        </p:nvSpPr>
        <p:spPr bwMode="auto">
          <a:xfrm>
            <a:off x="4660695"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76" name="Oval 75"/>
          <p:cNvSpPr>
            <a:spLocks noChangeArrowheads="1"/>
          </p:cNvSpPr>
          <p:nvPr/>
        </p:nvSpPr>
        <p:spPr bwMode="auto">
          <a:xfrm>
            <a:off x="3536119"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87" name="Oval 86"/>
          <p:cNvSpPr>
            <a:spLocks noChangeArrowheads="1"/>
          </p:cNvSpPr>
          <p:nvPr/>
        </p:nvSpPr>
        <p:spPr bwMode="auto">
          <a:xfrm>
            <a:off x="2411543"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98" name="Oval 19"/>
          <p:cNvSpPr>
            <a:spLocks noChangeArrowheads="1"/>
          </p:cNvSpPr>
          <p:nvPr/>
        </p:nvSpPr>
        <p:spPr bwMode="auto">
          <a:xfrm>
            <a:off x="6909847"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44" name="Oval 20"/>
          <p:cNvSpPr>
            <a:spLocks noChangeArrowheads="1"/>
          </p:cNvSpPr>
          <p:nvPr/>
        </p:nvSpPr>
        <p:spPr bwMode="auto">
          <a:xfrm>
            <a:off x="8034422"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55" name="Oval 54"/>
          <p:cNvSpPr>
            <a:spLocks noChangeArrowheads="1"/>
          </p:cNvSpPr>
          <p:nvPr/>
        </p:nvSpPr>
        <p:spPr bwMode="auto">
          <a:xfrm>
            <a:off x="5785271"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66" name="Oval 65"/>
          <p:cNvSpPr>
            <a:spLocks noChangeArrowheads="1"/>
          </p:cNvSpPr>
          <p:nvPr/>
        </p:nvSpPr>
        <p:spPr bwMode="auto">
          <a:xfrm>
            <a:off x="4660695"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77" name="Oval 76"/>
          <p:cNvSpPr>
            <a:spLocks noChangeArrowheads="1"/>
          </p:cNvSpPr>
          <p:nvPr/>
        </p:nvSpPr>
        <p:spPr bwMode="auto">
          <a:xfrm>
            <a:off x="3536119"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88" name="Oval 87"/>
          <p:cNvSpPr>
            <a:spLocks noChangeArrowheads="1"/>
          </p:cNvSpPr>
          <p:nvPr/>
        </p:nvSpPr>
        <p:spPr bwMode="auto">
          <a:xfrm>
            <a:off x="2411543"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99" name="Oval 20"/>
          <p:cNvSpPr>
            <a:spLocks noChangeArrowheads="1"/>
          </p:cNvSpPr>
          <p:nvPr/>
        </p:nvSpPr>
        <p:spPr bwMode="auto">
          <a:xfrm>
            <a:off x="6909847"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5" name="Oval 19"/>
          <p:cNvSpPr>
            <a:spLocks noChangeArrowheads="1"/>
          </p:cNvSpPr>
          <p:nvPr/>
        </p:nvSpPr>
        <p:spPr bwMode="auto">
          <a:xfrm>
            <a:off x="8034422"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6" name="Oval 115"/>
          <p:cNvSpPr>
            <a:spLocks noChangeArrowheads="1"/>
          </p:cNvSpPr>
          <p:nvPr/>
        </p:nvSpPr>
        <p:spPr bwMode="auto">
          <a:xfrm>
            <a:off x="5785271"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7" name="Oval 116"/>
          <p:cNvSpPr>
            <a:spLocks noChangeArrowheads="1"/>
          </p:cNvSpPr>
          <p:nvPr/>
        </p:nvSpPr>
        <p:spPr bwMode="auto">
          <a:xfrm>
            <a:off x="4660695"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8" name="Oval 117"/>
          <p:cNvSpPr>
            <a:spLocks noChangeArrowheads="1"/>
          </p:cNvSpPr>
          <p:nvPr/>
        </p:nvSpPr>
        <p:spPr bwMode="auto">
          <a:xfrm>
            <a:off x="3536119"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9" name="Oval 118"/>
          <p:cNvSpPr>
            <a:spLocks noChangeArrowheads="1"/>
          </p:cNvSpPr>
          <p:nvPr/>
        </p:nvSpPr>
        <p:spPr bwMode="auto">
          <a:xfrm>
            <a:off x="2411543"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0" name="Oval 19"/>
          <p:cNvSpPr>
            <a:spLocks noChangeArrowheads="1"/>
          </p:cNvSpPr>
          <p:nvPr/>
        </p:nvSpPr>
        <p:spPr bwMode="auto">
          <a:xfrm>
            <a:off x="6909847"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2" name="Oval 19"/>
          <p:cNvSpPr>
            <a:spLocks noChangeArrowheads="1"/>
          </p:cNvSpPr>
          <p:nvPr/>
        </p:nvSpPr>
        <p:spPr bwMode="auto">
          <a:xfrm>
            <a:off x="8034422"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3" name="Oval 122"/>
          <p:cNvSpPr>
            <a:spLocks noChangeArrowheads="1"/>
          </p:cNvSpPr>
          <p:nvPr/>
        </p:nvSpPr>
        <p:spPr bwMode="auto">
          <a:xfrm>
            <a:off x="5785271"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4" name="Oval 123"/>
          <p:cNvSpPr>
            <a:spLocks noChangeArrowheads="1"/>
          </p:cNvSpPr>
          <p:nvPr/>
        </p:nvSpPr>
        <p:spPr bwMode="auto">
          <a:xfrm>
            <a:off x="4660695"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5" name="Oval 124"/>
          <p:cNvSpPr>
            <a:spLocks noChangeArrowheads="1"/>
          </p:cNvSpPr>
          <p:nvPr/>
        </p:nvSpPr>
        <p:spPr bwMode="auto">
          <a:xfrm>
            <a:off x="3536119"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6" name="Oval 125"/>
          <p:cNvSpPr>
            <a:spLocks noChangeArrowheads="1"/>
          </p:cNvSpPr>
          <p:nvPr/>
        </p:nvSpPr>
        <p:spPr bwMode="auto">
          <a:xfrm>
            <a:off x="2411543"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7" name="Oval 19"/>
          <p:cNvSpPr>
            <a:spLocks noChangeArrowheads="1"/>
          </p:cNvSpPr>
          <p:nvPr/>
        </p:nvSpPr>
        <p:spPr bwMode="auto">
          <a:xfrm>
            <a:off x="6909847"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9" name="Oval 19"/>
          <p:cNvSpPr>
            <a:spLocks noChangeArrowheads="1"/>
          </p:cNvSpPr>
          <p:nvPr/>
        </p:nvSpPr>
        <p:spPr bwMode="auto">
          <a:xfrm>
            <a:off x="8034422"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0" name="Oval 129"/>
          <p:cNvSpPr>
            <a:spLocks noChangeArrowheads="1"/>
          </p:cNvSpPr>
          <p:nvPr/>
        </p:nvSpPr>
        <p:spPr bwMode="auto">
          <a:xfrm>
            <a:off x="5785271"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1" name="Oval 130"/>
          <p:cNvSpPr>
            <a:spLocks noChangeArrowheads="1"/>
          </p:cNvSpPr>
          <p:nvPr/>
        </p:nvSpPr>
        <p:spPr bwMode="auto">
          <a:xfrm>
            <a:off x="4660695"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2" name="Oval 131"/>
          <p:cNvSpPr>
            <a:spLocks noChangeArrowheads="1"/>
          </p:cNvSpPr>
          <p:nvPr/>
        </p:nvSpPr>
        <p:spPr bwMode="auto">
          <a:xfrm>
            <a:off x="3536119"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3" name="Oval 132"/>
          <p:cNvSpPr>
            <a:spLocks noChangeArrowheads="1"/>
          </p:cNvSpPr>
          <p:nvPr/>
        </p:nvSpPr>
        <p:spPr bwMode="auto">
          <a:xfrm>
            <a:off x="2411543"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4" name="Oval 19"/>
          <p:cNvSpPr>
            <a:spLocks noChangeArrowheads="1"/>
          </p:cNvSpPr>
          <p:nvPr/>
        </p:nvSpPr>
        <p:spPr bwMode="auto">
          <a:xfrm>
            <a:off x="6909847"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grpSp>
        <p:nvGrpSpPr>
          <p:cNvPr id="2" name="Group 1"/>
          <p:cNvGrpSpPr/>
          <p:nvPr/>
        </p:nvGrpSpPr>
        <p:grpSpPr>
          <a:xfrm>
            <a:off x="3316215" y="6168718"/>
            <a:ext cx="2511571" cy="178112"/>
            <a:chOff x="4660695" y="5744680"/>
            <a:chExt cx="4061265" cy="288010"/>
          </a:xfrm>
        </p:grpSpPr>
        <p:grpSp>
          <p:nvGrpSpPr>
            <p:cNvPr id="10" name="Group 9"/>
            <p:cNvGrpSpPr/>
            <p:nvPr/>
          </p:nvGrpSpPr>
          <p:grpSpPr>
            <a:xfrm>
              <a:off x="6136607" y="5744681"/>
              <a:ext cx="1001259" cy="288000"/>
              <a:chOff x="6131279" y="5634953"/>
              <a:chExt cx="1001259" cy="288000"/>
            </a:xfrm>
          </p:grpSpPr>
          <p:sp>
            <p:nvSpPr>
              <p:cNvPr id="109" name="Text Box 32"/>
              <p:cNvSpPr txBox="1">
                <a:spLocks noChangeArrowheads="1"/>
              </p:cNvSpPr>
              <p:nvPr/>
            </p:nvSpPr>
            <p:spPr bwMode="auto">
              <a:xfrm>
                <a:off x="6466371" y="5654542"/>
                <a:ext cx="666167"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1000" dirty="0"/>
              </a:p>
            </p:txBody>
          </p:sp>
        </p:grpSp>
        <p:grpSp>
          <p:nvGrpSpPr>
            <p:cNvPr id="11" name="Group 10"/>
            <p:cNvGrpSpPr/>
            <p:nvPr/>
          </p:nvGrpSpPr>
          <p:grpSpPr>
            <a:xfrm>
              <a:off x="7568604" y="5744689"/>
              <a:ext cx="1153356" cy="288001"/>
              <a:chOff x="7562943" y="5634961"/>
              <a:chExt cx="1153356" cy="288001"/>
            </a:xfrm>
          </p:grpSpPr>
          <p:sp>
            <p:nvSpPr>
              <p:cNvPr id="110" name="Text Box 34"/>
              <p:cNvSpPr txBox="1">
                <a:spLocks noChangeArrowheads="1"/>
              </p:cNvSpPr>
              <p:nvPr/>
            </p:nvSpPr>
            <p:spPr bwMode="auto">
              <a:xfrm>
                <a:off x="7902384" y="5654541"/>
                <a:ext cx="813915" cy="248840"/>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1000" dirty="0"/>
              </a:p>
            </p:txBody>
          </p:sp>
        </p:grpSp>
        <p:grpSp>
          <p:nvGrpSpPr>
            <p:cNvPr id="9" name="Group 8"/>
            <p:cNvGrpSpPr/>
            <p:nvPr/>
          </p:nvGrpSpPr>
          <p:grpSpPr>
            <a:xfrm>
              <a:off x="4660695" y="5744680"/>
              <a:ext cx="1058283" cy="288000"/>
              <a:chOff x="4655700" y="5634952"/>
              <a:chExt cx="1058283" cy="288000"/>
            </a:xfrm>
          </p:grpSpPr>
          <p:sp>
            <p:nvSpPr>
              <p:cNvPr id="136" name="Text Box 32"/>
              <p:cNvSpPr txBox="1">
                <a:spLocks noChangeArrowheads="1"/>
              </p:cNvSpPr>
              <p:nvPr/>
            </p:nvSpPr>
            <p:spPr bwMode="auto">
              <a:xfrm>
                <a:off x="4990791" y="5654532"/>
                <a:ext cx="723192"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grpSp>
      </p:grpSp>
      <p:sp>
        <p:nvSpPr>
          <p:cNvPr id="47" name="TextBox 46"/>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able title runs here</a:t>
            </a:r>
          </a:p>
        </p:txBody>
      </p:sp>
    </p:spTree>
    <p:extLst>
      <p:ext uri="{BB962C8B-B14F-4D97-AF65-F5344CB8AC3E}">
        <p14:creationId xmlns:p14="http://schemas.microsoft.com/office/powerpoint/2010/main" val="2510758372"/>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342188326"/>
              </p:ext>
            </p:extLst>
          </p:nvPr>
        </p:nvGraphicFramePr>
        <p:xfrm>
          <a:off x="397765" y="2011063"/>
          <a:ext cx="8348470" cy="3552828"/>
        </p:xfrm>
        <a:graphic>
          <a:graphicData uri="http://schemas.openxmlformats.org/drawingml/2006/table">
            <a:tbl>
              <a:tblPr/>
              <a:tblGrid>
                <a:gridCol w="1592742">
                  <a:extLst>
                    <a:ext uri="{9D8B030D-6E8A-4147-A177-3AD203B41FA5}">
                      <a16:colId xmlns:a16="http://schemas.microsoft.com/office/drawing/2014/main" val="20000"/>
                    </a:ext>
                  </a:extLst>
                </a:gridCol>
                <a:gridCol w="844466">
                  <a:extLst>
                    <a:ext uri="{9D8B030D-6E8A-4147-A177-3AD203B41FA5}">
                      <a16:colId xmlns:a16="http://schemas.microsoft.com/office/drawing/2014/main" val="20001"/>
                    </a:ext>
                  </a:extLst>
                </a:gridCol>
                <a:gridCol w="844466">
                  <a:extLst>
                    <a:ext uri="{9D8B030D-6E8A-4147-A177-3AD203B41FA5}">
                      <a16:colId xmlns:a16="http://schemas.microsoft.com/office/drawing/2014/main" val="20002"/>
                    </a:ext>
                  </a:extLst>
                </a:gridCol>
                <a:gridCol w="844466">
                  <a:extLst>
                    <a:ext uri="{9D8B030D-6E8A-4147-A177-3AD203B41FA5}">
                      <a16:colId xmlns:a16="http://schemas.microsoft.com/office/drawing/2014/main" val="20003"/>
                    </a:ext>
                  </a:extLst>
                </a:gridCol>
                <a:gridCol w="844466">
                  <a:extLst>
                    <a:ext uri="{9D8B030D-6E8A-4147-A177-3AD203B41FA5}">
                      <a16:colId xmlns:a16="http://schemas.microsoft.com/office/drawing/2014/main" val="20004"/>
                    </a:ext>
                  </a:extLst>
                </a:gridCol>
                <a:gridCol w="844466">
                  <a:extLst>
                    <a:ext uri="{9D8B030D-6E8A-4147-A177-3AD203B41FA5}">
                      <a16:colId xmlns:a16="http://schemas.microsoft.com/office/drawing/2014/main" val="20005"/>
                    </a:ext>
                  </a:extLst>
                </a:gridCol>
                <a:gridCol w="844466">
                  <a:extLst>
                    <a:ext uri="{9D8B030D-6E8A-4147-A177-3AD203B41FA5}">
                      <a16:colId xmlns:a16="http://schemas.microsoft.com/office/drawing/2014/main" val="20006"/>
                    </a:ext>
                  </a:extLst>
                </a:gridCol>
                <a:gridCol w="844466">
                  <a:extLst>
                    <a:ext uri="{9D8B030D-6E8A-4147-A177-3AD203B41FA5}">
                      <a16:colId xmlns:a16="http://schemas.microsoft.com/office/drawing/2014/main" val="20007"/>
                    </a:ext>
                  </a:extLst>
                </a:gridCol>
                <a:gridCol w="844466">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dirty="0">
                        <a:ln>
                          <a:noFill/>
                        </a:ln>
                        <a:solidFill>
                          <a:schemeClr val="bg1"/>
                        </a:solidFill>
                        <a:effectLst/>
                        <a:latin typeface="+mn-lt"/>
                      </a:endParaRPr>
                    </a:p>
                  </a:txBody>
                  <a:tcPr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3083146" y="6163945"/>
            <a:ext cx="3043433" cy="182880"/>
            <a:chOff x="4660695" y="5767570"/>
            <a:chExt cx="3043433" cy="182880"/>
          </a:xfrm>
        </p:grpSpPr>
        <p:sp>
          <p:nvSpPr>
            <p:cNvPr id="30" name="Text Box 32"/>
            <p:cNvSpPr txBox="1">
              <a:spLocks noChangeArrowheads="1"/>
            </p:cNvSpPr>
            <p:nvPr/>
          </p:nvSpPr>
          <p:spPr bwMode="auto">
            <a:xfrm>
              <a:off x="6020773" y="5782066"/>
              <a:ext cx="472886"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dirty="0"/>
            </a:p>
          </p:txBody>
        </p:sp>
        <p:sp>
          <p:nvSpPr>
            <p:cNvPr id="33" name="Text Box 34"/>
            <p:cNvSpPr txBox="1">
              <a:spLocks noChangeArrowheads="1"/>
            </p:cNvSpPr>
            <p:nvPr/>
          </p:nvSpPr>
          <p:spPr bwMode="auto">
            <a:xfrm>
              <a:off x="7135061" y="5782066"/>
              <a:ext cx="569067"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dirty="0"/>
            </a:p>
          </p:txBody>
        </p:sp>
        <p:sp>
          <p:nvSpPr>
            <p:cNvPr id="37" name="Text Box 32"/>
            <p:cNvSpPr txBox="1">
              <a:spLocks noChangeArrowheads="1"/>
            </p:cNvSpPr>
            <p:nvPr/>
          </p:nvSpPr>
          <p:spPr bwMode="auto">
            <a:xfrm>
              <a:off x="4896197" y="5782066"/>
              <a:ext cx="496931"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dirty="0"/>
            </a:p>
          </p:txBody>
        </p:sp>
      </p:grpSp>
      <p:sp>
        <p:nvSpPr>
          <p:cNvPr id="15" name="TextBox 14"/>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1001519628"/>
              </p:ext>
            </p:extLst>
          </p:nvPr>
        </p:nvGraphicFramePr>
        <p:xfrm>
          <a:off x="397764" y="2011063"/>
          <a:ext cx="8348473" cy="3582225"/>
        </p:xfrm>
        <a:graphic>
          <a:graphicData uri="http://schemas.openxmlformats.org/drawingml/2006/table">
            <a:tbl>
              <a:tblPr/>
              <a:tblGrid>
                <a:gridCol w="1592743">
                  <a:extLst>
                    <a:ext uri="{9D8B030D-6E8A-4147-A177-3AD203B41FA5}">
                      <a16:colId xmlns:a16="http://schemas.microsoft.com/office/drawing/2014/main" val="20000"/>
                    </a:ext>
                  </a:extLst>
                </a:gridCol>
                <a:gridCol w="1125955">
                  <a:extLst>
                    <a:ext uri="{9D8B030D-6E8A-4147-A177-3AD203B41FA5}">
                      <a16:colId xmlns:a16="http://schemas.microsoft.com/office/drawing/2014/main" val="20001"/>
                    </a:ext>
                  </a:extLst>
                </a:gridCol>
                <a:gridCol w="1125955">
                  <a:extLst>
                    <a:ext uri="{9D8B030D-6E8A-4147-A177-3AD203B41FA5}">
                      <a16:colId xmlns:a16="http://schemas.microsoft.com/office/drawing/2014/main" val="20002"/>
                    </a:ext>
                  </a:extLst>
                </a:gridCol>
                <a:gridCol w="1125955">
                  <a:extLst>
                    <a:ext uri="{9D8B030D-6E8A-4147-A177-3AD203B41FA5}">
                      <a16:colId xmlns:a16="http://schemas.microsoft.com/office/drawing/2014/main" val="20003"/>
                    </a:ext>
                  </a:extLst>
                </a:gridCol>
                <a:gridCol w="1125955">
                  <a:extLst>
                    <a:ext uri="{9D8B030D-6E8A-4147-A177-3AD203B41FA5}">
                      <a16:colId xmlns:a16="http://schemas.microsoft.com/office/drawing/2014/main" val="20004"/>
                    </a:ext>
                  </a:extLst>
                </a:gridCol>
                <a:gridCol w="1125955">
                  <a:extLst>
                    <a:ext uri="{9D8B030D-6E8A-4147-A177-3AD203B41FA5}">
                      <a16:colId xmlns:a16="http://schemas.microsoft.com/office/drawing/2014/main" val="20005"/>
                    </a:ext>
                  </a:extLst>
                </a:gridCol>
                <a:gridCol w="112595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2395523"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49" name="AutoShape 90"/>
          <p:cNvSpPr>
            <a:spLocks noChangeArrowheads="1"/>
          </p:cNvSpPr>
          <p:nvPr/>
        </p:nvSpPr>
        <p:spPr bwMode="grayWhite">
          <a:xfrm>
            <a:off x="3520099"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0" name="AutoShape 95"/>
          <p:cNvSpPr>
            <a:spLocks noChangeArrowheads="1"/>
          </p:cNvSpPr>
          <p:nvPr/>
        </p:nvSpPr>
        <p:spPr bwMode="grayWhite">
          <a:xfrm>
            <a:off x="4644675"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1" name="AutoShape 100"/>
          <p:cNvSpPr>
            <a:spLocks noChangeArrowheads="1"/>
          </p:cNvSpPr>
          <p:nvPr/>
        </p:nvSpPr>
        <p:spPr bwMode="grayWhite">
          <a:xfrm>
            <a:off x="5769251"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2" name="AutoShape 105"/>
          <p:cNvSpPr>
            <a:spLocks noChangeArrowheads="1"/>
          </p:cNvSpPr>
          <p:nvPr/>
        </p:nvSpPr>
        <p:spPr bwMode="grayWhite">
          <a:xfrm>
            <a:off x="6893827"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3" name="AutoShape 110"/>
          <p:cNvSpPr>
            <a:spLocks noChangeArrowheads="1"/>
          </p:cNvSpPr>
          <p:nvPr/>
        </p:nvSpPr>
        <p:spPr bwMode="grayWhite">
          <a:xfrm>
            <a:off x="801840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5" name="AutoShape 85"/>
          <p:cNvSpPr>
            <a:spLocks noChangeArrowheads="1"/>
          </p:cNvSpPr>
          <p:nvPr/>
        </p:nvSpPr>
        <p:spPr bwMode="grayWhite">
          <a:xfrm>
            <a:off x="2395523"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6" name="AutoShape 90"/>
          <p:cNvSpPr>
            <a:spLocks noChangeArrowheads="1"/>
          </p:cNvSpPr>
          <p:nvPr/>
        </p:nvSpPr>
        <p:spPr bwMode="grayWhite">
          <a:xfrm>
            <a:off x="3520099"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7" name="AutoShape 95"/>
          <p:cNvSpPr>
            <a:spLocks noChangeArrowheads="1"/>
          </p:cNvSpPr>
          <p:nvPr/>
        </p:nvSpPr>
        <p:spPr bwMode="grayWhite">
          <a:xfrm>
            <a:off x="4644675"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8" name="AutoShape 100"/>
          <p:cNvSpPr>
            <a:spLocks noChangeArrowheads="1"/>
          </p:cNvSpPr>
          <p:nvPr/>
        </p:nvSpPr>
        <p:spPr bwMode="grayWhite">
          <a:xfrm>
            <a:off x="5769251"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9" name="AutoShape 105"/>
          <p:cNvSpPr>
            <a:spLocks noChangeArrowheads="1"/>
          </p:cNvSpPr>
          <p:nvPr/>
        </p:nvSpPr>
        <p:spPr bwMode="grayWhite">
          <a:xfrm>
            <a:off x="6893827"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60" name="AutoShape 110"/>
          <p:cNvSpPr>
            <a:spLocks noChangeArrowheads="1"/>
          </p:cNvSpPr>
          <p:nvPr/>
        </p:nvSpPr>
        <p:spPr bwMode="grayWhite">
          <a:xfrm>
            <a:off x="801840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4" name="AutoShape 85"/>
          <p:cNvSpPr>
            <a:spLocks noChangeArrowheads="1"/>
          </p:cNvSpPr>
          <p:nvPr/>
        </p:nvSpPr>
        <p:spPr bwMode="grayWhite">
          <a:xfrm rot="5400000">
            <a:off x="2395523"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1" name="AutoShape 85"/>
          <p:cNvSpPr>
            <a:spLocks noChangeArrowheads="1"/>
          </p:cNvSpPr>
          <p:nvPr/>
        </p:nvSpPr>
        <p:spPr bwMode="grayWhite">
          <a:xfrm rot="5400000">
            <a:off x="801840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2" name="AutoShape 85"/>
          <p:cNvSpPr>
            <a:spLocks noChangeArrowheads="1"/>
          </p:cNvSpPr>
          <p:nvPr/>
        </p:nvSpPr>
        <p:spPr bwMode="grayWhite">
          <a:xfrm rot="5400000">
            <a:off x="3520099"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3" name="AutoShape 85"/>
          <p:cNvSpPr>
            <a:spLocks noChangeArrowheads="1"/>
          </p:cNvSpPr>
          <p:nvPr/>
        </p:nvSpPr>
        <p:spPr bwMode="grayWhite">
          <a:xfrm rot="5400000">
            <a:off x="4644675"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4" name="AutoShape 85"/>
          <p:cNvSpPr>
            <a:spLocks noChangeArrowheads="1"/>
          </p:cNvSpPr>
          <p:nvPr/>
        </p:nvSpPr>
        <p:spPr bwMode="grayWhite">
          <a:xfrm rot="5400000">
            <a:off x="5769251"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5" name="AutoShape 85"/>
          <p:cNvSpPr>
            <a:spLocks noChangeArrowheads="1"/>
          </p:cNvSpPr>
          <p:nvPr/>
        </p:nvSpPr>
        <p:spPr bwMode="grayWhite">
          <a:xfrm rot="5400000">
            <a:off x="6893827"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7" name="AutoShape 85"/>
          <p:cNvSpPr>
            <a:spLocks noChangeArrowheads="1"/>
          </p:cNvSpPr>
          <p:nvPr/>
        </p:nvSpPr>
        <p:spPr bwMode="grayWhite">
          <a:xfrm rot="5400000">
            <a:off x="2395523"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8" name="AutoShape 85"/>
          <p:cNvSpPr>
            <a:spLocks noChangeArrowheads="1"/>
          </p:cNvSpPr>
          <p:nvPr/>
        </p:nvSpPr>
        <p:spPr bwMode="grayWhite">
          <a:xfrm rot="5400000">
            <a:off x="801840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9" name="AutoShape 85"/>
          <p:cNvSpPr>
            <a:spLocks noChangeArrowheads="1"/>
          </p:cNvSpPr>
          <p:nvPr/>
        </p:nvSpPr>
        <p:spPr bwMode="grayWhite">
          <a:xfrm rot="5400000">
            <a:off x="3520099"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0" name="AutoShape 85"/>
          <p:cNvSpPr>
            <a:spLocks noChangeArrowheads="1"/>
          </p:cNvSpPr>
          <p:nvPr/>
        </p:nvSpPr>
        <p:spPr bwMode="grayWhite">
          <a:xfrm rot="5400000">
            <a:off x="4644675"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1" name="AutoShape 85"/>
          <p:cNvSpPr>
            <a:spLocks noChangeArrowheads="1"/>
          </p:cNvSpPr>
          <p:nvPr/>
        </p:nvSpPr>
        <p:spPr bwMode="grayWhite">
          <a:xfrm rot="5400000">
            <a:off x="5769251"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2" name="AutoShape 85"/>
          <p:cNvSpPr>
            <a:spLocks noChangeArrowheads="1"/>
          </p:cNvSpPr>
          <p:nvPr/>
        </p:nvSpPr>
        <p:spPr bwMode="grayWhite">
          <a:xfrm rot="5400000">
            <a:off x="6893827"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3" name="AutoShape 85"/>
          <p:cNvSpPr>
            <a:spLocks noChangeArrowheads="1"/>
          </p:cNvSpPr>
          <p:nvPr/>
        </p:nvSpPr>
        <p:spPr bwMode="grayWhite">
          <a:xfrm rot="10800000">
            <a:off x="2395524"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4" name="AutoShape 85"/>
          <p:cNvSpPr>
            <a:spLocks noChangeArrowheads="1"/>
          </p:cNvSpPr>
          <p:nvPr/>
        </p:nvSpPr>
        <p:spPr bwMode="grayWhite">
          <a:xfrm rot="10800000">
            <a:off x="3520100"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5" name="AutoShape 85"/>
          <p:cNvSpPr>
            <a:spLocks noChangeArrowheads="1"/>
          </p:cNvSpPr>
          <p:nvPr/>
        </p:nvSpPr>
        <p:spPr bwMode="grayWhite">
          <a:xfrm rot="10800000">
            <a:off x="4644676"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6" name="AutoShape 85"/>
          <p:cNvSpPr>
            <a:spLocks noChangeArrowheads="1"/>
          </p:cNvSpPr>
          <p:nvPr/>
        </p:nvSpPr>
        <p:spPr bwMode="grayWhite">
          <a:xfrm rot="10800000">
            <a:off x="5769252"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7" name="AutoShape 85"/>
          <p:cNvSpPr>
            <a:spLocks noChangeArrowheads="1"/>
          </p:cNvSpPr>
          <p:nvPr/>
        </p:nvSpPr>
        <p:spPr bwMode="grayWhite">
          <a:xfrm rot="10800000">
            <a:off x="6893828"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8" name="AutoShape 85"/>
          <p:cNvSpPr>
            <a:spLocks noChangeArrowheads="1"/>
          </p:cNvSpPr>
          <p:nvPr/>
        </p:nvSpPr>
        <p:spPr bwMode="grayWhite">
          <a:xfrm rot="10800000">
            <a:off x="801840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grpSp>
        <p:nvGrpSpPr>
          <p:cNvPr id="43" name="Group 42"/>
          <p:cNvGrpSpPr/>
          <p:nvPr/>
        </p:nvGrpSpPr>
        <p:grpSpPr>
          <a:xfrm>
            <a:off x="3339005" y="6129407"/>
            <a:ext cx="2639170" cy="226386"/>
            <a:chOff x="5649426" y="6058564"/>
            <a:chExt cx="3781663"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7" name="Text Box 26"/>
            <p:cNvSpPr txBox="1">
              <a:spLocks noChangeArrowheads="1"/>
            </p:cNvSpPr>
            <p:nvPr/>
          </p:nvSpPr>
          <p:spPr bwMode="auto">
            <a:xfrm>
              <a:off x="6038394" y="6128416"/>
              <a:ext cx="7120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48" name="Text Box 26"/>
            <p:cNvSpPr txBox="1">
              <a:spLocks noChangeArrowheads="1"/>
            </p:cNvSpPr>
            <p:nvPr/>
          </p:nvSpPr>
          <p:spPr bwMode="auto">
            <a:xfrm>
              <a:off x="7329203" y="6128421"/>
              <a:ext cx="677598"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49" name="Text Box 26"/>
            <p:cNvSpPr txBox="1">
              <a:spLocks noChangeArrowheads="1"/>
            </p:cNvSpPr>
            <p:nvPr/>
          </p:nvSpPr>
          <p:spPr bwMode="auto">
            <a:xfrm>
              <a:off x="8615674" y="6128421"/>
              <a:ext cx="815415"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52" name="TextBox 51"/>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able title runs here</a:t>
            </a:r>
          </a:p>
        </p:txBody>
      </p:sp>
    </p:spTree>
    <p:extLst>
      <p:ext uri="{BB962C8B-B14F-4D97-AF65-F5344CB8AC3E}">
        <p14:creationId xmlns:p14="http://schemas.microsoft.com/office/powerpoint/2010/main" val="1418847183"/>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954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dirty="0"/>
          </a:p>
        </p:txBody>
      </p:sp>
      <p:sp>
        <p:nvSpPr>
          <p:cNvPr id="24" name="Freeform 4"/>
          <p:cNvSpPr>
            <a:spLocks/>
          </p:cNvSpPr>
          <p:nvPr/>
        </p:nvSpPr>
        <p:spPr bwMode="blackWhite">
          <a:xfrm>
            <a:off x="2757488"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dirty="0"/>
          </a:p>
        </p:txBody>
      </p:sp>
      <p:sp>
        <p:nvSpPr>
          <p:cNvPr id="23" name="Freeform 3"/>
          <p:cNvSpPr>
            <a:spLocks/>
          </p:cNvSpPr>
          <p:nvPr/>
        </p:nvSpPr>
        <p:spPr bwMode="blackWhite">
          <a:xfrm>
            <a:off x="4556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sp>
        <p:nvSpPr>
          <p:cNvPr id="22" name="Freeform 2"/>
          <p:cNvSpPr>
            <a:spLocks/>
          </p:cNvSpPr>
          <p:nvPr/>
        </p:nvSpPr>
        <p:spPr bwMode="blackWhite">
          <a:xfrm>
            <a:off x="6334125" y="1952181"/>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6" name="Rectangle 6"/>
          <p:cNvSpPr>
            <a:spLocks noChangeArrowheads="1"/>
          </p:cNvSpPr>
          <p:nvPr/>
        </p:nvSpPr>
        <p:spPr bwMode="blackWhite">
          <a:xfrm>
            <a:off x="1270000" y="4508056"/>
            <a:ext cx="1149350"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200" dirty="0">
                <a:solidFill>
                  <a:srgbClr val="53565A"/>
                </a:solidFill>
                <a:ea typeface="MS PGothic" pitchFamily="34" charset="-128"/>
              </a:rPr>
              <a:t>Stage 1 </a:t>
            </a:r>
          </a:p>
        </p:txBody>
      </p:sp>
      <p:sp>
        <p:nvSpPr>
          <p:cNvPr id="27" name="Rectangle 7"/>
          <p:cNvSpPr>
            <a:spLocks noChangeArrowheads="1"/>
          </p:cNvSpPr>
          <p:nvPr/>
        </p:nvSpPr>
        <p:spPr bwMode="blackWhite">
          <a:xfrm>
            <a:off x="3082925" y="3976243"/>
            <a:ext cx="1149350"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200" dirty="0">
                <a:solidFill>
                  <a:srgbClr val="53565A"/>
                </a:solidFill>
                <a:ea typeface="MS PGothic" pitchFamily="34" charset="-128"/>
              </a:rPr>
              <a:t>Stage 2 </a:t>
            </a:r>
          </a:p>
        </p:txBody>
      </p:sp>
      <p:sp>
        <p:nvSpPr>
          <p:cNvPr id="28" name="Rectangle 8"/>
          <p:cNvSpPr>
            <a:spLocks noChangeArrowheads="1"/>
          </p:cNvSpPr>
          <p:nvPr/>
        </p:nvSpPr>
        <p:spPr bwMode="blackWhite">
          <a:xfrm>
            <a:off x="4872038" y="3114231"/>
            <a:ext cx="1150937"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200" dirty="0">
                <a:solidFill>
                  <a:srgbClr val="53565A"/>
                </a:solidFill>
                <a:ea typeface="MS PGothic" pitchFamily="34" charset="-128"/>
              </a:rPr>
              <a:t>Stage 3 </a:t>
            </a:r>
          </a:p>
        </p:txBody>
      </p:sp>
      <p:sp>
        <p:nvSpPr>
          <p:cNvPr id="29" name="Rectangle 9"/>
          <p:cNvSpPr>
            <a:spLocks noChangeArrowheads="1"/>
          </p:cNvSpPr>
          <p:nvPr/>
        </p:nvSpPr>
        <p:spPr bwMode="blackWhite">
          <a:xfrm>
            <a:off x="6650038" y="2023618"/>
            <a:ext cx="1150937"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200" dirty="0">
                <a:solidFill>
                  <a:srgbClr val="53565A"/>
                </a:solidFill>
                <a:ea typeface="MS PGothic" pitchFamily="34" charset="-128"/>
              </a:rPr>
              <a:t>Stage 4 </a:t>
            </a:r>
          </a:p>
        </p:txBody>
      </p:sp>
      <p:sp>
        <p:nvSpPr>
          <p:cNvPr id="14" name="TextBox 13"/>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493776" y="4280496"/>
            <a:ext cx="265176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sp>
        <p:nvSpPr>
          <p:cNvPr id="276488" name="Rectangle 3"/>
          <p:cNvSpPr>
            <a:spLocks noChangeArrowheads="1"/>
          </p:cNvSpPr>
          <p:nvPr/>
        </p:nvSpPr>
        <p:spPr bwMode="auto">
          <a:xfrm>
            <a:off x="493776" y="3975100"/>
            <a:ext cx="26517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1</a:t>
            </a:r>
          </a:p>
        </p:txBody>
      </p:sp>
      <p:sp>
        <p:nvSpPr>
          <p:cNvPr id="276489" name="Rectangle 4"/>
          <p:cNvSpPr>
            <a:spLocks noChangeArrowheads="1"/>
          </p:cNvSpPr>
          <p:nvPr/>
        </p:nvSpPr>
        <p:spPr bwMode="auto">
          <a:xfrm>
            <a:off x="3289300" y="3167063"/>
            <a:ext cx="26517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2</a:t>
            </a:r>
          </a:p>
        </p:txBody>
      </p:sp>
      <p:sp>
        <p:nvSpPr>
          <p:cNvPr id="6" name="Freeform 5"/>
          <p:cNvSpPr>
            <a:spLocks/>
          </p:cNvSpPr>
          <p:nvPr/>
        </p:nvSpPr>
        <p:spPr bwMode="auto">
          <a:xfrm>
            <a:off x="376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76491" name="Text Box 6"/>
          <p:cNvSpPr txBox="1">
            <a:spLocks noChangeArrowheads="1"/>
          </p:cNvSpPr>
          <p:nvPr/>
        </p:nvSpPr>
        <p:spPr bwMode="auto">
          <a:xfrm>
            <a:off x="6092190" y="2336800"/>
            <a:ext cx="26517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3</a:t>
            </a:r>
          </a:p>
        </p:txBody>
      </p:sp>
      <p:sp>
        <p:nvSpPr>
          <p:cNvPr id="21" name="TextBox 20"/>
          <p:cNvSpPr txBox="1"/>
          <p:nvPr/>
        </p:nvSpPr>
        <p:spPr>
          <a:xfrm>
            <a:off x="3289300" y="3465830"/>
            <a:ext cx="265176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22" name="TextBox 21"/>
          <p:cNvSpPr txBox="1"/>
          <p:nvPr/>
        </p:nvSpPr>
        <p:spPr>
          <a:xfrm>
            <a:off x="6092190" y="2631603"/>
            <a:ext cx="265176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13" name="TextBox 12"/>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757430219"/>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277507" name="Title 1"/>
          <p:cNvSpPr>
            <a:spLocks noGrp="1"/>
          </p:cNvSpPr>
          <p:nvPr>
            <p:ph type="title"/>
          </p:nvPr>
        </p:nvSpPr>
        <p:spPr/>
        <p:txBody>
          <a:bodyPr/>
          <a:lstStyle/>
          <a:p>
            <a:r>
              <a:rPr lang="en-US" dirty="0"/>
              <a:t>Steps </a:t>
            </a:r>
          </a:p>
        </p:txBody>
      </p:sp>
      <p:sp>
        <p:nvSpPr>
          <p:cNvPr id="277513" name="Rectangle 3"/>
          <p:cNvSpPr>
            <a:spLocks noChangeArrowheads="1"/>
          </p:cNvSpPr>
          <p:nvPr/>
        </p:nvSpPr>
        <p:spPr bwMode="auto">
          <a:xfrm>
            <a:off x="493776" y="4103687"/>
            <a:ext cx="20116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1</a:t>
            </a:r>
          </a:p>
        </p:txBody>
      </p:sp>
      <p:sp>
        <p:nvSpPr>
          <p:cNvPr id="277514" name="Rectangle 4"/>
          <p:cNvSpPr>
            <a:spLocks noChangeArrowheads="1"/>
          </p:cNvSpPr>
          <p:nvPr/>
        </p:nvSpPr>
        <p:spPr bwMode="auto">
          <a:xfrm>
            <a:off x="2598420" y="3509962"/>
            <a:ext cx="20116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2</a:t>
            </a:r>
          </a:p>
        </p:txBody>
      </p:sp>
      <p:sp>
        <p:nvSpPr>
          <p:cNvPr id="277515" name="Rectangle 5"/>
          <p:cNvSpPr>
            <a:spLocks noChangeArrowheads="1"/>
          </p:cNvSpPr>
          <p:nvPr/>
        </p:nvSpPr>
        <p:spPr bwMode="auto">
          <a:xfrm>
            <a:off x="4704080" y="2919411"/>
            <a:ext cx="20116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3</a:t>
            </a:r>
          </a:p>
        </p:txBody>
      </p:sp>
      <p:sp>
        <p:nvSpPr>
          <p:cNvPr id="277516" name="Rectangle 6"/>
          <p:cNvSpPr>
            <a:spLocks noChangeArrowheads="1"/>
          </p:cNvSpPr>
          <p:nvPr/>
        </p:nvSpPr>
        <p:spPr bwMode="auto">
          <a:xfrm>
            <a:off x="6798628" y="2325687"/>
            <a:ext cx="20116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4</a:t>
            </a:r>
          </a:p>
        </p:txBody>
      </p:sp>
      <p:sp>
        <p:nvSpPr>
          <p:cNvPr id="45" name="Freeform 7"/>
          <p:cNvSpPr>
            <a:spLocks/>
          </p:cNvSpPr>
          <p:nvPr/>
        </p:nvSpPr>
        <p:spPr bwMode="auto">
          <a:xfrm>
            <a:off x="376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5" name="TextBox 24"/>
          <p:cNvSpPr txBox="1"/>
          <p:nvPr/>
        </p:nvSpPr>
        <p:spPr>
          <a:xfrm>
            <a:off x="493776" y="4399368"/>
            <a:ext cx="201168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26" name="TextBox 25"/>
          <p:cNvSpPr txBox="1"/>
          <p:nvPr/>
        </p:nvSpPr>
        <p:spPr>
          <a:xfrm>
            <a:off x="2598420" y="3796689"/>
            <a:ext cx="201168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27" name="TextBox 26"/>
          <p:cNvSpPr txBox="1"/>
          <p:nvPr/>
        </p:nvSpPr>
        <p:spPr>
          <a:xfrm>
            <a:off x="4704080" y="3210711"/>
            <a:ext cx="201168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28" name="TextBox 27"/>
          <p:cNvSpPr txBox="1"/>
          <p:nvPr/>
        </p:nvSpPr>
        <p:spPr>
          <a:xfrm>
            <a:off x="6798628" y="2627781"/>
            <a:ext cx="201168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15" name="TextBox 14"/>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22027372"/>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801793" name="Title 1"/>
          <p:cNvSpPr>
            <a:spLocks noGrp="1"/>
          </p:cNvSpPr>
          <p:nvPr>
            <p:ph type="title"/>
          </p:nvPr>
        </p:nvSpPr>
        <p:spPr/>
        <p:txBody>
          <a:bodyPr/>
          <a:lstStyle/>
          <a:p>
            <a:r>
              <a:rPr lang="en-US" dirty="0"/>
              <a:t>Steps </a:t>
            </a:r>
          </a:p>
        </p:txBody>
      </p:sp>
      <p:sp>
        <p:nvSpPr>
          <p:cNvPr id="801800" name="Rectangle 3"/>
          <p:cNvSpPr>
            <a:spLocks noChangeArrowheads="1"/>
          </p:cNvSpPr>
          <p:nvPr/>
        </p:nvSpPr>
        <p:spPr bwMode="auto">
          <a:xfrm>
            <a:off x="490538" y="4323079"/>
            <a:ext cx="15544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1</a:t>
            </a:r>
          </a:p>
        </p:txBody>
      </p:sp>
      <p:sp>
        <p:nvSpPr>
          <p:cNvPr id="801801" name="Rectangle 4"/>
          <p:cNvSpPr>
            <a:spLocks noChangeArrowheads="1"/>
          </p:cNvSpPr>
          <p:nvPr/>
        </p:nvSpPr>
        <p:spPr bwMode="auto">
          <a:xfrm>
            <a:off x="2169986" y="3828097"/>
            <a:ext cx="15544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2</a:t>
            </a:r>
          </a:p>
        </p:txBody>
      </p:sp>
      <p:sp>
        <p:nvSpPr>
          <p:cNvPr id="27" name="Freeform 5"/>
          <p:cNvSpPr>
            <a:spLocks/>
          </p:cNvSpPr>
          <p:nvPr/>
        </p:nvSpPr>
        <p:spPr bwMode="auto">
          <a:xfrm>
            <a:off x="376238"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1803" name="Rectangle 6"/>
          <p:cNvSpPr>
            <a:spLocks noChangeArrowheads="1"/>
          </p:cNvSpPr>
          <p:nvPr/>
        </p:nvSpPr>
        <p:spPr bwMode="auto">
          <a:xfrm>
            <a:off x="3874294" y="3323908"/>
            <a:ext cx="15544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3</a:t>
            </a:r>
          </a:p>
        </p:txBody>
      </p:sp>
      <p:sp>
        <p:nvSpPr>
          <p:cNvPr id="801804" name="Rectangle 7"/>
          <p:cNvSpPr>
            <a:spLocks noChangeArrowheads="1"/>
          </p:cNvSpPr>
          <p:nvPr/>
        </p:nvSpPr>
        <p:spPr bwMode="auto">
          <a:xfrm>
            <a:off x="5550218" y="2817813"/>
            <a:ext cx="15544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4</a:t>
            </a:r>
          </a:p>
        </p:txBody>
      </p:sp>
      <p:sp>
        <p:nvSpPr>
          <p:cNvPr id="801805" name="Rectangle 8"/>
          <p:cNvSpPr>
            <a:spLocks noChangeArrowheads="1"/>
          </p:cNvSpPr>
          <p:nvPr/>
        </p:nvSpPr>
        <p:spPr bwMode="auto">
          <a:xfrm>
            <a:off x="7216014" y="2302828"/>
            <a:ext cx="155448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5</a:t>
            </a:r>
          </a:p>
        </p:txBody>
      </p:sp>
      <p:sp>
        <p:nvSpPr>
          <p:cNvPr id="30" name="TextBox 29"/>
          <p:cNvSpPr txBox="1"/>
          <p:nvPr/>
        </p:nvSpPr>
        <p:spPr>
          <a:xfrm>
            <a:off x="490538" y="4584851"/>
            <a:ext cx="1554480" cy="1169551"/>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31" name="TextBox 30"/>
          <p:cNvSpPr txBox="1"/>
          <p:nvPr/>
        </p:nvSpPr>
        <p:spPr>
          <a:xfrm>
            <a:off x="2169986" y="4085741"/>
            <a:ext cx="1554480" cy="1169551"/>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32" name="TextBox 31"/>
          <p:cNvSpPr txBox="1"/>
          <p:nvPr/>
        </p:nvSpPr>
        <p:spPr>
          <a:xfrm>
            <a:off x="3874294" y="3598061"/>
            <a:ext cx="1554480" cy="1169551"/>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33" name="TextBox 32"/>
          <p:cNvSpPr txBox="1"/>
          <p:nvPr/>
        </p:nvSpPr>
        <p:spPr>
          <a:xfrm>
            <a:off x="5550218" y="3085997"/>
            <a:ext cx="1554480" cy="1169551"/>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34" name="TextBox 33"/>
          <p:cNvSpPr txBox="1"/>
          <p:nvPr/>
        </p:nvSpPr>
        <p:spPr>
          <a:xfrm>
            <a:off x="7216014" y="2571647"/>
            <a:ext cx="1554480" cy="1169551"/>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17" name="TextBox 16"/>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490538" y="4823141"/>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1</a:t>
            </a:r>
          </a:p>
        </p:txBody>
      </p:sp>
      <p:sp>
        <p:nvSpPr>
          <p:cNvPr id="20" name="Freeform 4"/>
          <p:cNvSpPr>
            <a:spLocks/>
          </p:cNvSpPr>
          <p:nvPr/>
        </p:nvSpPr>
        <p:spPr bwMode="auto">
          <a:xfrm>
            <a:off x="379476" y="2241550"/>
            <a:ext cx="838504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1888808" y="4318000"/>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2</a:t>
            </a:r>
          </a:p>
        </p:txBody>
      </p:sp>
      <p:sp>
        <p:nvSpPr>
          <p:cNvPr id="802828" name="Rectangle 6"/>
          <p:cNvSpPr>
            <a:spLocks noChangeArrowheads="1"/>
          </p:cNvSpPr>
          <p:nvPr/>
        </p:nvSpPr>
        <p:spPr bwMode="auto">
          <a:xfrm>
            <a:off x="3271838" y="3802697"/>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3</a:t>
            </a:r>
          </a:p>
        </p:txBody>
      </p:sp>
      <p:sp>
        <p:nvSpPr>
          <p:cNvPr id="802829" name="Rectangle 7"/>
          <p:cNvSpPr>
            <a:spLocks noChangeArrowheads="1"/>
          </p:cNvSpPr>
          <p:nvPr/>
        </p:nvSpPr>
        <p:spPr bwMode="auto">
          <a:xfrm>
            <a:off x="4690872" y="3308985"/>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4</a:t>
            </a:r>
          </a:p>
        </p:txBody>
      </p:sp>
      <p:sp>
        <p:nvSpPr>
          <p:cNvPr id="802830" name="Rectangle 8"/>
          <p:cNvSpPr>
            <a:spLocks noChangeArrowheads="1"/>
          </p:cNvSpPr>
          <p:nvPr/>
        </p:nvSpPr>
        <p:spPr bwMode="auto">
          <a:xfrm>
            <a:off x="6083618" y="2816541"/>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5</a:t>
            </a:r>
          </a:p>
        </p:txBody>
      </p:sp>
      <p:sp>
        <p:nvSpPr>
          <p:cNvPr id="802831" name="Rectangle 9"/>
          <p:cNvSpPr>
            <a:spLocks noChangeArrowheads="1"/>
          </p:cNvSpPr>
          <p:nvPr/>
        </p:nvSpPr>
        <p:spPr bwMode="auto">
          <a:xfrm>
            <a:off x="7482650" y="2301875"/>
            <a:ext cx="1280160" cy="175433"/>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200" b="1" dirty="0">
                <a:ea typeface="ＭＳ Ｐゴシック" charset="-128"/>
              </a:rPr>
              <a:t>Step 6</a:t>
            </a:r>
          </a:p>
        </p:txBody>
      </p:sp>
      <p:sp>
        <p:nvSpPr>
          <p:cNvPr id="37" name="TextBox 36"/>
          <p:cNvSpPr txBox="1"/>
          <p:nvPr/>
        </p:nvSpPr>
        <p:spPr>
          <a:xfrm>
            <a:off x="490538" y="5089041"/>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38" name="TextBox 37"/>
          <p:cNvSpPr txBox="1"/>
          <p:nvPr/>
        </p:nvSpPr>
        <p:spPr>
          <a:xfrm>
            <a:off x="1888808" y="4583073"/>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39" name="TextBox 38"/>
          <p:cNvSpPr txBox="1"/>
          <p:nvPr/>
        </p:nvSpPr>
        <p:spPr>
          <a:xfrm>
            <a:off x="3271838" y="4068723"/>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40" name="TextBox 39"/>
          <p:cNvSpPr txBox="1"/>
          <p:nvPr/>
        </p:nvSpPr>
        <p:spPr>
          <a:xfrm>
            <a:off x="4690872" y="3577233"/>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41" name="TextBox 40"/>
          <p:cNvSpPr txBox="1"/>
          <p:nvPr/>
        </p:nvSpPr>
        <p:spPr>
          <a:xfrm>
            <a:off x="6083618" y="3081171"/>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42" name="TextBox 41"/>
          <p:cNvSpPr txBox="1"/>
          <p:nvPr/>
        </p:nvSpPr>
        <p:spPr>
          <a:xfrm>
            <a:off x="7482650" y="2578251"/>
            <a:ext cx="1280160"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19" name="TextBox 18"/>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358132" y="1131888"/>
            <a:ext cx="841248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5" name="Freeform 4"/>
          <p:cNvSpPr>
            <a:spLocks/>
          </p:cNvSpPr>
          <p:nvPr/>
        </p:nvSpPr>
        <p:spPr bwMode="auto">
          <a:xfrm>
            <a:off x="358132" y="1767665"/>
            <a:ext cx="8412480"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6" name="Freeform 5"/>
          <p:cNvSpPr>
            <a:spLocks/>
          </p:cNvSpPr>
          <p:nvPr/>
        </p:nvSpPr>
        <p:spPr bwMode="auto">
          <a:xfrm>
            <a:off x="358132" y="2147143"/>
            <a:ext cx="841248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7" name="Freeform 6"/>
          <p:cNvSpPr>
            <a:spLocks/>
          </p:cNvSpPr>
          <p:nvPr/>
        </p:nvSpPr>
        <p:spPr bwMode="auto">
          <a:xfrm>
            <a:off x="358132" y="2782622"/>
            <a:ext cx="8412480"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sp>
        <p:nvSpPr>
          <p:cNvPr id="13" name="Rectangle 3"/>
          <p:cNvSpPr>
            <a:spLocks noChangeArrowheads="1"/>
          </p:cNvSpPr>
          <p:nvPr/>
        </p:nvSpPr>
        <p:spPr bwMode="auto">
          <a:xfrm>
            <a:off x="3391909" y="2833045"/>
            <a:ext cx="2286000" cy="755650"/>
          </a:xfrm>
          <a:prstGeom prst="rect">
            <a:avLst/>
          </a:prstGeom>
          <a:solidFill>
            <a:schemeClr val="accent2"/>
          </a:solidFill>
          <a:ln w="12700">
            <a:noFill/>
            <a:miter lim="800000"/>
            <a:headEnd/>
            <a:tailEnd/>
          </a:ln>
        </p:spPr>
        <p:txBody>
          <a:bodyPr lIns="91440" tIns="91440" rIns="91440" bIns="91440" anchor="ctr"/>
          <a:lstStyle/>
          <a:p>
            <a:pPr algn="ctr" defTabSz="865188">
              <a:defRPr/>
            </a:pPr>
            <a:r>
              <a:rPr lang="en-US" sz="1200" dirty="0">
                <a:ea typeface="ＭＳ Ｐゴシック" pitchFamily="50" charset="-128"/>
              </a:rPr>
              <a:t>Text</a:t>
            </a:r>
          </a:p>
        </p:txBody>
      </p:sp>
      <p:sp>
        <p:nvSpPr>
          <p:cNvPr id="19" name="Rectangle 4"/>
          <p:cNvSpPr>
            <a:spLocks noChangeArrowheads="1"/>
          </p:cNvSpPr>
          <p:nvPr/>
        </p:nvSpPr>
        <p:spPr bwMode="auto">
          <a:xfrm>
            <a:off x="5967413" y="1977382"/>
            <a:ext cx="2286000" cy="755650"/>
          </a:xfrm>
          <a:prstGeom prst="rect">
            <a:avLst/>
          </a:prstGeom>
          <a:solidFill>
            <a:schemeClr val="accent5"/>
          </a:solidFill>
          <a:ln w="12700">
            <a:noFill/>
            <a:miter lim="800000"/>
            <a:headEnd/>
            <a:tailEnd/>
          </a:ln>
        </p:spPr>
        <p:txBody>
          <a:bodyPr lIns="91440" tIns="91440" rIns="91440" bIns="91440" anchor="ctr"/>
          <a:lstStyle/>
          <a:p>
            <a:pPr algn="ctr" defTabSz="865188">
              <a:defRPr/>
            </a:pPr>
            <a:r>
              <a:rPr lang="en-US" sz="1200" dirty="0">
                <a:ea typeface="ＭＳ Ｐゴシック" pitchFamily="50" charset="-128"/>
              </a:rPr>
              <a:t>Text</a:t>
            </a:r>
          </a:p>
        </p:txBody>
      </p:sp>
      <p:sp>
        <p:nvSpPr>
          <p:cNvPr id="20" name="Rectangle 5"/>
          <p:cNvSpPr>
            <a:spLocks noChangeArrowheads="1"/>
          </p:cNvSpPr>
          <p:nvPr/>
        </p:nvSpPr>
        <p:spPr bwMode="auto">
          <a:xfrm>
            <a:off x="816405" y="3688707"/>
            <a:ext cx="2286000" cy="755650"/>
          </a:xfrm>
          <a:prstGeom prst="rect">
            <a:avLst/>
          </a:prstGeom>
          <a:solidFill>
            <a:schemeClr val="accent1"/>
          </a:solidFill>
          <a:ln w="12700">
            <a:noFill/>
            <a:miter lim="800000"/>
            <a:headEnd/>
            <a:tailEnd/>
          </a:ln>
        </p:spPr>
        <p:txBody>
          <a:bodyPr lIns="91440" tIns="91440" rIns="91440" bIns="91440" anchor="ctr"/>
          <a:lstStyle/>
          <a:p>
            <a:pPr algn="ctr" defTabSz="865188">
              <a:defRPr/>
            </a:pPr>
            <a:r>
              <a:rPr lang="en-US" sz="12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2436739" y="2733537"/>
            <a:ext cx="477837" cy="1432504"/>
          </a:xfrm>
          <a:prstGeom prst="bentConnector2">
            <a:avLst/>
          </a:prstGeom>
          <a:noFill/>
          <a:ln w="6350">
            <a:solidFill>
              <a:srgbClr val="53565A"/>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5012242" y="1877874"/>
            <a:ext cx="477838" cy="1432504"/>
          </a:xfrm>
          <a:prstGeom prst="bentConnector2">
            <a:avLst/>
          </a:prstGeom>
          <a:noFill/>
          <a:ln w="6350">
            <a:solidFill>
              <a:srgbClr val="53565A"/>
            </a:solidFill>
            <a:miter lim="800000"/>
            <a:headEnd/>
            <a:tailEnd type="triangle" w="med" len="med"/>
          </a:ln>
        </p:spPr>
      </p:cxnSp>
      <p:sp>
        <p:nvSpPr>
          <p:cNvPr id="31" name="TextBox 30"/>
          <p:cNvSpPr txBox="1"/>
          <p:nvPr/>
        </p:nvSpPr>
        <p:spPr>
          <a:xfrm>
            <a:off x="816405" y="4480259"/>
            <a:ext cx="2286000" cy="830997"/>
          </a:xfrm>
          <a:prstGeom prst="rect">
            <a:avLst/>
          </a:prstGeom>
          <a:noFill/>
        </p:spPr>
        <p:txBody>
          <a:bodyPr wrap="square" lIns="0" tIns="0" rIns="0" bIns="0" rtlCol="0">
            <a:spAutoFit/>
          </a:bodyPr>
          <a:lstStyle/>
          <a:p>
            <a:pPr>
              <a:spcBef>
                <a:spcPts val="600"/>
              </a:spcBef>
              <a:buSzPct val="100000"/>
            </a:pPr>
            <a:r>
              <a:rPr lang="en-US" sz="1100" dirty="0">
                <a:solidFill>
                  <a:schemeClr val="tx2"/>
                </a:solidFill>
              </a:rPr>
              <a:t>This is dummy text it is not here to be read </a:t>
            </a:r>
          </a:p>
          <a:p>
            <a:pPr marL="114300" lvl="1" indent="-114300">
              <a:spcBef>
                <a:spcPts val="600"/>
              </a:spcBef>
              <a:buSzPct val="100000"/>
              <a:buFont typeface="Arial"/>
              <a:buChar char="•"/>
            </a:pPr>
            <a:r>
              <a:rPr lang="en-US" sz="1100" dirty="0">
                <a:solidFill>
                  <a:schemeClr val="tx2"/>
                </a:solidFill>
              </a:rPr>
              <a:t>This is a level 1 bullet </a:t>
            </a:r>
          </a:p>
          <a:p>
            <a:pPr marL="254000" lvl="2" indent="-114300">
              <a:spcBef>
                <a:spcPts val="600"/>
              </a:spcBef>
              <a:buSzPct val="100000"/>
              <a:buFont typeface="Arial"/>
              <a:buChar char="−"/>
            </a:pPr>
            <a:r>
              <a:rPr lang="en-US" sz="1100" dirty="0">
                <a:solidFill>
                  <a:schemeClr val="tx2"/>
                </a:solidFill>
              </a:rPr>
              <a:t>This is a level 2 bullet</a:t>
            </a:r>
          </a:p>
        </p:txBody>
      </p:sp>
      <p:sp>
        <p:nvSpPr>
          <p:cNvPr id="38" name="TextBox 37"/>
          <p:cNvSpPr txBox="1"/>
          <p:nvPr/>
        </p:nvSpPr>
        <p:spPr>
          <a:xfrm>
            <a:off x="3391909" y="3618349"/>
            <a:ext cx="2286000" cy="830997"/>
          </a:xfrm>
          <a:prstGeom prst="rect">
            <a:avLst/>
          </a:prstGeom>
          <a:noFill/>
        </p:spPr>
        <p:txBody>
          <a:bodyPr wrap="square" lIns="0" tIns="0" rIns="0" bIns="0" rtlCol="0">
            <a:spAutoFit/>
          </a:bodyPr>
          <a:lstStyle/>
          <a:p>
            <a:pPr>
              <a:spcBef>
                <a:spcPts val="600"/>
              </a:spcBef>
              <a:buSzPct val="100000"/>
            </a:pPr>
            <a:r>
              <a:rPr lang="en-US" sz="1100" dirty="0">
                <a:solidFill>
                  <a:schemeClr val="tx2"/>
                </a:solidFill>
              </a:rPr>
              <a:t>This is dummy text it is not here to be read </a:t>
            </a:r>
          </a:p>
          <a:p>
            <a:pPr marL="114300" lvl="1" indent="-114300">
              <a:spcBef>
                <a:spcPts val="600"/>
              </a:spcBef>
              <a:buSzPct val="100000"/>
              <a:buFont typeface="Arial"/>
              <a:buChar char="•"/>
            </a:pPr>
            <a:r>
              <a:rPr lang="en-US" sz="1100" dirty="0">
                <a:solidFill>
                  <a:schemeClr val="tx2"/>
                </a:solidFill>
              </a:rPr>
              <a:t>This is a level 1 bullet </a:t>
            </a:r>
          </a:p>
          <a:p>
            <a:pPr marL="254000" lvl="2" indent="-114300">
              <a:spcBef>
                <a:spcPts val="600"/>
              </a:spcBef>
              <a:buSzPct val="100000"/>
              <a:buFont typeface="Arial"/>
              <a:buChar char="−"/>
            </a:pPr>
            <a:r>
              <a:rPr lang="en-US" sz="1100" dirty="0">
                <a:solidFill>
                  <a:schemeClr val="tx2"/>
                </a:solidFill>
              </a:rPr>
              <a:t>This is a level 2 bullet</a:t>
            </a:r>
          </a:p>
        </p:txBody>
      </p:sp>
      <p:sp>
        <p:nvSpPr>
          <p:cNvPr id="39" name="TextBox 38"/>
          <p:cNvSpPr txBox="1"/>
          <p:nvPr/>
        </p:nvSpPr>
        <p:spPr>
          <a:xfrm>
            <a:off x="5967413" y="2767283"/>
            <a:ext cx="2286000" cy="830997"/>
          </a:xfrm>
          <a:prstGeom prst="rect">
            <a:avLst/>
          </a:prstGeom>
          <a:noFill/>
        </p:spPr>
        <p:txBody>
          <a:bodyPr wrap="square" lIns="0" tIns="0" rIns="0" bIns="0" rtlCol="0">
            <a:spAutoFit/>
          </a:bodyPr>
          <a:lstStyle/>
          <a:p>
            <a:pPr>
              <a:spcBef>
                <a:spcPts val="600"/>
              </a:spcBef>
              <a:buSzPct val="100000"/>
            </a:pPr>
            <a:r>
              <a:rPr lang="en-US" sz="1100" dirty="0">
                <a:solidFill>
                  <a:schemeClr val="tx2"/>
                </a:solidFill>
              </a:rPr>
              <a:t>This is dummy text it is not here to be read </a:t>
            </a:r>
          </a:p>
          <a:p>
            <a:pPr marL="114300" lvl="1" indent="-114300">
              <a:spcBef>
                <a:spcPts val="600"/>
              </a:spcBef>
              <a:buSzPct val="100000"/>
              <a:buFont typeface="Arial"/>
              <a:buChar char="•"/>
            </a:pPr>
            <a:r>
              <a:rPr lang="en-US" sz="1100" dirty="0">
                <a:solidFill>
                  <a:schemeClr val="tx2"/>
                </a:solidFill>
              </a:rPr>
              <a:t>This is a level 1 bullet </a:t>
            </a:r>
          </a:p>
          <a:p>
            <a:pPr marL="254000" lvl="2" indent="-114300">
              <a:spcBef>
                <a:spcPts val="600"/>
              </a:spcBef>
              <a:buSzPct val="100000"/>
              <a:buFont typeface="Arial"/>
              <a:buChar char="−"/>
            </a:pPr>
            <a:r>
              <a:rPr lang="en-US" sz="1100" dirty="0">
                <a:solidFill>
                  <a:schemeClr val="tx2"/>
                </a:solidFill>
              </a:rPr>
              <a:t>This is a level 2 bullet</a:t>
            </a:r>
          </a:p>
        </p:txBody>
      </p:sp>
      <p:sp>
        <p:nvSpPr>
          <p:cNvPr id="48" name="Rectangle 5"/>
          <p:cNvSpPr>
            <a:spLocks noChangeArrowheads="1"/>
          </p:cNvSpPr>
          <p:nvPr/>
        </p:nvSpPr>
        <p:spPr bwMode="auto">
          <a:xfrm>
            <a:off x="816405" y="6080921"/>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solidFill>
                  <a:schemeClr val="tx2"/>
                </a:solidFill>
                <a:ea typeface="ＭＳ Ｐゴシック" charset="-128"/>
              </a:rPr>
              <a:t>Text</a:t>
            </a:r>
          </a:p>
        </p:txBody>
      </p:sp>
      <p:sp>
        <p:nvSpPr>
          <p:cNvPr id="49" name="AutoShape 11"/>
          <p:cNvSpPr>
            <a:spLocks noChangeArrowheads="1"/>
          </p:cNvSpPr>
          <p:nvPr/>
        </p:nvSpPr>
        <p:spPr bwMode="gray">
          <a:xfrm>
            <a:off x="1779405" y="5725977"/>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0" name="Rectangle 5"/>
          <p:cNvSpPr>
            <a:spLocks noChangeArrowheads="1"/>
          </p:cNvSpPr>
          <p:nvPr/>
        </p:nvSpPr>
        <p:spPr bwMode="auto">
          <a:xfrm>
            <a:off x="3391909" y="6080921"/>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solidFill>
                  <a:schemeClr val="tx2"/>
                </a:solidFill>
                <a:ea typeface="ＭＳ Ｐゴシック" charset="-128"/>
              </a:rPr>
              <a:t>Text</a:t>
            </a:r>
          </a:p>
        </p:txBody>
      </p:sp>
      <p:sp>
        <p:nvSpPr>
          <p:cNvPr id="51" name="AutoShape 11"/>
          <p:cNvSpPr>
            <a:spLocks noChangeArrowheads="1"/>
          </p:cNvSpPr>
          <p:nvPr/>
        </p:nvSpPr>
        <p:spPr bwMode="gray">
          <a:xfrm>
            <a:off x="4354909" y="5725977"/>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4" name="Rectangle 5"/>
          <p:cNvSpPr>
            <a:spLocks noChangeArrowheads="1"/>
          </p:cNvSpPr>
          <p:nvPr/>
        </p:nvSpPr>
        <p:spPr bwMode="auto">
          <a:xfrm>
            <a:off x="5967413" y="6080921"/>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solidFill>
                  <a:schemeClr val="tx2"/>
                </a:solidFill>
                <a:ea typeface="ＭＳ Ｐゴシック" charset="-128"/>
              </a:rPr>
              <a:t>Text</a:t>
            </a:r>
          </a:p>
        </p:txBody>
      </p:sp>
      <p:sp>
        <p:nvSpPr>
          <p:cNvPr id="55" name="AutoShape 11"/>
          <p:cNvSpPr>
            <a:spLocks noChangeArrowheads="1"/>
          </p:cNvSpPr>
          <p:nvPr/>
        </p:nvSpPr>
        <p:spPr bwMode="gray">
          <a:xfrm>
            <a:off x="6930413" y="5725977"/>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3" name="TextBox 22"/>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690719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96000" y="651600"/>
            <a:ext cx="8352000" cy="757255"/>
          </a:xfrm>
        </p:spPr>
        <p:txBody>
          <a:bodyPr/>
          <a:lstStyle/>
          <a:p>
            <a:r>
              <a:rPr lang="en-US"/>
              <a:t>Two ways of showing major points</a:t>
            </a:r>
            <a:endParaRPr lang="en-US" dirty="0"/>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396000" y="1360890"/>
            <a:ext cx="1722946" cy="82296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Text runs here</a:t>
            </a:r>
          </a:p>
        </p:txBody>
      </p:sp>
      <p:sp>
        <p:nvSpPr>
          <p:cNvPr id="9" name="Text Placeholder 3"/>
          <p:cNvSpPr txBox="1">
            <a:spLocks/>
          </p:cNvSpPr>
          <p:nvPr/>
        </p:nvSpPr>
        <p:spPr bwMode="gray">
          <a:xfrm>
            <a:off x="2438852" y="3649406"/>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0" name="Pentagon 9"/>
          <p:cNvSpPr/>
          <p:nvPr/>
        </p:nvSpPr>
        <p:spPr bwMode="gray">
          <a:xfrm>
            <a:off x="396000" y="3649406"/>
            <a:ext cx="1722946" cy="82296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Text runs here</a:t>
            </a:r>
          </a:p>
        </p:txBody>
      </p:sp>
      <p:sp>
        <p:nvSpPr>
          <p:cNvPr id="11" name="Text Placeholder 3"/>
          <p:cNvSpPr txBox="1">
            <a:spLocks/>
          </p:cNvSpPr>
          <p:nvPr/>
        </p:nvSpPr>
        <p:spPr bwMode="gray">
          <a:xfrm>
            <a:off x="2438852" y="4793341"/>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2" name="Pentagon 11"/>
          <p:cNvSpPr/>
          <p:nvPr/>
        </p:nvSpPr>
        <p:spPr bwMode="gray">
          <a:xfrm>
            <a:off x="396000" y="4793341"/>
            <a:ext cx="1722946" cy="82296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Text runs here</a:t>
            </a:r>
          </a:p>
        </p:txBody>
      </p:sp>
      <p:sp>
        <p:nvSpPr>
          <p:cNvPr id="13" name="Text Placeholder 3"/>
          <p:cNvSpPr txBox="1">
            <a:spLocks/>
          </p:cNvSpPr>
          <p:nvPr/>
        </p:nvSpPr>
        <p:spPr bwMode="gray">
          <a:xfrm>
            <a:off x="2438852" y="1360890"/>
            <a:ext cx="2739817" cy="8356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4" name="Pentagon 13"/>
          <p:cNvSpPr/>
          <p:nvPr/>
        </p:nvSpPr>
        <p:spPr bwMode="gray">
          <a:xfrm>
            <a:off x="396000" y="2505148"/>
            <a:ext cx="1722946" cy="82296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Text runs here</a:t>
            </a:r>
          </a:p>
        </p:txBody>
      </p:sp>
      <p:sp>
        <p:nvSpPr>
          <p:cNvPr id="15" name="Text Placeholder 3"/>
          <p:cNvSpPr txBox="1">
            <a:spLocks/>
          </p:cNvSpPr>
          <p:nvPr/>
        </p:nvSpPr>
        <p:spPr bwMode="gray">
          <a:xfrm>
            <a:off x="2438852" y="2505148"/>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6" name="Text Placeholder 3"/>
          <p:cNvSpPr txBox="1">
            <a:spLocks/>
          </p:cNvSpPr>
          <p:nvPr/>
        </p:nvSpPr>
        <p:spPr bwMode="gray">
          <a:xfrm>
            <a:off x="5076544" y="3649406"/>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7" name="Text Placeholder 3"/>
          <p:cNvSpPr txBox="1">
            <a:spLocks/>
          </p:cNvSpPr>
          <p:nvPr/>
        </p:nvSpPr>
        <p:spPr bwMode="gray">
          <a:xfrm>
            <a:off x="5076544" y="4793341"/>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8" name="Text Placeholder 3"/>
          <p:cNvSpPr txBox="1">
            <a:spLocks/>
          </p:cNvSpPr>
          <p:nvPr/>
        </p:nvSpPr>
        <p:spPr bwMode="gray">
          <a:xfrm>
            <a:off x="5076544" y="1360890"/>
            <a:ext cx="2739817" cy="8356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
        <p:nvSpPr>
          <p:cNvPr id="19" name="Text Placeholder 3"/>
          <p:cNvSpPr txBox="1">
            <a:spLocks/>
          </p:cNvSpPr>
          <p:nvPr/>
        </p:nvSpPr>
        <p:spPr bwMode="gray">
          <a:xfrm>
            <a:off x="5076544" y="2505148"/>
            <a:ext cx="2739817" cy="822960"/>
          </a:xfrm>
          <a:prstGeom prst="rect">
            <a:avLst/>
          </a:prstGeom>
        </p:spPr>
        <p:txBody>
          <a:bodyPr vert="horz" lIns="0" tIns="0" rIns="0" bIns="0" rtlCol="0">
            <a:noAutofit/>
          </a:bodyPr>
          <a:lstStyle/>
          <a:p>
            <a:pPr>
              <a:spcBef>
                <a:spcPts val="400"/>
              </a:spcBef>
              <a:buClr>
                <a:srgbClr val="000000"/>
              </a:buClr>
              <a:buSzPct val="100000"/>
            </a:pPr>
            <a:r>
              <a:rPr lang="en-US" sz="1000" dirty="0">
                <a:cs typeface="Arial" charset="0"/>
              </a:rPr>
              <a:t>Text runs here</a:t>
            </a:r>
          </a:p>
          <a:p>
            <a:pPr marL="114300" lvl="1" indent="-114300">
              <a:spcBef>
                <a:spcPts val="600"/>
              </a:spcBef>
              <a:buSzPct val="100000"/>
              <a:buFont typeface="Arial"/>
              <a:buChar char="•"/>
            </a:pPr>
            <a:r>
              <a:rPr lang="en-US" sz="1000" dirty="0">
                <a:cs typeface="Arial" charset="0"/>
              </a:rPr>
              <a:t>This is a level 1 bullet</a:t>
            </a:r>
          </a:p>
          <a:p>
            <a:pPr marL="254000" lvl="2" indent="-114300">
              <a:spcBef>
                <a:spcPts val="600"/>
              </a:spcBef>
              <a:buSzPct val="100000"/>
              <a:buFont typeface="Arial"/>
              <a:buChar char="−"/>
            </a:pPr>
            <a:r>
              <a:rPr lang="en-US" sz="1000" dirty="0">
                <a:cs typeface="Arial" charset="0"/>
              </a:rPr>
              <a:t>This is a level 2 bullet</a:t>
            </a:r>
          </a:p>
          <a:p>
            <a:pPr marL="254000" lvl="2" indent="-114300">
              <a:spcBef>
                <a:spcPts val="600"/>
              </a:spcBef>
              <a:buSzPct val="100000"/>
              <a:buFont typeface="Arial"/>
              <a:buChar char="−"/>
            </a:pPr>
            <a:r>
              <a:rPr lang="en-US" sz="1000" dirty="0">
                <a:cs typeface="Arial" charset="0"/>
              </a:rPr>
              <a:t>This is a level 3 bullet</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279555" name="Title 1"/>
          <p:cNvSpPr>
            <a:spLocks noGrp="1"/>
          </p:cNvSpPr>
          <p:nvPr>
            <p:ph type="title"/>
          </p:nvPr>
        </p:nvSpPr>
        <p:spPr/>
        <p:txBody>
          <a:bodyPr/>
          <a:lstStyle/>
          <a:p>
            <a:r>
              <a:rPr lang="en-US" dirty="0"/>
              <a:t>Diagonal boxes</a:t>
            </a:r>
          </a:p>
        </p:txBody>
      </p:sp>
      <p:sp>
        <p:nvSpPr>
          <p:cNvPr id="15" name="Rectangle 3"/>
          <p:cNvSpPr>
            <a:spLocks noChangeArrowheads="1"/>
          </p:cNvSpPr>
          <p:nvPr/>
        </p:nvSpPr>
        <p:spPr bwMode="auto">
          <a:xfrm>
            <a:off x="591904" y="4250210"/>
            <a:ext cx="1828800" cy="520700"/>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6" name="Rectangle 4"/>
          <p:cNvSpPr>
            <a:spLocks noChangeArrowheads="1"/>
          </p:cNvSpPr>
          <p:nvPr/>
        </p:nvSpPr>
        <p:spPr bwMode="auto">
          <a:xfrm>
            <a:off x="2631411" y="3490855"/>
            <a:ext cx="1828800" cy="520700"/>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5"/>
          <p:cNvSpPr>
            <a:spLocks noChangeArrowheads="1"/>
          </p:cNvSpPr>
          <p:nvPr/>
        </p:nvSpPr>
        <p:spPr bwMode="auto">
          <a:xfrm>
            <a:off x="4670918" y="2731501"/>
            <a:ext cx="1828800" cy="520700"/>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8" name="Rectangle 6"/>
          <p:cNvSpPr>
            <a:spLocks noChangeArrowheads="1"/>
          </p:cNvSpPr>
          <p:nvPr/>
        </p:nvSpPr>
        <p:spPr bwMode="auto">
          <a:xfrm>
            <a:off x="6710424" y="1972147"/>
            <a:ext cx="1828800" cy="520700"/>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1819355" y="3438155"/>
            <a:ext cx="499005" cy="1125107"/>
          </a:xfrm>
          <a:prstGeom prst="bentConnector2">
            <a:avLst/>
          </a:prstGeom>
          <a:noFill/>
          <a:ln w="6350">
            <a:solidFill>
              <a:srgbClr val="BBBCBC"/>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3858862" y="2678800"/>
            <a:ext cx="499004" cy="1125107"/>
          </a:xfrm>
          <a:prstGeom prst="bentConnector2">
            <a:avLst/>
          </a:prstGeom>
          <a:noFill/>
          <a:ln w="6350">
            <a:solidFill>
              <a:srgbClr val="BBBCBC"/>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5898369" y="1919446"/>
            <a:ext cx="499004" cy="1125106"/>
          </a:xfrm>
          <a:prstGeom prst="bentConnector2">
            <a:avLst/>
          </a:prstGeom>
          <a:noFill/>
          <a:ln w="6350">
            <a:solidFill>
              <a:srgbClr val="BBBCBC"/>
            </a:solidFill>
            <a:miter lim="800000"/>
            <a:headEnd/>
            <a:tailEnd type="triangle" w="med" len="med"/>
          </a:ln>
        </p:spPr>
      </p:cxnSp>
      <p:sp>
        <p:nvSpPr>
          <p:cNvPr id="44" name="TextBox 43"/>
          <p:cNvSpPr txBox="1"/>
          <p:nvPr/>
        </p:nvSpPr>
        <p:spPr>
          <a:xfrm>
            <a:off x="591904" y="4799763"/>
            <a:ext cx="182880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45" name="TextBox 44"/>
          <p:cNvSpPr txBox="1"/>
          <p:nvPr/>
        </p:nvSpPr>
        <p:spPr>
          <a:xfrm>
            <a:off x="2631411" y="4038525"/>
            <a:ext cx="182880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46" name="TextBox 45"/>
          <p:cNvSpPr txBox="1"/>
          <p:nvPr/>
        </p:nvSpPr>
        <p:spPr>
          <a:xfrm>
            <a:off x="4670918" y="3285669"/>
            <a:ext cx="182880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47" name="TextBox 46"/>
          <p:cNvSpPr txBox="1"/>
          <p:nvPr/>
        </p:nvSpPr>
        <p:spPr>
          <a:xfrm>
            <a:off x="6710424" y="2526717"/>
            <a:ext cx="1828800" cy="830997"/>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a:p>
            <a:pPr marL="254000" lvl="2" indent="-114300">
              <a:spcBef>
                <a:spcPts val="600"/>
              </a:spcBef>
              <a:buSzPct val="100000"/>
              <a:buFont typeface="Arial"/>
              <a:buChar char="−"/>
            </a:pPr>
            <a:r>
              <a:rPr lang="en-US" sz="1100" dirty="0"/>
              <a:t>This is a level 2 bullet</a:t>
            </a:r>
          </a:p>
        </p:txBody>
      </p:sp>
      <p:sp>
        <p:nvSpPr>
          <p:cNvPr id="49" name="Rectangle 5"/>
          <p:cNvSpPr>
            <a:spLocks noChangeArrowheads="1"/>
          </p:cNvSpPr>
          <p:nvPr/>
        </p:nvSpPr>
        <p:spPr bwMode="auto">
          <a:xfrm>
            <a:off x="591904" y="6089974"/>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0" name="AutoShape 11"/>
          <p:cNvSpPr>
            <a:spLocks noChangeArrowheads="1"/>
          </p:cNvSpPr>
          <p:nvPr/>
        </p:nvSpPr>
        <p:spPr bwMode="gray">
          <a:xfrm>
            <a:off x="1326304" y="5735030"/>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2" name="Rectangle 5"/>
          <p:cNvSpPr>
            <a:spLocks noChangeArrowheads="1"/>
          </p:cNvSpPr>
          <p:nvPr/>
        </p:nvSpPr>
        <p:spPr bwMode="auto">
          <a:xfrm>
            <a:off x="2631411" y="6089974"/>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3365811" y="5735030"/>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5" name="Rectangle 5"/>
          <p:cNvSpPr>
            <a:spLocks noChangeArrowheads="1"/>
          </p:cNvSpPr>
          <p:nvPr/>
        </p:nvSpPr>
        <p:spPr bwMode="auto">
          <a:xfrm>
            <a:off x="4670918" y="6089974"/>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6" name="AutoShape 11"/>
          <p:cNvSpPr>
            <a:spLocks noChangeArrowheads="1"/>
          </p:cNvSpPr>
          <p:nvPr/>
        </p:nvSpPr>
        <p:spPr bwMode="gray">
          <a:xfrm>
            <a:off x="5405318" y="5735030"/>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8" name="Rectangle 5"/>
          <p:cNvSpPr>
            <a:spLocks noChangeArrowheads="1"/>
          </p:cNvSpPr>
          <p:nvPr/>
        </p:nvSpPr>
        <p:spPr bwMode="auto">
          <a:xfrm>
            <a:off x="6710424" y="6089974"/>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9" name="AutoShape 11"/>
          <p:cNvSpPr>
            <a:spLocks noChangeArrowheads="1"/>
          </p:cNvSpPr>
          <p:nvPr/>
        </p:nvSpPr>
        <p:spPr bwMode="gray">
          <a:xfrm>
            <a:off x="7444824" y="5735030"/>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5" name="TextBox 24"/>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823586873"/>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sp>
        <p:nvSpPr>
          <p:cNvPr id="16" name="Rectangle 3"/>
          <p:cNvSpPr>
            <a:spLocks noChangeArrowheads="1"/>
          </p:cNvSpPr>
          <p:nvPr/>
        </p:nvSpPr>
        <p:spPr bwMode="auto">
          <a:xfrm>
            <a:off x="365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4"/>
          <p:cNvSpPr>
            <a:spLocks noChangeArrowheads="1"/>
          </p:cNvSpPr>
          <p:nvPr/>
        </p:nvSpPr>
        <p:spPr bwMode="auto">
          <a:xfrm>
            <a:off x="2121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9" name="Rectangle 5"/>
          <p:cNvSpPr>
            <a:spLocks noChangeArrowheads="1"/>
          </p:cNvSpPr>
          <p:nvPr/>
        </p:nvSpPr>
        <p:spPr bwMode="auto">
          <a:xfrm>
            <a:off x="3877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20" name="Rectangle 6"/>
          <p:cNvSpPr>
            <a:spLocks noChangeArrowheads="1"/>
          </p:cNvSpPr>
          <p:nvPr/>
        </p:nvSpPr>
        <p:spPr bwMode="auto">
          <a:xfrm>
            <a:off x="5632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21" name="Rectangle 7"/>
          <p:cNvSpPr>
            <a:spLocks noChangeArrowheads="1"/>
          </p:cNvSpPr>
          <p:nvPr/>
        </p:nvSpPr>
        <p:spPr bwMode="auto">
          <a:xfrm>
            <a:off x="7392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1420529" y="3570055"/>
            <a:ext cx="341055" cy="1060704"/>
          </a:xfrm>
          <a:prstGeom prst="bentConnector2">
            <a:avLst/>
          </a:prstGeom>
          <a:noFill/>
          <a:ln w="6350">
            <a:solidFill>
              <a:srgbClr val="BBBCBC"/>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3176177" y="2967856"/>
            <a:ext cx="341055" cy="1060704"/>
          </a:xfrm>
          <a:prstGeom prst="bentConnector2">
            <a:avLst/>
          </a:prstGeom>
          <a:noFill/>
          <a:ln w="6350">
            <a:solidFill>
              <a:srgbClr val="BBBCBC"/>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4931825" y="2365657"/>
            <a:ext cx="341055" cy="1060704"/>
          </a:xfrm>
          <a:prstGeom prst="bentConnector2">
            <a:avLst/>
          </a:prstGeom>
          <a:noFill/>
          <a:ln w="6350">
            <a:solidFill>
              <a:srgbClr val="BBBCBC"/>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6689378" y="1761553"/>
            <a:ext cx="341055" cy="1064514"/>
          </a:xfrm>
          <a:prstGeom prst="bentConnector2">
            <a:avLst/>
          </a:prstGeom>
          <a:noFill/>
          <a:ln w="6350">
            <a:solidFill>
              <a:srgbClr val="BBBCBC"/>
            </a:solidFill>
            <a:miter lim="800000"/>
            <a:headEnd/>
            <a:tailEnd type="triangle" w="med" len="med"/>
          </a:ln>
        </p:spPr>
      </p:cxnSp>
      <p:sp>
        <p:nvSpPr>
          <p:cNvPr id="31" name="TextBox 30"/>
          <p:cNvSpPr txBox="1"/>
          <p:nvPr/>
        </p:nvSpPr>
        <p:spPr>
          <a:xfrm>
            <a:off x="365760" y="4819242"/>
            <a:ext cx="1389888"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32" name="TextBox 31"/>
          <p:cNvSpPr txBox="1"/>
          <p:nvPr/>
        </p:nvSpPr>
        <p:spPr>
          <a:xfrm>
            <a:off x="3877056" y="3617086"/>
            <a:ext cx="1389888"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33" name="TextBox 32"/>
          <p:cNvSpPr txBox="1"/>
          <p:nvPr/>
        </p:nvSpPr>
        <p:spPr>
          <a:xfrm>
            <a:off x="2121408" y="4218164"/>
            <a:ext cx="1389888"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34" name="TextBox 33"/>
          <p:cNvSpPr txBox="1"/>
          <p:nvPr/>
        </p:nvSpPr>
        <p:spPr>
          <a:xfrm>
            <a:off x="5632704" y="3016008"/>
            <a:ext cx="1389888"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44" name="TextBox 43"/>
          <p:cNvSpPr txBox="1"/>
          <p:nvPr/>
        </p:nvSpPr>
        <p:spPr>
          <a:xfrm>
            <a:off x="7388352" y="2414930"/>
            <a:ext cx="1389888" cy="923330"/>
          </a:xfrm>
          <a:prstGeom prst="rect">
            <a:avLst/>
          </a:prstGeom>
          <a:noFill/>
        </p:spPr>
        <p:txBody>
          <a:bodyPr wrap="square" lIns="0" tIns="0" rIns="0" bIns="0" rtlCol="0">
            <a:spAutoFit/>
          </a:bodyPr>
          <a:lstStyle/>
          <a:p>
            <a:pPr>
              <a:spcBef>
                <a:spcPts val="600"/>
              </a:spcBef>
              <a:buSzPct val="100000"/>
            </a:pPr>
            <a:r>
              <a:rPr lang="en-US" sz="1100" dirty="0"/>
              <a:t>This is dummy text it is not here to be read </a:t>
            </a:r>
          </a:p>
          <a:p>
            <a:pPr marL="114300" lvl="1" indent="-114300">
              <a:spcBef>
                <a:spcPts val="600"/>
              </a:spcBef>
              <a:buSzPct val="100000"/>
              <a:buFont typeface="Arial"/>
              <a:buChar char="•"/>
            </a:pPr>
            <a:r>
              <a:rPr lang="en-US" sz="1100" dirty="0"/>
              <a:t>This is a level 1 bullet </a:t>
            </a:r>
          </a:p>
        </p:txBody>
      </p:sp>
      <p:sp>
        <p:nvSpPr>
          <p:cNvPr id="52" name="Rectangle 5"/>
          <p:cNvSpPr>
            <a:spLocks noChangeArrowheads="1"/>
          </p:cNvSpPr>
          <p:nvPr/>
        </p:nvSpPr>
        <p:spPr bwMode="auto">
          <a:xfrm>
            <a:off x="365760" y="6099027"/>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880704"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1" name="Rectangle 5"/>
          <p:cNvSpPr>
            <a:spLocks noChangeArrowheads="1"/>
          </p:cNvSpPr>
          <p:nvPr/>
        </p:nvSpPr>
        <p:spPr bwMode="auto">
          <a:xfrm>
            <a:off x="2122693" y="6099027"/>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62" name="AutoShape 11"/>
          <p:cNvSpPr>
            <a:spLocks noChangeArrowheads="1"/>
          </p:cNvSpPr>
          <p:nvPr/>
        </p:nvSpPr>
        <p:spPr bwMode="gray">
          <a:xfrm>
            <a:off x="2637637"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4" name="Rectangle 5"/>
          <p:cNvSpPr>
            <a:spLocks noChangeArrowheads="1"/>
          </p:cNvSpPr>
          <p:nvPr/>
        </p:nvSpPr>
        <p:spPr bwMode="auto">
          <a:xfrm>
            <a:off x="3877913" y="6099027"/>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65" name="AutoShape 11"/>
          <p:cNvSpPr>
            <a:spLocks noChangeArrowheads="1"/>
          </p:cNvSpPr>
          <p:nvPr/>
        </p:nvSpPr>
        <p:spPr bwMode="gray">
          <a:xfrm>
            <a:off x="4392857"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7" name="Rectangle 5"/>
          <p:cNvSpPr>
            <a:spLocks noChangeArrowheads="1"/>
          </p:cNvSpPr>
          <p:nvPr/>
        </p:nvSpPr>
        <p:spPr bwMode="auto">
          <a:xfrm>
            <a:off x="5633133" y="6099027"/>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68" name="AutoShape 11"/>
          <p:cNvSpPr>
            <a:spLocks noChangeArrowheads="1"/>
          </p:cNvSpPr>
          <p:nvPr/>
        </p:nvSpPr>
        <p:spPr bwMode="gray">
          <a:xfrm>
            <a:off x="6148077"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70" name="Rectangle 5"/>
          <p:cNvSpPr>
            <a:spLocks noChangeArrowheads="1"/>
          </p:cNvSpPr>
          <p:nvPr/>
        </p:nvSpPr>
        <p:spPr bwMode="auto">
          <a:xfrm>
            <a:off x="7388352" y="6099027"/>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71" name="AutoShape 11"/>
          <p:cNvSpPr>
            <a:spLocks noChangeArrowheads="1"/>
          </p:cNvSpPr>
          <p:nvPr/>
        </p:nvSpPr>
        <p:spPr bwMode="gray">
          <a:xfrm>
            <a:off x="7903296"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30" name="TextBox 29"/>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96000" y="651600"/>
            <a:ext cx="8352000" cy="757255"/>
          </a:xfrm>
        </p:spPr>
        <p:txBody>
          <a:bodyPr/>
          <a:lstStyle/>
          <a:p>
            <a:r>
              <a:rPr lang="en-US"/>
              <a:t>Six steps</a:t>
            </a:r>
            <a:endParaRPr lang="en-US" dirty="0"/>
          </a:p>
        </p:txBody>
      </p:sp>
      <p:sp>
        <p:nvSpPr>
          <p:cNvPr id="808961" name="Title 1"/>
          <p:cNvSpPr>
            <a:spLocks noGrp="1"/>
          </p:cNvSpPr>
          <p:nvPr>
            <p:ph type="title"/>
          </p:nvPr>
        </p:nvSpPr>
        <p:spPr/>
        <p:txBody>
          <a:bodyPr/>
          <a:lstStyle/>
          <a:p>
            <a:r>
              <a:rPr lang="en-US"/>
              <a:t>Diagonal boxes </a:t>
            </a:r>
            <a:endParaRPr lang="en-US" dirty="0"/>
          </a:p>
        </p:txBody>
      </p:sp>
      <p:sp>
        <p:nvSpPr>
          <p:cNvPr id="76" name="Rectangle 3"/>
          <p:cNvSpPr>
            <a:spLocks noChangeArrowheads="1"/>
          </p:cNvSpPr>
          <p:nvPr/>
        </p:nvSpPr>
        <p:spPr bwMode="auto">
          <a:xfrm>
            <a:off x="365760" y="4250468"/>
            <a:ext cx="1143000" cy="542925"/>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90" name="Rectangle 17"/>
          <p:cNvSpPr>
            <a:spLocks noChangeArrowheads="1"/>
          </p:cNvSpPr>
          <p:nvPr/>
        </p:nvSpPr>
        <p:spPr bwMode="auto">
          <a:xfrm>
            <a:off x="1819656" y="3772802"/>
            <a:ext cx="1143000" cy="542925"/>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91" name="Rectangle 18"/>
          <p:cNvSpPr>
            <a:spLocks noChangeArrowheads="1"/>
          </p:cNvSpPr>
          <p:nvPr/>
        </p:nvSpPr>
        <p:spPr bwMode="auto">
          <a:xfrm>
            <a:off x="3273552" y="3295136"/>
            <a:ext cx="1143000" cy="542925"/>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92" name="Rectangle 19"/>
          <p:cNvSpPr>
            <a:spLocks noChangeArrowheads="1"/>
          </p:cNvSpPr>
          <p:nvPr/>
        </p:nvSpPr>
        <p:spPr bwMode="auto">
          <a:xfrm>
            <a:off x="4727448" y="2817470"/>
            <a:ext cx="1143000" cy="542925"/>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93" name="Rectangle 20"/>
          <p:cNvSpPr>
            <a:spLocks noChangeArrowheads="1"/>
          </p:cNvSpPr>
          <p:nvPr/>
        </p:nvSpPr>
        <p:spPr bwMode="auto">
          <a:xfrm>
            <a:off x="6181344" y="2339804"/>
            <a:ext cx="1143000" cy="542925"/>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94" name="Rectangle 21"/>
          <p:cNvSpPr>
            <a:spLocks noChangeArrowheads="1"/>
          </p:cNvSpPr>
          <p:nvPr/>
        </p:nvSpPr>
        <p:spPr bwMode="auto">
          <a:xfrm>
            <a:off x="7635240" y="1862138"/>
            <a:ext cx="1143000" cy="542925"/>
          </a:xfrm>
          <a:prstGeom prst="rect">
            <a:avLst/>
          </a:prstGeom>
          <a:solidFill>
            <a:schemeClr val="tx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1275357" y="3706169"/>
            <a:ext cx="206203" cy="882396"/>
          </a:xfrm>
          <a:prstGeom prst="bentConnector2">
            <a:avLst/>
          </a:prstGeom>
          <a:noFill/>
          <a:ln w="6350">
            <a:solidFill>
              <a:srgbClr val="BBBCBC"/>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2729253" y="3228503"/>
            <a:ext cx="206203" cy="882396"/>
          </a:xfrm>
          <a:prstGeom prst="bentConnector2">
            <a:avLst/>
          </a:prstGeom>
          <a:noFill/>
          <a:ln w="6350">
            <a:solidFill>
              <a:srgbClr val="BBBCBC"/>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4183149" y="2750837"/>
            <a:ext cx="206203" cy="882396"/>
          </a:xfrm>
          <a:prstGeom prst="bentConnector2">
            <a:avLst/>
          </a:prstGeom>
          <a:noFill/>
          <a:ln w="6350">
            <a:solidFill>
              <a:srgbClr val="BBBCBC"/>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5637045" y="2273171"/>
            <a:ext cx="206203" cy="882396"/>
          </a:xfrm>
          <a:prstGeom prst="bentConnector2">
            <a:avLst/>
          </a:prstGeom>
          <a:noFill/>
          <a:ln w="6350">
            <a:solidFill>
              <a:srgbClr val="BBBCBC"/>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7090941" y="1795505"/>
            <a:ext cx="206203" cy="882396"/>
          </a:xfrm>
          <a:prstGeom prst="bentConnector2">
            <a:avLst/>
          </a:prstGeom>
          <a:noFill/>
          <a:ln w="6350">
            <a:solidFill>
              <a:srgbClr val="BBBCBC"/>
            </a:solidFill>
            <a:miter lim="800000"/>
            <a:headEnd/>
            <a:tailEnd type="triangle" w="med" len="med"/>
          </a:ln>
        </p:spPr>
      </p:cxnSp>
      <p:sp>
        <p:nvSpPr>
          <p:cNvPr id="38" name="TextBox 37"/>
          <p:cNvSpPr txBox="1"/>
          <p:nvPr/>
        </p:nvSpPr>
        <p:spPr>
          <a:xfrm>
            <a:off x="365760" y="4815579"/>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39" name="TextBox 38"/>
          <p:cNvSpPr txBox="1"/>
          <p:nvPr/>
        </p:nvSpPr>
        <p:spPr>
          <a:xfrm>
            <a:off x="1819656" y="4337990"/>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40" name="TextBox 39"/>
          <p:cNvSpPr txBox="1"/>
          <p:nvPr/>
        </p:nvSpPr>
        <p:spPr>
          <a:xfrm>
            <a:off x="3273552" y="3860400"/>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41" name="TextBox 40"/>
          <p:cNvSpPr txBox="1"/>
          <p:nvPr/>
        </p:nvSpPr>
        <p:spPr>
          <a:xfrm>
            <a:off x="4727448" y="3382810"/>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48" name="TextBox 47"/>
          <p:cNvSpPr txBox="1"/>
          <p:nvPr/>
        </p:nvSpPr>
        <p:spPr>
          <a:xfrm>
            <a:off x="6181344" y="2905220"/>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49" name="TextBox 48"/>
          <p:cNvSpPr txBox="1"/>
          <p:nvPr/>
        </p:nvSpPr>
        <p:spPr>
          <a:xfrm>
            <a:off x="7635240" y="2427630"/>
            <a:ext cx="1143000" cy="754053"/>
          </a:xfrm>
          <a:prstGeom prst="rect">
            <a:avLst/>
          </a:prstGeom>
          <a:noFill/>
        </p:spPr>
        <p:txBody>
          <a:bodyPr wrap="square" lIns="0" tIns="0" rIns="0" bIns="0" rtlCol="0">
            <a:spAutoFit/>
          </a:bodyPr>
          <a:lstStyle/>
          <a:p>
            <a:pPr>
              <a:spcBef>
                <a:spcPts val="600"/>
              </a:spcBef>
              <a:buSzPct val="25000"/>
            </a:pPr>
            <a:r>
              <a:rPr lang="en-US" sz="1100" dirty="0"/>
              <a:t>This is dummy text </a:t>
            </a:r>
          </a:p>
          <a:p>
            <a:pPr marL="114300" lvl="1" indent="-114300">
              <a:spcBef>
                <a:spcPts val="600"/>
              </a:spcBef>
              <a:buSzPct val="100000"/>
              <a:buFont typeface="Arial"/>
              <a:buChar char="•"/>
            </a:pPr>
            <a:r>
              <a:rPr lang="en-US" sz="1100" dirty="0"/>
              <a:t>This is a level 1 bullet</a:t>
            </a:r>
          </a:p>
        </p:txBody>
      </p:sp>
      <p:sp>
        <p:nvSpPr>
          <p:cNvPr id="51" name="Rectangle 5"/>
          <p:cNvSpPr>
            <a:spLocks noChangeArrowheads="1"/>
          </p:cNvSpPr>
          <p:nvPr/>
        </p:nvSpPr>
        <p:spPr bwMode="auto">
          <a:xfrm>
            <a:off x="782570"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52" name="AutoShape 11"/>
          <p:cNvSpPr>
            <a:spLocks noChangeArrowheads="1"/>
          </p:cNvSpPr>
          <p:nvPr/>
        </p:nvSpPr>
        <p:spPr bwMode="gray">
          <a:xfrm>
            <a:off x="757260"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54" name="Rectangle 5"/>
          <p:cNvSpPr>
            <a:spLocks noChangeArrowheads="1"/>
          </p:cNvSpPr>
          <p:nvPr/>
        </p:nvSpPr>
        <p:spPr bwMode="auto">
          <a:xfrm>
            <a:off x="2236466"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55" name="AutoShape 11"/>
          <p:cNvSpPr>
            <a:spLocks noChangeArrowheads="1"/>
          </p:cNvSpPr>
          <p:nvPr/>
        </p:nvSpPr>
        <p:spPr bwMode="gray">
          <a:xfrm>
            <a:off x="2211156"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7" name="Rectangle 5"/>
          <p:cNvSpPr>
            <a:spLocks noChangeArrowheads="1"/>
          </p:cNvSpPr>
          <p:nvPr/>
        </p:nvSpPr>
        <p:spPr bwMode="auto">
          <a:xfrm>
            <a:off x="3690362"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58" name="AutoShape 11"/>
          <p:cNvSpPr>
            <a:spLocks noChangeArrowheads="1"/>
          </p:cNvSpPr>
          <p:nvPr/>
        </p:nvSpPr>
        <p:spPr bwMode="gray">
          <a:xfrm>
            <a:off x="3665052"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0" name="Rectangle 5"/>
          <p:cNvSpPr>
            <a:spLocks noChangeArrowheads="1"/>
          </p:cNvSpPr>
          <p:nvPr/>
        </p:nvSpPr>
        <p:spPr bwMode="auto">
          <a:xfrm>
            <a:off x="5144258"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61" name="AutoShape 11"/>
          <p:cNvSpPr>
            <a:spLocks noChangeArrowheads="1"/>
          </p:cNvSpPr>
          <p:nvPr/>
        </p:nvSpPr>
        <p:spPr bwMode="gray">
          <a:xfrm>
            <a:off x="5118948"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3" name="Rectangle 5"/>
          <p:cNvSpPr>
            <a:spLocks noChangeArrowheads="1"/>
          </p:cNvSpPr>
          <p:nvPr/>
        </p:nvSpPr>
        <p:spPr bwMode="auto">
          <a:xfrm>
            <a:off x="6598154"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64" name="AutoShape 11"/>
          <p:cNvSpPr>
            <a:spLocks noChangeArrowheads="1"/>
          </p:cNvSpPr>
          <p:nvPr/>
        </p:nvSpPr>
        <p:spPr bwMode="gray">
          <a:xfrm>
            <a:off x="6572844"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6" name="Rectangle 5"/>
          <p:cNvSpPr>
            <a:spLocks noChangeArrowheads="1"/>
          </p:cNvSpPr>
          <p:nvPr/>
        </p:nvSpPr>
        <p:spPr bwMode="auto">
          <a:xfrm>
            <a:off x="8052050" y="6099027"/>
            <a:ext cx="309379"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a:ea typeface="ＭＳ Ｐゴシック" charset="-128"/>
              </a:rPr>
              <a:t>Text</a:t>
            </a:r>
          </a:p>
        </p:txBody>
      </p:sp>
      <p:sp>
        <p:nvSpPr>
          <p:cNvPr id="67" name="AutoShape 11"/>
          <p:cNvSpPr>
            <a:spLocks noChangeArrowheads="1"/>
          </p:cNvSpPr>
          <p:nvPr/>
        </p:nvSpPr>
        <p:spPr bwMode="gray">
          <a:xfrm>
            <a:off x="8026740" y="5744083"/>
            <a:ext cx="360000" cy="270000"/>
          </a:xfrm>
          <a:prstGeom prst="downArrow">
            <a:avLst>
              <a:gd name="adj1" fmla="val 49815"/>
              <a:gd name="adj2" fmla="val 54667"/>
            </a:avLst>
          </a:prstGeom>
          <a:solidFill>
            <a:schemeClr val="tx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35" name="TextBox 34"/>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267523521"/>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5541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solidFill>
            <a:schemeClr val="accent1"/>
          </a:solidFill>
          <a:ln w="12700">
            <a:no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rPr>
              <a:t>Level 1 bullet</a:t>
            </a:r>
          </a:p>
          <a:p>
            <a:pPr marL="254000" lvl="2" indent="-114300" defTabSz="914400">
              <a:spcBef>
                <a:spcPts val="600"/>
              </a:spcBef>
              <a:buSzPct val="100000"/>
              <a:buFont typeface="Arial"/>
              <a:buChar char="−"/>
            </a:pPr>
            <a:r>
              <a:rPr lang="en-US" sz="1100" dirty="0">
                <a:solidFill>
                  <a:schemeClr val="tx1"/>
                </a:solidFill>
              </a:rPr>
              <a:t>Level 2 bullet</a:t>
            </a:r>
          </a:p>
          <a:p>
            <a:pPr marL="393700" lvl="3" indent="-114300" defTabSz="914400">
              <a:spcBef>
                <a:spcPts val="600"/>
              </a:spcBef>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1476375" y="2613582"/>
            <a:ext cx="2271713" cy="2894014"/>
          </a:xfrm>
          <a:prstGeom prst="homePlate">
            <a:avLst>
              <a:gd name="adj" fmla="val 26427"/>
            </a:avLst>
          </a:prstGeom>
          <a:solidFill>
            <a:schemeClr val="accent1"/>
          </a:solidFill>
          <a:ln w="12700">
            <a:no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ea typeface="+mn-ea"/>
                <a:cs typeface="+mn-cs"/>
              </a:rPr>
              <a:t>Level 1 bullet</a:t>
            </a:r>
          </a:p>
          <a:p>
            <a:pPr marL="254000" lvl="2" indent="-114300" defTabSz="914400">
              <a:spcBef>
                <a:spcPts val="600"/>
              </a:spcBef>
              <a:buSzPct val="100000"/>
              <a:buFont typeface="Arial"/>
              <a:buChar char="−"/>
            </a:pPr>
            <a:r>
              <a:rPr lang="en-US" sz="1100" dirty="0">
                <a:solidFill>
                  <a:schemeClr val="tx1"/>
                </a:solidFill>
                <a:ea typeface="+mn-ea"/>
                <a:cs typeface="+mn-cs"/>
              </a:rPr>
              <a:t>Level 2 bullet</a:t>
            </a:r>
          </a:p>
          <a:p>
            <a:pPr marL="393700" lvl="3" indent="-114300" defTabSz="914400">
              <a:spcBef>
                <a:spcPts val="600"/>
              </a:spcBef>
              <a:buSzPct val="100000"/>
              <a:buFont typeface="Arial"/>
              <a:buChar char="◦"/>
            </a:pPr>
            <a:r>
              <a:rPr lang="en-US" sz="1000" dirty="0">
                <a:solidFill>
                  <a:schemeClr val="tx1"/>
                </a:solidFill>
                <a:ea typeface="+mn-ea"/>
                <a:cs typeface="+mn-cs"/>
              </a:rPr>
              <a:t>Level 3 bullet</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5" name="Freeform 3"/>
          <p:cNvSpPr>
            <a:spLocks/>
          </p:cNvSpPr>
          <p:nvPr/>
        </p:nvSpPr>
        <p:spPr bwMode="blackWhite">
          <a:xfrm>
            <a:off x="3290888"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bg2"/>
          </a:solidFill>
          <a:ln w="12700" cap="rnd">
            <a:noFill/>
            <a:round/>
            <a:headEnd/>
            <a:tailEnd/>
          </a:ln>
        </p:spPr>
        <p:txBody>
          <a:bodyPr lIns="365760" tIns="91440" rIns="91440" bIns="91440" anchor="ctr"/>
          <a:lstStyle/>
          <a:p>
            <a:pPr marL="114300" lvl="1" indent="-114300">
              <a:spcBef>
                <a:spcPts val="600"/>
              </a:spcBef>
              <a:buSzPct val="100000"/>
              <a:buFont typeface="Arial"/>
              <a:buChar char="•"/>
            </a:pPr>
            <a:r>
              <a:rPr lang="en-US" sz="1100" dirty="0">
                <a:solidFill>
                  <a:schemeClr val="tx2"/>
                </a:solidFill>
              </a:rPr>
              <a:t>Level 1 bullet</a:t>
            </a:r>
          </a:p>
          <a:p>
            <a:pPr marL="254000" lvl="2" indent="-114300">
              <a:spcBef>
                <a:spcPts val="600"/>
              </a:spcBef>
              <a:buSzPct val="100000"/>
              <a:buFont typeface="Arial"/>
              <a:buChar char="−"/>
            </a:pPr>
            <a:r>
              <a:rPr lang="en-US" sz="1100" dirty="0">
                <a:solidFill>
                  <a:schemeClr val="tx2"/>
                </a:solidFill>
              </a:rPr>
              <a:t>Level 2 bullet</a:t>
            </a:r>
          </a:p>
          <a:p>
            <a:pPr marL="393700" lvl="3" indent="-114300">
              <a:spcBef>
                <a:spcPts val="600"/>
              </a:spcBef>
              <a:buSzPct val="100000"/>
              <a:buFont typeface="Arial"/>
              <a:buChar char="◦"/>
            </a:pPr>
            <a:r>
              <a:rPr lang="en-US" sz="1000" dirty="0">
                <a:solidFill>
                  <a:schemeClr val="tx2"/>
                </a:solidFill>
              </a:rPr>
              <a:t>Level 3 bullet</a:t>
            </a:r>
          </a:p>
        </p:txBody>
      </p:sp>
      <p:sp>
        <p:nvSpPr>
          <p:cNvPr id="18" name="Text Placeholder 5"/>
          <p:cNvSpPr txBox="1">
            <a:spLocks/>
          </p:cNvSpPr>
          <p:nvPr/>
        </p:nvSpPr>
        <p:spPr>
          <a:xfrm>
            <a:off x="3290887" y="4104244"/>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bg2"/>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13" name="TextBox 12"/>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Subtitle runs here</a:t>
            </a:r>
          </a:p>
        </p:txBody>
      </p:sp>
      <p:sp>
        <p:nvSpPr>
          <p:cNvPr id="811009" name="Title 1"/>
          <p:cNvSpPr>
            <a:spLocks noGrp="1"/>
          </p:cNvSpPr>
          <p:nvPr>
            <p:ph type="title"/>
          </p:nvPr>
        </p:nvSpPr>
        <p:spPr/>
        <p:txBody>
          <a:bodyPr/>
          <a:lstStyle/>
          <a:p>
            <a:r>
              <a:rPr lang="en-US" dirty="0"/>
              <a:t>Expansion</a:t>
            </a:r>
          </a:p>
        </p:txBody>
      </p:sp>
      <p:sp>
        <p:nvSpPr>
          <p:cNvPr id="4" name="Freeform 2"/>
          <p:cNvSpPr>
            <a:spLocks/>
          </p:cNvSpPr>
          <p:nvPr/>
        </p:nvSpPr>
        <p:spPr bwMode="blackWhite">
          <a:xfrm>
            <a:off x="5153025" y="1970509"/>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3"/>
          </a:solidFill>
          <a:ln w="12700" cap="rnd">
            <a:noFill/>
            <a:round/>
            <a:headEnd/>
            <a:tailEnd/>
          </a:ln>
        </p:spPr>
        <p:txBody>
          <a:bodyPr lIns="822960" tIns="91440" rIns="548640" bIns="987552" anchor="b"/>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811012" name="Freeform 3"/>
          <p:cNvSpPr>
            <a:spLocks/>
          </p:cNvSpPr>
          <p:nvPr/>
        </p:nvSpPr>
        <p:spPr bwMode="blackWhite">
          <a:xfrm>
            <a:off x="3060700" y="2811103"/>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75000"/>
              <a:lumOff val="25000"/>
            </a:schemeClr>
          </a:solidFill>
          <a:ln w="12700" cap="rnd">
            <a:noFill/>
            <a:round/>
            <a:headEnd/>
            <a:tailEnd/>
          </a:ln>
        </p:spPr>
        <p:txBody>
          <a:bodyPr lIns="822960" tIns="91440" rIns="457200" bIns="832104"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811013" name="Freeform 4"/>
          <p:cNvSpPr>
            <a:spLocks/>
          </p:cNvSpPr>
          <p:nvPr/>
        </p:nvSpPr>
        <p:spPr bwMode="blackWhite">
          <a:xfrm>
            <a:off x="969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accent5"/>
          </a:solidFill>
          <a:ln w="12700" cap="rnd">
            <a:noFill/>
            <a:round/>
            <a:headEnd/>
            <a:tailEnd/>
          </a:ln>
        </p:spPr>
        <p:txBody>
          <a:bodyPr lIns="182880" tIns="91440" rIns="36000" bIns="612648"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9" name="TextBox 8"/>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Subtitle runs here</a:t>
            </a:r>
            <a:endParaRPr lang="en-US" dirty="0"/>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908050" y="2099530"/>
            <a:ext cx="7292975" cy="3170237"/>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2"/>
          </a:solidFill>
          <a:ln w="12700" cap="rnd">
            <a:noFill/>
            <a:round/>
            <a:headEnd/>
            <a:tailEnd/>
          </a:ln>
        </p:spPr>
        <p:txBody>
          <a:bodyPr lIns="91440" tIns="640080" rIns="3708000" bIns="91440" anchor="ctr"/>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8" name="TextBox 7"/>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dirty="0"/>
              <a:t>Subtitle runs here</a:t>
            </a:r>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525588" y="2461846"/>
            <a:ext cx="6064250" cy="2881313"/>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36000" tIns="54864" rIns="36000" bIns="36000" anchor="ctr">
              <a:noAutofit/>
            </a:bodyPr>
            <a:lstStyle/>
            <a:p>
              <a:pPr algn="ctr">
                <a:defRPr/>
              </a:pPr>
              <a:r>
                <a:rPr lang="en-US" sz="1200"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36000" tIns="756000" rIns="36000" bIns="36000" anchor="ctr">
              <a:noAutofit/>
            </a:bodyPr>
            <a:lstStyle/>
            <a:p>
              <a:pPr algn="ctr">
                <a:defRPr/>
              </a:pPr>
              <a:r>
                <a:rPr lang="en-US" sz="1200"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324000" tIns="468000" rIns="36000" bIns="36000" anchor="ctr">
              <a:noAutofit/>
            </a:bodyPr>
            <a:lstStyle/>
            <a:p>
              <a:pPr algn="ctr">
                <a:defRPr/>
              </a:pPr>
              <a:r>
                <a:rPr lang="en-US" sz="1200"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36000" tIns="36000" rIns="36000" bIns="432000" anchor="ctr">
              <a:noAutofit/>
            </a:bodyPr>
            <a:lstStyle/>
            <a:p>
              <a:pPr algn="ctr">
                <a:defRPr/>
              </a:pPr>
              <a:r>
                <a:rPr lang="en-US" sz="1200"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36000" tIns="54864" rIns="36000" bIns="365760" anchor="ctr">
              <a:noAutofit/>
            </a:bodyPr>
            <a:lstStyle/>
            <a:p>
              <a:pPr algn="ctr">
                <a:defRPr/>
              </a:pPr>
              <a:r>
                <a:rPr lang="en-US" sz="1200"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36000" tIns="36000" rIns="36000" bIns="504000" anchor="ctr">
              <a:noAutofit/>
            </a:bodyPr>
            <a:lstStyle/>
            <a:p>
              <a:pPr algn="ctr">
                <a:defRPr/>
              </a:pPr>
              <a:r>
                <a:rPr lang="en-US" sz="1200"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36000" tIns="36000" rIns="504000" bIns="36000" anchor="ctr">
              <a:noAutofit/>
            </a:bodyPr>
            <a:lstStyle/>
            <a:p>
              <a:pPr algn="ctr">
                <a:defRPr/>
              </a:pPr>
              <a:r>
                <a:rPr lang="en-US" sz="1200"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36000" tIns="36000" rIns="36000" bIns="468000" anchor="ctr">
              <a:noAutofit/>
            </a:bodyPr>
            <a:lstStyle/>
            <a:p>
              <a:pPr algn="ctr">
                <a:defRPr/>
              </a:pPr>
              <a:r>
                <a:rPr lang="en-US" sz="1200" dirty="0"/>
                <a:t>Text</a:t>
              </a:r>
            </a:p>
          </p:txBody>
        </p:sp>
      </p:grpSp>
      <p:sp>
        <p:nvSpPr>
          <p:cNvPr id="16" name="TextBox 1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Cutout</a:t>
            </a:r>
          </a:p>
        </p:txBody>
      </p:sp>
      <p:sp>
        <p:nvSpPr>
          <p:cNvPr id="13" name="Freeform 2"/>
          <p:cNvSpPr>
            <a:spLocks/>
          </p:cNvSpPr>
          <p:nvPr/>
        </p:nvSpPr>
        <p:spPr bwMode="blackWhite">
          <a:xfrm>
            <a:off x="2249488"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36000" tIns="36000" rIns="36000" bIns="36000">
            <a:noAutofit/>
          </a:bodyPr>
          <a:lstStyle/>
          <a:p>
            <a:pPr>
              <a:defRPr/>
            </a:pPr>
            <a:endParaRPr lang="en-US" sz="1400" dirty="0"/>
          </a:p>
        </p:txBody>
      </p:sp>
      <p:sp>
        <p:nvSpPr>
          <p:cNvPr id="16" name="Rectangle 3"/>
          <p:cNvSpPr>
            <a:spLocks noChangeArrowheads="1"/>
          </p:cNvSpPr>
          <p:nvPr/>
        </p:nvSpPr>
        <p:spPr bwMode="auto">
          <a:xfrm>
            <a:off x="2389188" y="2361002"/>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7" name="Rectangle 4"/>
          <p:cNvSpPr>
            <a:spLocks noChangeArrowheads="1"/>
          </p:cNvSpPr>
          <p:nvPr/>
        </p:nvSpPr>
        <p:spPr bwMode="auto">
          <a:xfrm>
            <a:off x="2389188" y="3779433"/>
            <a:ext cx="8509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8" name="Rectangle 5"/>
          <p:cNvSpPr>
            <a:spLocks noChangeArrowheads="1"/>
          </p:cNvSpPr>
          <p:nvPr/>
        </p:nvSpPr>
        <p:spPr bwMode="auto">
          <a:xfrm>
            <a:off x="3600450" y="3779433"/>
            <a:ext cx="29464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9" name="Rectangle 6"/>
          <p:cNvSpPr>
            <a:spLocks noChangeArrowheads="1"/>
          </p:cNvSpPr>
          <p:nvPr/>
        </p:nvSpPr>
        <p:spPr bwMode="auto">
          <a:xfrm>
            <a:off x="2389188" y="5183577"/>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1" name="TextBox 10"/>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sp>
        <p:nvSpPr>
          <p:cNvPr id="14" name="Freeform 3"/>
          <p:cNvSpPr>
            <a:spLocks/>
          </p:cNvSpPr>
          <p:nvPr/>
        </p:nvSpPr>
        <p:spPr bwMode="blackWhite">
          <a:xfrm>
            <a:off x="2312746" y="2286000"/>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36000" tIns="36000" rIns="36000" bIns="36000">
            <a:noAutofit/>
          </a:bodyPr>
          <a:lstStyle/>
          <a:p>
            <a:pPr>
              <a:defRPr/>
            </a:pPr>
            <a:endParaRPr lang="en-US" dirty="0"/>
          </a:p>
        </p:txBody>
      </p:sp>
      <p:sp>
        <p:nvSpPr>
          <p:cNvPr id="15" name="Freeform 4"/>
          <p:cNvSpPr>
            <a:spLocks/>
          </p:cNvSpPr>
          <p:nvPr/>
        </p:nvSpPr>
        <p:spPr bwMode="blackWhite">
          <a:xfrm>
            <a:off x="439738" y="2671804"/>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0" name="Freeform 5"/>
          <p:cNvSpPr>
            <a:spLocks/>
          </p:cNvSpPr>
          <p:nvPr/>
        </p:nvSpPr>
        <p:spPr bwMode="blackWhite">
          <a:xfrm>
            <a:off x="439738" y="3874801"/>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2" name="Rectangle 6"/>
          <p:cNvSpPr>
            <a:spLocks noChangeArrowheads="1"/>
          </p:cNvSpPr>
          <p:nvPr/>
        </p:nvSpPr>
        <p:spPr bwMode="auto">
          <a:xfrm>
            <a:off x="528183" y="3272865"/>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3" name="Rectangle 7"/>
          <p:cNvSpPr>
            <a:spLocks noChangeArrowheads="1"/>
          </p:cNvSpPr>
          <p:nvPr/>
        </p:nvSpPr>
        <p:spPr bwMode="auto">
          <a:xfrm>
            <a:off x="528183" y="3988881"/>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4" name="Rectangle 8"/>
          <p:cNvSpPr>
            <a:spLocks noChangeArrowheads="1"/>
          </p:cNvSpPr>
          <p:nvPr/>
        </p:nvSpPr>
        <p:spPr bwMode="auto">
          <a:xfrm>
            <a:off x="2832218" y="2784772"/>
            <a:ext cx="1283005"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6" name="Freeform 25"/>
          <p:cNvSpPr>
            <a:spLocks/>
          </p:cNvSpPr>
          <p:nvPr/>
        </p:nvSpPr>
        <p:spPr bwMode="blackWhite">
          <a:xfrm>
            <a:off x="4748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sz="1400" dirty="0"/>
          </a:p>
        </p:txBody>
      </p:sp>
      <p:sp>
        <p:nvSpPr>
          <p:cNvPr id="27" name="Freeform 26"/>
          <p:cNvSpPr>
            <a:spLocks/>
          </p:cNvSpPr>
          <p:nvPr/>
        </p:nvSpPr>
        <p:spPr bwMode="blackWhite">
          <a:xfrm>
            <a:off x="4748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dirty="0"/>
          </a:p>
        </p:txBody>
      </p:sp>
      <p:sp>
        <p:nvSpPr>
          <p:cNvPr id="28" name="Rectangle 13"/>
          <p:cNvSpPr>
            <a:spLocks noChangeArrowheads="1"/>
          </p:cNvSpPr>
          <p:nvPr/>
        </p:nvSpPr>
        <p:spPr bwMode="auto">
          <a:xfrm>
            <a:off x="4869465" y="2833635"/>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9" name="Rectangle 14"/>
          <p:cNvSpPr>
            <a:spLocks noChangeArrowheads="1"/>
          </p:cNvSpPr>
          <p:nvPr/>
        </p:nvSpPr>
        <p:spPr bwMode="auto">
          <a:xfrm>
            <a:off x="4869465" y="3736649"/>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30" name="Rectangle 15"/>
          <p:cNvSpPr>
            <a:spLocks noChangeArrowheads="1"/>
          </p:cNvSpPr>
          <p:nvPr/>
        </p:nvSpPr>
        <p:spPr bwMode="auto">
          <a:xfrm>
            <a:off x="4869465" y="4318666"/>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17" name="TextBox 16"/>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376238" y="1976438"/>
            <a:ext cx="6410325" cy="2105024"/>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792000" tIns="36000" rIns="792000" bIns="3600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648000" tIns="36000" rIns="684000" bIns="3600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468000" tIns="36000" rIns="504000" bIns="3600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91440" tIns="36000" rIns="396000" bIns="36000" anchor="ctr">
              <a:noAutofit/>
            </a:bodyPr>
            <a:lstStyle/>
            <a:p>
              <a:r>
                <a:rPr lang="en-US" sz="1200" dirty="0"/>
                <a:t>Text</a:t>
              </a:r>
            </a:p>
          </p:txBody>
        </p:sp>
      </p:grpSp>
      <p:grpSp>
        <p:nvGrpSpPr>
          <p:cNvPr id="4" name="Group 3"/>
          <p:cNvGrpSpPr/>
          <p:nvPr/>
        </p:nvGrpSpPr>
        <p:grpSpPr>
          <a:xfrm>
            <a:off x="2467292" y="4168887"/>
            <a:ext cx="6297613" cy="2172335"/>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684000" tIns="36000" rIns="612000" bIns="3600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612000" tIns="36000" rIns="612000" bIns="3600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91440" tIns="36000" rIns="540000" bIns="36000" anchor="ctr">
              <a:noAutofit/>
            </a:bodyPr>
            <a:lstStyle/>
            <a:p>
              <a:r>
                <a:rPr lang="en-US" sz="1200" dirty="0">
                  <a:solidFill>
                    <a:schemeClr val="bg1"/>
                  </a:solidFill>
                </a:rPr>
                <a:t>Text</a:t>
              </a:r>
            </a:p>
          </p:txBody>
        </p:sp>
      </p:grpSp>
      <p:sp>
        <p:nvSpPr>
          <p:cNvPr id="16" name="TextBox 1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96000" y="651600"/>
            <a:ext cx="8352000" cy="757255"/>
          </a:xfrm>
        </p:spPr>
        <p:txBody>
          <a:bodyPr/>
          <a:lstStyle/>
          <a:p>
            <a:r>
              <a:rPr lang="en-US"/>
              <a:t>Page subtitle</a:t>
            </a:r>
            <a:endParaRPr lang="en-US" dirty="0"/>
          </a:p>
        </p:txBody>
      </p:sp>
      <p:sp>
        <p:nvSpPr>
          <p:cNvPr id="3" name="Title 2"/>
          <p:cNvSpPr>
            <a:spLocks noGrp="1"/>
          </p:cNvSpPr>
          <p:nvPr>
            <p:ph type="title"/>
          </p:nvPr>
        </p:nvSpPr>
        <p:spPr/>
        <p:txBody>
          <a:bodyPr/>
          <a:lstStyle/>
          <a:p>
            <a:r>
              <a:rPr lang="en-US"/>
              <a:t>Text boxes with arrows</a:t>
            </a:r>
            <a:endParaRPr lang="en-US" dirty="0"/>
          </a:p>
        </p:txBody>
      </p:sp>
      <p:sp>
        <p:nvSpPr>
          <p:cNvPr id="8" name="Pentagon 7"/>
          <p:cNvSpPr/>
          <p:nvPr/>
        </p:nvSpPr>
        <p:spPr bwMode="gray">
          <a:xfrm>
            <a:off x="396000" y="1360890"/>
            <a:ext cx="2482838" cy="8229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Text runs here</a:t>
            </a:r>
          </a:p>
        </p:txBody>
      </p:sp>
      <p:sp>
        <p:nvSpPr>
          <p:cNvPr id="9" name="Text Placeholder 3"/>
          <p:cNvSpPr txBox="1">
            <a:spLocks/>
          </p:cNvSpPr>
          <p:nvPr/>
        </p:nvSpPr>
        <p:spPr bwMode="gray">
          <a:xfrm>
            <a:off x="3001560" y="3649406"/>
            <a:ext cx="5760720" cy="822960"/>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p:txBody>
      </p:sp>
      <p:sp>
        <p:nvSpPr>
          <p:cNvPr id="10" name="Pentagon 9"/>
          <p:cNvSpPr/>
          <p:nvPr/>
        </p:nvSpPr>
        <p:spPr bwMode="gray">
          <a:xfrm>
            <a:off x="396000" y="3649406"/>
            <a:ext cx="2482838" cy="8229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Text runs here</a:t>
            </a:r>
          </a:p>
        </p:txBody>
      </p:sp>
      <p:sp>
        <p:nvSpPr>
          <p:cNvPr id="11" name="Text Placeholder 3"/>
          <p:cNvSpPr txBox="1">
            <a:spLocks/>
          </p:cNvSpPr>
          <p:nvPr/>
        </p:nvSpPr>
        <p:spPr bwMode="gray">
          <a:xfrm>
            <a:off x="3001560" y="4793341"/>
            <a:ext cx="5760720" cy="822960"/>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p:txBody>
      </p:sp>
      <p:sp>
        <p:nvSpPr>
          <p:cNvPr id="12" name="Pentagon 11"/>
          <p:cNvSpPr/>
          <p:nvPr/>
        </p:nvSpPr>
        <p:spPr bwMode="gray">
          <a:xfrm>
            <a:off x="396000" y="4793341"/>
            <a:ext cx="2482838" cy="8229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Text runs here</a:t>
            </a:r>
          </a:p>
        </p:txBody>
      </p:sp>
      <p:sp>
        <p:nvSpPr>
          <p:cNvPr id="13" name="Text Placeholder 3"/>
          <p:cNvSpPr txBox="1">
            <a:spLocks/>
          </p:cNvSpPr>
          <p:nvPr/>
        </p:nvSpPr>
        <p:spPr bwMode="gray">
          <a:xfrm>
            <a:off x="3001560" y="1360890"/>
            <a:ext cx="5760720" cy="8356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lvl="1" indent="-114300">
              <a:spcBef>
                <a:spcPts val="600"/>
              </a:spcBef>
              <a:buSzPct val="100000"/>
              <a:buFont typeface="Arial"/>
              <a:buChar char="•"/>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lvl="1" indent="-114300">
              <a:spcBef>
                <a:spcPts val="600"/>
              </a:spcBef>
              <a:buSzPct val="100000"/>
              <a:buFont typeface="Arial"/>
              <a:buChar char="•"/>
              <a:defRPr/>
            </a:pPr>
            <a:r>
              <a:rPr kumimoji="0" lang="en-US" sz="1100" b="0" i="0" u="none" strike="noStrike" kern="1200" cap="none" spc="0" normalizeH="0" baseline="0" noProof="0" dirty="0">
                <a:ln>
                  <a:noFill/>
                </a:ln>
                <a:effectLst/>
                <a:uLnTx/>
                <a:uFillTx/>
                <a:ea typeface="+mn-ea"/>
                <a:cs typeface="+mn-cs"/>
              </a:rPr>
              <a:t>This is dummy text it is not here to be read</a:t>
            </a:r>
          </a:p>
        </p:txBody>
      </p:sp>
      <p:sp>
        <p:nvSpPr>
          <p:cNvPr id="14" name="Pentagon 13"/>
          <p:cNvSpPr/>
          <p:nvPr/>
        </p:nvSpPr>
        <p:spPr bwMode="gray">
          <a:xfrm>
            <a:off x="396000" y="2505148"/>
            <a:ext cx="2482838" cy="82296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Text runs here</a:t>
            </a:r>
          </a:p>
        </p:txBody>
      </p:sp>
      <p:sp>
        <p:nvSpPr>
          <p:cNvPr id="15" name="Text Placeholder 3"/>
          <p:cNvSpPr txBox="1">
            <a:spLocks/>
          </p:cNvSpPr>
          <p:nvPr/>
        </p:nvSpPr>
        <p:spPr bwMode="gray">
          <a:xfrm>
            <a:off x="3001560" y="2505148"/>
            <a:ext cx="5760720" cy="822960"/>
          </a:xfrm>
          <a:prstGeom prst="rect">
            <a:avLst/>
          </a:prstGeom>
        </p:spPr>
        <p:txBody>
          <a:bodyPr vert="horz" lIns="0" tIns="0" rIns="0" bIns="0" rtlCol="0">
            <a:noAutofit/>
          </a:bodyPr>
          <a:lstStyle/>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a:p>
            <a:pPr marL="114300" marR="0" lvl="1" indent="-114300" defTabSz="914400" rtl="0" eaLnBrk="1" fontAlgn="auto" latinLnBrk="0" hangingPunct="1">
              <a:lnSpc>
                <a:spcPct val="100000"/>
              </a:lnSpc>
              <a:spcBef>
                <a:spcPts val="600"/>
              </a:spcBef>
              <a:spcAft>
                <a:spcPts val="0"/>
              </a:spcAft>
              <a:buSzPct val="100000"/>
              <a:buFont typeface="Arial"/>
              <a:buChar char="•"/>
              <a:tabLst/>
              <a:defRPr/>
            </a:pPr>
            <a:r>
              <a:rPr kumimoji="0" lang="en-US" sz="1100" b="0" i="0" u="none" strike="noStrike" kern="1200" cap="none" spc="0" normalizeH="0" baseline="0" noProof="0" dirty="0">
                <a:ln>
                  <a:noFill/>
                </a:ln>
                <a:effectLst/>
                <a:uLnTx/>
                <a:uFillTx/>
                <a:ea typeface="+mn-ea"/>
                <a:cs typeface="+mn-cs"/>
              </a:rPr>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Subtitle runs here</a:t>
            </a:r>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1266091" y="2192052"/>
            <a:ext cx="6276975" cy="3919837"/>
            <a:chOff x="941167" y="1923256"/>
            <a:chExt cx="6707408" cy="4188633"/>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dirty="0"/>
            </a:p>
          </p:txBody>
        </p:sp>
        <p:sp>
          <p:nvSpPr>
            <p:cNvPr id="817159" name="Rectangle 6"/>
            <p:cNvSpPr>
              <a:spLocks noChangeArrowheads="1"/>
            </p:cNvSpPr>
            <p:nvPr/>
          </p:nvSpPr>
          <p:spPr bwMode="auto">
            <a:xfrm>
              <a:off x="941167" y="1923256"/>
              <a:ext cx="351058" cy="175433"/>
            </a:xfrm>
            <a:prstGeom prst="rect">
              <a:avLst/>
            </a:prstGeom>
            <a:noFill/>
            <a:ln w="9525">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987654" y="5622131"/>
              <a:ext cx="304571" cy="17543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284817" y="5936456"/>
              <a:ext cx="351058" cy="17543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657579" y="5936456"/>
              <a:ext cx="304571" cy="17543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p>
          </p:txBody>
        </p:sp>
      </p:grpSp>
      <p:sp>
        <p:nvSpPr>
          <p:cNvPr id="16" name="TextBox 1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19113" y="2435065"/>
            <a:ext cx="6292850" cy="2543335"/>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noFill/>
              <a:round/>
              <a:headEnd/>
              <a:tailEnd/>
            </a:ln>
          </p:spPr>
          <p:txBody>
            <a:bodyPr rot="10800000" vert="eaVert" wrap="none" anchor="ctr"/>
            <a:lstStyle/>
            <a:p>
              <a:pPr algn="ctr">
                <a:defRPr/>
              </a:pPr>
              <a:endParaRPr lang="en-US"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ea typeface="ＭＳ Ｐゴシック" charset="-128"/>
                </a:rPr>
                <a:t>Text</a:t>
              </a:r>
            </a:p>
          </p:txBody>
        </p:sp>
      </p:grpSp>
      <p:grpSp>
        <p:nvGrpSpPr>
          <p:cNvPr id="6" name="Group 5"/>
          <p:cNvGrpSpPr/>
          <p:nvPr/>
        </p:nvGrpSpPr>
        <p:grpSpPr>
          <a:xfrm>
            <a:off x="653317" y="3203282"/>
            <a:ext cx="4606925" cy="2001838"/>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sp>
        <p:nvSpPr>
          <p:cNvPr id="5" name="Text Placeholder 4"/>
          <p:cNvSpPr>
            <a:spLocks noGrp="1"/>
          </p:cNvSpPr>
          <p:nvPr>
            <p:ph type="body" sz="quarter" idx="13"/>
          </p:nvPr>
        </p:nvSpPr>
        <p:spPr/>
        <p:txBody>
          <a:bodyPr/>
          <a:lstStyle/>
          <a:p>
            <a:r>
              <a:rPr lang="en-US" dirty="0"/>
              <a:t>Subtitle runs here</a:t>
            </a:r>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809747" y="4084955"/>
            <a:ext cx="2765425" cy="126682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36000" tIns="36000" rIns="36000" bIns="36000" anchor="ctr"/>
            <a:lstStyle/>
            <a:p>
              <a:pPr algn="ctr"/>
              <a:endParaRPr lang="en-US" sz="1400"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2" name="Group 1"/>
          <p:cNvGrpSpPr/>
          <p:nvPr/>
        </p:nvGrpSpPr>
        <p:grpSpPr>
          <a:xfrm>
            <a:off x="923437" y="4687497"/>
            <a:ext cx="1601788" cy="731837"/>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8" name="Group 7"/>
          <p:cNvGrpSpPr/>
          <p:nvPr/>
        </p:nvGrpSpPr>
        <p:grpSpPr>
          <a:xfrm>
            <a:off x="1972994" y="5200649"/>
            <a:ext cx="3393349" cy="994729"/>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36000" tIns="36000" rIns="36000" bIns="36000" anchor="ctr"/>
            <a:lstStyle/>
            <a:p>
              <a:pPr>
                <a:defRPr/>
              </a:pPr>
              <a:endParaRPr lang="en-US" dirty="0"/>
            </a:p>
          </p:txBody>
        </p:sp>
      </p:grpSp>
      <p:grpSp>
        <p:nvGrpSpPr>
          <p:cNvPr id="9" name="Group 8"/>
          <p:cNvGrpSpPr/>
          <p:nvPr/>
        </p:nvGrpSpPr>
        <p:grpSpPr>
          <a:xfrm>
            <a:off x="3046290" y="4383307"/>
            <a:ext cx="3756025" cy="1058863"/>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0" name="Group 9"/>
          <p:cNvGrpSpPr/>
          <p:nvPr/>
        </p:nvGrpSpPr>
        <p:grpSpPr>
          <a:xfrm>
            <a:off x="4217744" y="3544130"/>
            <a:ext cx="3616881" cy="1037432"/>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1" name="Group 10"/>
          <p:cNvGrpSpPr/>
          <p:nvPr/>
        </p:nvGrpSpPr>
        <p:grpSpPr>
          <a:xfrm>
            <a:off x="5747117" y="2591752"/>
            <a:ext cx="3022570" cy="827119"/>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sp>
        <p:nvSpPr>
          <p:cNvPr id="34" name="TextBox 33"/>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904875" y="2208456"/>
            <a:ext cx="7273925" cy="3838575"/>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91440" tIns="91440" rIns="91440" bIns="91440"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91440" tIns="91440" rIns="91440" bIns="91440" anchor="ctr"/>
            <a:lstStyle/>
            <a:p>
              <a:pPr algn="ctr"/>
              <a:r>
                <a:rPr lang="en-US" altLang="ja-JP" sz="1200" dirty="0">
                  <a:ea typeface="ＭＳ Ｐゴシック" charset="-128"/>
                </a:rPr>
                <a:t>Step 1</a:t>
              </a:r>
            </a:p>
          </p:txBody>
        </p:sp>
      </p:grpSp>
      <p:sp>
        <p:nvSpPr>
          <p:cNvPr id="11" name="TextBox 10"/>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876300" y="2310546"/>
            <a:ext cx="7407275" cy="2882900"/>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36000" tIns="36000" rIns="36000" bIns="36000" anchor="ctr"/>
            <a:lstStyle/>
            <a:p>
              <a:pPr>
                <a:defRPr/>
              </a:pPr>
              <a:endParaRPr lang="en-US" sz="1400" dirty="0"/>
            </a:p>
          </p:txBody>
        </p:sp>
        <p:sp>
          <p:nvSpPr>
            <p:cNvPr id="820228" name="Rectangle 4"/>
            <p:cNvSpPr>
              <a:spLocks noChangeArrowheads="1"/>
            </p:cNvSpPr>
            <p:nvPr/>
          </p:nvSpPr>
          <p:spPr bwMode="auto">
            <a:xfrm>
              <a:off x="6515099" y="377190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36000" tIns="36000" rIns="36000" bIns="36000" anchor="ctr"/>
            <a:lstStyle/>
            <a:p>
              <a:pPr>
                <a:defRPr/>
              </a:pPr>
              <a:endParaRPr lang="en-US" sz="1400" dirty="0"/>
            </a:p>
          </p:txBody>
        </p:sp>
        <p:sp>
          <p:nvSpPr>
            <p:cNvPr id="820230" name="Rectangle 6"/>
            <p:cNvSpPr>
              <a:spLocks noChangeArrowheads="1"/>
            </p:cNvSpPr>
            <p:nvPr/>
          </p:nvSpPr>
          <p:spPr bwMode="auto">
            <a:xfrm>
              <a:off x="4724400" y="321945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36000" tIns="36000" rIns="36000" bIns="36000" anchor="ctr"/>
            <a:lstStyle/>
            <a:p>
              <a:endParaRPr lang="en-US" sz="1400" dirty="0"/>
            </a:p>
          </p:txBody>
        </p:sp>
        <p:sp>
          <p:nvSpPr>
            <p:cNvPr id="820232" name="Rectangle 8"/>
            <p:cNvSpPr>
              <a:spLocks noChangeArrowheads="1"/>
            </p:cNvSpPr>
            <p:nvPr/>
          </p:nvSpPr>
          <p:spPr bwMode="auto">
            <a:xfrm>
              <a:off x="2943224" y="2670176"/>
              <a:ext cx="1078992" cy="166199"/>
            </a:xfrm>
            <a:prstGeom prst="rect">
              <a:avLst/>
            </a:prstGeom>
            <a:noFill/>
            <a:ln w="9525">
              <a:noFill/>
              <a:miter lim="800000"/>
              <a:headEnd/>
              <a:tailEnd/>
            </a:ln>
          </p:spPr>
          <p:txBody>
            <a:bodyPr lIns="0" tIns="0" rIns="0" bIns="0">
              <a:spAutoFit/>
            </a:bodyPr>
            <a:lstStyle/>
            <a:p>
              <a:pPr algn="ctr" defTabSz="536575">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36000" tIns="36000" rIns="36000" bIns="36000" anchor="ctr"/>
            <a:lstStyle/>
            <a:p>
              <a:endParaRPr lang="en-US" sz="1400" dirty="0"/>
            </a:p>
          </p:txBody>
        </p:sp>
        <p:sp>
          <p:nvSpPr>
            <p:cNvPr id="820234" name="Rectangle 10"/>
            <p:cNvSpPr>
              <a:spLocks noChangeArrowheads="1"/>
            </p:cNvSpPr>
            <p:nvPr/>
          </p:nvSpPr>
          <p:spPr bwMode="gray">
            <a:xfrm>
              <a:off x="895350" y="2122488"/>
              <a:ext cx="1338263"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grpSp>
      <p:sp>
        <p:nvSpPr>
          <p:cNvPr id="14" name="TextBox 13"/>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1905307" y="2249000"/>
            <a:ext cx="5295900" cy="3600450"/>
            <a:chOff x="1905307" y="1976438"/>
            <a:chExt cx="5295900" cy="3600450"/>
          </a:xfrm>
        </p:grpSpPr>
        <p:sp>
          <p:nvSpPr>
            <p:cNvPr id="54" name="Oval 2"/>
            <p:cNvSpPr>
              <a:spLocks noChangeArrowheads="1"/>
            </p:cNvSpPr>
            <p:nvPr/>
          </p:nvSpPr>
          <p:spPr bwMode="auto">
            <a:xfrm>
              <a:off x="5534332" y="3870325"/>
              <a:ext cx="1666875" cy="766763"/>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58" name="Oval 57"/>
            <p:cNvSpPr>
              <a:spLocks noChangeArrowheads="1"/>
            </p:cNvSpPr>
            <p:nvPr/>
          </p:nvSpPr>
          <p:spPr bwMode="auto">
            <a:xfrm>
              <a:off x="4727882" y="4810125"/>
              <a:ext cx="1668463" cy="766763"/>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59" name="Oval 58"/>
            <p:cNvSpPr>
              <a:spLocks noChangeArrowheads="1"/>
            </p:cNvSpPr>
            <p:nvPr/>
          </p:nvSpPr>
          <p:spPr bwMode="auto">
            <a:xfrm>
              <a:off x="3607107" y="3078163"/>
              <a:ext cx="1919288" cy="1233487"/>
            </a:xfrm>
            <a:prstGeom prst="ellipse">
              <a:avLst/>
            </a:prstGeom>
            <a:solidFill>
              <a:schemeClr val="accent1"/>
            </a:solidFill>
            <a:ln w="6350">
              <a:noFill/>
              <a:round/>
              <a:headEnd/>
              <a:tailEnd/>
            </a:ln>
          </p:spPr>
          <p:txBody>
            <a:bodyPr lIns="36000" tIns="36000" rIns="36000" bIns="3600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33314" y="1976438"/>
              <a:ext cx="1666875" cy="766762"/>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61" name="Oval 60"/>
            <p:cNvSpPr>
              <a:spLocks noChangeArrowheads="1"/>
            </p:cNvSpPr>
            <p:nvPr/>
          </p:nvSpPr>
          <p:spPr bwMode="auto">
            <a:xfrm>
              <a:off x="5534332" y="2741613"/>
              <a:ext cx="1666875" cy="768350"/>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62" name="Oval 61"/>
            <p:cNvSpPr>
              <a:spLocks noChangeArrowheads="1"/>
            </p:cNvSpPr>
            <p:nvPr/>
          </p:nvSpPr>
          <p:spPr bwMode="auto">
            <a:xfrm>
              <a:off x="1905307" y="2741613"/>
              <a:ext cx="1666875" cy="768350"/>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sp>
          <p:nvSpPr>
            <p:cNvPr id="63" name="Oval 62"/>
            <p:cNvSpPr>
              <a:spLocks noChangeArrowheads="1"/>
            </p:cNvSpPr>
            <p:nvPr/>
          </p:nvSpPr>
          <p:spPr bwMode="auto">
            <a:xfrm>
              <a:off x="1905307" y="3870325"/>
              <a:ext cx="1666875" cy="766763"/>
            </a:xfrm>
            <a:prstGeom prst="ellipse">
              <a:avLst/>
            </a:prstGeom>
            <a:solidFill>
              <a:schemeClr val="bg2"/>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ea typeface="ＭＳ Ｐゴシック" pitchFamily="50" charset="-128"/>
                </a:rPr>
                <a:t>Text</a:t>
              </a:r>
            </a:p>
          </p:txBody>
        </p:sp>
        <p:cxnSp>
          <p:nvCxnSpPr>
            <p:cNvPr id="64" name="AutoShape 13"/>
            <p:cNvCxnSpPr>
              <a:cxnSpLocks noChangeShapeType="1"/>
              <a:stCxn id="59" idx="0"/>
              <a:endCxn id="60" idx="4"/>
            </p:cNvCxnSpPr>
            <p:nvPr/>
          </p:nvCxnSpPr>
          <p:spPr bwMode="auto">
            <a:xfrm rot="5400000" flipH="1" flipV="1">
              <a:off x="4399270" y="2910682"/>
              <a:ext cx="334963" cy="1"/>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a:off x="4381807" y="5194300"/>
              <a:ext cx="346075" cy="0"/>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00189" y="2359819"/>
              <a:ext cx="967581" cy="381794"/>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67770" y="3509963"/>
              <a:ext cx="0" cy="360362"/>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52004" y="4637088"/>
              <a:ext cx="215766" cy="285327"/>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8745" y="4637088"/>
              <a:ext cx="220662" cy="285750"/>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rot="5400000">
              <a:off x="2558564" y="3690144"/>
              <a:ext cx="360362" cy="1588"/>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rot="5400000" flipH="1" flipV="1">
              <a:off x="3045132" y="2053432"/>
              <a:ext cx="381794" cy="994569"/>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rot="5400000">
              <a:off x="3668833" y="4034359"/>
              <a:ext cx="122697" cy="315998"/>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rot="16200000" flipH="1">
              <a:off x="5328479" y="4047853"/>
              <a:ext cx="122697" cy="289010"/>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rot="5400000" flipH="1" flipV="1">
              <a:off x="5323320" y="3047791"/>
              <a:ext cx="133015" cy="289010"/>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125788"/>
              <a:ext cx="315998" cy="133015"/>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30" name="TextBox 29"/>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2273" name="Title 1"/>
          <p:cNvSpPr>
            <a:spLocks noGrp="1"/>
          </p:cNvSpPr>
          <p:nvPr>
            <p:ph type="title"/>
          </p:nvPr>
        </p:nvSpPr>
        <p:spPr/>
        <p:txBody>
          <a:bodyPr/>
          <a:lstStyle/>
          <a:p>
            <a:r>
              <a:rPr lang="en-US" dirty="0"/>
              <a:t>Leverage</a:t>
            </a:r>
          </a:p>
        </p:txBody>
      </p:sp>
      <p:sp>
        <p:nvSpPr>
          <p:cNvPr id="10" name="Freeform 3"/>
          <p:cNvSpPr>
            <a:spLocks/>
          </p:cNvSpPr>
          <p:nvPr/>
        </p:nvSpPr>
        <p:spPr bwMode="blackWhite">
          <a:xfrm>
            <a:off x="4167188"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accent6"/>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2116138" y="4296728"/>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accent6"/>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5801043" y="4079558"/>
            <a:ext cx="1224000" cy="1224000"/>
          </a:xfrm>
          <a:prstGeom prst="ellipse">
            <a:avLst/>
          </a:prstGeom>
          <a:solidFill>
            <a:schemeClr val="accent3"/>
          </a:solidFill>
          <a:ln w="12700">
            <a:solidFill>
              <a:schemeClr val="bg1"/>
            </a:solidFill>
            <a:round/>
            <a:headEnd/>
            <a:tailEnd/>
          </a:ln>
        </p:spPr>
        <p:txBody>
          <a:bodyPr wrap="square" lIns="91440" tIns="91440" rIns="91440" bIns="91440" anchor="ctr"/>
          <a:lstStyle/>
          <a:p>
            <a:pPr algn="ctr"/>
            <a:r>
              <a:rPr lang="en-US" sz="1200" dirty="0"/>
              <a:t>Text</a:t>
            </a:r>
          </a:p>
        </p:txBody>
      </p:sp>
      <p:sp>
        <p:nvSpPr>
          <p:cNvPr id="13" name="Arc 6"/>
          <p:cNvSpPr>
            <a:spLocks/>
          </p:cNvSpPr>
          <p:nvPr/>
        </p:nvSpPr>
        <p:spPr bwMode="blackWhite">
          <a:xfrm>
            <a:off x="2235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accent6"/>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3098800" y="2629853"/>
            <a:ext cx="338138" cy="355600"/>
          </a:xfrm>
          <a:prstGeom prst="ellipse">
            <a:avLst/>
          </a:prstGeom>
          <a:solidFill>
            <a:schemeClr val="accent3"/>
          </a:solidFill>
          <a:ln w="12700">
            <a:solidFill>
              <a:schemeClr val="bg1"/>
            </a:solidFill>
            <a:round/>
            <a:headEnd/>
            <a:tailEnd/>
          </a:ln>
        </p:spPr>
        <p:txBody>
          <a:bodyPr wrap="none" lIns="36000" tIns="36000" rIns="36000" bIns="36000" anchor="ctr"/>
          <a:lstStyle/>
          <a:p>
            <a:pPr algn="ctr"/>
            <a:endParaRPr lang="en-US" sz="1400" dirty="0"/>
          </a:p>
        </p:txBody>
      </p:sp>
      <p:sp>
        <p:nvSpPr>
          <p:cNvPr id="822280" name="Rectangle 8"/>
          <p:cNvSpPr>
            <a:spLocks noChangeArrowheads="1"/>
          </p:cNvSpPr>
          <p:nvPr/>
        </p:nvSpPr>
        <p:spPr bwMode="auto">
          <a:xfrm>
            <a:off x="2901950" y="2308856"/>
            <a:ext cx="731838" cy="175433"/>
          </a:xfrm>
          <a:prstGeom prst="rect">
            <a:avLst/>
          </a:prstGeom>
          <a:noFill/>
          <a:ln w="9525">
            <a:noFill/>
            <a:miter lim="800000"/>
            <a:headEnd/>
            <a:tailEnd/>
          </a:ln>
        </p:spPr>
        <p:txBody>
          <a:bodyPr lIns="0" tIns="0" rIns="0" bIns="0" anchor="b" anchorCtr="0">
            <a:spAutoFit/>
          </a:bodyPr>
          <a:lstStyle/>
          <a:p>
            <a:pPr algn="ctr" defTabSz="787400">
              <a:lnSpc>
                <a:spcPct val="95000"/>
              </a:lnSpc>
              <a:spcBef>
                <a:spcPct val="80000"/>
              </a:spcBef>
              <a:buClr>
                <a:schemeClr val="tx1"/>
              </a:buClr>
            </a:pPr>
            <a:r>
              <a:rPr lang="en-US" sz="1200" dirty="0"/>
              <a:t>Text</a:t>
            </a:r>
          </a:p>
        </p:txBody>
      </p:sp>
      <p:sp>
        <p:nvSpPr>
          <p:cNvPr id="12" name="TextBox 11"/>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827087" y="3051618"/>
            <a:ext cx="2898648" cy="2286000"/>
          </a:xfrm>
          <a:prstGeom prst="rect">
            <a:avLst/>
          </a:prstGeom>
          <a:solidFill>
            <a:schemeClr val="bg2"/>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21" name="Text Placeholder 5"/>
          <p:cNvSpPr txBox="1">
            <a:spLocks/>
          </p:cNvSpPr>
          <p:nvPr/>
        </p:nvSpPr>
        <p:spPr>
          <a:xfrm>
            <a:off x="5476874" y="2226117"/>
            <a:ext cx="2898648" cy="2286000"/>
          </a:xfrm>
          <a:prstGeom prst="rect">
            <a:avLst/>
          </a:prstGeom>
          <a:solidFill>
            <a:schemeClr val="bg2"/>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5" name="AutoShape 3"/>
          <p:cNvSpPr>
            <a:spLocks noChangeArrowheads="1"/>
          </p:cNvSpPr>
          <p:nvPr/>
        </p:nvSpPr>
        <p:spPr bwMode="auto">
          <a:xfrm flipV="1">
            <a:off x="4257675" y="54072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accent6">
              <a:lumMod val="40000"/>
              <a:lumOff val="60000"/>
            </a:schemeClr>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grpSp>
        <p:nvGrpSpPr>
          <p:cNvPr id="823302" name="Group 6"/>
          <p:cNvGrpSpPr>
            <a:grpSpLocks/>
          </p:cNvGrpSpPr>
          <p:nvPr/>
        </p:nvGrpSpPr>
        <p:grpSpPr bwMode="auto">
          <a:xfrm>
            <a:off x="2271713" y="4562650"/>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accent6">
                  <a:lumMod val="40000"/>
                  <a:lumOff val="60000"/>
                </a:schemeClr>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chemeClr val="accent6">
                  <a:lumMod val="40000"/>
                  <a:lumOff val="60000"/>
                </a:schemeClr>
              </a:solidFill>
              <a:round/>
              <a:headEnd/>
              <a:tailEnd type="triangle" w="med" len="med"/>
            </a:ln>
          </p:spPr>
          <p:txBody>
            <a:bodyPr wrap="none" lIns="36000" tIns="36000" rIns="36000" bIns="36000" anchor="ctr"/>
            <a:lstStyle/>
            <a:p>
              <a:pPr>
                <a:defRPr/>
              </a:pPr>
              <a:endParaRPr lang="en-US" dirty="0"/>
            </a:p>
          </p:txBody>
        </p:sp>
      </p:grpSp>
      <p:sp>
        <p:nvSpPr>
          <p:cNvPr id="27" name="Text Box 10"/>
          <p:cNvSpPr txBox="1">
            <a:spLocks noChangeArrowheads="1"/>
          </p:cNvSpPr>
          <p:nvPr/>
        </p:nvSpPr>
        <p:spPr bwMode="auto">
          <a:xfrm>
            <a:off x="827087" y="2801939"/>
            <a:ext cx="2898648" cy="249678"/>
          </a:xfrm>
          <a:prstGeom prst="rect">
            <a:avLst/>
          </a:prstGeom>
          <a:solidFill>
            <a:schemeClr val="accent3"/>
          </a:solidFill>
          <a:ln w="12700" algn="ctr">
            <a:noFill/>
            <a:miter lim="800000"/>
            <a:headEnd/>
            <a:tailEnd type="none" w="sm" len="med"/>
          </a:ln>
        </p:spPr>
        <p:txBody>
          <a:bodyPr lIns="91440" tIns="91440" rIns="91440" bIns="91440" anchor="ctr" anchorCtr="0"/>
          <a:lstStyle/>
          <a:p>
            <a:pPr defTabSz="957263"/>
            <a:r>
              <a:rPr lang="en-US" sz="1200" dirty="0"/>
              <a:t>Costs</a:t>
            </a:r>
          </a:p>
        </p:txBody>
      </p:sp>
      <p:sp>
        <p:nvSpPr>
          <p:cNvPr id="20" name="Text Box 10"/>
          <p:cNvSpPr txBox="1">
            <a:spLocks noChangeArrowheads="1"/>
          </p:cNvSpPr>
          <p:nvPr/>
        </p:nvSpPr>
        <p:spPr bwMode="auto">
          <a:xfrm>
            <a:off x="5476874" y="1976438"/>
            <a:ext cx="2898648" cy="249678"/>
          </a:xfrm>
          <a:prstGeom prst="rect">
            <a:avLst/>
          </a:prstGeom>
          <a:solidFill>
            <a:schemeClr val="accent3"/>
          </a:solidFill>
          <a:ln w="12700" algn="ctr">
            <a:noFill/>
            <a:miter lim="800000"/>
            <a:headEnd/>
            <a:tailEnd type="none" w="sm" len="med"/>
          </a:ln>
        </p:spPr>
        <p:txBody>
          <a:bodyPr lIns="91440" tIns="91440" rIns="91440" bIns="91440" anchor="ctr" anchorCtr="0"/>
          <a:lstStyle/>
          <a:p>
            <a:pPr defTabSz="957263"/>
            <a:r>
              <a:rPr lang="en-US" sz="1200" dirty="0"/>
              <a:t>Benefits</a:t>
            </a:r>
          </a:p>
        </p:txBody>
      </p:sp>
      <p:sp>
        <p:nvSpPr>
          <p:cNvPr id="4" name="Text Placeholder 3"/>
          <p:cNvSpPr>
            <a:spLocks noGrp="1"/>
          </p:cNvSpPr>
          <p:nvPr>
            <p:ph type="body" sz="quarter" idx="13"/>
          </p:nvPr>
        </p:nvSpPr>
        <p:spPr/>
        <p:txBody>
          <a:bodyPr/>
          <a:lstStyle/>
          <a:p>
            <a:r>
              <a:rPr lang="en-US" dirty="0"/>
              <a:t>Subtitle runs here</a:t>
            </a:r>
          </a:p>
        </p:txBody>
      </p:sp>
      <p:sp>
        <p:nvSpPr>
          <p:cNvPr id="823297" name="Title 1"/>
          <p:cNvSpPr>
            <a:spLocks noGrp="1"/>
          </p:cNvSpPr>
          <p:nvPr>
            <p:ph type="title"/>
          </p:nvPr>
        </p:nvSpPr>
        <p:spPr/>
        <p:txBody>
          <a:bodyPr/>
          <a:lstStyle/>
          <a:p>
            <a:r>
              <a:rPr lang="en-US" dirty="0"/>
              <a:t>Balance 1</a:t>
            </a:r>
          </a:p>
        </p:txBody>
      </p:sp>
      <p:sp>
        <p:nvSpPr>
          <p:cNvPr id="6" name="Line 4"/>
          <p:cNvSpPr>
            <a:spLocks noChangeShapeType="1"/>
          </p:cNvSpPr>
          <p:nvPr/>
        </p:nvSpPr>
        <p:spPr bwMode="auto">
          <a:xfrm>
            <a:off x="827087" y="5400850"/>
            <a:ext cx="2898648" cy="0"/>
          </a:xfrm>
          <a:prstGeom prst="line">
            <a:avLst/>
          </a:prstGeom>
          <a:noFill/>
          <a:ln w="57150">
            <a:solidFill>
              <a:schemeClr val="accent3"/>
            </a:solidFill>
            <a:round/>
            <a:headEnd type="none" w="sm" len="sm"/>
            <a:tailEnd type="none" w="sm" len="sm"/>
          </a:ln>
        </p:spPr>
        <p:txBody>
          <a:bodyPr wrap="none" lIns="36000" tIns="36000" rIns="36000" bIns="36000" anchor="ctr"/>
          <a:lstStyle/>
          <a:p>
            <a:pPr>
              <a:defRPr/>
            </a:pPr>
            <a:endParaRPr lang="en-US" dirty="0"/>
          </a:p>
        </p:txBody>
      </p:sp>
      <p:sp>
        <p:nvSpPr>
          <p:cNvPr id="7" name="Line 5"/>
          <p:cNvSpPr>
            <a:spLocks noChangeShapeType="1"/>
          </p:cNvSpPr>
          <p:nvPr/>
        </p:nvSpPr>
        <p:spPr bwMode="auto">
          <a:xfrm>
            <a:off x="5476874" y="4562650"/>
            <a:ext cx="2898648" cy="0"/>
          </a:xfrm>
          <a:prstGeom prst="line">
            <a:avLst/>
          </a:prstGeom>
          <a:noFill/>
          <a:ln w="57150">
            <a:solidFill>
              <a:schemeClr val="accent3"/>
            </a:solidFill>
            <a:round/>
            <a:headEnd type="none" w="sm" len="sm"/>
            <a:tailEnd type="none" w="sm" len="sm"/>
          </a:ln>
        </p:spPr>
        <p:txBody>
          <a:bodyPr wrap="none" lIns="36000" tIns="36000" rIns="36000" bIns="36000" anchor="ctr"/>
          <a:lstStyle/>
          <a:p>
            <a:pPr>
              <a:defRPr/>
            </a:pPr>
            <a:endParaRPr lang="en-US" dirty="0"/>
          </a:p>
        </p:txBody>
      </p:sp>
      <p:sp>
        <p:nvSpPr>
          <p:cNvPr id="16" name="TextBox 1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Box 10"/>
          <p:cNvSpPr txBox="1">
            <a:spLocks noChangeArrowheads="1"/>
          </p:cNvSpPr>
          <p:nvPr/>
        </p:nvSpPr>
        <p:spPr bwMode="auto">
          <a:xfrm>
            <a:off x="4938714" y="3132971"/>
            <a:ext cx="2049461" cy="249678"/>
          </a:xfrm>
          <a:prstGeom prst="rect">
            <a:avLst/>
          </a:prstGeom>
          <a:solidFill>
            <a:schemeClr val="accent3"/>
          </a:solidFill>
          <a:ln w="12700" algn="ctr">
            <a:noFill/>
            <a:miter lim="800000"/>
            <a:headEnd/>
            <a:tailEnd type="none" w="sm" len="med"/>
          </a:ln>
        </p:spPr>
        <p:txBody>
          <a:bodyPr wrap="square" lIns="91440" tIns="91440" rIns="91440" bIns="91440" anchor="ctr" anchorCtr="0"/>
          <a:lstStyle/>
          <a:p>
            <a:pPr defTabSz="957263"/>
            <a:r>
              <a:rPr lang="en-US" sz="1200" dirty="0"/>
              <a:t>Text</a:t>
            </a:r>
          </a:p>
        </p:txBody>
      </p:sp>
      <p:sp>
        <p:nvSpPr>
          <p:cNvPr id="18" name="Text Placeholder 5"/>
          <p:cNvSpPr txBox="1">
            <a:spLocks/>
          </p:cNvSpPr>
          <p:nvPr/>
        </p:nvSpPr>
        <p:spPr>
          <a:xfrm>
            <a:off x="4938713" y="3382650"/>
            <a:ext cx="2049461" cy="1966859"/>
          </a:xfrm>
          <a:prstGeom prst="rect">
            <a:avLst/>
          </a:prstGeom>
          <a:solidFill>
            <a:schemeClr val="bg2"/>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4" name="Text Placeholder 3"/>
          <p:cNvSpPr>
            <a:spLocks noGrp="1"/>
          </p:cNvSpPr>
          <p:nvPr>
            <p:ph type="body" sz="quarter" idx="13"/>
          </p:nvPr>
        </p:nvSpPr>
        <p:spPr/>
        <p:txBody>
          <a:bodyPr/>
          <a:lstStyle/>
          <a:p>
            <a:r>
              <a:rPr lang="en-US" dirty="0"/>
              <a:t>Subtitle runs here</a:t>
            </a:r>
          </a:p>
        </p:txBody>
      </p:sp>
      <p:sp>
        <p:nvSpPr>
          <p:cNvPr id="824321" name="Title 1"/>
          <p:cNvSpPr>
            <a:spLocks noGrp="1"/>
          </p:cNvSpPr>
          <p:nvPr>
            <p:ph type="title"/>
          </p:nvPr>
        </p:nvSpPr>
        <p:spPr/>
        <p:txBody>
          <a:bodyPr/>
          <a:lstStyle/>
          <a:p>
            <a:r>
              <a:rPr lang="en-US" dirty="0"/>
              <a:t>Jumping point</a:t>
            </a:r>
          </a:p>
        </p:txBody>
      </p:sp>
      <p:sp>
        <p:nvSpPr>
          <p:cNvPr id="824323" name="Oval 3"/>
          <p:cNvSpPr>
            <a:spLocks noChangeArrowheads="1"/>
          </p:cNvSpPr>
          <p:nvPr/>
        </p:nvSpPr>
        <p:spPr bwMode="auto">
          <a:xfrm>
            <a:off x="4872038" y="2572971"/>
            <a:ext cx="432000" cy="432000"/>
          </a:xfrm>
          <a:prstGeom prst="ellipse">
            <a:avLst/>
          </a:prstGeom>
          <a:solidFill>
            <a:schemeClr val="accent1"/>
          </a:solidFill>
          <a:ln w="9525">
            <a:solidFill>
              <a:schemeClr val="bg1"/>
            </a:solidFill>
            <a:round/>
            <a:headEnd/>
            <a:tailEnd/>
          </a:ln>
        </p:spPr>
        <p:txBody>
          <a:bodyPr wrap="none" anchor="ctr"/>
          <a:lstStyle/>
          <a:p>
            <a:pPr algn="ctr"/>
            <a:endParaRPr lang="en-US" sz="1400" dirty="0"/>
          </a:p>
        </p:txBody>
      </p:sp>
      <p:grpSp>
        <p:nvGrpSpPr>
          <p:cNvPr id="824324" name="Group 15"/>
          <p:cNvGrpSpPr>
            <a:grpSpLocks/>
          </p:cNvGrpSpPr>
          <p:nvPr/>
        </p:nvGrpSpPr>
        <p:grpSpPr bwMode="auto">
          <a:xfrm>
            <a:off x="2376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6"/>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6"/>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nvSpPr>
        <p:spPr bwMode="auto">
          <a:xfrm flipH="1">
            <a:off x="2336800" y="5462221"/>
            <a:ext cx="4640263" cy="0"/>
          </a:xfrm>
          <a:prstGeom prst="line">
            <a:avLst/>
          </a:prstGeom>
          <a:noFill/>
          <a:ln w="38100">
            <a:solidFill>
              <a:schemeClr val="accent6"/>
            </a:solidFill>
            <a:round/>
            <a:headEnd type="none" w="sm" len="sm"/>
            <a:tailEnd type="none" w="sm" len="sm"/>
          </a:ln>
        </p:spPr>
        <p:txBody>
          <a:bodyPr wrap="none" anchor="ctr"/>
          <a:lstStyle/>
          <a:p>
            <a:pPr>
              <a:defRPr/>
            </a:pPr>
            <a:endParaRPr lang="en-US" dirty="0"/>
          </a:p>
        </p:txBody>
      </p:sp>
      <p:sp>
        <p:nvSpPr>
          <p:cNvPr id="13" name="TextBox 12"/>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
          <p:cNvSpPr>
            <a:spLocks/>
          </p:cNvSpPr>
          <p:nvPr/>
        </p:nvSpPr>
        <p:spPr bwMode="blackWhite">
          <a:xfrm>
            <a:off x="3198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accent6"/>
            </a:solidFill>
            <a:round/>
            <a:headEnd/>
            <a:tailEnd/>
          </a:ln>
        </p:spPr>
        <p:txBody>
          <a:bodyPr/>
          <a:lstStyle/>
          <a:p>
            <a:pPr>
              <a:defRPr/>
            </a:pPr>
            <a:endParaRPr lang="en-US" sz="1400" dirty="0">
              <a:solidFill>
                <a:schemeClr val="tx2"/>
              </a:solidFill>
            </a:endParaRPr>
          </a:p>
        </p:txBody>
      </p:sp>
      <p:sp>
        <p:nvSpPr>
          <p:cNvPr id="3" name="Text Placeholder 2"/>
          <p:cNvSpPr>
            <a:spLocks noGrp="1"/>
          </p:cNvSpPr>
          <p:nvPr>
            <p:ph type="body" sz="quarter" idx="13"/>
          </p:nvPr>
        </p:nvSpPr>
        <p:spPr/>
        <p:txBody>
          <a:bodyPr/>
          <a:lstStyle/>
          <a:p>
            <a:r>
              <a:rPr lang="en-US" dirty="0"/>
              <a:t>Subtitle runs here</a:t>
            </a:r>
          </a:p>
        </p:txBody>
      </p:sp>
      <p:sp>
        <p:nvSpPr>
          <p:cNvPr id="825345" name="Title 1"/>
          <p:cNvSpPr>
            <a:spLocks noGrp="1"/>
          </p:cNvSpPr>
          <p:nvPr>
            <p:ph type="title"/>
          </p:nvPr>
        </p:nvSpPr>
        <p:spPr/>
        <p:txBody>
          <a:bodyPr/>
          <a:lstStyle/>
          <a:p>
            <a:r>
              <a:rPr lang="en-US" dirty="0"/>
              <a:t>Forces at work</a:t>
            </a:r>
          </a:p>
        </p:txBody>
      </p:sp>
      <p:sp>
        <p:nvSpPr>
          <p:cNvPr id="6" name="AutoShape 3"/>
          <p:cNvSpPr>
            <a:spLocks noChangeArrowheads="1"/>
          </p:cNvSpPr>
          <p:nvPr/>
        </p:nvSpPr>
        <p:spPr bwMode="blackWhite">
          <a:xfrm>
            <a:off x="2678113" y="4003501"/>
            <a:ext cx="1008062" cy="441325"/>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8" name="AutoShape 5"/>
          <p:cNvSpPr>
            <a:spLocks noChangeArrowheads="1"/>
          </p:cNvSpPr>
          <p:nvPr/>
        </p:nvSpPr>
        <p:spPr bwMode="blackWhite">
          <a:xfrm rot="16200000" flipH="1">
            <a:off x="4431734" y="2890358"/>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9" name="AutoShape 6"/>
          <p:cNvSpPr>
            <a:spLocks noChangeArrowheads="1"/>
          </p:cNvSpPr>
          <p:nvPr/>
        </p:nvSpPr>
        <p:spPr bwMode="blackWhite">
          <a:xfrm rot="5400000" flipH="1" flipV="1">
            <a:off x="4431734" y="5173916"/>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3" name="Text Placeholder 5"/>
          <p:cNvSpPr txBox="1">
            <a:spLocks/>
          </p:cNvSpPr>
          <p:nvPr/>
        </p:nvSpPr>
        <p:spPr>
          <a:xfrm>
            <a:off x="3894410" y="2128014"/>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6" name="AutoShape 3"/>
          <p:cNvSpPr>
            <a:spLocks noChangeArrowheads="1"/>
          </p:cNvSpPr>
          <p:nvPr/>
        </p:nvSpPr>
        <p:spPr bwMode="blackWhite">
          <a:xfrm flipH="1">
            <a:off x="5687568" y="4003501"/>
            <a:ext cx="776732" cy="441325"/>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7" name="Text Placeholder 5"/>
          <p:cNvSpPr txBox="1">
            <a:spLocks/>
          </p:cNvSpPr>
          <p:nvPr/>
        </p:nvSpPr>
        <p:spPr>
          <a:xfrm>
            <a:off x="6518910" y="3893303"/>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8" name="Text Placeholder 5"/>
          <p:cNvSpPr txBox="1">
            <a:spLocks/>
          </p:cNvSpPr>
          <p:nvPr/>
        </p:nvSpPr>
        <p:spPr>
          <a:xfrm>
            <a:off x="3894410" y="5604707"/>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9" name="Text Placeholder 5"/>
          <p:cNvSpPr txBox="1">
            <a:spLocks/>
          </p:cNvSpPr>
          <p:nvPr/>
        </p:nvSpPr>
        <p:spPr>
          <a:xfrm>
            <a:off x="3762057" y="3893303"/>
            <a:ext cx="1952943"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0" name="Text Placeholder 5"/>
          <p:cNvSpPr txBox="1">
            <a:spLocks/>
          </p:cNvSpPr>
          <p:nvPr/>
        </p:nvSpPr>
        <p:spPr>
          <a:xfrm>
            <a:off x="609600" y="3893303"/>
            <a:ext cx="2054469"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6" name="TextBox 1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4340024" y="3973822"/>
            <a:ext cx="46901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
        <p:nvSpPr>
          <p:cNvPr id="17" name="Freeform 3"/>
          <p:cNvSpPr>
            <a:spLocks/>
          </p:cNvSpPr>
          <p:nvPr/>
        </p:nvSpPr>
        <p:spPr bwMode="blackWhite">
          <a:xfrm>
            <a:off x="4900760" y="2371499"/>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8" name="Freeform 4"/>
          <p:cNvSpPr>
            <a:spLocks/>
          </p:cNvSpPr>
          <p:nvPr/>
        </p:nvSpPr>
        <p:spPr bwMode="blackWhite">
          <a:xfrm>
            <a:off x="4900760" y="438762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9" name="Freeform 5"/>
          <p:cNvSpPr>
            <a:spLocks/>
          </p:cNvSpPr>
          <p:nvPr/>
        </p:nvSpPr>
        <p:spPr bwMode="blackWhite">
          <a:xfrm>
            <a:off x="2783035" y="438762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20" name="Freeform 6"/>
          <p:cNvSpPr>
            <a:spLocks/>
          </p:cNvSpPr>
          <p:nvPr/>
        </p:nvSpPr>
        <p:spPr bwMode="blackWhite">
          <a:xfrm>
            <a:off x="2783035" y="2358799"/>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32" name="Text Placeholder 5"/>
          <p:cNvSpPr txBox="1">
            <a:spLocks/>
          </p:cNvSpPr>
          <p:nvPr/>
        </p:nvSpPr>
        <p:spPr>
          <a:xfrm>
            <a:off x="646819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3" name="Text Placeholder 5"/>
          <p:cNvSpPr txBox="1">
            <a:spLocks/>
          </p:cNvSpPr>
          <p:nvPr/>
        </p:nvSpPr>
        <p:spPr>
          <a:xfrm>
            <a:off x="40776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4" name="Text Placeholder 5"/>
          <p:cNvSpPr txBox="1">
            <a:spLocks/>
          </p:cNvSpPr>
          <p:nvPr/>
        </p:nvSpPr>
        <p:spPr>
          <a:xfrm>
            <a:off x="646819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5" name="Text Placeholder 5"/>
          <p:cNvSpPr txBox="1">
            <a:spLocks/>
          </p:cNvSpPr>
          <p:nvPr/>
        </p:nvSpPr>
        <p:spPr>
          <a:xfrm>
            <a:off x="40776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4" name="TextBox 13"/>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9" name="Straight Connector 98"/>
          <p:cNvCxnSpPr>
            <a:stCxn id="25" idx="3"/>
            <a:endCxn id="51" idx="1"/>
          </p:cNvCxnSpPr>
          <p:nvPr/>
        </p:nvCxnSpPr>
        <p:spPr>
          <a:xfrm>
            <a:off x="3852444" y="2406593"/>
            <a:ext cx="3432516" cy="0"/>
          </a:xfrm>
          <a:prstGeom prst="line">
            <a:avLst/>
          </a:prstGeom>
          <a:noFill/>
          <a:ln w="6350">
            <a:solidFill>
              <a:srgbClr val="BBBCBC"/>
            </a:solidFill>
            <a:miter lim="800000"/>
            <a:headEnd/>
            <a:tailEnd/>
          </a:ln>
        </p:spPr>
      </p:cxnSp>
      <p:cxnSp>
        <p:nvCxnSpPr>
          <p:cNvPr id="104" name="Straight Connector 103"/>
          <p:cNvCxnSpPr>
            <a:stCxn id="26" idx="3"/>
            <a:endCxn id="58" idx="1"/>
          </p:cNvCxnSpPr>
          <p:nvPr/>
        </p:nvCxnSpPr>
        <p:spPr>
          <a:xfrm>
            <a:off x="3852444" y="2730290"/>
            <a:ext cx="3432516" cy="0"/>
          </a:xfrm>
          <a:prstGeom prst="line">
            <a:avLst/>
          </a:prstGeom>
          <a:noFill/>
          <a:ln w="6350">
            <a:solidFill>
              <a:srgbClr val="BBBCBC"/>
            </a:solidFill>
            <a:miter lim="800000"/>
            <a:headEnd/>
            <a:tailEnd/>
          </a:ln>
        </p:spPr>
      </p:cxnSp>
      <p:cxnSp>
        <p:nvCxnSpPr>
          <p:cNvPr id="106" name="Straight Connector 105"/>
          <p:cNvCxnSpPr>
            <a:stCxn id="31" idx="3"/>
            <a:endCxn id="61" idx="1"/>
          </p:cNvCxnSpPr>
          <p:nvPr/>
        </p:nvCxnSpPr>
        <p:spPr>
          <a:xfrm>
            <a:off x="3852444" y="3098073"/>
            <a:ext cx="3432516" cy="0"/>
          </a:xfrm>
          <a:prstGeom prst="line">
            <a:avLst/>
          </a:prstGeom>
          <a:noFill/>
          <a:ln w="6350">
            <a:solidFill>
              <a:srgbClr val="BBBCBC"/>
            </a:solidFill>
            <a:miter lim="800000"/>
            <a:headEnd/>
            <a:tailEnd/>
          </a:ln>
        </p:spPr>
      </p:cxnSp>
      <p:cxnSp>
        <p:nvCxnSpPr>
          <p:cNvPr id="109" name="Straight Connector 108"/>
          <p:cNvCxnSpPr>
            <a:stCxn id="32" idx="3"/>
            <a:endCxn id="47" idx="1"/>
          </p:cNvCxnSpPr>
          <p:nvPr/>
        </p:nvCxnSpPr>
        <p:spPr>
          <a:xfrm>
            <a:off x="3852444" y="3421770"/>
            <a:ext cx="1800664" cy="0"/>
          </a:xfrm>
          <a:prstGeom prst="line">
            <a:avLst/>
          </a:prstGeom>
          <a:noFill/>
          <a:ln w="6350">
            <a:solidFill>
              <a:srgbClr val="BBBCBC"/>
            </a:solidFill>
            <a:miter lim="800000"/>
            <a:headEnd/>
            <a:tailEnd/>
          </a:ln>
        </p:spPr>
      </p:cxnSp>
      <p:cxnSp>
        <p:nvCxnSpPr>
          <p:cNvPr id="112" name="Straight Connector 111"/>
          <p:cNvCxnSpPr>
            <a:stCxn id="33" idx="3"/>
            <a:endCxn id="43" idx="1"/>
          </p:cNvCxnSpPr>
          <p:nvPr/>
        </p:nvCxnSpPr>
        <p:spPr>
          <a:xfrm>
            <a:off x="3852444" y="3733940"/>
            <a:ext cx="1800664" cy="0"/>
          </a:xfrm>
          <a:prstGeom prst="line">
            <a:avLst/>
          </a:prstGeom>
          <a:noFill/>
          <a:ln w="6350">
            <a:solidFill>
              <a:srgbClr val="BBBCBC"/>
            </a:solidFill>
            <a:miter lim="800000"/>
            <a:headEnd/>
            <a:tailEnd/>
          </a:ln>
        </p:spPr>
      </p:cxnSp>
      <p:cxnSp>
        <p:nvCxnSpPr>
          <p:cNvPr id="117" name="Straight Connector 116"/>
          <p:cNvCxnSpPr>
            <a:stCxn id="35" idx="3"/>
            <a:endCxn id="60" idx="1"/>
          </p:cNvCxnSpPr>
          <p:nvPr/>
        </p:nvCxnSpPr>
        <p:spPr>
          <a:xfrm>
            <a:off x="3852444" y="4117027"/>
            <a:ext cx="3432516" cy="0"/>
          </a:xfrm>
          <a:prstGeom prst="line">
            <a:avLst/>
          </a:prstGeom>
          <a:noFill/>
          <a:ln w="6350">
            <a:solidFill>
              <a:srgbClr val="BBBCBC"/>
            </a:solidFill>
            <a:miter lim="800000"/>
            <a:headEnd/>
            <a:tailEnd/>
          </a:ln>
        </p:spPr>
      </p:cxnSp>
      <p:cxnSp>
        <p:nvCxnSpPr>
          <p:cNvPr id="118" name="Straight Connector 117"/>
          <p:cNvCxnSpPr>
            <a:stCxn id="36" idx="3"/>
            <a:endCxn id="49" idx="1"/>
          </p:cNvCxnSpPr>
          <p:nvPr/>
        </p:nvCxnSpPr>
        <p:spPr>
          <a:xfrm>
            <a:off x="3852444" y="4443588"/>
            <a:ext cx="1800664" cy="0"/>
          </a:xfrm>
          <a:prstGeom prst="line">
            <a:avLst/>
          </a:prstGeom>
          <a:noFill/>
          <a:ln w="6350">
            <a:solidFill>
              <a:srgbClr val="BBBCBC"/>
            </a:solidFill>
            <a:miter lim="800000"/>
            <a:headEnd/>
            <a:tailEnd/>
          </a:ln>
        </p:spPr>
      </p:cxnSp>
      <p:cxnSp>
        <p:nvCxnSpPr>
          <p:cNvPr id="121" name="Straight Connector 120"/>
          <p:cNvCxnSpPr>
            <a:stCxn id="74" idx="3"/>
            <a:endCxn id="97" idx="1"/>
          </p:cNvCxnSpPr>
          <p:nvPr/>
        </p:nvCxnSpPr>
        <p:spPr>
          <a:xfrm>
            <a:off x="3856000" y="5123092"/>
            <a:ext cx="3428960" cy="0"/>
          </a:xfrm>
          <a:prstGeom prst="line">
            <a:avLst/>
          </a:prstGeom>
          <a:noFill/>
          <a:ln w="6350">
            <a:solidFill>
              <a:srgbClr val="BBBCBC"/>
            </a:solidFill>
            <a:miter lim="800000"/>
            <a:headEnd/>
            <a:tailEnd/>
          </a:ln>
        </p:spPr>
      </p:cxnSp>
      <p:cxnSp>
        <p:nvCxnSpPr>
          <p:cNvPr id="124" name="Straight Connector 123"/>
          <p:cNvCxnSpPr>
            <a:stCxn id="75" idx="3"/>
            <a:endCxn id="79" idx="1"/>
          </p:cNvCxnSpPr>
          <p:nvPr/>
        </p:nvCxnSpPr>
        <p:spPr>
          <a:xfrm>
            <a:off x="3856000" y="5449037"/>
            <a:ext cx="1798294" cy="0"/>
          </a:xfrm>
          <a:prstGeom prst="line">
            <a:avLst/>
          </a:prstGeom>
          <a:noFill/>
          <a:ln w="6350">
            <a:solidFill>
              <a:srgbClr val="BBBCBC"/>
            </a:solidFill>
            <a:miter lim="800000"/>
            <a:headEnd/>
            <a:tailEnd/>
          </a:ln>
        </p:spPr>
      </p:cxnSp>
      <p:cxnSp>
        <p:nvCxnSpPr>
          <p:cNvPr id="83" name="Straight Connector 82"/>
          <p:cNvCxnSpPr>
            <a:stCxn id="19" idx="3"/>
            <a:endCxn id="30" idx="1"/>
          </p:cNvCxnSpPr>
          <p:nvPr/>
        </p:nvCxnSpPr>
        <p:spPr>
          <a:xfrm>
            <a:off x="2065773" y="2072487"/>
            <a:ext cx="3587335" cy="0"/>
          </a:xfrm>
          <a:prstGeom prst="line">
            <a:avLst/>
          </a:prstGeom>
          <a:noFill/>
          <a:ln w="6350">
            <a:solidFill>
              <a:srgbClr val="BBBCBC"/>
            </a:solidFill>
            <a:miter lim="800000"/>
            <a:headEnd/>
            <a:tailEnd/>
          </a:ln>
        </p:spPr>
      </p:cxnSp>
      <p:sp>
        <p:nvSpPr>
          <p:cNvPr id="15" name="Title 14"/>
          <p:cNvSpPr>
            <a:spLocks noGrp="1"/>
          </p:cNvSpPr>
          <p:nvPr>
            <p:ph type="title"/>
          </p:nvPr>
        </p:nvSpPr>
        <p:spPr>
          <a:xfrm>
            <a:off x="396000" y="295683"/>
            <a:ext cx="5556392" cy="1244192"/>
          </a:xfrm>
        </p:spPr>
        <p:txBody>
          <a:bodyPr/>
          <a:lstStyle/>
          <a:p>
            <a:r>
              <a:rPr lang="en-US" dirty="0"/>
              <a:t>Use this slide to locate charts, then switch to slide sorter mode &amp; copy the charts you need to your document</a:t>
            </a:r>
          </a:p>
        </p:txBody>
      </p:sp>
      <p:sp>
        <p:nvSpPr>
          <p:cNvPr id="5" name="Text Box 71"/>
          <p:cNvSpPr txBox="1">
            <a:spLocks noChangeArrowheads="1"/>
          </p:cNvSpPr>
          <p:nvPr>
            <p:custDataLst>
              <p:tags r:id="rId1"/>
            </p:custDataLst>
          </p:nvPr>
        </p:nvSpPr>
        <p:spPr bwMode="auto">
          <a:xfrm>
            <a:off x="6022731" y="0"/>
            <a:ext cx="3121271" cy="1149033"/>
          </a:xfrm>
          <a:prstGeom prst="rect">
            <a:avLst/>
          </a:prstGeom>
          <a:solidFill>
            <a:srgbClr val="FFCD00"/>
          </a:solidFill>
          <a:ln w="6350" algn="ctr">
            <a:noFill/>
            <a:miter lim="800000"/>
            <a:headEnd/>
            <a:tailEnd/>
          </a:ln>
        </p:spPr>
        <p:txBody>
          <a:bodyPr wrap="square" lIns="88900" tIns="88900" rIns="88900" bIns="88900">
            <a:spAutoFit/>
          </a:bodyPr>
          <a:lstStyle/>
          <a:p>
            <a:r>
              <a:rPr lang="en-US" sz="900" b="1" dirty="0">
                <a:ea typeface="ＭＳ Ｐゴシック" charset="-128"/>
              </a:rPr>
              <a:t>Tip! </a:t>
            </a:r>
            <a:r>
              <a:rPr lang="en-US" sz="900" dirty="0">
                <a:ea typeface="ＭＳ Ｐゴシック" charset="-128"/>
              </a:rPr>
              <a:t>Two fast ways to locate your favorite slide</a:t>
            </a:r>
          </a:p>
          <a:p>
            <a:pPr marL="177800" indent="-177800">
              <a:buFontTx/>
              <a:buAutoNum type="arabicPeriod"/>
            </a:pPr>
            <a:r>
              <a:rPr lang="en-US" sz="900" dirty="0">
                <a:ea typeface="ＭＳ Ｐゴシック" charset="-128"/>
              </a:rPr>
              <a:t>Switch to slide show view (Shift F5) and click on the box of your choice</a:t>
            </a:r>
          </a:p>
          <a:p>
            <a:pPr marL="177800" indent="-177800">
              <a:buFontTx/>
              <a:buAutoNum type="arabicPeriod"/>
            </a:pPr>
            <a:r>
              <a:rPr lang="en-US" sz="900" dirty="0">
                <a:ea typeface="ＭＳ Ｐゴシック" charset="-128"/>
              </a:rPr>
              <a:t>Stay in normal view, right click on the appropriate Text and select </a:t>
            </a:r>
            <a:br>
              <a:rPr lang="en-US" sz="900" dirty="0">
                <a:ea typeface="ＭＳ Ｐゴシック" charset="-128"/>
              </a:rPr>
            </a:br>
            <a:r>
              <a:rPr lang="en-US" sz="900" dirty="0">
                <a:ea typeface="ＭＳ Ｐゴシック" charset="-128"/>
              </a:rPr>
              <a:t>Open Hyperlink</a:t>
            </a:r>
          </a:p>
          <a:p>
            <a:r>
              <a:rPr lang="en-US" sz="900" dirty="0">
                <a:ea typeface="ＭＳ Ｐゴシック" charset="-128"/>
              </a:rPr>
              <a:t>Press Home — Page Down to return to this page</a:t>
            </a:r>
          </a:p>
        </p:txBody>
      </p:sp>
      <p:sp>
        <p:nvSpPr>
          <p:cNvPr id="25" name="Rectangle 17"/>
          <p:cNvSpPr>
            <a:spLocks noChangeArrowheads="1"/>
          </p:cNvSpPr>
          <p:nvPr>
            <p:custDataLst>
              <p:tags r:id="rId2"/>
            </p:custDataLst>
          </p:nvPr>
        </p:nvSpPr>
        <p:spPr bwMode="auto">
          <a:xfrm>
            <a:off x="2389404" y="229229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3" action="ppaction://hlinksldjump"/>
              </a:rPr>
              <a:t>Ba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26" name="Rectangle 18"/>
          <p:cNvSpPr>
            <a:spLocks noChangeArrowheads="1"/>
          </p:cNvSpPr>
          <p:nvPr>
            <p:custDataLst>
              <p:tags r:id="rId3"/>
            </p:custDataLst>
          </p:nvPr>
        </p:nvSpPr>
        <p:spPr bwMode="auto">
          <a:xfrm>
            <a:off x="2389404" y="261599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4" action="ppaction://hlinksldjump"/>
              </a:rPr>
              <a:t>Column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27" name="Rectangle 19"/>
          <p:cNvSpPr>
            <a:spLocks noChangeArrowheads="1"/>
          </p:cNvSpPr>
          <p:nvPr>
            <p:custDataLst>
              <p:tags r:id="rId4"/>
            </p:custDataLst>
          </p:nvPr>
        </p:nvSpPr>
        <p:spPr bwMode="auto">
          <a:xfrm>
            <a:off x="2389404" y="151093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5" action="ppaction://hlinksldjump"/>
              </a:rPr>
              <a:t>Tabl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28" name="Rectangle 20"/>
          <p:cNvSpPr>
            <a:spLocks noChangeArrowheads="1"/>
          </p:cNvSpPr>
          <p:nvPr>
            <p:custDataLst>
              <p:tags r:id="rId5"/>
            </p:custDataLst>
          </p:nvPr>
        </p:nvSpPr>
        <p:spPr bwMode="auto">
          <a:xfrm>
            <a:off x="5653108" y="151093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6" action="ppaction://hlinksldjump"/>
              </a:rPr>
              <a:t>Relation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29" name="Rectangle 21"/>
          <p:cNvSpPr>
            <a:spLocks noChangeArrowheads="1"/>
          </p:cNvSpPr>
          <p:nvPr>
            <p:custDataLst>
              <p:tags r:id="rId6"/>
            </p:custDataLst>
          </p:nvPr>
        </p:nvSpPr>
        <p:spPr bwMode="auto">
          <a:xfrm>
            <a:off x="2389404" y="195818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7" action="ppaction://hlinksldjump"/>
              </a:rPr>
              <a:t>Logic tre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0" name="Rectangle 22"/>
          <p:cNvSpPr>
            <a:spLocks noChangeArrowheads="1"/>
          </p:cNvSpPr>
          <p:nvPr>
            <p:custDataLst>
              <p:tags r:id="rId7"/>
            </p:custDataLst>
          </p:nvPr>
        </p:nvSpPr>
        <p:spPr bwMode="auto">
          <a:xfrm>
            <a:off x="5653108" y="195818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8" action="ppaction://hlinksldjump"/>
              </a:rPr>
              <a:t>Org chart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3" name="Rectangle 26"/>
          <p:cNvSpPr>
            <a:spLocks noChangeArrowheads="1"/>
          </p:cNvSpPr>
          <p:nvPr>
            <p:custDataLst>
              <p:tags r:id="rId8"/>
            </p:custDataLst>
          </p:nvPr>
        </p:nvSpPr>
        <p:spPr bwMode="auto">
          <a:xfrm>
            <a:off x="2389404" y="361964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59" action="ppaction://hlinksldjump"/>
              </a:rPr>
              <a:t>Strategy proces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4" name="Rectangle 27"/>
          <p:cNvSpPr>
            <a:spLocks noChangeArrowheads="1"/>
          </p:cNvSpPr>
          <p:nvPr>
            <p:custDataLst>
              <p:tags r:id="rId9"/>
            </p:custDataLst>
          </p:nvPr>
        </p:nvSpPr>
        <p:spPr bwMode="auto">
          <a:xfrm>
            <a:off x="4021256" y="361964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0" action="ppaction://hlinksldjump"/>
              </a:rPr>
              <a:t>Activity map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5" name="Rectangle 28"/>
          <p:cNvSpPr>
            <a:spLocks noChangeArrowheads="1"/>
          </p:cNvSpPr>
          <p:nvPr>
            <p:custDataLst>
              <p:tags r:id="rId10"/>
            </p:custDataLst>
          </p:nvPr>
        </p:nvSpPr>
        <p:spPr bwMode="auto">
          <a:xfrm>
            <a:off x="2389404" y="400272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1" action="ppaction://hlinksldjump"/>
              </a:rPr>
              <a:t>Moon</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6" name="Rectangle 29"/>
          <p:cNvSpPr>
            <a:spLocks noChangeArrowheads="1"/>
          </p:cNvSpPr>
          <p:nvPr>
            <p:custDataLst>
              <p:tags r:id="rId11"/>
            </p:custDataLst>
          </p:nvPr>
        </p:nvSpPr>
        <p:spPr bwMode="auto">
          <a:xfrm>
            <a:off x="2389404" y="4329288"/>
            <a:ext cx="1463040" cy="228600"/>
          </a:xfrm>
          <a:prstGeom prst="rect">
            <a:avLst/>
          </a:prstGeom>
          <a:solidFill>
            <a:schemeClr val="bg1"/>
          </a:solidFill>
          <a:ln w="9525" algn="ctr">
            <a:solidFill>
              <a:schemeClr val="tx2"/>
            </a:solidFill>
            <a:miter lim="800000"/>
            <a:headEnd/>
            <a:tailEnd/>
          </a:ln>
        </p:spPr>
        <p:txBody>
          <a:bodyPr lIns="88900" tIns="88900" rIns="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2" action="ppaction://hlinksldjump"/>
              </a:rPr>
              <a:t>Development stag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7" name="Rectangle 30"/>
          <p:cNvSpPr>
            <a:spLocks noChangeArrowheads="1"/>
          </p:cNvSpPr>
          <p:nvPr>
            <p:custDataLst>
              <p:tags r:id="rId12"/>
            </p:custDataLst>
          </p:nvPr>
        </p:nvSpPr>
        <p:spPr bwMode="auto">
          <a:xfrm>
            <a:off x="4021256" y="229229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3" action="ppaction://hlinksldjump"/>
              </a:rPr>
              <a:t>Area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8" name="Rectangle 31"/>
          <p:cNvSpPr>
            <a:spLocks noChangeArrowheads="1"/>
          </p:cNvSpPr>
          <p:nvPr>
            <p:custDataLst>
              <p:tags r:id="rId13"/>
            </p:custDataLst>
          </p:nvPr>
        </p:nvSpPr>
        <p:spPr bwMode="auto">
          <a:xfrm>
            <a:off x="4021256" y="261599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4" action="ppaction://hlinksldjump"/>
              </a:rPr>
              <a:t>Pi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9" name="Rectangle 32"/>
          <p:cNvSpPr>
            <a:spLocks noChangeArrowheads="1"/>
          </p:cNvSpPr>
          <p:nvPr>
            <p:custDataLst>
              <p:tags r:id="rId14"/>
            </p:custDataLst>
          </p:nvPr>
        </p:nvSpPr>
        <p:spPr bwMode="auto">
          <a:xfrm>
            <a:off x="7284960" y="151093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5" action="ppaction://hlinksldjump"/>
              </a:rPr>
              <a:t>Quot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0" name="Rectangle 33"/>
          <p:cNvSpPr>
            <a:spLocks noChangeArrowheads="1"/>
          </p:cNvSpPr>
          <p:nvPr>
            <p:custDataLst>
              <p:tags r:id="rId15"/>
            </p:custDataLst>
          </p:nvPr>
        </p:nvSpPr>
        <p:spPr bwMode="auto">
          <a:xfrm>
            <a:off x="4021256" y="195818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6" action="ppaction://hlinksldjump"/>
              </a:rPr>
              <a:t>Driver tre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3" name="Rectangle 36"/>
          <p:cNvSpPr>
            <a:spLocks noChangeArrowheads="1"/>
          </p:cNvSpPr>
          <p:nvPr>
            <p:custDataLst>
              <p:tags r:id="rId16"/>
            </p:custDataLst>
          </p:nvPr>
        </p:nvSpPr>
        <p:spPr bwMode="auto">
          <a:xfrm>
            <a:off x="5653108" y="361964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7" action="ppaction://hlinksldjump"/>
              </a:rPr>
              <a:t>Process flow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4" name="Rectangle 37"/>
          <p:cNvSpPr>
            <a:spLocks noChangeArrowheads="1"/>
          </p:cNvSpPr>
          <p:nvPr>
            <p:custDataLst>
              <p:tags r:id="rId17"/>
            </p:custDataLst>
          </p:nvPr>
        </p:nvSpPr>
        <p:spPr bwMode="auto">
          <a:xfrm>
            <a:off x="4021256" y="4329288"/>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8" action="ppaction://hlinksldjump"/>
              </a:rPr>
              <a:t>Timelin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5" name="Rectangle 38"/>
          <p:cNvSpPr>
            <a:spLocks noChangeArrowheads="1"/>
          </p:cNvSpPr>
          <p:nvPr>
            <p:custDataLst>
              <p:tags r:id="rId18"/>
            </p:custDataLst>
          </p:nvPr>
        </p:nvSpPr>
        <p:spPr bwMode="auto">
          <a:xfrm>
            <a:off x="5653108" y="229229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69" action="ppaction://hlinksldjump"/>
              </a:rPr>
              <a:t>Rada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6" name="Rectangle 39"/>
          <p:cNvSpPr>
            <a:spLocks noChangeArrowheads="1"/>
          </p:cNvSpPr>
          <p:nvPr>
            <p:custDataLst>
              <p:tags r:id="rId19"/>
            </p:custDataLst>
          </p:nvPr>
        </p:nvSpPr>
        <p:spPr bwMode="auto">
          <a:xfrm>
            <a:off x="5653108" y="261599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0" action="ppaction://hlinksldjump"/>
              </a:rPr>
              <a:t>Lin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2" name="Rectangle 24"/>
          <p:cNvSpPr>
            <a:spLocks noChangeArrowheads="1"/>
          </p:cNvSpPr>
          <p:nvPr>
            <p:custDataLst>
              <p:tags r:id="rId20"/>
            </p:custDataLst>
          </p:nvPr>
        </p:nvSpPr>
        <p:spPr bwMode="auto">
          <a:xfrm>
            <a:off x="2389404" y="330747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1" action="ppaction://hlinksldjump"/>
              </a:rPr>
              <a:t>Circl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2" name="Rectangle 35"/>
          <p:cNvSpPr>
            <a:spLocks noChangeArrowheads="1"/>
          </p:cNvSpPr>
          <p:nvPr>
            <p:custDataLst>
              <p:tags r:id="rId21"/>
            </p:custDataLst>
          </p:nvPr>
        </p:nvSpPr>
        <p:spPr bwMode="auto">
          <a:xfrm>
            <a:off x="4021256" y="330747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2" action="ppaction://hlinksldjump"/>
              </a:rPr>
              <a:t>Box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7" name="Rectangle 40"/>
          <p:cNvSpPr>
            <a:spLocks noChangeArrowheads="1"/>
          </p:cNvSpPr>
          <p:nvPr>
            <p:custDataLst>
              <p:tags r:id="rId22"/>
            </p:custDataLst>
          </p:nvPr>
        </p:nvSpPr>
        <p:spPr bwMode="auto">
          <a:xfrm>
            <a:off x="5653108" y="330747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3" action="ppaction://hlinksldjump"/>
              </a:rPr>
              <a:t>Puzzl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8" name="Rectangle 41"/>
          <p:cNvSpPr>
            <a:spLocks noChangeArrowheads="1"/>
          </p:cNvSpPr>
          <p:nvPr>
            <p:custDataLst>
              <p:tags r:id="rId23"/>
            </p:custDataLst>
          </p:nvPr>
        </p:nvSpPr>
        <p:spPr bwMode="auto">
          <a:xfrm>
            <a:off x="5653108" y="400272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4" action="ppaction://hlinksldjump"/>
              </a:rPr>
              <a:t>Calenda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9" name="Rectangle 42"/>
          <p:cNvSpPr>
            <a:spLocks noChangeArrowheads="1"/>
          </p:cNvSpPr>
          <p:nvPr>
            <p:custDataLst>
              <p:tags r:id="rId24"/>
            </p:custDataLst>
          </p:nvPr>
        </p:nvSpPr>
        <p:spPr bwMode="auto">
          <a:xfrm>
            <a:off x="5653108" y="4329288"/>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5" action="ppaction://hlinksldjump"/>
              </a:rPr>
              <a:t>Curv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cxnSp>
        <p:nvCxnSpPr>
          <p:cNvPr id="50" name="AutoShape 45"/>
          <p:cNvCxnSpPr>
            <a:cxnSpLocks noChangeShapeType="1"/>
            <a:stCxn id="64" idx="3"/>
            <a:endCxn id="74" idx="1"/>
          </p:cNvCxnSpPr>
          <p:nvPr>
            <p:custDataLst>
              <p:tags r:id="rId25"/>
            </p:custDataLst>
          </p:nvPr>
        </p:nvCxnSpPr>
        <p:spPr bwMode="auto">
          <a:xfrm flipV="1">
            <a:off x="2067361" y="5123092"/>
            <a:ext cx="325599" cy="142839"/>
          </a:xfrm>
          <a:prstGeom prst="bentConnector3">
            <a:avLst>
              <a:gd name="adj1" fmla="val 50000"/>
            </a:avLst>
          </a:prstGeom>
          <a:noFill/>
          <a:ln w="6350">
            <a:solidFill>
              <a:srgbClr val="BBBCBC"/>
            </a:solidFill>
            <a:miter lim="800000"/>
            <a:headEnd/>
            <a:tailEnd/>
          </a:ln>
        </p:spPr>
      </p:cxnSp>
      <p:sp>
        <p:nvSpPr>
          <p:cNvPr id="51" name="Rectangle 46"/>
          <p:cNvSpPr>
            <a:spLocks noChangeArrowheads="1"/>
          </p:cNvSpPr>
          <p:nvPr>
            <p:custDataLst>
              <p:tags r:id="rId26"/>
            </p:custDataLst>
          </p:nvPr>
        </p:nvSpPr>
        <p:spPr bwMode="auto">
          <a:xfrm>
            <a:off x="7284960" y="229229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6" action="ppaction://hlinksldjump"/>
              </a:rPr>
              <a:t>Waterfall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cxnSp>
        <p:nvCxnSpPr>
          <p:cNvPr id="52" name="AutoShape 47"/>
          <p:cNvCxnSpPr>
            <a:cxnSpLocks noChangeShapeType="1"/>
            <a:stCxn id="17" idx="3"/>
            <a:endCxn id="25" idx="1"/>
          </p:cNvCxnSpPr>
          <p:nvPr>
            <p:custDataLst>
              <p:tags r:id="rId27"/>
            </p:custDataLst>
          </p:nvPr>
        </p:nvCxnSpPr>
        <p:spPr bwMode="auto">
          <a:xfrm flipV="1">
            <a:off x="2067361" y="2406593"/>
            <a:ext cx="322043" cy="218650"/>
          </a:xfrm>
          <a:prstGeom prst="bentConnector3">
            <a:avLst>
              <a:gd name="adj1" fmla="val 50000"/>
            </a:avLst>
          </a:prstGeom>
          <a:noFill/>
          <a:ln w="6350">
            <a:solidFill>
              <a:srgbClr val="BBBCBC"/>
            </a:solidFill>
            <a:miter lim="800000"/>
            <a:headEnd/>
            <a:tailEnd/>
          </a:ln>
        </p:spPr>
      </p:cxnSp>
      <p:cxnSp>
        <p:nvCxnSpPr>
          <p:cNvPr id="53" name="AutoShape 48"/>
          <p:cNvCxnSpPr>
            <a:cxnSpLocks noChangeShapeType="1"/>
            <a:stCxn id="17" idx="3"/>
            <a:endCxn id="26" idx="1"/>
          </p:cNvCxnSpPr>
          <p:nvPr>
            <p:custDataLst>
              <p:tags r:id="rId28"/>
            </p:custDataLst>
          </p:nvPr>
        </p:nvCxnSpPr>
        <p:spPr bwMode="auto">
          <a:xfrm>
            <a:off x="2067361" y="2625243"/>
            <a:ext cx="322043" cy="105047"/>
          </a:xfrm>
          <a:prstGeom prst="bentConnector3">
            <a:avLst>
              <a:gd name="adj1" fmla="val 50000"/>
            </a:avLst>
          </a:prstGeom>
          <a:noFill/>
          <a:ln w="6350">
            <a:solidFill>
              <a:srgbClr val="BBBCBC"/>
            </a:solidFill>
            <a:miter lim="800000"/>
            <a:headEnd/>
            <a:tailEnd/>
          </a:ln>
        </p:spPr>
      </p:cxnSp>
      <p:cxnSp>
        <p:nvCxnSpPr>
          <p:cNvPr id="54" name="AutoShape 49"/>
          <p:cNvCxnSpPr>
            <a:cxnSpLocks noChangeShapeType="1"/>
            <a:stCxn id="13" idx="3"/>
            <a:endCxn id="31" idx="1"/>
          </p:cNvCxnSpPr>
          <p:nvPr>
            <p:custDataLst>
              <p:tags r:id="rId29"/>
            </p:custDataLst>
          </p:nvPr>
        </p:nvCxnSpPr>
        <p:spPr bwMode="auto">
          <a:xfrm flipV="1">
            <a:off x="2067361" y="3098073"/>
            <a:ext cx="322043" cy="79926"/>
          </a:xfrm>
          <a:prstGeom prst="bentConnector3">
            <a:avLst>
              <a:gd name="adj1" fmla="val 50000"/>
            </a:avLst>
          </a:prstGeom>
          <a:noFill/>
          <a:ln w="6350">
            <a:solidFill>
              <a:srgbClr val="BBBCBC"/>
            </a:solidFill>
            <a:miter lim="800000"/>
            <a:headEnd/>
            <a:tailEnd/>
          </a:ln>
        </p:spPr>
      </p:cxnSp>
      <p:cxnSp>
        <p:nvCxnSpPr>
          <p:cNvPr id="55" name="AutoShape 50"/>
          <p:cNvCxnSpPr>
            <a:cxnSpLocks noChangeShapeType="1"/>
            <a:stCxn id="13" idx="3"/>
            <a:endCxn id="32" idx="1"/>
          </p:cNvCxnSpPr>
          <p:nvPr>
            <p:custDataLst>
              <p:tags r:id="rId30"/>
            </p:custDataLst>
          </p:nvPr>
        </p:nvCxnSpPr>
        <p:spPr bwMode="auto">
          <a:xfrm>
            <a:off x="2067361" y="3177999"/>
            <a:ext cx="322043" cy="243771"/>
          </a:xfrm>
          <a:prstGeom prst="bentConnector3">
            <a:avLst>
              <a:gd name="adj1" fmla="val 50000"/>
            </a:avLst>
          </a:prstGeom>
          <a:noFill/>
          <a:ln w="6350">
            <a:solidFill>
              <a:srgbClr val="BBBCBC"/>
            </a:solidFill>
            <a:miter lim="800000"/>
            <a:headEnd/>
            <a:tailEnd/>
          </a:ln>
        </p:spPr>
      </p:cxnSp>
      <p:cxnSp>
        <p:nvCxnSpPr>
          <p:cNvPr id="56" name="AutoShape 55"/>
          <p:cNvCxnSpPr>
            <a:cxnSpLocks noChangeShapeType="1"/>
            <a:stCxn id="20" idx="3"/>
            <a:endCxn id="35" idx="1"/>
          </p:cNvCxnSpPr>
          <p:nvPr>
            <p:custDataLst>
              <p:tags r:id="rId31"/>
            </p:custDataLst>
          </p:nvPr>
        </p:nvCxnSpPr>
        <p:spPr bwMode="auto">
          <a:xfrm flipV="1">
            <a:off x="2067361" y="4117027"/>
            <a:ext cx="322043" cy="131315"/>
          </a:xfrm>
          <a:prstGeom prst="bentConnector3">
            <a:avLst>
              <a:gd name="adj1" fmla="val 50000"/>
            </a:avLst>
          </a:prstGeom>
          <a:noFill/>
          <a:ln w="6350">
            <a:solidFill>
              <a:srgbClr val="BBBCBC"/>
            </a:solidFill>
            <a:miter lim="800000"/>
            <a:headEnd/>
            <a:tailEnd/>
          </a:ln>
        </p:spPr>
      </p:cxnSp>
      <p:cxnSp>
        <p:nvCxnSpPr>
          <p:cNvPr id="57" name="AutoShape 56"/>
          <p:cNvCxnSpPr>
            <a:cxnSpLocks noChangeShapeType="1"/>
            <a:stCxn id="20" idx="3"/>
            <a:endCxn id="36" idx="1"/>
          </p:cNvCxnSpPr>
          <p:nvPr>
            <p:custDataLst>
              <p:tags r:id="rId32"/>
            </p:custDataLst>
          </p:nvPr>
        </p:nvCxnSpPr>
        <p:spPr bwMode="auto">
          <a:xfrm>
            <a:off x="2067361" y="4248342"/>
            <a:ext cx="322043" cy="195246"/>
          </a:xfrm>
          <a:prstGeom prst="bentConnector3">
            <a:avLst>
              <a:gd name="adj1" fmla="val 50001"/>
            </a:avLst>
          </a:prstGeom>
          <a:noFill/>
          <a:ln w="6350">
            <a:solidFill>
              <a:srgbClr val="BBBCBC"/>
            </a:solidFill>
            <a:miter lim="800000"/>
            <a:headEnd/>
            <a:tailEnd/>
          </a:ln>
        </p:spPr>
      </p:cxnSp>
      <p:sp>
        <p:nvSpPr>
          <p:cNvPr id="58" name="Rectangle 58"/>
          <p:cNvSpPr>
            <a:spLocks noChangeArrowheads="1"/>
          </p:cNvSpPr>
          <p:nvPr>
            <p:custDataLst>
              <p:tags r:id="rId33"/>
            </p:custDataLst>
          </p:nvPr>
        </p:nvSpPr>
        <p:spPr bwMode="auto">
          <a:xfrm>
            <a:off x="7284960" y="2615990"/>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7" action="ppaction://hlinksldjump"/>
              </a:rPr>
              <a:t>Othe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0" name="Rectangle 60"/>
          <p:cNvSpPr>
            <a:spLocks noChangeArrowheads="1"/>
          </p:cNvSpPr>
          <p:nvPr>
            <p:custDataLst>
              <p:tags r:id="rId34"/>
            </p:custDataLst>
          </p:nvPr>
        </p:nvSpPr>
        <p:spPr bwMode="auto">
          <a:xfrm>
            <a:off x="7284960" y="400272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8" action="ppaction://hlinksldjump"/>
              </a:rPr>
              <a:t>Othe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31" name="Rectangle 23"/>
          <p:cNvSpPr>
            <a:spLocks noChangeArrowheads="1"/>
          </p:cNvSpPr>
          <p:nvPr>
            <p:custDataLst>
              <p:tags r:id="rId35"/>
            </p:custDataLst>
          </p:nvPr>
        </p:nvSpPr>
        <p:spPr bwMode="auto">
          <a:xfrm>
            <a:off x="2389404" y="298377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79" action="ppaction://hlinksldjump"/>
              </a:rPr>
              <a:t>Chevron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41" name="Rectangle 34"/>
          <p:cNvSpPr>
            <a:spLocks noChangeArrowheads="1"/>
          </p:cNvSpPr>
          <p:nvPr>
            <p:custDataLst>
              <p:tags r:id="rId36"/>
            </p:custDataLst>
          </p:nvPr>
        </p:nvSpPr>
        <p:spPr bwMode="auto">
          <a:xfrm>
            <a:off x="4021256" y="298377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80" action="ppaction://hlinksldjump"/>
              </a:rPr>
              <a:t>Spher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59" name="Rectangle 59"/>
          <p:cNvSpPr>
            <a:spLocks noChangeArrowheads="1"/>
          </p:cNvSpPr>
          <p:nvPr>
            <p:custDataLst>
              <p:tags r:id="rId37"/>
            </p:custDataLst>
          </p:nvPr>
        </p:nvSpPr>
        <p:spPr bwMode="auto">
          <a:xfrm>
            <a:off x="5653108" y="298377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81" action="ppaction://hlinksldjump"/>
              </a:rPr>
              <a:t>Triangl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1" name="Rectangle 70"/>
          <p:cNvSpPr>
            <a:spLocks noChangeArrowheads="1"/>
          </p:cNvSpPr>
          <p:nvPr>
            <p:custDataLst>
              <p:tags r:id="rId38"/>
            </p:custDataLst>
          </p:nvPr>
        </p:nvSpPr>
        <p:spPr bwMode="auto">
          <a:xfrm>
            <a:off x="7284960" y="2983773"/>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82" action="ppaction://hlinksldjump"/>
              </a:rPr>
              <a:t>Other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2" name="Rectangle 61"/>
          <p:cNvSpPr>
            <a:spLocks noChangeArrowheads="1"/>
          </p:cNvSpPr>
          <p:nvPr>
            <p:custDataLst>
              <p:tags r:id="rId39"/>
            </p:custDataLst>
          </p:nvPr>
        </p:nvSpPr>
        <p:spPr bwMode="auto">
          <a:xfrm>
            <a:off x="4021256" y="151093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83" action="ppaction://hlinksldjump"/>
              </a:rPr>
              <a:t>Text box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3" name="Rectangle 62"/>
          <p:cNvSpPr>
            <a:spLocks noChangeArrowheads="1"/>
          </p:cNvSpPr>
          <p:nvPr>
            <p:custDataLst>
              <p:tags r:id="rId40"/>
            </p:custDataLst>
          </p:nvPr>
        </p:nvSpPr>
        <p:spPr bwMode="auto">
          <a:xfrm>
            <a:off x="4021256" y="4002727"/>
            <a:ext cx="1463040" cy="22860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84" action="ppaction://hlinksldjump"/>
              </a:rPr>
              <a:t>Forces at work</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74" name="Rectangle 73"/>
          <p:cNvSpPr/>
          <p:nvPr/>
        </p:nvSpPr>
        <p:spPr>
          <a:xfrm>
            <a:off x="2392960" y="5008792"/>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85" action="ppaction://hlinksldjump"/>
              </a:rPr>
              <a:t>Process Charts</a:t>
            </a:r>
            <a:endParaRPr lang="en-US" sz="900" dirty="0">
              <a:solidFill>
                <a:schemeClr val="tx2"/>
              </a:solidFill>
            </a:endParaRPr>
          </a:p>
        </p:txBody>
      </p:sp>
      <p:sp>
        <p:nvSpPr>
          <p:cNvPr id="75" name="Rectangle 74"/>
          <p:cNvSpPr/>
          <p:nvPr/>
        </p:nvSpPr>
        <p:spPr>
          <a:xfrm>
            <a:off x="2392960" y="5334737"/>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86" action="ppaction://hlinksldjump"/>
              </a:rPr>
              <a:t>Diagrams</a:t>
            </a:r>
            <a:endParaRPr lang="en-US" sz="900" dirty="0">
              <a:solidFill>
                <a:schemeClr val="tx2"/>
              </a:solidFill>
            </a:endParaRPr>
          </a:p>
        </p:txBody>
      </p:sp>
      <p:sp>
        <p:nvSpPr>
          <p:cNvPr id="76" name="Rectangle 75"/>
          <p:cNvSpPr/>
          <p:nvPr/>
        </p:nvSpPr>
        <p:spPr>
          <a:xfrm>
            <a:off x="4023627" y="5008792"/>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87" action="ppaction://hlinksldjump"/>
              </a:rPr>
              <a:t>Trees</a:t>
            </a:r>
            <a:endParaRPr lang="en-US" sz="900" dirty="0">
              <a:solidFill>
                <a:schemeClr val="tx2"/>
              </a:solidFill>
            </a:endParaRPr>
          </a:p>
        </p:txBody>
      </p:sp>
      <p:sp>
        <p:nvSpPr>
          <p:cNvPr id="77" name="Rectangle 76"/>
          <p:cNvSpPr/>
          <p:nvPr/>
        </p:nvSpPr>
        <p:spPr>
          <a:xfrm>
            <a:off x="5654294" y="5008792"/>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88" action="ppaction://hlinksldjump"/>
              </a:rPr>
              <a:t>Leaves</a:t>
            </a:r>
            <a:endParaRPr lang="en-US" sz="900" dirty="0">
              <a:solidFill>
                <a:schemeClr val="tx2"/>
              </a:solidFill>
            </a:endParaRPr>
          </a:p>
        </p:txBody>
      </p:sp>
      <p:sp>
        <p:nvSpPr>
          <p:cNvPr id="78" name="Rectangle 77"/>
          <p:cNvSpPr/>
          <p:nvPr/>
        </p:nvSpPr>
        <p:spPr>
          <a:xfrm>
            <a:off x="4023627" y="5334737"/>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89" action="ppaction://hlinksldjump"/>
              </a:rPr>
              <a:t>Connectors</a:t>
            </a:r>
            <a:endParaRPr lang="en-US" sz="900" dirty="0">
              <a:solidFill>
                <a:schemeClr val="tx2"/>
              </a:solidFill>
            </a:endParaRPr>
          </a:p>
        </p:txBody>
      </p:sp>
      <p:sp>
        <p:nvSpPr>
          <p:cNvPr id="79" name="Rectangle 78"/>
          <p:cNvSpPr/>
          <p:nvPr/>
        </p:nvSpPr>
        <p:spPr>
          <a:xfrm>
            <a:off x="5654294" y="5334737"/>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90" action="ppaction://hlinksldjump"/>
              </a:rPr>
              <a:t>Ranking Elements</a:t>
            </a:r>
            <a:endParaRPr lang="en-US" sz="900" dirty="0">
              <a:solidFill>
                <a:schemeClr val="tx2"/>
              </a:solidFill>
            </a:endParaRPr>
          </a:p>
        </p:txBody>
      </p:sp>
      <p:cxnSp>
        <p:nvCxnSpPr>
          <p:cNvPr id="81" name="Elbow Connector 80"/>
          <p:cNvCxnSpPr>
            <a:stCxn id="64" idx="3"/>
            <a:endCxn id="75" idx="1"/>
          </p:cNvCxnSpPr>
          <p:nvPr/>
        </p:nvCxnSpPr>
        <p:spPr>
          <a:xfrm>
            <a:off x="2067361" y="5265931"/>
            <a:ext cx="325599" cy="183106"/>
          </a:xfrm>
          <a:prstGeom prst="bentConnector3">
            <a:avLst/>
          </a:prstGeom>
          <a:ln w="6350">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18" idx="3"/>
            <a:endCxn id="33" idx="1"/>
          </p:cNvCxnSpPr>
          <p:nvPr/>
        </p:nvCxnSpPr>
        <p:spPr>
          <a:xfrm>
            <a:off x="2065773" y="3733940"/>
            <a:ext cx="323631" cy="0"/>
          </a:xfrm>
          <a:prstGeom prst="line">
            <a:avLst/>
          </a:prstGeom>
          <a:noFill/>
          <a:ln w="6350">
            <a:solidFill>
              <a:srgbClr val="BBBCBC"/>
            </a:solidFill>
            <a:miter lim="800000"/>
            <a:headEnd/>
            <a:tailEnd/>
          </a:ln>
        </p:spPr>
      </p:cxnSp>
      <p:cxnSp>
        <p:nvCxnSpPr>
          <p:cNvPr id="85" name="Straight Connector 84"/>
          <p:cNvCxnSpPr>
            <a:stCxn id="12" idx="3"/>
            <a:endCxn id="27" idx="1"/>
          </p:cNvCxnSpPr>
          <p:nvPr/>
        </p:nvCxnSpPr>
        <p:spPr>
          <a:xfrm>
            <a:off x="2065773" y="1625237"/>
            <a:ext cx="323631" cy="0"/>
          </a:xfrm>
          <a:prstGeom prst="line">
            <a:avLst/>
          </a:prstGeom>
          <a:noFill/>
          <a:ln w="6350">
            <a:solidFill>
              <a:srgbClr val="BBBCBC"/>
            </a:solidFill>
            <a:miter lim="800000"/>
            <a:headEnd/>
            <a:tailEnd/>
          </a:ln>
        </p:spPr>
      </p:cxnSp>
      <p:grpSp>
        <p:nvGrpSpPr>
          <p:cNvPr id="10" name="Group 9"/>
          <p:cNvGrpSpPr/>
          <p:nvPr/>
        </p:nvGrpSpPr>
        <p:grpSpPr>
          <a:xfrm>
            <a:off x="396000" y="4088322"/>
            <a:ext cx="1671361" cy="320040"/>
            <a:chOff x="1177699" y="4228997"/>
            <a:chExt cx="1671361" cy="320040"/>
          </a:xfrm>
        </p:grpSpPr>
        <p:sp>
          <p:nvSpPr>
            <p:cNvPr id="20" name="Rectangle 11"/>
            <p:cNvSpPr>
              <a:spLocks noChangeArrowheads="1"/>
            </p:cNvSpPr>
            <p:nvPr>
              <p:custDataLst>
                <p:tags r:id="rId50"/>
              </p:custDataLst>
            </p:nvPr>
          </p:nvSpPr>
          <p:spPr bwMode="auto">
            <a:xfrm>
              <a:off x="1452060" y="4228997"/>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1" action="ppaction://hlinksldjump"/>
                </a:rPr>
                <a:t>Conceptual chart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6" name="TextBox 65"/>
            <p:cNvSpPr txBox="1"/>
            <p:nvPr/>
          </p:nvSpPr>
          <p:spPr>
            <a:xfrm>
              <a:off x="1177699" y="4228997"/>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6</a:t>
              </a:r>
            </a:p>
          </p:txBody>
        </p:sp>
      </p:grpSp>
      <p:grpSp>
        <p:nvGrpSpPr>
          <p:cNvPr id="14" name="Group 13"/>
          <p:cNvGrpSpPr/>
          <p:nvPr/>
        </p:nvGrpSpPr>
        <p:grpSpPr>
          <a:xfrm>
            <a:off x="396000" y="5105911"/>
            <a:ext cx="1671361" cy="320040"/>
            <a:chOff x="1177699" y="5334509"/>
            <a:chExt cx="1671361" cy="320040"/>
          </a:xfrm>
        </p:grpSpPr>
        <p:sp>
          <p:nvSpPr>
            <p:cNvPr id="64" name="Rectangle 11"/>
            <p:cNvSpPr>
              <a:spLocks noChangeArrowheads="1"/>
            </p:cNvSpPr>
            <p:nvPr>
              <p:custDataLst>
                <p:tags r:id="rId49"/>
              </p:custDataLst>
            </p:nvPr>
          </p:nvSpPr>
          <p:spPr bwMode="auto">
            <a:xfrm>
              <a:off x="1452060" y="5334509"/>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2" action="ppaction://hlinksldjump"/>
                </a:rPr>
                <a:t>Infographic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7" name="TextBox 66"/>
            <p:cNvSpPr txBox="1"/>
            <p:nvPr/>
          </p:nvSpPr>
          <p:spPr>
            <a:xfrm>
              <a:off x="1177699" y="5334509"/>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8</a:t>
              </a:r>
            </a:p>
          </p:txBody>
        </p:sp>
      </p:grpSp>
      <p:grpSp>
        <p:nvGrpSpPr>
          <p:cNvPr id="16" name="Group 15"/>
          <p:cNvGrpSpPr/>
          <p:nvPr/>
        </p:nvGrpSpPr>
        <p:grpSpPr>
          <a:xfrm>
            <a:off x="396000" y="5579533"/>
            <a:ext cx="1671361" cy="320040"/>
            <a:chOff x="1177699" y="5887262"/>
            <a:chExt cx="1671361" cy="320040"/>
          </a:xfrm>
        </p:grpSpPr>
        <p:sp>
          <p:nvSpPr>
            <p:cNvPr id="65" name="Rectangle 11"/>
            <p:cNvSpPr>
              <a:spLocks noChangeArrowheads="1"/>
            </p:cNvSpPr>
            <p:nvPr>
              <p:custDataLst>
                <p:tags r:id="rId48"/>
              </p:custDataLst>
            </p:nvPr>
          </p:nvSpPr>
          <p:spPr bwMode="auto">
            <a:xfrm>
              <a:off x="1452060" y="5887262"/>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3" action="ppaction://hlinksldjump"/>
                </a:rPr>
                <a:t>Iconography</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8" name="TextBox 67"/>
            <p:cNvSpPr txBox="1"/>
            <p:nvPr/>
          </p:nvSpPr>
          <p:spPr>
            <a:xfrm>
              <a:off x="1177699" y="5887262"/>
              <a:ext cx="274320" cy="320040"/>
            </a:xfrm>
            <a:prstGeom prst="rect">
              <a:avLst/>
            </a:prstGeom>
            <a:solidFill>
              <a:schemeClr val="tx2"/>
            </a:solidFill>
            <a:ln>
              <a:solidFill>
                <a:schemeClr val="tx2"/>
              </a:solidFill>
            </a:ln>
          </p:spPr>
          <p:txBody>
            <a:bodyPr wrap="square" lIns="88900" tIns="88900" rIns="88900" bIns="88900" rtlCol="0" anchor="ctr" anchorCtr="0">
              <a:noAutofit/>
            </a:bodyPr>
            <a:lstStyle/>
            <a:p>
              <a:r>
                <a:rPr lang="en-US" sz="1200" dirty="0">
                  <a:solidFill>
                    <a:schemeClr val="bg1"/>
                  </a:solidFill>
                </a:rPr>
                <a:t>9</a:t>
              </a:r>
            </a:p>
          </p:txBody>
        </p:sp>
      </p:grpSp>
      <p:grpSp>
        <p:nvGrpSpPr>
          <p:cNvPr id="9" name="Group 8"/>
          <p:cNvGrpSpPr/>
          <p:nvPr/>
        </p:nvGrpSpPr>
        <p:grpSpPr>
          <a:xfrm>
            <a:off x="396000" y="3573920"/>
            <a:ext cx="1669773" cy="320040"/>
            <a:chOff x="1177699" y="3679426"/>
            <a:chExt cx="1669773" cy="320040"/>
          </a:xfrm>
        </p:grpSpPr>
        <p:sp>
          <p:nvSpPr>
            <p:cNvPr id="18" name="Rectangle 8"/>
            <p:cNvSpPr>
              <a:spLocks noChangeArrowheads="1"/>
            </p:cNvSpPr>
            <p:nvPr>
              <p:custDataLst>
                <p:tags r:id="rId47"/>
              </p:custDataLst>
            </p:nvPr>
          </p:nvSpPr>
          <p:spPr bwMode="auto">
            <a:xfrm>
              <a:off x="1452060" y="3679426"/>
              <a:ext cx="1395412"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94000"/>
                </a:lnSpc>
                <a:spcBef>
                  <a:spcPts val="0"/>
                </a:spcBef>
                <a:spcAft>
                  <a:spcPct val="3600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4" action="ppaction://hlinksldjump"/>
                </a:rPr>
                <a:t>Special graphic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69" name="TextBox 68"/>
            <p:cNvSpPr txBox="1"/>
            <p:nvPr/>
          </p:nvSpPr>
          <p:spPr>
            <a:xfrm>
              <a:off x="1177699" y="3679426"/>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5</a:t>
              </a:r>
            </a:p>
          </p:txBody>
        </p:sp>
      </p:grpSp>
      <p:grpSp>
        <p:nvGrpSpPr>
          <p:cNvPr id="8" name="Group 7"/>
          <p:cNvGrpSpPr/>
          <p:nvPr/>
        </p:nvGrpSpPr>
        <p:grpSpPr>
          <a:xfrm>
            <a:off x="396000" y="3017979"/>
            <a:ext cx="1671361" cy="320040"/>
            <a:chOff x="1177699" y="3123485"/>
            <a:chExt cx="1671361" cy="320040"/>
          </a:xfrm>
        </p:grpSpPr>
        <p:sp>
          <p:nvSpPr>
            <p:cNvPr id="13" name="Rectangle 3"/>
            <p:cNvSpPr>
              <a:spLocks noChangeArrowheads="1"/>
            </p:cNvSpPr>
            <p:nvPr>
              <p:custDataLst>
                <p:tags r:id="rId46"/>
              </p:custDataLst>
            </p:nvPr>
          </p:nvSpPr>
          <p:spPr bwMode="auto">
            <a:xfrm>
              <a:off x="1452060" y="3123485"/>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5" action="ppaction://hlinksldjump"/>
                </a:rPr>
                <a:t>Shap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70" name="TextBox 69"/>
            <p:cNvSpPr txBox="1"/>
            <p:nvPr/>
          </p:nvSpPr>
          <p:spPr>
            <a:xfrm>
              <a:off x="1177699" y="3123485"/>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4</a:t>
              </a:r>
            </a:p>
          </p:txBody>
        </p:sp>
      </p:grpSp>
      <p:grpSp>
        <p:nvGrpSpPr>
          <p:cNvPr id="7" name="Group 6"/>
          <p:cNvGrpSpPr/>
          <p:nvPr/>
        </p:nvGrpSpPr>
        <p:grpSpPr>
          <a:xfrm>
            <a:off x="396000" y="2465223"/>
            <a:ext cx="1671361" cy="320040"/>
            <a:chOff x="1177699" y="2570729"/>
            <a:chExt cx="1671361" cy="320040"/>
          </a:xfrm>
        </p:grpSpPr>
        <p:sp>
          <p:nvSpPr>
            <p:cNvPr id="17" name="Rectangle 7"/>
            <p:cNvSpPr>
              <a:spLocks noChangeArrowheads="1"/>
            </p:cNvSpPr>
            <p:nvPr>
              <p:custDataLst>
                <p:tags r:id="rId45"/>
              </p:custDataLst>
            </p:nvPr>
          </p:nvSpPr>
          <p:spPr bwMode="auto">
            <a:xfrm>
              <a:off x="1452060" y="2570729"/>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6" action="ppaction://hlinksldjump"/>
                </a:rPr>
                <a:t>Graph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71" name="TextBox 70"/>
            <p:cNvSpPr txBox="1"/>
            <p:nvPr/>
          </p:nvSpPr>
          <p:spPr>
            <a:xfrm>
              <a:off x="1177699" y="2570729"/>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3</a:t>
              </a:r>
            </a:p>
          </p:txBody>
        </p:sp>
      </p:grpSp>
      <p:grpSp>
        <p:nvGrpSpPr>
          <p:cNvPr id="6" name="Group 5"/>
          <p:cNvGrpSpPr/>
          <p:nvPr/>
        </p:nvGrpSpPr>
        <p:grpSpPr>
          <a:xfrm>
            <a:off x="396000" y="1912467"/>
            <a:ext cx="1669773" cy="320040"/>
            <a:chOff x="1177699" y="2017973"/>
            <a:chExt cx="1669773" cy="320040"/>
          </a:xfrm>
        </p:grpSpPr>
        <p:sp>
          <p:nvSpPr>
            <p:cNvPr id="19" name="Rectangle 9"/>
            <p:cNvSpPr>
              <a:spLocks noChangeArrowheads="1"/>
            </p:cNvSpPr>
            <p:nvPr>
              <p:custDataLst>
                <p:tags r:id="rId44"/>
              </p:custDataLst>
            </p:nvPr>
          </p:nvSpPr>
          <p:spPr bwMode="auto">
            <a:xfrm>
              <a:off x="1452060" y="2017973"/>
              <a:ext cx="1395412"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7" action="ppaction://hlinksldjump"/>
                </a:rPr>
                <a:t>Tree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72" name="TextBox 71"/>
            <p:cNvSpPr txBox="1"/>
            <p:nvPr/>
          </p:nvSpPr>
          <p:spPr>
            <a:xfrm>
              <a:off x="1177699" y="2017973"/>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2</a:t>
              </a:r>
            </a:p>
          </p:txBody>
        </p:sp>
      </p:grpSp>
      <p:grpSp>
        <p:nvGrpSpPr>
          <p:cNvPr id="4" name="Group 3"/>
          <p:cNvGrpSpPr/>
          <p:nvPr/>
        </p:nvGrpSpPr>
        <p:grpSpPr>
          <a:xfrm>
            <a:off x="396000" y="1465217"/>
            <a:ext cx="1669773" cy="320040"/>
            <a:chOff x="1177699" y="1465217"/>
            <a:chExt cx="1669773" cy="320040"/>
          </a:xfrm>
        </p:grpSpPr>
        <p:sp>
          <p:nvSpPr>
            <p:cNvPr id="12" name="Rectangle 2">
              <a:hlinkClick r:id="rId98" action="ppaction://hlinksldjump"/>
            </p:cNvPr>
            <p:cNvSpPr>
              <a:spLocks noChangeArrowheads="1"/>
            </p:cNvSpPr>
            <p:nvPr>
              <p:custDataLst>
                <p:tags r:id="rId43"/>
              </p:custDataLst>
            </p:nvPr>
          </p:nvSpPr>
          <p:spPr bwMode="auto">
            <a:xfrm>
              <a:off x="1452060" y="1465217"/>
              <a:ext cx="1395412"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99" action="ppaction://hlinksldjump"/>
                </a:rPr>
                <a:t>Structured text</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100" action="ppaction://hlinksldjump"/>
              </a:endParaRPr>
            </a:p>
          </p:txBody>
        </p:sp>
        <p:sp>
          <p:nvSpPr>
            <p:cNvPr id="73" name="TextBox 72"/>
            <p:cNvSpPr txBox="1"/>
            <p:nvPr/>
          </p:nvSpPr>
          <p:spPr>
            <a:xfrm>
              <a:off x="1177699" y="1465217"/>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1</a:t>
              </a:r>
            </a:p>
          </p:txBody>
        </p:sp>
      </p:grpSp>
      <p:grpSp>
        <p:nvGrpSpPr>
          <p:cNvPr id="11" name="Group 10"/>
          <p:cNvGrpSpPr/>
          <p:nvPr/>
        </p:nvGrpSpPr>
        <p:grpSpPr>
          <a:xfrm>
            <a:off x="396000" y="4623493"/>
            <a:ext cx="1671361" cy="320040"/>
            <a:chOff x="1177699" y="4781753"/>
            <a:chExt cx="1671361" cy="320040"/>
          </a:xfrm>
        </p:grpSpPr>
        <p:sp>
          <p:nvSpPr>
            <p:cNvPr id="102" name="Rectangle 11"/>
            <p:cNvSpPr>
              <a:spLocks noChangeArrowheads="1"/>
            </p:cNvSpPr>
            <p:nvPr>
              <p:custDataLst>
                <p:tags r:id="rId42"/>
              </p:custDataLst>
            </p:nvPr>
          </p:nvSpPr>
          <p:spPr bwMode="auto">
            <a:xfrm>
              <a:off x="1452060" y="4781753"/>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101" action="ppaction://hlinksldjump"/>
                </a:rPr>
                <a:t>Maps</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103" name="TextBox 102"/>
            <p:cNvSpPr txBox="1"/>
            <p:nvPr/>
          </p:nvSpPr>
          <p:spPr>
            <a:xfrm>
              <a:off x="1177699" y="4781753"/>
              <a:ext cx="274320" cy="320040"/>
            </a:xfrm>
            <a:prstGeom prst="rect">
              <a:avLst/>
            </a:prstGeom>
            <a:solidFill>
              <a:schemeClr val="tx2"/>
            </a:solidFill>
            <a:ln w="9525">
              <a:solidFill>
                <a:schemeClr val="tx2"/>
              </a:solidFill>
            </a:ln>
          </p:spPr>
          <p:txBody>
            <a:bodyPr wrap="square" lIns="88900" tIns="88900" rIns="88900" bIns="88900" rtlCol="0" anchor="ctr" anchorCtr="0">
              <a:noAutofit/>
            </a:bodyPr>
            <a:lstStyle/>
            <a:p>
              <a:r>
                <a:rPr lang="en-US" sz="1200" dirty="0">
                  <a:solidFill>
                    <a:schemeClr val="bg1"/>
                  </a:solidFill>
                </a:rPr>
                <a:t>7</a:t>
              </a:r>
            </a:p>
          </p:txBody>
        </p:sp>
      </p:grpSp>
      <p:grpSp>
        <p:nvGrpSpPr>
          <p:cNvPr id="93" name="Group 92"/>
          <p:cNvGrpSpPr/>
          <p:nvPr/>
        </p:nvGrpSpPr>
        <p:grpSpPr>
          <a:xfrm>
            <a:off x="396000" y="6054315"/>
            <a:ext cx="1671361" cy="320040"/>
            <a:chOff x="1177699" y="5887262"/>
            <a:chExt cx="1671361" cy="320040"/>
          </a:xfrm>
        </p:grpSpPr>
        <p:sp>
          <p:nvSpPr>
            <p:cNvPr id="94" name="Rectangle 11"/>
            <p:cNvSpPr>
              <a:spLocks noChangeArrowheads="1"/>
            </p:cNvSpPr>
            <p:nvPr>
              <p:custDataLst>
                <p:tags r:id="rId41"/>
              </p:custDataLst>
            </p:nvPr>
          </p:nvSpPr>
          <p:spPr bwMode="auto">
            <a:xfrm>
              <a:off x="1452060" y="5887262"/>
              <a:ext cx="1397000" cy="320040"/>
            </a:xfrm>
            <a:prstGeom prst="rect">
              <a:avLst/>
            </a:prstGeom>
            <a:solidFill>
              <a:schemeClr val="bg1"/>
            </a:solidFill>
            <a:ln w="9525" algn="ctr">
              <a:solidFill>
                <a:schemeClr val="tx2"/>
              </a:solidFill>
              <a:miter lim="800000"/>
              <a:headEnd/>
              <a:tailEnd/>
            </a:ln>
          </p:spPr>
          <p:txBody>
            <a:bodyPr lIns="88900" tIns="88900" rIns="88900" bIns="88900" anchor="ctr" anchorCtr="0">
              <a:noAutofit/>
            </a:bodyPr>
            <a:lstStyle/>
            <a:p>
              <a:pPr marR="0" lvl="0" defTabSz="914400" eaLnBrk="1" fontAlgn="auto" latinLnBrk="0" hangingPunct="1">
                <a:lnSpc>
                  <a:spcPct val="100000"/>
                </a:lnSpc>
                <a:spcBef>
                  <a:spcPts val="0"/>
                </a:spcBef>
                <a:spcAft>
                  <a:spcPts val="0"/>
                </a:spcAft>
                <a:buClrTx/>
                <a:buSzTx/>
                <a:tabLst/>
                <a:defRPr/>
              </a:pPr>
              <a:r>
                <a:rPr kumimoji="0" lang="en-US" altLang="ja-JP" sz="900" b="0" i="0" u="none" strike="noStrike" kern="0" cap="none" spc="0" normalizeH="0" baseline="0" noProof="0" dirty="0">
                  <a:ln>
                    <a:noFill/>
                  </a:ln>
                  <a:solidFill>
                    <a:srgbClr val="575757"/>
                  </a:solidFill>
                  <a:effectLst/>
                  <a:uLnTx/>
                  <a:uFillTx/>
                  <a:ea typeface="ＭＳ Ｐゴシック" pitchFamily="50" charset="-128"/>
                  <a:hlinkClick r:id="rId102" action="ppaction://hlinksldjump"/>
                </a:rPr>
                <a:t>Appendix</a:t>
              </a:r>
              <a:endParaRPr kumimoji="0" lang="en-US" altLang="ja-JP" sz="900" b="0" i="0" u="none" strike="noStrike" kern="0" cap="none" spc="0" normalizeH="0" baseline="0" noProof="0" dirty="0">
                <a:ln>
                  <a:noFill/>
                </a:ln>
                <a:solidFill>
                  <a:srgbClr val="575757"/>
                </a:solidFill>
                <a:effectLst/>
                <a:uLnTx/>
                <a:uFillTx/>
                <a:ea typeface="ＭＳ Ｐゴシック" pitchFamily="50" charset="-128"/>
              </a:endParaRPr>
            </a:p>
          </p:txBody>
        </p:sp>
        <p:sp>
          <p:nvSpPr>
            <p:cNvPr id="95" name="TextBox 94"/>
            <p:cNvSpPr txBox="1"/>
            <p:nvPr/>
          </p:nvSpPr>
          <p:spPr>
            <a:xfrm>
              <a:off x="1177699" y="5887262"/>
              <a:ext cx="274320" cy="320040"/>
            </a:xfrm>
            <a:prstGeom prst="rect">
              <a:avLst/>
            </a:prstGeom>
            <a:solidFill>
              <a:schemeClr val="tx2"/>
            </a:solidFill>
            <a:ln>
              <a:solidFill>
                <a:schemeClr val="tx2"/>
              </a:solidFill>
            </a:ln>
          </p:spPr>
          <p:txBody>
            <a:bodyPr wrap="square" lIns="0" tIns="88900" rIns="0" bIns="88900" rtlCol="0" anchor="ctr" anchorCtr="0">
              <a:noAutofit/>
            </a:bodyPr>
            <a:lstStyle/>
            <a:p>
              <a:pPr algn="ctr"/>
              <a:r>
                <a:rPr lang="en-US" sz="1200" dirty="0">
                  <a:solidFill>
                    <a:schemeClr val="bg1"/>
                  </a:solidFill>
                </a:rPr>
                <a:t>10</a:t>
              </a:r>
            </a:p>
          </p:txBody>
        </p:sp>
      </p:grpSp>
      <p:sp>
        <p:nvSpPr>
          <p:cNvPr id="133" name="Rectangle 132"/>
          <p:cNvSpPr/>
          <p:nvPr/>
        </p:nvSpPr>
        <p:spPr>
          <a:xfrm>
            <a:off x="2392960" y="4669213"/>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103" action="ppaction://hlinksldjump"/>
              </a:rPr>
              <a:t>Flags</a:t>
            </a:r>
            <a:endParaRPr lang="en-US" sz="900" dirty="0">
              <a:solidFill>
                <a:schemeClr val="tx2"/>
              </a:solidFill>
            </a:endParaRPr>
          </a:p>
        </p:txBody>
      </p:sp>
      <p:cxnSp>
        <p:nvCxnSpPr>
          <p:cNvPr id="138" name="Straight Connector 137"/>
          <p:cNvCxnSpPr>
            <a:stCxn id="102" idx="3"/>
            <a:endCxn id="133" idx="1"/>
          </p:cNvCxnSpPr>
          <p:nvPr/>
        </p:nvCxnSpPr>
        <p:spPr>
          <a:xfrm>
            <a:off x="2067361" y="4783513"/>
            <a:ext cx="325599" cy="0"/>
          </a:xfrm>
          <a:prstGeom prst="line">
            <a:avLst/>
          </a:prstGeom>
          <a:noFill/>
          <a:ln w="6350">
            <a:solidFill>
              <a:srgbClr val="BBBCBC"/>
            </a:solidFill>
            <a:miter lim="800000"/>
            <a:headEnd/>
            <a:tailEnd/>
          </a:ln>
        </p:spPr>
      </p:cxnSp>
      <p:sp>
        <p:nvSpPr>
          <p:cNvPr id="97" name="Rectangle 96"/>
          <p:cNvSpPr/>
          <p:nvPr/>
        </p:nvSpPr>
        <p:spPr>
          <a:xfrm>
            <a:off x="7284960" y="5008792"/>
            <a:ext cx="1463040" cy="2286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noAutofit/>
          </a:bodyPr>
          <a:lstStyle/>
          <a:p>
            <a:r>
              <a:rPr lang="en-US" sz="900" dirty="0">
                <a:solidFill>
                  <a:schemeClr val="tx2"/>
                </a:solidFill>
                <a:hlinkClick r:id="rId104" action="ppaction://hlinksldjump"/>
              </a:rPr>
              <a:t>Others</a:t>
            </a:r>
            <a:endParaRPr lang="en-US" sz="900" dirty="0">
              <a:solidFill>
                <a:schemeClr val="tx2"/>
              </a:solidFill>
            </a:endParaRPr>
          </a:p>
        </p:txBody>
      </p:sp>
    </p:spTree>
    <p:extLst>
      <p:ext uri="{BB962C8B-B14F-4D97-AF65-F5344CB8AC3E}">
        <p14:creationId xmlns:p14="http://schemas.microsoft.com/office/powerpoint/2010/main" val="27273676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364953" y="1611785"/>
            <a:ext cx="2194560"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dirty="0"/>
              <a:t>Text, Verdana 12pt</a:t>
            </a:r>
          </a:p>
        </p:txBody>
      </p:sp>
      <p:sp>
        <p:nvSpPr>
          <p:cNvPr id="7" name="AutoShape 4"/>
          <p:cNvSpPr>
            <a:spLocks noChangeArrowheads="1"/>
          </p:cNvSpPr>
          <p:nvPr/>
        </p:nvSpPr>
        <p:spPr bwMode="gray">
          <a:xfrm>
            <a:off x="2439132" y="1611785"/>
            <a:ext cx="2194560" cy="548640"/>
          </a:xfrm>
          <a:prstGeom prst="chevron">
            <a:avLst>
              <a:gd name="adj" fmla="val 34975"/>
            </a:avLst>
          </a:prstGeom>
          <a:solidFill>
            <a:schemeClr val="bg2">
              <a:lumMod val="90000"/>
            </a:schemeClr>
          </a:solidFill>
          <a:ln w="12700" cap="rnd" algn="ctr">
            <a:noFill/>
            <a:miter lim="800000"/>
            <a:headEnd/>
            <a:tailEnd/>
          </a:ln>
        </p:spPr>
        <p:txBody>
          <a:bodyPr lIns="88900" tIns="88900" rIns="88900" bIns="88900" anchor="ctr" anchorCtr="0"/>
          <a:lstStyle/>
          <a:p>
            <a:pPr>
              <a:lnSpc>
                <a:spcPct val="106000"/>
              </a:lnSpc>
              <a:defRPr/>
            </a:pPr>
            <a:r>
              <a:rPr lang="en-US" sz="1200" dirty="0"/>
              <a:t>Text</a:t>
            </a:r>
          </a:p>
        </p:txBody>
      </p:sp>
      <p:sp>
        <p:nvSpPr>
          <p:cNvPr id="8" name="AutoShape 5"/>
          <p:cNvSpPr>
            <a:spLocks noChangeArrowheads="1"/>
          </p:cNvSpPr>
          <p:nvPr/>
        </p:nvSpPr>
        <p:spPr bwMode="gray">
          <a:xfrm>
            <a:off x="4513311" y="1611785"/>
            <a:ext cx="2194560" cy="548640"/>
          </a:xfrm>
          <a:prstGeom prst="chevron">
            <a:avLst>
              <a:gd name="adj" fmla="val 34975"/>
            </a:avLst>
          </a:prstGeom>
          <a:solidFill>
            <a:schemeClr val="bg2">
              <a:lumMod val="90000"/>
            </a:schemeClr>
          </a:solidFill>
          <a:ln w="12700" cap="rnd" algn="ctr">
            <a:noFill/>
            <a:miter lim="800000"/>
            <a:headEnd/>
            <a:tailEnd/>
          </a:ln>
        </p:spPr>
        <p:txBody>
          <a:bodyPr lIns="88900" tIns="88900" rIns="88900" bIns="88900" anchor="ctr" anchorCtr="0"/>
          <a:lstStyle/>
          <a:p>
            <a:pPr>
              <a:lnSpc>
                <a:spcPct val="106000"/>
              </a:lnSpc>
              <a:defRPr/>
            </a:pPr>
            <a:r>
              <a:rPr lang="en-US" sz="1200" dirty="0"/>
              <a:t>Text</a:t>
            </a:r>
          </a:p>
        </p:txBody>
      </p:sp>
      <p:sp>
        <p:nvSpPr>
          <p:cNvPr id="9" name="AutoShape 6"/>
          <p:cNvSpPr>
            <a:spLocks noChangeArrowheads="1"/>
          </p:cNvSpPr>
          <p:nvPr/>
        </p:nvSpPr>
        <p:spPr bwMode="gray">
          <a:xfrm>
            <a:off x="6587490" y="1611785"/>
            <a:ext cx="2194560" cy="548640"/>
          </a:xfrm>
          <a:prstGeom prst="chevron">
            <a:avLst>
              <a:gd name="adj" fmla="val 34975"/>
            </a:avLst>
          </a:prstGeom>
          <a:solidFill>
            <a:schemeClr val="bg2">
              <a:lumMod val="90000"/>
            </a:schemeClr>
          </a:solidFill>
          <a:ln w="12700" cap="rnd" algn="ctr">
            <a:noFill/>
            <a:miter lim="800000"/>
            <a:headEnd/>
            <a:tailEnd/>
          </a:ln>
        </p:spPr>
        <p:txBody>
          <a:bodyPr lIns="88900" tIns="88900" rIns="88900" bIns="88900" anchor="ctr" anchorCtr="0"/>
          <a:lstStyle/>
          <a:p>
            <a:pPr>
              <a:lnSpc>
                <a:spcPct val="106000"/>
              </a:lnSpc>
              <a:defRPr/>
            </a:pPr>
            <a:r>
              <a:rPr lang="en-US" sz="1200" dirty="0"/>
              <a:t>Text</a:t>
            </a:r>
          </a:p>
        </p:txBody>
      </p:sp>
      <p:sp>
        <p:nvSpPr>
          <p:cNvPr id="10" name="Text Placeholder 5"/>
          <p:cNvSpPr txBox="1">
            <a:spLocks/>
          </p:cNvSpPr>
          <p:nvPr/>
        </p:nvSpPr>
        <p:spPr>
          <a:xfrm>
            <a:off x="364953" y="22314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000" dirty="0">
                <a:solidFill>
                  <a:schemeClr val="tx1"/>
                </a:solidFill>
              </a:rPr>
              <a:t>This is dummy text it is not here to be read</a:t>
            </a:r>
          </a:p>
          <a:p>
            <a:pPr marL="254000" lvl="2" indent="-114300">
              <a:spcBef>
                <a:spcPts val="600"/>
              </a:spcBef>
              <a:buSzPct val="100000"/>
              <a:buFont typeface="Arial"/>
              <a:buChar char="−"/>
            </a:pPr>
            <a:r>
              <a:rPr lang="en-US" sz="1000" dirty="0">
                <a:solidFill>
                  <a:schemeClr val="tx1"/>
                </a:solidFill>
              </a:rPr>
              <a:t>This is dummy text it is not here to be read</a:t>
            </a:r>
          </a:p>
        </p:txBody>
      </p:sp>
      <p:sp>
        <p:nvSpPr>
          <p:cNvPr id="11" name="Text Placeholder 5"/>
          <p:cNvSpPr txBox="1">
            <a:spLocks/>
          </p:cNvSpPr>
          <p:nvPr/>
        </p:nvSpPr>
        <p:spPr>
          <a:xfrm>
            <a:off x="2439132" y="22314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000" dirty="0">
                <a:solidFill>
                  <a:schemeClr val="tx1"/>
                </a:solidFill>
              </a:rPr>
              <a:t>This is dummy text it is not here to be read</a:t>
            </a:r>
          </a:p>
          <a:p>
            <a:pPr marL="254000" lvl="2" indent="-114300">
              <a:spcBef>
                <a:spcPts val="600"/>
              </a:spcBef>
              <a:buSzPct val="100000"/>
              <a:buFont typeface="Arial"/>
              <a:buChar char="−"/>
            </a:pPr>
            <a:r>
              <a:rPr lang="en-US" sz="1000" dirty="0">
                <a:solidFill>
                  <a:schemeClr val="tx1"/>
                </a:solidFill>
              </a:rPr>
              <a:t>This is dummy text it is not here to be read</a:t>
            </a:r>
          </a:p>
        </p:txBody>
      </p:sp>
      <p:sp>
        <p:nvSpPr>
          <p:cNvPr id="12" name="Text Placeholder 5"/>
          <p:cNvSpPr txBox="1">
            <a:spLocks/>
          </p:cNvSpPr>
          <p:nvPr/>
        </p:nvSpPr>
        <p:spPr>
          <a:xfrm>
            <a:off x="4513311" y="22314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000" dirty="0">
                <a:solidFill>
                  <a:schemeClr val="tx1"/>
                </a:solidFill>
              </a:rPr>
              <a:t>This is dummy text it is not here to be read</a:t>
            </a:r>
          </a:p>
          <a:p>
            <a:pPr marL="254000" lvl="2" indent="-114300">
              <a:spcBef>
                <a:spcPts val="600"/>
              </a:spcBef>
              <a:buSzPct val="100000"/>
              <a:buFont typeface="Arial"/>
              <a:buChar char="−"/>
            </a:pPr>
            <a:r>
              <a:rPr lang="en-US" sz="1000" dirty="0">
                <a:solidFill>
                  <a:schemeClr val="tx1"/>
                </a:solidFill>
              </a:rPr>
              <a:t>This is dummy text it is not here to be read</a:t>
            </a:r>
          </a:p>
        </p:txBody>
      </p:sp>
      <p:sp>
        <p:nvSpPr>
          <p:cNvPr id="13" name="Text Placeholder 5"/>
          <p:cNvSpPr txBox="1">
            <a:spLocks/>
          </p:cNvSpPr>
          <p:nvPr/>
        </p:nvSpPr>
        <p:spPr>
          <a:xfrm>
            <a:off x="6587490" y="22314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000" dirty="0">
                <a:solidFill>
                  <a:schemeClr val="tx1"/>
                </a:solidFill>
              </a:rPr>
              <a:t>This is dummy text it is not here to be read</a:t>
            </a:r>
          </a:p>
          <a:p>
            <a:pPr marL="254000" lvl="2" indent="-114300">
              <a:spcBef>
                <a:spcPts val="600"/>
              </a:spcBef>
              <a:buSzPct val="100000"/>
              <a:buFont typeface="Arial"/>
              <a:buChar char="−"/>
            </a:pPr>
            <a:r>
              <a:rPr lang="en-US" sz="1000"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4044914"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16" name="Oval 4"/>
          <p:cNvSpPr>
            <a:spLocks noChangeArrowheads="1"/>
          </p:cNvSpPr>
          <p:nvPr/>
        </p:nvSpPr>
        <p:spPr bwMode="auto">
          <a:xfrm>
            <a:off x="3901245" y="3319780"/>
            <a:ext cx="1371600" cy="1371600"/>
          </a:xfrm>
          <a:prstGeom prst="ellipse">
            <a:avLst/>
          </a:prstGeom>
          <a:solidFill>
            <a:schemeClr val="accent5"/>
          </a:solidFill>
          <a:ln w="12700">
            <a:noFill/>
            <a:round/>
            <a:headEnd/>
            <a:tailEnd/>
          </a:ln>
        </p:spPr>
        <p:txBody>
          <a:bodyPr wrap="square" lIns="91440" tIns="91440" rIns="91440" bIns="91440" anchor="ctr"/>
          <a:lstStyle/>
          <a:p>
            <a:pPr algn="ctr">
              <a:spcBef>
                <a:spcPct val="0"/>
              </a:spcBef>
            </a:pPr>
            <a:r>
              <a:rPr lang="en-US" sz="1200" dirty="0"/>
              <a:t>Text</a:t>
            </a:r>
          </a:p>
        </p:txBody>
      </p:sp>
      <p:sp>
        <p:nvSpPr>
          <p:cNvPr id="17" name="Freeform 5"/>
          <p:cNvSpPr>
            <a:spLocks/>
          </p:cNvSpPr>
          <p:nvPr/>
        </p:nvSpPr>
        <p:spPr bwMode="auto">
          <a:xfrm>
            <a:off x="5335551"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8" name="Freeform 6"/>
          <p:cNvSpPr>
            <a:spLocks/>
          </p:cNvSpPr>
          <p:nvPr/>
        </p:nvSpPr>
        <p:spPr bwMode="auto">
          <a:xfrm>
            <a:off x="5321264" y="2427605"/>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9" name="Freeform 7"/>
          <p:cNvSpPr>
            <a:spLocks/>
          </p:cNvSpPr>
          <p:nvPr/>
        </p:nvSpPr>
        <p:spPr bwMode="auto">
          <a:xfrm>
            <a:off x="2900326"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0" name="Freeform 8"/>
          <p:cNvSpPr>
            <a:spLocks/>
          </p:cNvSpPr>
          <p:nvPr/>
        </p:nvSpPr>
        <p:spPr bwMode="auto">
          <a:xfrm>
            <a:off x="2914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1" name="Freeform 9"/>
          <p:cNvSpPr>
            <a:spLocks/>
          </p:cNvSpPr>
          <p:nvPr/>
        </p:nvSpPr>
        <p:spPr bwMode="auto">
          <a:xfrm>
            <a:off x="4011576" y="1840230"/>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2" name="Freeform 10"/>
          <p:cNvSpPr>
            <a:spLocks/>
          </p:cNvSpPr>
          <p:nvPr/>
        </p:nvSpPr>
        <p:spPr bwMode="auto">
          <a:xfrm>
            <a:off x="2324064"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3" name="Freeform 11"/>
          <p:cNvSpPr>
            <a:spLocks/>
          </p:cNvSpPr>
          <p:nvPr/>
        </p:nvSpPr>
        <p:spPr bwMode="auto">
          <a:xfrm>
            <a:off x="5605426" y="3476943"/>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5" name="TextBox 24"/>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2593975" y="2205038"/>
            <a:ext cx="3941763" cy="3957637"/>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9525" cap="rnd">
              <a:no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156075"/>
              <a:ext cx="3941763" cy="215900"/>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828421" name="Rectangle 5"/>
            <p:cNvSpPr>
              <a:spLocks noChangeArrowheads="1"/>
            </p:cNvSpPr>
            <p:nvPr/>
          </p:nvSpPr>
          <p:spPr bwMode="blackWhite">
            <a:xfrm>
              <a:off x="2593975" y="3043238"/>
              <a:ext cx="3941763" cy="217487"/>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828422" name="Rectangle 6"/>
            <p:cNvSpPr>
              <a:spLocks noChangeArrowheads="1"/>
            </p:cNvSpPr>
            <p:nvPr>
              <p:custDataLst>
                <p:tags r:id="rId1"/>
              </p:custDataLst>
            </p:nvPr>
          </p:nvSpPr>
          <p:spPr bwMode="auto">
            <a:xfrm>
              <a:off x="4333441" y="2481304"/>
              <a:ext cx="477118"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t>Text</a:t>
              </a:r>
            </a:p>
          </p:txBody>
        </p:sp>
        <p:sp>
          <p:nvSpPr>
            <p:cNvPr id="828423" name="Rectangle 7"/>
            <p:cNvSpPr>
              <a:spLocks noChangeArrowheads="1"/>
            </p:cNvSpPr>
            <p:nvPr>
              <p:custDataLst>
                <p:tags r:id="rId2"/>
              </p:custDataLst>
            </p:nvPr>
          </p:nvSpPr>
          <p:spPr bwMode="auto">
            <a:xfrm>
              <a:off x="4333441" y="3689392"/>
              <a:ext cx="477118"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t>Text</a:t>
              </a:r>
            </a:p>
          </p:txBody>
        </p:sp>
        <p:sp>
          <p:nvSpPr>
            <p:cNvPr id="828424" name="Rectangle 8"/>
            <p:cNvSpPr>
              <a:spLocks noChangeArrowheads="1"/>
            </p:cNvSpPr>
            <p:nvPr>
              <p:custDataLst>
                <p:tags r:id="rId3"/>
              </p:custDataLst>
            </p:nvPr>
          </p:nvSpPr>
          <p:spPr bwMode="auto">
            <a:xfrm>
              <a:off x="4333441" y="4867317"/>
              <a:ext cx="477118"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t>Text</a:t>
              </a:r>
            </a:p>
          </p:txBody>
        </p:sp>
      </p:grpSp>
      <p:sp>
        <p:nvSpPr>
          <p:cNvPr id="12" name="TextBox 11"/>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9441" name="Title 1"/>
          <p:cNvSpPr>
            <a:spLocks noGrp="1"/>
          </p:cNvSpPr>
          <p:nvPr>
            <p:ph type="title"/>
          </p:nvPr>
        </p:nvSpPr>
        <p:spPr/>
        <p:txBody>
          <a:bodyPr/>
          <a:lstStyle/>
          <a:p>
            <a:r>
              <a:rPr lang="en-US" altLang="ja-JP" dirty="0"/>
              <a:t>History</a:t>
            </a:r>
            <a:endParaRPr lang="en-US" dirty="0"/>
          </a:p>
        </p:txBody>
      </p:sp>
      <p:sp>
        <p:nvSpPr>
          <p:cNvPr id="21" name="Rectangle 20"/>
          <p:cNvSpPr/>
          <p:nvPr/>
        </p:nvSpPr>
        <p:spPr>
          <a:xfrm>
            <a:off x="1943503" y="3306808"/>
            <a:ext cx="5212080" cy="101846"/>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22" name="TextBox 21"/>
          <p:cNvSpPr txBox="1"/>
          <p:nvPr/>
        </p:nvSpPr>
        <p:spPr>
          <a:xfrm>
            <a:off x="1594912" y="2817354"/>
            <a:ext cx="366457" cy="307777"/>
          </a:xfrm>
          <a:prstGeom prst="rect">
            <a:avLst/>
          </a:prstGeom>
          <a:noFill/>
        </p:spPr>
        <p:txBody>
          <a:bodyPr wrap="square" lIns="0" tIns="0" rIns="0" bIns="0" rtlCol="0">
            <a:spAutoFit/>
          </a:bodyPr>
          <a:lstStyle/>
          <a:p>
            <a:pPr algn="ctr"/>
            <a:r>
              <a:rPr lang="en-US" sz="2000" dirty="0">
                <a:solidFill>
                  <a:schemeClr val="accent1"/>
                </a:solidFill>
              </a:rPr>
              <a:t>01</a:t>
            </a:r>
          </a:p>
        </p:txBody>
      </p:sp>
      <p:sp>
        <p:nvSpPr>
          <p:cNvPr id="23" name="Oval 22"/>
          <p:cNvSpPr/>
          <p:nvPr/>
        </p:nvSpPr>
        <p:spPr>
          <a:xfrm>
            <a:off x="1917072" y="3248855"/>
            <a:ext cx="201168" cy="203689"/>
          </a:xfrm>
          <a:prstGeom prst="ellipse">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Oval 23"/>
          <p:cNvSpPr/>
          <p:nvPr/>
        </p:nvSpPr>
        <p:spPr>
          <a:xfrm>
            <a:off x="2761212" y="3248855"/>
            <a:ext cx="201168" cy="203689"/>
          </a:xfrm>
          <a:prstGeom prst="ellipse">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Oval 24"/>
          <p:cNvSpPr/>
          <p:nvPr/>
        </p:nvSpPr>
        <p:spPr>
          <a:xfrm>
            <a:off x="3605352" y="3248855"/>
            <a:ext cx="201168" cy="203689"/>
          </a:xfrm>
          <a:prstGeom prst="ellipse">
            <a:avLst/>
          </a:prstGeom>
          <a:solidFill>
            <a:schemeClr val="bg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6" name="Oval 25"/>
          <p:cNvSpPr/>
          <p:nvPr/>
        </p:nvSpPr>
        <p:spPr>
          <a:xfrm>
            <a:off x="4449492" y="3248855"/>
            <a:ext cx="201168" cy="203689"/>
          </a:xfrm>
          <a:prstGeom prst="ellipse">
            <a:avLst/>
          </a:prstGeom>
          <a:solidFill>
            <a:schemeClr val="bg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7" name="Oval 26"/>
          <p:cNvSpPr/>
          <p:nvPr/>
        </p:nvSpPr>
        <p:spPr>
          <a:xfrm>
            <a:off x="5293632" y="3248855"/>
            <a:ext cx="201168" cy="203689"/>
          </a:xfrm>
          <a:prstGeom prst="ellipse">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8" name="Oval 27"/>
          <p:cNvSpPr/>
          <p:nvPr/>
        </p:nvSpPr>
        <p:spPr>
          <a:xfrm>
            <a:off x="6137772" y="3248855"/>
            <a:ext cx="201168" cy="203689"/>
          </a:xfrm>
          <a:prstGeom prst="ellipse">
            <a:avLst/>
          </a:prstGeom>
          <a:solidFill>
            <a:schemeClr val="bg2"/>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9" name="Oval 28"/>
          <p:cNvSpPr/>
          <p:nvPr/>
        </p:nvSpPr>
        <p:spPr>
          <a:xfrm>
            <a:off x="6981910" y="3248855"/>
            <a:ext cx="201168" cy="203689"/>
          </a:xfrm>
          <a:prstGeom prst="ellipse">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0" name="Pentagon 29"/>
          <p:cNvSpPr/>
          <p:nvPr/>
        </p:nvSpPr>
        <p:spPr>
          <a:xfrm>
            <a:off x="386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1" name="Pentagon 30"/>
          <p:cNvSpPr/>
          <p:nvPr/>
        </p:nvSpPr>
        <p:spPr>
          <a:xfrm flipH="1">
            <a:off x="7243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2" name="Isosceles Triangle 31"/>
          <p:cNvSpPr/>
          <p:nvPr/>
        </p:nvSpPr>
        <p:spPr>
          <a:xfrm flipV="1">
            <a:off x="1951637" y="3487290"/>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3" name="Isosceles Triangle 32"/>
          <p:cNvSpPr/>
          <p:nvPr/>
        </p:nvSpPr>
        <p:spPr>
          <a:xfrm flipV="1">
            <a:off x="2804112" y="3487290"/>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4" name="Isosceles Triangle 33"/>
          <p:cNvSpPr/>
          <p:nvPr/>
        </p:nvSpPr>
        <p:spPr>
          <a:xfrm flipV="1">
            <a:off x="5339432" y="3487290"/>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5" name="Isosceles Triangle 34"/>
          <p:cNvSpPr/>
          <p:nvPr/>
        </p:nvSpPr>
        <p:spPr>
          <a:xfrm flipV="1">
            <a:off x="7030055" y="3487290"/>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0" name="Rectangle 39"/>
          <p:cNvSpPr/>
          <p:nvPr/>
        </p:nvSpPr>
        <p:spPr>
          <a:xfrm>
            <a:off x="443602" y="3265776"/>
            <a:ext cx="1151310" cy="169277"/>
          </a:xfrm>
          <a:prstGeom prst="rect">
            <a:avLst/>
          </a:prstGeom>
        </p:spPr>
        <p:txBody>
          <a:bodyPr wrap="square" lIns="0" tIns="0" rIns="0" bIns="0" anchor="ctr" anchorCtr="0">
            <a:spAutoFit/>
          </a:bodyPr>
          <a:lstStyle/>
          <a:p>
            <a:r>
              <a:rPr lang="en-US" sz="1100" dirty="0"/>
              <a:t>Call out detail 1</a:t>
            </a:r>
          </a:p>
        </p:txBody>
      </p:sp>
      <p:sp>
        <p:nvSpPr>
          <p:cNvPr id="41" name="Rectangle 40"/>
          <p:cNvSpPr/>
          <p:nvPr/>
        </p:nvSpPr>
        <p:spPr>
          <a:xfrm>
            <a:off x="7575090" y="3265776"/>
            <a:ext cx="1151310" cy="169277"/>
          </a:xfrm>
          <a:prstGeom prst="rect">
            <a:avLst/>
          </a:prstGeom>
        </p:spPr>
        <p:txBody>
          <a:bodyPr wrap="square" lIns="0" tIns="0" rIns="0" bIns="0" anchor="ctr" anchorCtr="0">
            <a:spAutoFit/>
          </a:bodyPr>
          <a:lstStyle/>
          <a:p>
            <a:r>
              <a:rPr lang="en-US" sz="1100" dirty="0"/>
              <a:t>Call out detail 1</a:t>
            </a:r>
          </a:p>
        </p:txBody>
      </p:sp>
      <p:sp>
        <p:nvSpPr>
          <p:cNvPr id="42" name="Rectangle 41"/>
          <p:cNvSpPr/>
          <p:nvPr/>
        </p:nvSpPr>
        <p:spPr>
          <a:xfrm rot="16200000">
            <a:off x="1589247" y="2641389"/>
            <a:ext cx="867356" cy="169277"/>
          </a:xfrm>
          <a:prstGeom prst="rect">
            <a:avLst/>
          </a:prstGeom>
        </p:spPr>
        <p:txBody>
          <a:bodyPr wrap="square" lIns="0" tIns="0" rIns="0" bIns="0" anchor="ctr" anchorCtr="0">
            <a:spAutoFit/>
          </a:bodyPr>
          <a:lstStyle/>
          <a:p>
            <a:r>
              <a:rPr lang="en-US" sz="1100" dirty="0">
                <a:solidFill>
                  <a:srgbClr val="53565A"/>
                </a:solidFill>
              </a:rPr>
              <a:t>Detail One</a:t>
            </a:r>
          </a:p>
        </p:txBody>
      </p:sp>
      <p:sp>
        <p:nvSpPr>
          <p:cNvPr id="43" name="Rectangle 42"/>
          <p:cNvSpPr/>
          <p:nvPr/>
        </p:nvSpPr>
        <p:spPr>
          <a:xfrm rot="16200000">
            <a:off x="2434465" y="2641389"/>
            <a:ext cx="867356" cy="169277"/>
          </a:xfrm>
          <a:prstGeom prst="rect">
            <a:avLst/>
          </a:prstGeom>
        </p:spPr>
        <p:txBody>
          <a:bodyPr wrap="square" lIns="0" tIns="0" rIns="0" bIns="0" anchor="ctr" anchorCtr="0">
            <a:spAutoFit/>
          </a:bodyPr>
          <a:lstStyle/>
          <a:p>
            <a:r>
              <a:rPr lang="en-US" sz="1100" dirty="0">
                <a:solidFill>
                  <a:srgbClr val="53565A"/>
                </a:solidFill>
              </a:rPr>
              <a:t>Detail Two</a:t>
            </a:r>
          </a:p>
        </p:txBody>
      </p:sp>
      <p:sp>
        <p:nvSpPr>
          <p:cNvPr id="44" name="Rectangle 43"/>
          <p:cNvSpPr/>
          <p:nvPr/>
        </p:nvSpPr>
        <p:spPr>
          <a:xfrm rot="16200000">
            <a:off x="3279683" y="2641389"/>
            <a:ext cx="867356" cy="169277"/>
          </a:xfrm>
          <a:prstGeom prst="rect">
            <a:avLst/>
          </a:prstGeom>
        </p:spPr>
        <p:txBody>
          <a:bodyPr wrap="square" lIns="0" tIns="0" rIns="0" bIns="0" anchor="ctr" anchorCtr="0">
            <a:spAutoFit/>
          </a:bodyPr>
          <a:lstStyle/>
          <a:p>
            <a:r>
              <a:rPr lang="en-US" sz="1100" dirty="0">
                <a:solidFill>
                  <a:srgbClr val="53565A"/>
                </a:solidFill>
              </a:rPr>
              <a:t>Detail Three</a:t>
            </a:r>
          </a:p>
        </p:txBody>
      </p:sp>
      <p:sp>
        <p:nvSpPr>
          <p:cNvPr id="45" name="Rectangle 44"/>
          <p:cNvSpPr/>
          <p:nvPr/>
        </p:nvSpPr>
        <p:spPr>
          <a:xfrm rot="16200000">
            <a:off x="4124902" y="2641389"/>
            <a:ext cx="867356" cy="169277"/>
          </a:xfrm>
          <a:prstGeom prst="rect">
            <a:avLst/>
          </a:prstGeom>
        </p:spPr>
        <p:txBody>
          <a:bodyPr wrap="square" lIns="0" tIns="0" rIns="0" bIns="0" anchor="ctr" anchorCtr="0">
            <a:spAutoFit/>
          </a:bodyPr>
          <a:lstStyle/>
          <a:p>
            <a:r>
              <a:rPr lang="en-US" sz="1100" dirty="0">
                <a:solidFill>
                  <a:srgbClr val="53565A"/>
                </a:solidFill>
              </a:rPr>
              <a:t>Detail Four</a:t>
            </a:r>
          </a:p>
        </p:txBody>
      </p:sp>
      <p:sp>
        <p:nvSpPr>
          <p:cNvPr id="46" name="Rectangle 45"/>
          <p:cNvSpPr/>
          <p:nvPr/>
        </p:nvSpPr>
        <p:spPr>
          <a:xfrm rot="16200000">
            <a:off x="4970121" y="2641389"/>
            <a:ext cx="867356" cy="169277"/>
          </a:xfrm>
          <a:prstGeom prst="rect">
            <a:avLst/>
          </a:prstGeom>
        </p:spPr>
        <p:txBody>
          <a:bodyPr wrap="square" lIns="0" tIns="0" rIns="0" bIns="0" anchor="ctr" anchorCtr="0">
            <a:spAutoFit/>
          </a:bodyPr>
          <a:lstStyle/>
          <a:p>
            <a:r>
              <a:rPr lang="en-US" sz="1100" dirty="0">
                <a:solidFill>
                  <a:srgbClr val="53565A"/>
                </a:solidFill>
              </a:rPr>
              <a:t>Detail Five</a:t>
            </a:r>
          </a:p>
        </p:txBody>
      </p:sp>
      <p:sp>
        <p:nvSpPr>
          <p:cNvPr id="47" name="Rectangle 46"/>
          <p:cNvSpPr/>
          <p:nvPr/>
        </p:nvSpPr>
        <p:spPr>
          <a:xfrm rot="16200000">
            <a:off x="5808909" y="2641389"/>
            <a:ext cx="867356" cy="169277"/>
          </a:xfrm>
          <a:prstGeom prst="rect">
            <a:avLst/>
          </a:prstGeom>
        </p:spPr>
        <p:txBody>
          <a:bodyPr wrap="square" lIns="0" tIns="0" rIns="0" bIns="0" anchor="ctr" anchorCtr="0">
            <a:spAutoFit/>
          </a:bodyPr>
          <a:lstStyle/>
          <a:p>
            <a:r>
              <a:rPr lang="en-US" sz="1100" dirty="0">
                <a:solidFill>
                  <a:srgbClr val="53565A"/>
                </a:solidFill>
              </a:rPr>
              <a:t>Detail Six</a:t>
            </a:r>
          </a:p>
        </p:txBody>
      </p:sp>
      <p:sp>
        <p:nvSpPr>
          <p:cNvPr id="48" name="Rectangle 47"/>
          <p:cNvSpPr/>
          <p:nvPr/>
        </p:nvSpPr>
        <p:spPr>
          <a:xfrm rot="16200000">
            <a:off x="6515704" y="2492331"/>
            <a:ext cx="1161269" cy="173482"/>
          </a:xfrm>
          <a:prstGeom prst="rect">
            <a:avLst/>
          </a:prstGeom>
        </p:spPr>
        <p:txBody>
          <a:bodyPr wrap="square" lIns="0" tIns="0" rIns="0" bIns="0" anchor="ctr" anchorCtr="0">
            <a:spAutoFit/>
          </a:bodyPr>
          <a:lstStyle/>
          <a:p>
            <a:r>
              <a:rPr lang="en-US" sz="1100" dirty="0">
                <a:solidFill>
                  <a:srgbClr val="53565A"/>
                </a:solidFill>
              </a:rPr>
              <a:t>Detail Seven</a:t>
            </a:r>
          </a:p>
        </p:txBody>
      </p:sp>
      <p:sp>
        <p:nvSpPr>
          <p:cNvPr id="49" name="TextBox 48"/>
          <p:cNvSpPr txBox="1"/>
          <p:nvPr/>
        </p:nvSpPr>
        <p:spPr>
          <a:xfrm>
            <a:off x="2427550" y="2817354"/>
            <a:ext cx="366457" cy="307777"/>
          </a:xfrm>
          <a:prstGeom prst="rect">
            <a:avLst/>
          </a:prstGeom>
          <a:noFill/>
        </p:spPr>
        <p:txBody>
          <a:bodyPr wrap="square" lIns="0" tIns="0" rIns="0" bIns="0" rtlCol="0">
            <a:spAutoFit/>
          </a:bodyPr>
          <a:lstStyle/>
          <a:p>
            <a:pPr algn="ctr"/>
            <a:r>
              <a:rPr lang="en-US" sz="2000" dirty="0">
                <a:solidFill>
                  <a:schemeClr val="accent1"/>
                </a:solidFill>
              </a:rPr>
              <a:t>02</a:t>
            </a:r>
          </a:p>
        </p:txBody>
      </p:sp>
      <p:sp>
        <p:nvSpPr>
          <p:cNvPr id="50" name="TextBox 49"/>
          <p:cNvSpPr txBox="1"/>
          <p:nvPr/>
        </p:nvSpPr>
        <p:spPr>
          <a:xfrm>
            <a:off x="3287807" y="2817354"/>
            <a:ext cx="366457" cy="307777"/>
          </a:xfrm>
          <a:prstGeom prst="rect">
            <a:avLst/>
          </a:prstGeom>
          <a:noFill/>
        </p:spPr>
        <p:txBody>
          <a:bodyPr wrap="square" lIns="0" tIns="0" rIns="0" bIns="0" rtlCol="0">
            <a:spAutoFit/>
          </a:bodyPr>
          <a:lstStyle/>
          <a:p>
            <a:pPr algn="ctr"/>
            <a:r>
              <a:rPr lang="en-US" sz="2000" dirty="0">
                <a:solidFill>
                  <a:schemeClr val="accent1"/>
                </a:solidFill>
              </a:rPr>
              <a:t>03</a:t>
            </a:r>
          </a:p>
        </p:txBody>
      </p:sp>
      <p:sp>
        <p:nvSpPr>
          <p:cNvPr id="51" name="TextBox 50"/>
          <p:cNvSpPr txBox="1"/>
          <p:nvPr/>
        </p:nvSpPr>
        <p:spPr>
          <a:xfrm>
            <a:off x="4130567" y="2817354"/>
            <a:ext cx="366457" cy="307777"/>
          </a:xfrm>
          <a:prstGeom prst="rect">
            <a:avLst/>
          </a:prstGeom>
          <a:noFill/>
        </p:spPr>
        <p:txBody>
          <a:bodyPr wrap="square" lIns="0" tIns="0" rIns="0" bIns="0" rtlCol="0">
            <a:spAutoFit/>
          </a:bodyPr>
          <a:lstStyle/>
          <a:p>
            <a:pPr algn="ctr"/>
            <a:r>
              <a:rPr lang="en-US" sz="2000" dirty="0">
                <a:solidFill>
                  <a:schemeClr val="accent1"/>
                </a:solidFill>
              </a:rPr>
              <a:t>04</a:t>
            </a:r>
          </a:p>
        </p:txBody>
      </p:sp>
      <p:sp>
        <p:nvSpPr>
          <p:cNvPr id="52" name="TextBox 51"/>
          <p:cNvSpPr txBox="1"/>
          <p:nvPr/>
        </p:nvSpPr>
        <p:spPr>
          <a:xfrm>
            <a:off x="4972975" y="2817354"/>
            <a:ext cx="366457" cy="307777"/>
          </a:xfrm>
          <a:prstGeom prst="rect">
            <a:avLst/>
          </a:prstGeom>
          <a:noFill/>
        </p:spPr>
        <p:txBody>
          <a:bodyPr wrap="square" lIns="0" tIns="0" rIns="0" bIns="0" rtlCol="0">
            <a:spAutoFit/>
          </a:bodyPr>
          <a:lstStyle/>
          <a:p>
            <a:pPr algn="ctr"/>
            <a:r>
              <a:rPr lang="en-US" sz="2000" dirty="0">
                <a:solidFill>
                  <a:schemeClr val="accent1"/>
                </a:solidFill>
              </a:rPr>
              <a:t>05</a:t>
            </a:r>
          </a:p>
        </p:txBody>
      </p:sp>
      <p:sp>
        <p:nvSpPr>
          <p:cNvPr id="53" name="TextBox 52"/>
          <p:cNvSpPr txBox="1"/>
          <p:nvPr/>
        </p:nvSpPr>
        <p:spPr>
          <a:xfrm>
            <a:off x="5820228" y="2817354"/>
            <a:ext cx="366457" cy="307777"/>
          </a:xfrm>
          <a:prstGeom prst="rect">
            <a:avLst/>
          </a:prstGeom>
          <a:noFill/>
        </p:spPr>
        <p:txBody>
          <a:bodyPr wrap="square" lIns="0" tIns="0" rIns="0" bIns="0" rtlCol="0">
            <a:spAutoFit/>
          </a:bodyPr>
          <a:lstStyle/>
          <a:p>
            <a:pPr algn="ctr"/>
            <a:r>
              <a:rPr lang="en-US" sz="2000" dirty="0">
                <a:solidFill>
                  <a:schemeClr val="accent1"/>
                </a:solidFill>
              </a:rPr>
              <a:t>06</a:t>
            </a:r>
          </a:p>
        </p:txBody>
      </p:sp>
      <p:sp>
        <p:nvSpPr>
          <p:cNvPr id="54" name="TextBox 53"/>
          <p:cNvSpPr txBox="1"/>
          <p:nvPr/>
        </p:nvSpPr>
        <p:spPr>
          <a:xfrm>
            <a:off x="6662960" y="2817354"/>
            <a:ext cx="366457" cy="307777"/>
          </a:xfrm>
          <a:prstGeom prst="rect">
            <a:avLst/>
          </a:prstGeom>
          <a:noFill/>
        </p:spPr>
        <p:txBody>
          <a:bodyPr wrap="square" lIns="0" tIns="0" rIns="0" bIns="0" rtlCol="0">
            <a:spAutoFit/>
          </a:bodyPr>
          <a:lstStyle/>
          <a:p>
            <a:pPr algn="ctr"/>
            <a:r>
              <a:rPr lang="en-US" sz="2000" dirty="0">
                <a:solidFill>
                  <a:schemeClr val="accent1"/>
                </a:solidFill>
              </a:rPr>
              <a:t>07</a:t>
            </a:r>
          </a:p>
        </p:txBody>
      </p:sp>
      <p:sp>
        <p:nvSpPr>
          <p:cNvPr id="58" name="Freeform 13"/>
          <p:cNvSpPr>
            <a:spLocks noChangeAspect="1" noEditPoints="1"/>
          </p:cNvSpPr>
          <p:nvPr/>
        </p:nvSpPr>
        <p:spPr bwMode="auto">
          <a:xfrm>
            <a:off x="1900950" y="3723368"/>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38"/>
          <p:cNvSpPr>
            <a:spLocks noChangeAspect="1" noEditPoints="1"/>
          </p:cNvSpPr>
          <p:nvPr/>
        </p:nvSpPr>
        <p:spPr bwMode="auto">
          <a:xfrm>
            <a:off x="2667284"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59"/>
          <p:cNvSpPr>
            <a:spLocks noChangeAspect="1" noEditPoints="1"/>
          </p:cNvSpPr>
          <p:nvPr/>
        </p:nvSpPr>
        <p:spPr bwMode="auto">
          <a:xfrm>
            <a:off x="5266622"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39"/>
          <p:cNvSpPr>
            <a:spLocks noChangeAspect="1"/>
          </p:cNvSpPr>
          <p:nvPr/>
        </p:nvSpPr>
        <p:spPr bwMode="auto">
          <a:xfrm>
            <a:off x="6906771" y="3761327"/>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TextBox 55"/>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1232535"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8" name="Text Box 4"/>
          <p:cNvSpPr txBox="1">
            <a:spLocks noChangeArrowheads="1"/>
          </p:cNvSpPr>
          <p:nvPr/>
        </p:nvSpPr>
        <p:spPr bwMode="auto">
          <a:xfrm>
            <a:off x="1830546"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9" name="Text Box 5"/>
          <p:cNvSpPr txBox="1">
            <a:spLocks noChangeArrowheads="1"/>
          </p:cNvSpPr>
          <p:nvPr/>
        </p:nvSpPr>
        <p:spPr bwMode="auto">
          <a:xfrm>
            <a:off x="2428557"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0" name="Text Box 6"/>
          <p:cNvSpPr txBox="1">
            <a:spLocks noChangeArrowheads="1"/>
          </p:cNvSpPr>
          <p:nvPr/>
        </p:nvSpPr>
        <p:spPr bwMode="auto">
          <a:xfrm>
            <a:off x="3026568"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1" name="Text Box 7"/>
          <p:cNvSpPr txBox="1">
            <a:spLocks noChangeArrowheads="1"/>
          </p:cNvSpPr>
          <p:nvPr/>
        </p:nvSpPr>
        <p:spPr bwMode="auto">
          <a:xfrm>
            <a:off x="3624579"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2" name="Text Box 8"/>
          <p:cNvSpPr txBox="1">
            <a:spLocks noChangeArrowheads="1"/>
          </p:cNvSpPr>
          <p:nvPr/>
        </p:nvSpPr>
        <p:spPr bwMode="auto">
          <a:xfrm>
            <a:off x="4222590"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3" name="Text Box 9"/>
          <p:cNvSpPr txBox="1">
            <a:spLocks noChangeArrowheads="1"/>
          </p:cNvSpPr>
          <p:nvPr/>
        </p:nvSpPr>
        <p:spPr bwMode="auto">
          <a:xfrm>
            <a:off x="4820601"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4" name="Text Box 10"/>
          <p:cNvSpPr txBox="1">
            <a:spLocks noChangeArrowheads="1"/>
          </p:cNvSpPr>
          <p:nvPr/>
        </p:nvSpPr>
        <p:spPr bwMode="auto">
          <a:xfrm>
            <a:off x="5418612"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5" name="Text Box 11"/>
          <p:cNvSpPr txBox="1">
            <a:spLocks noChangeArrowheads="1"/>
          </p:cNvSpPr>
          <p:nvPr/>
        </p:nvSpPr>
        <p:spPr bwMode="auto">
          <a:xfrm>
            <a:off x="6016623"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6" name="Text Box 12"/>
          <p:cNvSpPr txBox="1">
            <a:spLocks noChangeArrowheads="1"/>
          </p:cNvSpPr>
          <p:nvPr/>
        </p:nvSpPr>
        <p:spPr bwMode="auto">
          <a:xfrm>
            <a:off x="6614634"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7" name="Text Box 13"/>
          <p:cNvSpPr txBox="1">
            <a:spLocks noChangeArrowheads="1"/>
          </p:cNvSpPr>
          <p:nvPr/>
        </p:nvSpPr>
        <p:spPr bwMode="auto">
          <a:xfrm>
            <a:off x="7212648" y="1976438"/>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16" name="Freeform 14"/>
          <p:cNvSpPr>
            <a:spLocks/>
          </p:cNvSpPr>
          <p:nvPr/>
        </p:nvSpPr>
        <p:spPr bwMode="auto">
          <a:xfrm>
            <a:off x="1232535" y="2263776"/>
            <a:ext cx="6580188"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p>
        </p:txBody>
      </p:sp>
      <p:sp>
        <p:nvSpPr>
          <p:cNvPr id="17" name="AutoShape 15"/>
          <p:cNvSpPr>
            <a:spLocks noChangeArrowheads="1"/>
          </p:cNvSpPr>
          <p:nvPr/>
        </p:nvSpPr>
        <p:spPr bwMode="auto">
          <a:xfrm>
            <a:off x="1463040"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8" name="AutoShape 16"/>
          <p:cNvSpPr>
            <a:spLocks noChangeArrowheads="1"/>
          </p:cNvSpPr>
          <p:nvPr/>
        </p:nvSpPr>
        <p:spPr bwMode="auto">
          <a:xfrm>
            <a:off x="2061051"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9" name="AutoShape 17"/>
          <p:cNvSpPr>
            <a:spLocks noChangeArrowheads="1"/>
          </p:cNvSpPr>
          <p:nvPr/>
        </p:nvSpPr>
        <p:spPr bwMode="auto">
          <a:xfrm>
            <a:off x="2659062"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0" name="AutoShape 18"/>
          <p:cNvSpPr>
            <a:spLocks noChangeArrowheads="1"/>
          </p:cNvSpPr>
          <p:nvPr/>
        </p:nvSpPr>
        <p:spPr bwMode="auto">
          <a:xfrm>
            <a:off x="3257073"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1" name="AutoShape 19"/>
          <p:cNvSpPr>
            <a:spLocks noChangeArrowheads="1"/>
          </p:cNvSpPr>
          <p:nvPr/>
        </p:nvSpPr>
        <p:spPr bwMode="auto">
          <a:xfrm>
            <a:off x="3855084"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2" name="AutoShape 20"/>
          <p:cNvSpPr>
            <a:spLocks noChangeArrowheads="1"/>
          </p:cNvSpPr>
          <p:nvPr/>
        </p:nvSpPr>
        <p:spPr bwMode="auto">
          <a:xfrm>
            <a:off x="4453095"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3" name="AutoShape 21"/>
          <p:cNvSpPr>
            <a:spLocks noChangeArrowheads="1"/>
          </p:cNvSpPr>
          <p:nvPr/>
        </p:nvSpPr>
        <p:spPr bwMode="auto">
          <a:xfrm>
            <a:off x="5051106"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4" name="AutoShape 22"/>
          <p:cNvSpPr>
            <a:spLocks noChangeArrowheads="1"/>
          </p:cNvSpPr>
          <p:nvPr/>
        </p:nvSpPr>
        <p:spPr bwMode="auto">
          <a:xfrm>
            <a:off x="5649117"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5" name="AutoShape 23"/>
          <p:cNvSpPr>
            <a:spLocks noChangeArrowheads="1"/>
          </p:cNvSpPr>
          <p:nvPr/>
        </p:nvSpPr>
        <p:spPr bwMode="auto">
          <a:xfrm>
            <a:off x="6247128"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6" name="AutoShape 24"/>
          <p:cNvSpPr>
            <a:spLocks noChangeArrowheads="1"/>
          </p:cNvSpPr>
          <p:nvPr/>
        </p:nvSpPr>
        <p:spPr bwMode="auto">
          <a:xfrm>
            <a:off x="6845139"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7" name="AutoShape 25"/>
          <p:cNvSpPr>
            <a:spLocks noChangeArrowheads="1"/>
          </p:cNvSpPr>
          <p:nvPr/>
        </p:nvSpPr>
        <p:spPr bwMode="auto">
          <a:xfrm>
            <a:off x="7443153" y="2192338"/>
            <a:ext cx="133350"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8" name="Freeform 26"/>
          <p:cNvSpPr>
            <a:spLocks/>
          </p:cNvSpPr>
          <p:nvPr/>
        </p:nvSpPr>
        <p:spPr bwMode="auto">
          <a:xfrm>
            <a:off x="1232535" y="4486055"/>
            <a:ext cx="6580187"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29" name="Rectangle 27"/>
          <p:cNvSpPr>
            <a:spLocks noChangeArrowheads="1"/>
          </p:cNvSpPr>
          <p:nvPr/>
        </p:nvSpPr>
        <p:spPr bwMode="auto">
          <a:xfrm>
            <a:off x="1461135"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0" name="Rectangle 28"/>
          <p:cNvSpPr>
            <a:spLocks noChangeArrowheads="1"/>
          </p:cNvSpPr>
          <p:nvPr/>
        </p:nvSpPr>
        <p:spPr bwMode="auto">
          <a:xfrm>
            <a:off x="2059146"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1" name="Rectangle 29"/>
          <p:cNvSpPr>
            <a:spLocks noChangeArrowheads="1"/>
          </p:cNvSpPr>
          <p:nvPr/>
        </p:nvSpPr>
        <p:spPr bwMode="auto">
          <a:xfrm>
            <a:off x="2657157"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2" name="Rectangle 30"/>
          <p:cNvSpPr>
            <a:spLocks noChangeArrowheads="1"/>
          </p:cNvSpPr>
          <p:nvPr/>
        </p:nvSpPr>
        <p:spPr bwMode="auto">
          <a:xfrm>
            <a:off x="3255168"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3" name="Rectangle 31"/>
          <p:cNvSpPr>
            <a:spLocks noChangeArrowheads="1"/>
          </p:cNvSpPr>
          <p:nvPr/>
        </p:nvSpPr>
        <p:spPr bwMode="auto">
          <a:xfrm>
            <a:off x="3853179"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4" name="Rectangle 32"/>
          <p:cNvSpPr>
            <a:spLocks noChangeArrowheads="1"/>
          </p:cNvSpPr>
          <p:nvPr/>
        </p:nvSpPr>
        <p:spPr bwMode="auto">
          <a:xfrm>
            <a:off x="4451190"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5" name="Rectangle 33"/>
          <p:cNvSpPr>
            <a:spLocks noChangeArrowheads="1"/>
          </p:cNvSpPr>
          <p:nvPr/>
        </p:nvSpPr>
        <p:spPr bwMode="auto">
          <a:xfrm>
            <a:off x="5049201"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6" name="Rectangle 34"/>
          <p:cNvSpPr>
            <a:spLocks noChangeArrowheads="1"/>
          </p:cNvSpPr>
          <p:nvPr/>
        </p:nvSpPr>
        <p:spPr bwMode="auto">
          <a:xfrm>
            <a:off x="5647212"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7" name="Rectangle 35"/>
          <p:cNvSpPr>
            <a:spLocks noChangeArrowheads="1"/>
          </p:cNvSpPr>
          <p:nvPr/>
        </p:nvSpPr>
        <p:spPr bwMode="auto">
          <a:xfrm>
            <a:off x="6245223"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8" name="Rectangle 36"/>
          <p:cNvSpPr>
            <a:spLocks noChangeArrowheads="1"/>
          </p:cNvSpPr>
          <p:nvPr/>
        </p:nvSpPr>
        <p:spPr bwMode="auto">
          <a:xfrm>
            <a:off x="6843234"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9" name="Rectangle 37"/>
          <p:cNvSpPr>
            <a:spLocks noChangeArrowheads="1"/>
          </p:cNvSpPr>
          <p:nvPr/>
        </p:nvSpPr>
        <p:spPr bwMode="auto">
          <a:xfrm>
            <a:off x="7441248" y="4414617"/>
            <a:ext cx="137160"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830502" name="Text Box 38"/>
          <p:cNvSpPr txBox="1">
            <a:spLocks noChangeArrowheads="1"/>
          </p:cNvSpPr>
          <p:nvPr/>
        </p:nvSpPr>
        <p:spPr bwMode="auto">
          <a:xfrm>
            <a:off x="1232535"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3" name="Text Box 39"/>
          <p:cNvSpPr txBox="1">
            <a:spLocks noChangeArrowheads="1"/>
          </p:cNvSpPr>
          <p:nvPr/>
        </p:nvSpPr>
        <p:spPr bwMode="auto">
          <a:xfrm>
            <a:off x="1830546"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4" name="Text Box 40"/>
          <p:cNvSpPr txBox="1">
            <a:spLocks noChangeArrowheads="1"/>
          </p:cNvSpPr>
          <p:nvPr/>
        </p:nvSpPr>
        <p:spPr bwMode="auto">
          <a:xfrm>
            <a:off x="2428557"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5" name="Text Box 41"/>
          <p:cNvSpPr txBox="1">
            <a:spLocks noChangeArrowheads="1"/>
          </p:cNvSpPr>
          <p:nvPr/>
        </p:nvSpPr>
        <p:spPr bwMode="auto">
          <a:xfrm>
            <a:off x="3026568"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6" name="Text Box 42"/>
          <p:cNvSpPr txBox="1">
            <a:spLocks noChangeArrowheads="1"/>
          </p:cNvSpPr>
          <p:nvPr/>
        </p:nvSpPr>
        <p:spPr bwMode="auto">
          <a:xfrm>
            <a:off x="3624579"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7" name="Text Box 43"/>
          <p:cNvSpPr txBox="1">
            <a:spLocks noChangeArrowheads="1"/>
          </p:cNvSpPr>
          <p:nvPr/>
        </p:nvSpPr>
        <p:spPr bwMode="auto">
          <a:xfrm>
            <a:off x="4222590"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8" name="Text Box 44"/>
          <p:cNvSpPr txBox="1">
            <a:spLocks noChangeArrowheads="1"/>
          </p:cNvSpPr>
          <p:nvPr/>
        </p:nvSpPr>
        <p:spPr bwMode="auto">
          <a:xfrm>
            <a:off x="4820601"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9" name="Text Box 45"/>
          <p:cNvSpPr txBox="1">
            <a:spLocks noChangeArrowheads="1"/>
          </p:cNvSpPr>
          <p:nvPr/>
        </p:nvSpPr>
        <p:spPr bwMode="auto">
          <a:xfrm>
            <a:off x="5418612"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0" name="Text Box 46"/>
          <p:cNvSpPr txBox="1">
            <a:spLocks noChangeArrowheads="1"/>
          </p:cNvSpPr>
          <p:nvPr/>
        </p:nvSpPr>
        <p:spPr bwMode="auto">
          <a:xfrm>
            <a:off x="6016623"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1" name="Text Box 47"/>
          <p:cNvSpPr txBox="1">
            <a:spLocks noChangeArrowheads="1"/>
          </p:cNvSpPr>
          <p:nvPr/>
        </p:nvSpPr>
        <p:spPr bwMode="auto">
          <a:xfrm>
            <a:off x="6614634"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2" name="Text Box 48"/>
          <p:cNvSpPr txBox="1">
            <a:spLocks noChangeArrowheads="1"/>
          </p:cNvSpPr>
          <p:nvPr/>
        </p:nvSpPr>
        <p:spPr bwMode="auto">
          <a:xfrm>
            <a:off x="7212648" y="4198717"/>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3" name="Text Box 49"/>
          <p:cNvSpPr txBox="1">
            <a:spLocks noChangeArrowheads="1"/>
          </p:cNvSpPr>
          <p:nvPr/>
        </p:nvSpPr>
        <p:spPr bwMode="auto">
          <a:xfrm>
            <a:off x="1232535"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4" name="Text Box 50"/>
          <p:cNvSpPr txBox="1">
            <a:spLocks noChangeArrowheads="1"/>
          </p:cNvSpPr>
          <p:nvPr/>
        </p:nvSpPr>
        <p:spPr bwMode="auto">
          <a:xfrm>
            <a:off x="1830546"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5" name="Text Box 51"/>
          <p:cNvSpPr txBox="1">
            <a:spLocks noChangeArrowheads="1"/>
          </p:cNvSpPr>
          <p:nvPr/>
        </p:nvSpPr>
        <p:spPr bwMode="auto">
          <a:xfrm>
            <a:off x="2428557"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6" name="Text Box 52"/>
          <p:cNvSpPr txBox="1">
            <a:spLocks noChangeArrowheads="1"/>
          </p:cNvSpPr>
          <p:nvPr/>
        </p:nvSpPr>
        <p:spPr bwMode="auto">
          <a:xfrm>
            <a:off x="3026568"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7" name="Text Box 53"/>
          <p:cNvSpPr txBox="1">
            <a:spLocks noChangeArrowheads="1"/>
          </p:cNvSpPr>
          <p:nvPr/>
        </p:nvSpPr>
        <p:spPr bwMode="auto">
          <a:xfrm>
            <a:off x="3624579"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8" name="Text Box 54"/>
          <p:cNvSpPr txBox="1">
            <a:spLocks noChangeArrowheads="1"/>
          </p:cNvSpPr>
          <p:nvPr/>
        </p:nvSpPr>
        <p:spPr bwMode="auto">
          <a:xfrm>
            <a:off x="4222590"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9" name="Text Box 55"/>
          <p:cNvSpPr txBox="1">
            <a:spLocks noChangeArrowheads="1"/>
          </p:cNvSpPr>
          <p:nvPr/>
        </p:nvSpPr>
        <p:spPr bwMode="auto">
          <a:xfrm>
            <a:off x="4820601"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0" name="Text Box 56"/>
          <p:cNvSpPr txBox="1">
            <a:spLocks noChangeArrowheads="1"/>
          </p:cNvSpPr>
          <p:nvPr/>
        </p:nvSpPr>
        <p:spPr bwMode="auto">
          <a:xfrm>
            <a:off x="5418612"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1" name="Text Box 57"/>
          <p:cNvSpPr txBox="1">
            <a:spLocks noChangeArrowheads="1"/>
          </p:cNvSpPr>
          <p:nvPr/>
        </p:nvSpPr>
        <p:spPr bwMode="auto">
          <a:xfrm>
            <a:off x="6016623"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2" name="Text Box 58"/>
          <p:cNvSpPr txBox="1">
            <a:spLocks noChangeArrowheads="1"/>
          </p:cNvSpPr>
          <p:nvPr/>
        </p:nvSpPr>
        <p:spPr bwMode="auto">
          <a:xfrm>
            <a:off x="6614634"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3" name="Text Box 59"/>
          <p:cNvSpPr txBox="1">
            <a:spLocks noChangeArrowheads="1"/>
          </p:cNvSpPr>
          <p:nvPr/>
        </p:nvSpPr>
        <p:spPr bwMode="auto">
          <a:xfrm>
            <a:off x="7212648" y="3108843"/>
            <a:ext cx="594360"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62" name="Freeform 60"/>
          <p:cNvSpPr>
            <a:spLocks/>
          </p:cNvSpPr>
          <p:nvPr/>
        </p:nvSpPr>
        <p:spPr bwMode="auto">
          <a:xfrm>
            <a:off x="1232535" y="3396180"/>
            <a:ext cx="6580188"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63" name="Oval 61"/>
          <p:cNvSpPr>
            <a:spLocks noChangeArrowheads="1"/>
          </p:cNvSpPr>
          <p:nvPr/>
        </p:nvSpPr>
        <p:spPr bwMode="auto">
          <a:xfrm>
            <a:off x="1461135"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4" name="Oval 62"/>
          <p:cNvSpPr>
            <a:spLocks noChangeArrowheads="1"/>
          </p:cNvSpPr>
          <p:nvPr/>
        </p:nvSpPr>
        <p:spPr bwMode="auto">
          <a:xfrm>
            <a:off x="2059146"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5" name="Oval 63"/>
          <p:cNvSpPr>
            <a:spLocks noChangeArrowheads="1"/>
          </p:cNvSpPr>
          <p:nvPr/>
        </p:nvSpPr>
        <p:spPr bwMode="auto">
          <a:xfrm>
            <a:off x="2657157"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6" name="Oval 64"/>
          <p:cNvSpPr>
            <a:spLocks noChangeArrowheads="1"/>
          </p:cNvSpPr>
          <p:nvPr/>
        </p:nvSpPr>
        <p:spPr bwMode="auto">
          <a:xfrm>
            <a:off x="3255168"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7" name="Oval 65"/>
          <p:cNvSpPr>
            <a:spLocks noChangeArrowheads="1"/>
          </p:cNvSpPr>
          <p:nvPr/>
        </p:nvSpPr>
        <p:spPr bwMode="auto">
          <a:xfrm>
            <a:off x="3853179"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8" name="Oval 66"/>
          <p:cNvSpPr>
            <a:spLocks noChangeArrowheads="1"/>
          </p:cNvSpPr>
          <p:nvPr/>
        </p:nvSpPr>
        <p:spPr bwMode="auto">
          <a:xfrm>
            <a:off x="4451190"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9" name="Oval 67"/>
          <p:cNvSpPr>
            <a:spLocks noChangeArrowheads="1"/>
          </p:cNvSpPr>
          <p:nvPr/>
        </p:nvSpPr>
        <p:spPr bwMode="auto">
          <a:xfrm>
            <a:off x="5647212"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0" name="Oval 68"/>
          <p:cNvSpPr>
            <a:spLocks noChangeArrowheads="1"/>
          </p:cNvSpPr>
          <p:nvPr/>
        </p:nvSpPr>
        <p:spPr bwMode="auto">
          <a:xfrm>
            <a:off x="6245223"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1" name="Oval 69"/>
          <p:cNvSpPr>
            <a:spLocks noChangeArrowheads="1"/>
          </p:cNvSpPr>
          <p:nvPr/>
        </p:nvSpPr>
        <p:spPr bwMode="auto">
          <a:xfrm>
            <a:off x="6843234"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2" name="Oval 70"/>
          <p:cNvSpPr>
            <a:spLocks noChangeArrowheads="1"/>
          </p:cNvSpPr>
          <p:nvPr/>
        </p:nvSpPr>
        <p:spPr bwMode="auto">
          <a:xfrm>
            <a:off x="7441248"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3" name="Oval 71"/>
          <p:cNvSpPr>
            <a:spLocks noChangeArrowheads="1"/>
          </p:cNvSpPr>
          <p:nvPr/>
        </p:nvSpPr>
        <p:spPr bwMode="auto">
          <a:xfrm>
            <a:off x="5049201" y="3324743"/>
            <a:ext cx="137160" cy="13716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5" name="Line 73"/>
          <p:cNvSpPr>
            <a:spLocks noChangeShapeType="1"/>
          </p:cNvSpPr>
          <p:nvPr/>
        </p:nvSpPr>
        <p:spPr bwMode="auto">
          <a:xfrm>
            <a:off x="499341" y="5485889"/>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399396"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104419"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2809442"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514465"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219488"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4924511"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629534"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334557"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039580"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744603"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449627"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694373" y="5413658"/>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378564"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083587"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1788610"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493633"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198656"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3903679"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608702"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313725"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018748"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723771"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428794"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133818" y="5176147"/>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378564"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083587"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1788610"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493633"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198656"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3903679"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608702"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313725"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018748"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723771"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428794"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133818" y="5700808"/>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sp>
        <p:nvSpPr>
          <p:cNvPr id="112" name="TextBox 111"/>
          <p:cNvSpPr txBox="1"/>
          <p:nvPr/>
        </p:nvSpPr>
        <p:spPr bwMode="gray">
          <a:xfrm>
            <a:off x="396000"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1489" name="Title 1"/>
          <p:cNvSpPr>
            <a:spLocks noGrp="1"/>
          </p:cNvSpPr>
          <p:nvPr>
            <p:ph type="title"/>
          </p:nvPr>
        </p:nvSpPr>
        <p:spPr/>
        <p:txBody>
          <a:bodyPr/>
          <a:lstStyle/>
          <a:p>
            <a:r>
              <a:rPr lang="en-US" altLang="ja-JP"/>
              <a:t>Gantt chart or timeline chart</a:t>
            </a:r>
            <a:endParaRPr lang="en-US" dirty="0"/>
          </a:p>
        </p:txBody>
      </p:sp>
      <p:sp>
        <p:nvSpPr>
          <p:cNvPr id="26" name="Rectangle 7"/>
          <p:cNvSpPr>
            <a:spLocks noChangeArrowheads="1"/>
          </p:cNvSpPr>
          <p:nvPr/>
        </p:nvSpPr>
        <p:spPr bwMode="auto">
          <a:xfrm>
            <a:off x="5276087" y="0"/>
            <a:ext cx="3867913" cy="1030808"/>
          </a:xfrm>
          <a:prstGeom prst="rect">
            <a:avLst/>
          </a:prstGeom>
          <a:solidFill>
            <a:schemeClr val="accent1"/>
          </a:solidFill>
          <a:ln w="6350" algn="ctr">
            <a:noFill/>
            <a:miter lim="800000"/>
            <a:headEnd/>
            <a:tailEnd/>
          </a:ln>
        </p:spPr>
        <p:txBody>
          <a:bodyPr lIns="88900" tIns="88900" rIns="88900" bIns="88900" anchor="ctr" anchorCtr="0">
            <a:noAutofit/>
          </a:bodyPr>
          <a:lstStyle/>
          <a:p>
            <a:pPr marL="115888" indent="-115888">
              <a:lnSpc>
                <a:spcPct val="106000"/>
              </a:lnSpc>
              <a:spcBef>
                <a:spcPts val="300"/>
              </a:spcBef>
              <a:buFont typeface="Arial" pitchFamily="34" charset="0"/>
              <a:buChar char="•"/>
              <a:defRPr/>
            </a:pPr>
            <a:r>
              <a:rPr lang="en-US" sz="1000" dirty="0">
                <a:solidFill>
                  <a:schemeClr val="bg1"/>
                </a:solidFill>
              </a:rPr>
              <a:t>This is a PowerPoint table</a:t>
            </a:r>
          </a:p>
          <a:p>
            <a:pPr marL="115888" indent="-115888">
              <a:lnSpc>
                <a:spcPct val="106000"/>
              </a:lnSpc>
              <a:spcBef>
                <a:spcPts val="300"/>
              </a:spcBef>
              <a:buFont typeface="Arial" pitchFamily="34" charset="0"/>
              <a:buChar char="•"/>
              <a:defRPr/>
            </a:pPr>
            <a:r>
              <a:rPr lang="en-US" sz="1000" dirty="0">
                <a:solidFill>
                  <a:schemeClr val="bg1"/>
                </a:solidFill>
              </a:rPr>
              <a:t>Add or delete columns and rows where appropriate</a:t>
            </a:r>
          </a:p>
          <a:p>
            <a:pPr marL="115888" indent="-115888">
              <a:lnSpc>
                <a:spcPct val="106000"/>
              </a:lnSpc>
              <a:spcBef>
                <a:spcPts val="300"/>
              </a:spcBef>
              <a:buFont typeface="Arial" pitchFamily="34" charset="0"/>
              <a:buChar char="•"/>
              <a:defRPr/>
            </a:pPr>
            <a:r>
              <a:rPr lang="en-US" sz="1000" dirty="0">
                <a:solidFill>
                  <a:schemeClr val="bg1"/>
                </a:solidFill>
              </a:rPr>
              <a:t>Use Distribute Columns Evenly and Distribute Rows Evenly in Layout ribbon to keep columns and rows equal in width</a:t>
            </a:r>
          </a:p>
        </p:txBody>
      </p:sp>
      <p:graphicFrame>
        <p:nvGraphicFramePr>
          <p:cNvPr id="21" name="Table 20"/>
          <p:cNvGraphicFramePr>
            <a:graphicFrameLocks noGrp="1"/>
          </p:cNvGraphicFramePr>
          <p:nvPr>
            <p:extLst>
              <p:ext uri="{D42A27DB-BD31-4B8C-83A1-F6EECF244321}">
                <p14:modId xmlns:p14="http://schemas.microsoft.com/office/powerpoint/2010/main" val="3683341317"/>
              </p:ext>
            </p:extLst>
          </p:nvPr>
        </p:nvGraphicFramePr>
        <p:xfrm>
          <a:off x="397762" y="1892908"/>
          <a:ext cx="8348475" cy="4069080"/>
        </p:xfrm>
        <a:graphic>
          <a:graphicData uri="http://schemas.openxmlformats.org/drawingml/2006/table">
            <a:tbl>
              <a:tblPr bandRow="1">
                <a:tableStyleId>{5C22544A-7EE6-4342-B048-85BDC9FD1C3A}</a:tableStyleId>
              </a:tblPr>
              <a:tblGrid>
                <a:gridCol w="2184171">
                  <a:extLst>
                    <a:ext uri="{9D8B030D-6E8A-4147-A177-3AD203B41FA5}">
                      <a16:colId xmlns:a16="http://schemas.microsoft.com/office/drawing/2014/main" val="20000"/>
                    </a:ext>
                  </a:extLst>
                </a:gridCol>
                <a:gridCol w="256846">
                  <a:extLst>
                    <a:ext uri="{9D8B030D-6E8A-4147-A177-3AD203B41FA5}">
                      <a16:colId xmlns:a16="http://schemas.microsoft.com/office/drawing/2014/main" val="20001"/>
                    </a:ext>
                  </a:extLst>
                </a:gridCol>
                <a:gridCol w="256846">
                  <a:extLst>
                    <a:ext uri="{9D8B030D-6E8A-4147-A177-3AD203B41FA5}">
                      <a16:colId xmlns:a16="http://schemas.microsoft.com/office/drawing/2014/main" val="20002"/>
                    </a:ext>
                  </a:extLst>
                </a:gridCol>
                <a:gridCol w="256846">
                  <a:extLst>
                    <a:ext uri="{9D8B030D-6E8A-4147-A177-3AD203B41FA5}">
                      <a16:colId xmlns:a16="http://schemas.microsoft.com/office/drawing/2014/main" val="20003"/>
                    </a:ext>
                  </a:extLst>
                </a:gridCol>
                <a:gridCol w="256846">
                  <a:extLst>
                    <a:ext uri="{9D8B030D-6E8A-4147-A177-3AD203B41FA5}">
                      <a16:colId xmlns:a16="http://schemas.microsoft.com/office/drawing/2014/main" val="20004"/>
                    </a:ext>
                  </a:extLst>
                </a:gridCol>
                <a:gridCol w="256846">
                  <a:extLst>
                    <a:ext uri="{9D8B030D-6E8A-4147-A177-3AD203B41FA5}">
                      <a16:colId xmlns:a16="http://schemas.microsoft.com/office/drawing/2014/main" val="20005"/>
                    </a:ext>
                  </a:extLst>
                </a:gridCol>
                <a:gridCol w="256846">
                  <a:extLst>
                    <a:ext uri="{9D8B030D-6E8A-4147-A177-3AD203B41FA5}">
                      <a16:colId xmlns:a16="http://schemas.microsoft.com/office/drawing/2014/main" val="20006"/>
                    </a:ext>
                  </a:extLst>
                </a:gridCol>
                <a:gridCol w="256846">
                  <a:extLst>
                    <a:ext uri="{9D8B030D-6E8A-4147-A177-3AD203B41FA5}">
                      <a16:colId xmlns:a16="http://schemas.microsoft.com/office/drawing/2014/main" val="20007"/>
                    </a:ext>
                  </a:extLst>
                </a:gridCol>
                <a:gridCol w="256846">
                  <a:extLst>
                    <a:ext uri="{9D8B030D-6E8A-4147-A177-3AD203B41FA5}">
                      <a16:colId xmlns:a16="http://schemas.microsoft.com/office/drawing/2014/main" val="20008"/>
                    </a:ext>
                  </a:extLst>
                </a:gridCol>
                <a:gridCol w="256846">
                  <a:extLst>
                    <a:ext uri="{9D8B030D-6E8A-4147-A177-3AD203B41FA5}">
                      <a16:colId xmlns:a16="http://schemas.microsoft.com/office/drawing/2014/main" val="20009"/>
                    </a:ext>
                  </a:extLst>
                </a:gridCol>
                <a:gridCol w="256846">
                  <a:extLst>
                    <a:ext uri="{9D8B030D-6E8A-4147-A177-3AD203B41FA5}">
                      <a16:colId xmlns:a16="http://schemas.microsoft.com/office/drawing/2014/main" val="20010"/>
                    </a:ext>
                  </a:extLst>
                </a:gridCol>
                <a:gridCol w="256846">
                  <a:extLst>
                    <a:ext uri="{9D8B030D-6E8A-4147-A177-3AD203B41FA5}">
                      <a16:colId xmlns:a16="http://schemas.microsoft.com/office/drawing/2014/main" val="20011"/>
                    </a:ext>
                  </a:extLst>
                </a:gridCol>
                <a:gridCol w="256846">
                  <a:extLst>
                    <a:ext uri="{9D8B030D-6E8A-4147-A177-3AD203B41FA5}">
                      <a16:colId xmlns:a16="http://schemas.microsoft.com/office/drawing/2014/main" val="20012"/>
                    </a:ext>
                  </a:extLst>
                </a:gridCol>
                <a:gridCol w="256846">
                  <a:extLst>
                    <a:ext uri="{9D8B030D-6E8A-4147-A177-3AD203B41FA5}">
                      <a16:colId xmlns:a16="http://schemas.microsoft.com/office/drawing/2014/main" val="20013"/>
                    </a:ext>
                  </a:extLst>
                </a:gridCol>
                <a:gridCol w="256846">
                  <a:extLst>
                    <a:ext uri="{9D8B030D-6E8A-4147-A177-3AD203B41FA5}">
                      <a16:colId xmlns:a16="http://schemas.microsoft.com/office/drawing/2014/main" val="20014"/>
                    </a:ext>
                  </a:extLst>
                </a:gridCol>
                <a:gridCol w="256846">
                  <a:extLst>
                    <a:ext uri="{9D8B030D-6E8A-4147-A177-3AD203B41FA5}">
                      <a16:colId xmlns:a16="http://schemas.microsoft.com/office/drawing/2014/main" val="20015"/>
                    </a:ext>
                  </a:extLst>
                </a:gridCol>
                <a:gridCol w="256846">
                  <a:extLst>
                    <a:ext uri="{9D8B030D-6E8A-4147-A177-3AD203B41FA5}">
                      <a16:colId xmlns:a16="http://schemas.microsoft.com/office/drawing/2014/main" val="20016"/>
                    </a:ext>
                  </a:extLst>
                </a:gridCol>
                <a:gridCol w="256846">
                  <a:extLst>
                    <a:ext uri="{9D8B030D-6E8A-4147-A177-3AD203B41FA5}">
                      <a16:colId xmlns:a16="http://schemas.microsoft.com/office/drawing/2014/main" val="20017"/>
                    </a:ext>
                  </a:extLst>
                </a:gridCol>
                <a:gridCol w="256846">
                  <a:extLst>
                    <a:ext uri="{9D8B030D-6E8A-4147-A177-3AD203B41FA5}">
                      <a16:colId xmlns:a16="http://schemas.microsoft.com/office/drawing/2014/main" val="20018"/>
                    </a:ext>
                  </a:extLst>
                </a:gridCol>
                <a:gridCol w="256846">
                  <a:extLst>
                    <a:ext uri="{9D8B030D-6E8A-4147-A177-3AD203B41FA5}">
                      <a16:colId xmlns:a16="http://schemas.microsoft.com/office/drawing/2014/main" val="20019"/>
                    </a:ext>
                  </a:extLst>
                </a:gridCol>
                <a:gridCol w="256846">
                  <a:extLst>
                    <a:ext uri="{9D8B030D-6E8A-4147-A177-3AD203B41FA5}">
                      <a16:colId xmlns:a16="http://schemas.microsoft.com/office/drawing/2014/main" val="20020"/>
                    </a:ext>
                  </a:extLst>
                </a:gridCol>
                <a:gridCol w="256846">
                  <a:extLst>
                    <a:ext uri="{9D8B030D-6E8A-4147-A177-3AD203B41FA5}">
                      <a16:colId xmlns:a16="http://schemas.microsoft.com/office/drawing/2014/main" val="20021"/>
                    </a:ext>
                  </a:extLst>
                </a:gridCol>
                <a:gridCol w="256846">
                  <a:extLst>
                    <a:ext uri="{9D8B030D-6E8A-4147-A177-3AD203B41FA5}">
                      <a16:colId xmlns:a16="http://schemas.microsoft.com/office/drawing/2014/main" val="20022"/>
                    </a:ext>
                  </a:extLst>
                </a:gridCol>
                <a:gridCol w="256846">
                  <a:extLst>
                    <a:ext uri="{9D8B030D-6E8A-4147-A177-3AD203B41FA5}">
                      <a16:colId xmlns:a16="http://schemas.microsoft.com/office/drawing/2014/main" val="20023"/>
                    </a:ext>
                  </a:extLst>
                </a:gridCol>
                <a:gridCol w="256846">
                  <a:extLst>
                    <a:ext uri="{9D8B030D-6E8A-4147-A177-3AD203B41FA5}">
                      <a16:colId xmlns:a16="http://schemas.microsoft.com/office/drawing/2014/main" val="20024"/>
                    </a:ext>
                  </a:extLst>
                </a:gridCol>
              </a:tblGrid>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Augus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Sept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Octo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Nov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Dec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pPr>
                      <a:r>
                        <a:rPr lang="en-US" sz="1000" dirty="0">
                          <a:solidFill>
                            <a:schemeClr val="tx1"/>
                          </a:solidFill>
                          <a:latin typeface="+mn-lt"/>
                        </a:rPr>
                        <a:t>January</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8</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6</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4</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1</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7</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4</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1</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8</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3</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a:t>
                      </a:r>
                      <a:r>
                        <a:rPr lang="en-US" sz="1000" b="0" baseline="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2" name="Rectangle 21"/>
          <p:cNvSpPr/>
          <p:nvPr/>
        </p:nvSpPr>
        <p:spPr bwMode="gray">
          <a:xfrm>
            <a:off x="25717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p:cNvSpPr/>
          <p:nvPr/>
        </p:nvSpPr>
        <p:spPr bwMode="gray">
          <a:xfrm>
            <a:off x="3344988" y="295733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38633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Rectangle 41"/>
          <p:cNvSpPr/>
          <p:nvPr/>
        </p:nvSpPr>
        <p:spPr bwMode="gray">
          <a:xfrm>
            <a:off x="43881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4643438" y="4282056"/>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bwMode="gray">
          <a:xfrm>
            <a:off x="5158744" y="4486074"/>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5410744" y="505114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ctangle 45"/>
          <p:cNvSpPr/>
          <p:nvPr/>
        </p:nvSpPr>
        <p:spPr bwMode="gray">
          <a:xfrm>
            <a:off x="6193140" y="524610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Rectangle 46"/>
          <p:cNvSpPr/>
          <p:nvPr/>
        </p:nvSpPr>
        <p:spPr bwMode="gray">
          <a:xfrm>
            <a:off x="6459454" y="5810034"/>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Rectangle 47"/>
          <p:cNvSpPr/>
          <p:nvPr/>
        </p:nvSpPr>
        <p:spPr bwMode="gray">
          <a:xfrm>
            <a:off x="7486132" y="6004999"/>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Oval 48"/>
          <p:cNvSpPr/>
          <p:nvPr/>
        </p:nvSpPr>
        <p:spPr bwMode="gray">
          <a:xfrm>
            <a:off x="47301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Oval 49"/>
          <p:cNvSpPr/>
          <p:nvPr/>
        </p:nvSpPr>
        <p:spPr bwMode="gray">
          <a:xfrm>
            <a:off x="6523686" y="5247548"/>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1" name="Oval 50"/>
          <p:cNvSpPr/>
          <p:nvPr/>
        </p:nvSpPr>
        <p:spPr bwMode="gray">
          <a:xfrm>
            <a:off x="8092231" y="6254289"/>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bwMode="gray">
          <a:xfrm>
            <a:off x="8222725" y="6222345"/>
            <a:ext cx="610745" cy="153888"/>
          </a:xfrm>
          <a:prstGeom prst="rect">
            <a:avLst/>
          </a:prstGeom>
        </p:spPr>
        <p:txBody>
          <a:bodyPr wrap="none" lIns="0" tIns="0" rIns="0" bIns="0">
            <a:spAutoFit/>
          </a:bodyPr>
          <a:lstStyle/>
          <a:p>
            <a:r>
              <a:rPr lang="en-US" sz="1000" dirty="0"/>
              <a:t>Milestone</a:t>
            </a:r>
          </a:p>
        </p:txBody>
      </p:sp>
      <p:sp>
        <p:nvSpPr>
          <p:cNvPr id="27" name="TextBox 26"/>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2614035568"/>
              </p:ext>
            </p:extLst>
          </p:nvPr>
        </p:nvGraphicFramePr>
        <p:xfrm>
          <a:off x="397764" y="1614488"/>
          <a:ext cx="8348473" cy="4193225"/>
        </p:xfrm>
        <a:graphic>
          <a:graphicData uri="http://schemas.openxmlformats.org/drawingml/2006/table">
            <a:tbl>
              <a:tblPr/>
              <a:tblGrid>
                <a:gridCol w="1215537">
                  <a:extLst>
                    <a:ext uri="{9D8B030D-6E8A-4147-A177-3AD203B41FA5}">
                      <a16:colId xmlns:a16="http://schemas.microsoft.com/office/drawing/2014/main" val="20000"/>
                    </a:ext>
                  </a:extLst>
                </a:gridCol>
                <a:gridCol w="1409964">
                  <a:extLst>
                    <a:ext uri="{9D8B030D-6E8A-4147-A177-3AD203B41FA5}">
                      <a16:colId xmlns:a16="http://schemas.microsoft.com/office/drawing/2014/main" val="20001"/>
                    </a:ext>
                  </a:extLst>
                </a:gridCol>
                <a:gridCol w="1444100">
                  <a:extLst>
                    <a:ext uri="{9D8B030D-6E8A-4147-A177-3AD203B41FA5}">
                      <a16:colId xmlns:a16="http://schemas.microsoft.com/office/drawing/2014/main" val="20002"/>
                    </a:ext>
                  </a:extLst>
                </a:gridCol>
                <a:gridCol w="1424806">
                  <a:extLst>
                    <a:ext uri="{9D8B030D-6E8A-4147-A177-3AD203B41FA5}">
                      <a16:colId xmlns:a16="http://schemas.microsoft.com/office/drawing/2014/main" val="20003"/>
                    </a:ext>
                  </a:extLst>
                </a:gridCol>
                <a:gridCol w="1429260">
                  <a:extLst>
                    <a:ext uri="{9D8B030D-6E8A-4147-A177-3AD203B41FA5}">
                      <a16:colId xmlns:a16="http://schemas.microsoft.com/office/drawing/2014/main" val="20004"/>
                    </a:ext>
                  </a:extLst>
                </a:gridCol>
                <a:gridCol w="1424806">
                  <a:extLst>
                    <a:ext uri="{9D8B030D-6E8A-4147-A177-3AD203B41FA5}">
                      <a16:colId xmlns:a16="http://schemas.microsoft.com/office/drawing/2014/main" val="20005"/>
                    </a:ext>
                  </a:extLst>
                </a:gridCol>
              </a:tblGrid>
              <a:tr h="36576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on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u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edn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hur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ri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extLst>
                  <a:ext uri="{0D108BD9-81ED-4DB2-BD59-A6C34878D82A}">
                    <a16:rowId xmlns:a16="http://schemas.microsoft.com/office/drawing/2014/main" val="10002"/>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extLst>
                  <a:ext uri="{0D108BD9-81ED-4DB2-BD59-A6C34878D82A}">
                    <a16:rowId xmlns:a16="http://schemas.microsoft.com/office/drawing/2014/main" val="10003"/>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extLst>
                  <a:ext uri="{0D108BD9-81ED-4DB2-BD59-A6C34878D82A}">
                    <a16:rowId xmlns:a16="http://schemas.microsoft.com/office/drawing/2014/main" val="10004"/>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3581400" y="6186594"/>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200" dirty="0">
              <a:solidFill>
                <a:schemeClr val="bg1"/>
              </a:solidFill>
            </a:endParaRPr>
          </a:p>
        </p:txBody>
      </p:sp>
      <p:sp>
        <p:nvSpPr>
          <p:cNvPr id="23" name="Text Box 48"/>
          <p:cNvSpPr txBox="1">
            <a:spLocks noChangeArrowheads="1"/>
          </p:cNvSpPr>
          <p:nvPr>
            <p:custDataLst>
              <p:tags r:id="rId2"/>
            </p:custDataLst>
          </p:nvPr>
        </p:nvSpPr>
        <p:spPr bwMode="auto">
          <a:xfrm>
            <a:off x="5583237" y="6181881"/>
            <a:ext cx="184986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5410200" y="6186594"/>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200"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7594482" y="6186594"/>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5"/>
            </p:custDataLst>
          </p:nvPr>
        </p:nvSpPr>
        <p:spPr bwMode="auto">
          <a:xfrm>
            <a:off x="7769751" y="6181881"/>
            <a:ext cx="950581"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7" name="Text Box 184"/>
          <p:cNvSpPr txBox="1">
            <a:spLocks noChangeArrowheads="1"/>
          </p:cNvSpPr>
          <p:nvPr>
            <p:custDataLst>
              <p:tags r:id="rId6"/>
            </p:custDataLst>
          </p:nvPr>
        </p:nvSpPr>
        <p:spPr bwMode="auto">
          <a:xfrm>
            <a:off x="3746500" y="6181881"/>
            <a:ext cx="152445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sp>
        <p:nvSpPr>
          <p:cNvPr id="14" name="Rectangle 7"/>
          <p:cNvSpPr>
            <a:spLocks noChangeArrowheads="1"/>
          </p:cNvSpPr>
          <p:nvPr/>
        </p:nvSpPr>
        <p:spPr bwMode="auto">
          <a:xfrm>
            <a:off x="5276087" y="0"/>
            <a:ext cx="3867913" cy="822960"/>
          </a:xfrm>
          <a:prstGeom prst="rect">
            <a:avLst/>
          </a:prstGeom>
          <a:solidFill>
            <a:schemeClr val="accent1"/>
          </a:solidFill>
          <a:ln w="6350" algn="ctr">
            <a:noFill/>
            <a:miter lim="800000"/>
            <a:headEnd/>
            <a:tailEnd/>
          </a:ln>
        </p:spPr>
        <p:txBody>
          <a:bodyPr tIns="91440" bIns="91440" anchor="ctr" anchorCtr="0">
            <a:noAutofit/>
          </a:bodyPr>
          <a:lstStyle/>
          <a:p>
            <a:pPr>
              <a:defRPr/>
            </a:pPr>
            <a:r>
              <a:rPr lang="en-US" altLang="ja-JP" sz="1000" b="1" dirty="0">
                <a:solidFill>
                  <a:schemeClr val="bg1"/>
                </a:solidFill>
                <a:ea typeface="ＭＳ Ｐゴシック" pitchFamily="50" charset="-128"/>
              </a:rPr>
              <a:t>Tip! </a:t>
            </a:r>
            <a:r>
              <a:rPr lang="en-US" altLang="ja-JP" sz="1000" dirty="0">
                <a:solidFill>
                  <a:schemeClr val="bg1"/>
                </a:solidFill>
                <a:ea typeface="ＭＳ Ｐゴシック" pitchFamily="50" charset="-128"/>
              </a:rPr>
              <a:t>This is a table. Change cell colors as appropriate. Use Distribute Columns Evenly and Distribute Rows Evenly in Layout ribbon to keep equal column and row widths. Enter events, like meeting dates, in the cells</a:t>
            </a:r>
            <a:endParaRPr lang="en-US" sz="1000" dirty="0">
              <a:solidFill>
                <a:schemeClr val="bg1"/>
              </a:solidFill>
              <a:ea typeface="ＭＳ Ｐゴシック" pitchFamily="50" charset="-128"/>
            </a:endParaRP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117882685"/>
              </p:ext>
            </p:extLst>
          </p:nvPr>
        </p:nvGraphicFramePr>
        <p:xfrm>
          <a:off x="357487" y="1602688"/>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a:t>First day of the month is Monday, Tuesday, Wednesday or Thursday</a:t>
            </a:r>
            <a:endParaRPr lang="en-US" dirty="0"/>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2775044832"/>
              </p:ext>
            </p:extLst>
          </p:nvPr>
        </p:nvGraphicFramePr>
        <p:xfrm>
          <a:off x="4660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759931725"/>
              </p:ext>
            </p:extLst>
          </p:nvPr>
        </p:nvGraphicFramePr>
        <p:xfrm>
          <a:off x="357487" y="3941075"/>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r>
                        <a:rPr kumimoji="0" lang="ja-JP" altLang="en-US" sz="1100" b="0" i="0" u="none" strike="noStrike" cap="none" normalizeH="0" baseline="0" dirty="0">
                          <a:ln>
                            <a:noFill/>
                          </a:ln>
                          <a:solidFill>
                            <a:srgbClr val="53565A"/>
                          </a:solidFill>
                          <a:effectLst/>
                          <a:latin typeface="+mn-lt"/>
                          <a:ea typeface="ＭＳ Ｐゴシック" pitchFamily="50" charset="-128"/>
                        </a:rPr>
                        <a:t>　</a:t>
                      </a:r>
                      <a:endParaRPr kumimoji="0" lang="en-US" altLang="ja-JP" sz="1100" b="0" i="0" u="none" strike="noStrike" cap="none" normalizeH="0" baseline="0" dirty="0">
                        <a:ln>
                          <a:noFill/>
                        </a:ln>
                        <a:solidFill>
                          <a:srgbClr val="53565A"/>
                        </a:solidFill>
                        <a:effectLst/>
                        <a:latin typeface="+mn-lt"/>
                        <a:ea typeface="ＭＳ Ｐゴシック" pitchFamily="50" charset="-128"/>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2246837096"/>
              </p:ext>
            </p:extLst>
          </p:nvPr>
        </p:nvGraphicFramePr>
        <p:xfrm>
          <a:off x="4660858" y="3941075"/>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2063448" y="6192937"/>
            <a:ext cx="5138932" cy="153888"/>
            <a:chOff x="1861247" y="6192937"/>
            <a:chExt cx="5138932" cy="15388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28" name="Text Box 48"/>
            <p:cNvSpPr txBox="1">
              <a:spLocks noChangeArrowheads="1"/>
            </p:cNvSpPr>
            <p:nvPr/>
          </p:nvSpPr>
          <p:spPr bwMode="auto">
            <a:xfrm>
              <a:off x="3863084" y="6192937"/>
              <a:ext cx="184986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nvSpPr>
          <p:spPr bwMode="auto">
            <a:xfrm>
              <a:off x="6049598" y="6192937"/>
              <a:ext cx="950581"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32" name="Text Box 184"/>
            <p:cNvSpPr txBox="1">
              <a:spLocks noChangeArrowheads="1"/>
            </p:cNvSpPr>
            <p:nvPr/>
          </p:nvSpPr>
          <p:spPr bwMode="auto">
            <a:xfrm>
              <a:off x="2026347" y="6192937"/>
              <a:ext cx="152445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2000"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290455246"/>
              </p:ext>
            </p:extLst>
          </p:nvPr>
        </p:nvGraphicFramePr>
        <p:xfrm>
          <a:off x="357486" y="1602688"/>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747707635"/>
              </p:ext>
            </p:extLst>
          </p:nvPr>
        </p:nvGraphicFramePr>
        <p:xfrm>
          <a:off x="4660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2"/>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191663750"/>
              </p:ext>
            </p:extLst>
          </p:nvPr>
        </p:nvGraphicFramePr>
        <p:xfrm>
          <a:off x="357486" y="3939489"/>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2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2063448" y="6192937"/>
            <a:ext cx="5138932" cy="153888"/>
            <a:chOff x="1861247" y="6192937"/>
            <a:chExt cx="5138932" cy="15388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15" name="Text Box 48"/>
            <p:cNvSpPr txBox="1">
              <a:spLocks noChangeArrowheads="1"/>
            </p:cNvSpPr>
            <p:nvPr/>
          </p:nvSpPr>
          <p:spPr bwMode="auto">
            <a:xfrm>
              <a:off x="3863084" y="6192937"/>
              <a:ext cx="184986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24" name="Text Box 51"/>
            <p:cNvSpPr txBox="1">
              <a:spLocks noChangeArrowheads="1"/>
            </p:cNvSpPr>
            <p:nvPr/>
          </p:nvSpPr>
          <p:spPr bwMode="auto">
            <a:xfrm>
              <a:off x="6049598" y="6192937"/>
              <a:ext cx="950581"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5" name="Text Box 184"/>
            <p:cNvSpPr txBox="1">
              <a:spLocks noChangeArrowheads="1"/>
            </p:cNvSpPr>
            <p:nvPr/>
          </p:nvSpPr>
          <p:spPr bwMode="auto">
            <a:xfrm>
              <a:off x="2026347" y="6192937"/>
              <a:ext cx="152445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sp>
        <p:nvSpPr>
          <p:cNvPr id="7" name="Freeform 6"/>
          <p:cNvSpPr/>
          <p:nvPr/>
        </p:nvSpPr>
        <p:spPr bwMode="gray">
          <a:xfrm>
            <a:off x="1940404" y="2529391"/>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accent6">
                <a:lumMod val="40000"/>
                <a:lumOff val="60000"/>
              </a:schemeClr>
            </a:solidFill>
            <a:miter lim="800000"/>
            <a:headEnd/>
            <a:tailEnd/>
          </a:ln>
        </p:spPr>
        <p:txBody>
          <a:bodyPr rtlCol="0" anchor="ctr"/>
          <a:lstStyle/>
          <a:p>
            <a:pPr algn="ctr"/>
            <a:endParaRPr lang="en-US" dirty="0">
              <a:solidFill>
                <a:srgbClr val="53565A"/>
              </a:solidFill>
            </a:endParaRPr>
          </a:p>
        </p:txBody>
      </p:sp>
      <p:sp>
        <p:nvSpPr>
          <p:cNvPr id="835596" name="Rectangle 14"/>
          <p:cNvSpPr>
            <a:spLocks noChangeArrowheads="1"/>
          </p:cNvSpPr>
          <p:nvPr/>
        </p:nvSpPr>
        <p:spPr bwMode="auto">
          <a:xfrm>
            <a:off x="1168457" y="3941083"/>
            <a:ext cx="636393" cy="153888"/>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4027127" y="5932467"/>
            <a:ext cx="1158972"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2190857" y="5330968"/>
            <a:ext cx="62356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793462" y="5495586"/>
            <a:ext cx="266801" cy="264683"/>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0" name="AutoShape 18"/>
          <p:cNvSpPr>
            <a:spLocks noChangeArrowheads="1"/>
          </p:cNvSpPr>
          <p:nvPr/>
        </p:nvSpPr>
        <p:spPr bwMode="auto">
          <a:xfrm>
            <a:off x="3956156" y="4347824"/>
            <a:ext cx="266801" cy="264683"/>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1" name="AutoShape 19"/>
          <p:cNvSpPr>
            <a:spLocks noChangeArrowheads="1"/>
          </p:cNvSpPr>
          <p:nvPr/>
        </p:nvSpPr>
        <p:spPr bwMode="auto">
          <a:xfrm>
            <a:off x="4479789" y="3283960"/>
            <a:ext cx="266801" cy="264683"/>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2" name="AutoShape 20"/>
          <p:cNvSpPr>
            <a:spLocks noChangeArrowheads="1"/>
          </p:cNvSpPr>
          <p:nvPr/>
        </p:nvSpPr>
        <p:spPr bwMode="auto">
          <a:xfrm>
            <a:off x="6044698" y="2543280"/>
            <a:ext cx="266801" cy="264683"/>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5" name="Rectangle 23"/>
          <p:cNvSpPr>
            <a:spLocks noChangeArrowheads="1"/>
          </p:cNvSpPr>
          <p:nvPr/>
        </p:nvSpPr>
        <p:spPr bwMode="auto">
          <a:xfrm>
            <a:off x="3237980" y="4341629"/>
            <a:ext cx="62356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699807" y="3235915"/>
            <a:ext cx="625171"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6273626" y="2407126"/>
            <a:ext cx="63478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938205" y="2231415"/>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triangle"/>
            <a:tailEnd type="triangle"/>
          </a:ln>
        </p:spPr>
        <p:txBody>
          <a:bodyPr rtlCol="0" anchor="ctr"/>
          <a:lstStyle/>
          <a:p>
            <a:pPr algn="ctr"/>
            <a:endParaRPr lang="en-US" dirty="0">
              <a:solidFill>
                <a:srgbClr val="53565A"/>
              </a:solidFill>
            </a:endParaRPr>
          </a:p>
        </p:txBody>
      </p:sp>
      <p:sp>
        <p:nvSpPr>
          <p:cNvPr id="18" name="TextBox 17"/>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untry maturity</a:t>
            </a:r>
          </a:p>
        </p:txBody>
      </p:sp>
      <p:sp>
        <p:nvSpPr>
          <p:cNvPr id="282632" name="Title 1"/>
          <p:cNvSpPr>
            <a:spLocks noGrp="1"/>
          </p:cNvSpPr>
          <p:nvPr>
            <p:ph type="title"/>
          </p:nvPr>
        </p:nvSpPr>
        <p:spPr/>
        <p:txBody>
          <a:bodyPr/>
          <a:lstStyle/>
          <a:p>
            <a:r>
              <a:rPr lang="en-US" altLang="ja-JP" dirty="0"/>
              <a:t>Curves</a:t>
            </a:r>
            <a:endParaRPr lang="en-US" dirty="0"/>
          </a:p>
        </p:txBody>
      </p:sp>
      <p:sp>
        <p:nvSpPr>
          <p:cNvPr id="39" name="Freeform 12"/>
          <p:cNvSpPr>
            <a:spLocks/>
          </p:cNvSpPr>
          <p:nvPr/>
        </p:nvSpPr>
        <p:spPr bwMode="auto">
          <a:xfrm>
            <a:off x="2055424" y="2412341"/>
            <a:ext cx="4840454" cy="3077451"/>
          </a:xfrm>
          <a:custGeom>
            <a:avLst/>
            <a:gdLst>
              <a:gd name="T0" fmla="*/ 0 w 1467"/>
              <a:gd name="T1" fmla="*/ 933 h 933"/>
              <a:gd name="T2" fmla="*/ 1467 w 1467"/>
              <a:gd name="T3" fmla="*/ 0 h 933"/>
            </a:gdLst>
            <a:ahLst/>
            <a:cxnLst>
              <a:cxn ang="0">
                <a:pos x="T0" y="T1"/>
              </a:cxn>
              <a:cxn ang="0">
                <a:pos x="T2" y="T3"/>
              </a:cxn>
            </a:cxnLst>
            <a:rect l="0" t="0" r="r" b="b"/>
            <a:pathLst>
              <a:path w="1467" h="933">
                <a:moveTo>
                  <a:pt x="0" y="933"/>
                </a:moveTo>
                <a:cubicBezTo>
                  <a:pt x="936" y="907"/>
                  <a:pt x="477" y="68"/>
                  <a:pt x="1467" y="0"/>
                </a:cubicBezTo>
              </a:path>
            </a:pathLst>
          </a:custGeom>
          <a:noFill/>
          <a:ln w="28575" cap="rnd">
            <a:solidFill>
              <a:schemeClr val="accent6">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2636" name="Rectangle 5"/>
          <p:cNvSpPr>
            <a:spLocks noChangeArrowheads="1"/>
          </p:cNvSpPr>
          <p:nvPr/>
        </p:nvSpPr>
        <p:spPr bwMode="auto">
          <a:xfrm>
            <a:off x="1763450" y="5895233"/>
            <a:ext cx="615553" cy="138499"/>
          </a:xfrm>
          <a:prstGeom prst="rect">
            <a:avLst/>
          </a:prstGeom>
          <a:noFill/>
          <a:ln w="9525">
            <a:noFill/>
            <a:miter lim="800000"/>
            <a:headEnd/>
            <a:tailEnd/>
          </a:ln>
        </p:spPr>
        <p:txBody>
          <a:bodyPr wrap="none" lIns="0" tIns="0" rIns="0" bIns="0">
            <a:spAutoFit/>
          </a:bodyPr>
          <a:lstStyle/>
          <a:p>
            <a:pPr algn="ctr">
              <a:lnSpc>
                <a:spcPct val="90000"/>
              </a:lnSpc>
            </a:pPr>
            <a:r>
              <a:rPr lang="en-US" altLang="ja-JP" sz="1000" dirty="0">
                <a:solidFill>
                  <a:srgbClr val="53565A"/>
                </a:solidFill>
                <a:ea typeface="ＭＳ Ｐゴシック" charset="-128"/>
              </a:rPr>
              <a:t>Emerging</a:t>
            </a:r>
          </a:p>
        </p:txBody>
      </p:sp>
      <p:sp>
        <p:nvSpPr>
          <p:cNvPr id="282637" name="Rectangle 6"/>
          <p:cNvSpPr>
            <a:spLocks noChangeArrowheads="1"/>
          </p:cNvSpPr>
          <p:nvPr/>
        </p:nvSpPr>
        <p:spPr bwMode="auto">
          <a:xfrm>
            <a:off x="6925503" y="5895233"/>
            <a:ext cx="448841" cy="138499"/>
          </a:xfrm>
          <a:prstGeom prst="rect">
            <a:avLst/>
          </a:prstGeom>
          <a:noFill/>
          <a:ln w="9525">
            <a:noFill/>
            <a:miter lim="800000"/>
            <a:headEnd/>
            <a:tailEnd/>
          </a:ln>
        </p:spPr>
        <p:txBody>
          <a:bodyPr wrap="none" lIns="0" tIns="0" rIns="0" bIns="0">
            <a:spAutoFit/>
          </a:bodyPr>
          <a:lstStyle/>
          <a:p>
            <a:pPr algn="ctr">
              <a:lnSpc>
                <a:spcPct val="90000"/>
              </a:lnSpc>
            </a:pPr>
            <a:r>
              <a:rPr lang="en-US" altLang="ja-JP" sz="1000" dirty="0">
                <a:solidFill>
                  <a:srgbClr val="53565A"/>
                </a:solidFill>
                <a:ea typeface="ＭＳ Ｐゴシック" charset="-128"/>
              </a:rPr>
              <a:t>Mature</a:t>
            </a:r>
          </a:p>
        </p:txBody>
      </p:sp>
      <p:sp>
        <p:nvSpPr>
          <p:cNvPr id="282638" name="Rectangle 7"/>
          <p:cNvSpPr>
            <a:spLocks noChangeArrowheads="1"/>
          </p:cNvSpPr>
          <p:nvPr/>
        </p:nvSpPr>
        <p:spPr bwMode="auto">
          <a:xfrm>
            <a:off x="3466184" y="6106070"/>
            <a:ext cx="2188555" cy="143346"/>
          </a:xfrm>
          <a:prstGeom prst="rect">
            <a:avLst/>
          </a:prstGeom>
          <a:noFill/>
          <a:ln w="9525">
            <a:noFill/>
            <a:miter lim="800000"/>
            <a:headEnd/>
            <a:tailEnd/>
          </a:ln>
        </p:spPr>
        <p:txBody>
          <a:bodyPr wrap="square" lIns="0" tIns="0" rIns="0" bIns="0">
            <a:spAutoFit/>
          </a:bodyPr>
          <a:lstStyle/>
          <a:p>
            <a:pPr algn="ctr">
              <a:lnSpc>
                <a:spcPct val="90000"/>
              </a:lnSpc>
            </a:pPr>
            <a:r>
              <a:rPr lang="en-US" altLang="ja-JP" sz="1000" dirty="0">
                <a:solidFill>
                  <a:srgbClr val="53565A"/>
                </a:solidFill>
                <a:ea typeface="ＭＳ Ｐゴシック" charset="-128"/>
              </a:rPr>
              <a:t>Development stage</a:t>
            </a:r>
          </a:p>
        </p:txBody>
      </p:sp>
      <p:sp>
        <p:nvSpPr>
          <p:cNvPr id="282640" name="Rectangle 9"/>
          <p:cNvSpPr>
            <a:spLocks noChangeArrowheads="1"/>
          </p:cNvSpPr>
          <p:nvPr/>
        </p:nvSpPr>
        <p:spPr bwMode="auto">
          <a:xfrm>
            <a:off x="4332378" y="4438250"/>
            <a:ext cx="779059" cy="138499"/>
          </a:xfrm>
          <a:prstGeom prst="rect">
            <a:avLst/>
          </a:prstGeom>
          <a:noFill/>
          <a:ln w="9525">
            <a:noFill/>
            <a:miter lim="800000"/>
            <a:headEnd/>
            <a:tailEnd/>
          </a:ln>
        </p:spPr>
        <p:txBody>
          <a:bodyPr wrap="none" lIns="0" tIns="0" rIns="0" bIns="0">
            <a:spAutoFit/>
          </a:bodyPr>
          <a:lstStyle/>
          <a:p>
            <a:pPr>
              <a:lnSpc>
                <a:spcPct val="90000"/>
              </a:lnSpc>
            </a:pPr>
            <a:r>
              <a:rPr lang="en-US" altLang="ja-JP" sz="1000" dirty="0">
                <a:solidFill>
                  <a:srgbClr val="53565A"/>
                </a:solidFill>
                <a:ea typeface="ＭＳ Ｐゴシック" charset="-128"/>
              </a:rPr>
              <a:t>Netherlands</a:t>
            </a:r>
          </a:p>
        </p:txBody>
      </p:sp>
      <p:sp>
        <p:nvSpPr>
          <p:cNvPr id="282641" name="Rectangle 10"/>
          <p:cNvSpPr>
            <a:spLocks noChangeArrowheads="1"/>
          </p:cNvSpPr>
          <p:nvPr/>
        </p:nvSpPr>
        <p:spPr bwMode="auto">
          <a:xfrm>
            <a:off x="4527243" y="4104657"/>
            <a:ext cx="508152" cy="138499"/>
          </a:xfrm>
          <a:prstGeom prst="rect">
            <a:avLst/>
          </a:prstGeom>
          <a:noFill/>
          <a:ln w="9525">
            <a:noFill/>
            <a:miter lim="800000"/>
            <a:headEnd/>
            <a:tailEnd/>
          </a:ln>
        </p:spPr>
        <p:txBody>
          <a:bodyPr wrap="none" lIns="0" tIns="0" rIns="0" bIns="0">
            <a:spAutoFit/>
          </a:bodyPr>
          <a:lstStyle/>
          <a:p>
            <a:pPr>
              <a:lnSpc>
                <a:spcPct val="90000"/>
              </a:lnSpc>
            </a:pPr>
            <a:r>
              <a:rPr lang="en-US" altLang="ja-JP" sz="1000" dirty="0">
                <a:solidFill>
                  <a:srgbClr val="53565A"/>
                </a:solidFill>
                <a:ea typeface="ＭＳ Ｐゴシック" charset="-128"/>
              </a:rPr>
              <a:t>Sweden</a:t>
            </a:r>
          </a:p>
        </p:txBody>
      </p:sp>
      <p:sp>
        <p:nvSpPr>
          <p:cNvPr id="282642" name="Rectangle 11"/>
          <p:cNvSpPr>
            <a:spLocks noChangeArrowheads="1"/>
          </p:cNvSpPr>
          <p:nvPr/>
        </p:nvSpPr>
        <p:spPr bwMode="auto">
          <a:xfrm>
            <a:off x="4819707" y="3699718"/>
            <a:ext cx="275717" cy="138499"/>
          </a:xfrm>
          <a:prstGeom prst="rect">
            <a:avLst/>
          </a:prstGeom>
          <a:noFill/>
          <a:ln w="9525">
            <a:noFill/>
            <a:miter lim="800000"/>
            <a:headEnd/>
            <a:tailEnd/>
          </a:ln>
        </p:spPr>
        <p:txBody>
          <a:bodyPr wrap="none" lIns="0" tIns="0" rIns="0" bIns="0">
            <a:spAutoFit/>
          </a:bodyPr>
          <a:lstStyle/>
          <a:p>
            <a:pPr>
              <a:lnSpc>
                <a:spcPct val="90000"/>
              </a:lnSpc>
            </a:pPr>
            <a:r>
              <a:rPr lang="en-US" altLang="ja-JP" sz="1000" dirty="0">
                <a:solidFill>
                  <a:srgbClr val="53565A"/>
                </a:solidFill>
                <a:ea typeface="ＭＳ Ｐゴシック" charset="-128"/>
              </a:rPr>
              <a:t>U.K.</a:t>
            </a:r>
          </a:p>
        </p:txBody>
      </p:sp>
      <p:sp>
        <p:nvSpPr>
          <p:cNvPr id="282643" name="Rectangle 12"/>
          <p:cNvSpPr>
            <a:spLocks noChangeArrowheads="1"/>
          </p:cNvSpPr>
          <p:nvPr/>
        </p:nvSpPr>
        <p:spPr bwMode="auto">
          <a:xfrm>
            <a:off x="4063568" y="4783292"/>
            <a:ext cx="431208" cy="138499"/>
          </a:xfrm>
          <a:prstGeom prst="rect">
            <a:avLst/>
          </a:prstGeom>
          <a:noFill/>
          <a:ln w="9525">
            <a:noFill/>
            <a:miter lim="800000"/>
            <a:headEnd/>
            <a:tailEnd/>
          </a:ln>
        </p:spPr>
        <p:txBody>
          <a:bodyPr wrap="none" lIns="0" tIns="0" rIns="0" bIns="0">
            <a:spAutoFit/>
          </a:bodyPr>
          <a:lstStyle/>
          <a:p>
            <a:pPr>
              <a:lnSpc>
                <a:spcPct val="90000"/>
              </a:lnSpc>
            </a:pPr>
            <a:r>
              <a:rPr lang="en-US" altLang="ja-JP" sz="1000" dirty="0">
                <a:solidFill>
                  <a:srgbClr val="53565A"/>
                </a:solidFill>
                <a:ea typeface="ＭＳ Ｐゴシック" charset="-128"/>
              </a:rPr>
              <a:t>France</a:t>
            </a:r>
          </a:p>
        </p:txBody>
      </p:sp>
      <p:sp>
        <p:nvSpPr>
          <p:cNvPr id="282644" name="Rectangle 19"/>
          <p:cNvSpPr>
            <a:spLocks noChangeArrowheads="1"/>
          </p:cNvSpPr>
          <p:nvPr/>
        </p:nvSpPr>
        <p:spPr bwMode="auto">
          <a:xfrm>
            <a:off x="3027130" y="5429249"/>
            <a:ext cx="293350" cy="138499"/>
          </a:xfrm>
          <a:prstGeom prst="rect">
            <a:avLst/>
          </a:prstGeom>
          <a:noFill/>
          <a:ln w="9525">
            <a:noFill/>
            <a:miter lim="800000"/>
            <a:headEnd/>
            <a:tailEnd/>
          </a:ln>
        </p:spPr>
        <p:txBody>
          <a:bodyPr wrap="none" lIns="0" tIns="0" rIns="0" bIns="0">
            <a:spAutoFit/>
          </a:bodyPr>
          <a:lstStyle/>
          <a:p>
            <a:pPr>
              <a:lnSpc>
                <a:spcPct val="90000"/>
              </a:lnSpc>
            </a:pPr>
            <a:r>
              <a:rPr lang="en-US" altLang="ja-JP" sz="1000" dirty="0">
                <a:solidFill>
                  <a:srgbClr val="53565A"/>
                </a:solidFill>
                <a:ea typeface="ＭＳ Ｐゴシック" charset="-128"/>
              </a:rPr>
              <a:t>Italy</a:t>
            </a:r>
          </a:p>
        </p:txBody>
      </p:sp>
      <p:sp>
        <p:nvSpPr>
          <p:cNvPr id="282645" name="Rectangle 20"/>
          <p:cNvSpPr>
            <a:spLocks noChangeArrowheads="1"/>
          </p:cNvSpPr>
          <p:nvPr/>
        </p:nvSpPr>
        <p:spPr bwMode="auto">
          <a:xfrm>
            <a:off x="3618304" y="5119321"/>
            <a:ext cx="589905" cy="138499"/>
          </a:xfrm>
          <a:prstGeom prst="rect">
            <a:avLst/>
          </a:prstGeom>
          <a:noFill/>
          <a:ln w="9525">
            <a:noFill/>
            <a:miter lim="800000"/>
            <a:headEnd/>
            <a:tailEnd/>
          </a:ln>
        </p:spPr>
        <p:txBody>
          <a:bodyPr wrap="none" lIns="0" tIns="0" rIns="0" bIns="0">
            <a:spAutoFit/>
          </a:bodyPr>
          <a:lstStyle/>
          <a:p>
            <a:pPr>
              <a:lnSpc>
                <a:spcPct val="90000"/>
              </a:lnSpc>
              <a:spcBef>
                <a:spcPct val="30000"/>
              </a:spcBef>
            </a:pPr>
            <a:r>
              <a:rPr lang="en-US" altLang="ja-JP" sz="1000" dirty="0">
                <a:solidFill>
                  <a:srgbClr val="53565A"/>
                </a:solidFill>
                <a:ea typeface="ＭＳ Ｐゴシック" charset="-128"/>
              </a:rPr>
              <a:t>Germany</a:t>
            </a:r>
          </a:p>
        </p:txBody>
      </p:sp>
      <p:pic>
        <p:nvPicPr>
          <p:cNvPr id="40" name="Picture 2" descr="Flag of Italy"/>
          <p:cNvPicPr>
            <a:picLocks noChangeAspect="1" noChangeArrowheads="1"/>
          </p:cNvPicPr>
          <p:nvPr/>
        </p:nvPicPr>
        <p:blipFill>
          <a:blip r:embed="rId3" cstate="print"/>
          <a:srcRect/>
          <a:stretch>
            <a:fillRect/>
          </a:stretch>
        </p:blipFill>
        <p:spPr bwMode="gray">
          <a:xfrm>
            <a:off x="2652858" y="5317556"/>
            <a:ext cx="283921" cy="189280"/>
          </a:xfrm>
          <a:prstGeom prst="rect">
            <a:avLst/>
          </a:prstGeom>
          <a:noFill/>
          <a:ln>
            <a:noFill/>
          </a:ln>
        </p:spPr>
      </p:pic>
      <p:pic>
        <p:nvPicPr>
          <p:cNvPr id="41" name="Picture 2" descr="Flag of Germany"/>
          <p:cNvPicPr>
            <a:picLocks noChangeAspect="1" noChangeArrowheads="1"/>
          </p:cNvPicPr>
          <p:nvPr/>
        </p:nvPicPr>
        <p:blipFill>
          <a:blip r:embed="rId4" cstate="print"/>
          <a:srcRect/>
          <a:stretch>
            <a:fillRect/>
          </a:stretch>
        </p:blipFill>
        <p:spPr bwMode="gray">
          <a:xfrm>
            <a:off x="3241713" y="5096353"/>
            <a:ext cx="310245" cy="189280"/>
          </a:xfrm>
          <a:prstGeom prst="rect">
            <a:avLst/>
          </a:prstGeom>
          <a:noFill/>
          <a:ln>
            <a:noFill/>
          </a:ln>
        </p:spPr>
      </p:pic>
      <p:pic>
        <p:nvPicPr>
          <p:cNvPr id="43" name="Picture 4" descr="Flag of France"/>
          <p:cNvPicPr>
            <a:picLocks noChangeAspect="1" noChangeArrowheads="1"/>
          </p:cNvPicPr>
          <p:nvPr/>
        </p:nvPicPr>
        <p:blipFill>
          <a:blip r:embed="rId5" cstate="print"/>
          <a:srcRect/>
          <a:stretch>
            <a:fillRect/>
          </a:stretch>
        </p:blipFill>
        <p:spPr bwMode="gray">
          <a:xfrm>
            <a:off x="3707702" y="4760325"/>
            <a:ext cx="282667" cy="189280"/>
          </a:xfrm>
          <a:prstGeom prst="rect">
            <a:avLst/>
          </a:prstGeom>
          <a:noFill/>
          <a:ln>
            <a:noFill/>
          </a:ln>
        </p:spPr>
      </p:pic>
      <p:pic>
        <p:nvPicPr>
          <p:cNvPr id="47" name="Picture 2" descr="Flag of Netherlands"/>
          <p:cNvPicPr>
            <a:picLocks noChangeAspect="1" noChangeArrowheads="1"/>
          </p:cNvPicPr>
          <p:nvPr/>
        </p:nvPicPr>
        <p:blipFill>
          <a:blip r:embed="rId6" cstate="print"/>
          <a:srcRect/>
          <a:stretch>
            <a:fillRect/>
          </a:stretch>
        </p:blipFill>
        <p:spPr bwMode="gray">
          <a:xfrm>
            <a:off x="3979118" y="4415282"/>
            <a:ext cx="283921" cy="189280"/>
          </a:xfrm>
          <a:prstGeom prst="rect">
            <a:avLst/>
          </a:prstGeom>
          <a:noFill/>
          <a:ln>
            <a:noFill/>
          </a:ln>
        </p:spPr>
      </p:pic>
      <p:pic>
        <p:nvPicPr>
          <p:cNvPr id="48" name="Picture 2" descr="Flag of United Kingdom"/>
          <p:cNvPicPr>
            <a:picLocks noChangeAspect="1" noChangeArrowheads="1"/>
          </p:cNvPicPr>
          <p:nvPr/>
        </p:nvPicPr>
        <p:blipFill>
          <a:blip r:embed="rId7" cstate="print"/>
          <a:srcRect/>
          <a:stretch>
            <a:fillRect/>
          </a:stretch>
        </p:blipFill>
        <p:spPr bwMode="gray">
          <a:xfrm>
            <a:off x="4379367" y="3676750"/>
            <a:ext cx="378561" cy="189280"/>
          </a:xfrm>
          <a:prstGeom prst="rect">
            <a:avLst/>
          </a:prstGeom>
          <a:noFill/>
          <a:ln>
            <a:noFill/>
          </a:ln>
        </p:spPr>
      </p:pic>
      <p:pic>
        <p:nvPicPr>
          <p:cNvPr id="243726" name="Picture 14" descr="http://upload.wikimedia.org/wikipedia/en/thumb/4/4c/Flag_of_Sweden.svg/200px-Flag_of_Sweden.sv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61826" y="4081690"/>
            <a:ext cx="302849" cy="18928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Freeform 27"/>
          <p:cNvSpPr/>
          <p:nvPr/>
        </p:nvSpPr>
        <p:spPr bwMode="gray">
          <a:xfrm>
            <a:off x="1718597" y="2196246"/>
            <a:ext cx="5706806" cy="3577401"/>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23" name="TextBox 22"/>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4148964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005205" y="980758"/>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en-US" sz="1200" dirty="0">
                <a:solidFill>
                  <a:schemeClr val="bg1"/>
                </a:solidFill>
                <a:ea typeface="ＭＳ Ｐゴシック" pitchFamily="50" charset="-128"/>
              </a:rPr>
              <a:t>Text</a:t>
            </a:r>
          </a:p>
        </p:txBody>
      </p:sp>
      <p:sp>
        <p:nvSpPr>
          <p:cNvPr id="7" name="AutoShape 4"/>
          <p:cNvSpPr>
            <a:spLocks noChangeArrowheads="1"/>
          </p:cNvSpPr>
          <p:nvPr/>
        </p:nvSpPr>
        <p:spPr bwMode="auto">
          <a:xfrm rot="5400000">
            <a:off x="1005205" y="2109458"/>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en-US" sz="1200" dirty="0">
                <a:solidFill>
                  <a:schemeClr val="bg1"/>
                </a:solidFill>
                <a:ea typeface="ＭＳ Ｐゴシック" pitchFamily="50" charset="-128"/>
              </a:rPr>
              <a:t>Text</a:t>
            </a:r>
          </a:p>
        </p:txBody>
      </p:sp>
      <p:sp>
        <p:nvSpPr>
          <p:cNvPr id="8" name="AutoShape 5"/>
          <p:cNvSpPr>
            <a:spLocks noChangeArrowheads="1"/>
          </p:cNvSpPr>
          <p:nvPr/>
        </p:nvSpPr>
        <p:spPr bwMode="auto">
          <a:xfrm rot="5400000">
            <a:off x="1005205" y="3238158"/>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en-US" sz="1200" dirty="0">
                <a:solidFill>
                  <a:schemeClr val="bg1"/>
                </a:solidFill>
                <a:ea typeface="ＭＳ Ｐゴシック" pitchFamily="50" charset="-128"/>
              </a:rPr>
              <a:t>Text</a:t>
            </a:r>
          </a:p>
        </p:txBody>
      </p:sp>
      <p:sp>
        <p:nvSpPr>
          <p:cNvPr id="9" name="AutoShape 6"/>
          <p:cNvSpPr>
            <a:spLocks noChangeArrowheads="1"/>
          </p:cNvSpPr>
          <p:nvPr/>
        </p:nvSpPr>
        <p:spPr bwMode="auto">
          <a:xfrm rot="5400000">
            <a:off x="1005205" y="4366857"/>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en-US" sz="1200" dirty="0">
                <a:solidFill>
                  <a:schemeClr val="bg1"/>
                </a:solidFill>
                <a:ea typeface="ＭＳ Ｐゴシック" pitchFamily="50" charset="-128"/>
              </a:rPr>
              <a:t>Text</a:t>
            </a:r>
          </a:p>
        </p:txBody>
      </p:sp>
      <p:sp>
        <p:nvSpPr>
          <p:cNvPr id="10" name="Text Placeholder 5"/>
          <p:cNvSpPr txBox="1">
            <a:spLocks/>
          </p:cNvSpPr>
          <p:nvPr/>
        </p:nvSpPr>
        <p:spPr>
          <a:xfrm>
            <a:off x="2926715" y="1620838"/>
            <a:ext cx="5852160" cy="38472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bullet dummy text it is not here to be read</a:t>
            </a:r>
          </a:p>
          <a:p>
            <a:pPr marL="254000" lvl="2" indent="-114300">
              <a:spcBef>
                <a:spcPts val="600"/>
              </a:spcBef>
              <a:buSzPct val="100000"/>
              <a:buFont typeface="Arial"/>
              <a:buChar char="−"/>
            </a:pPr>
            <a:r>
              <a:rPr lang="en-GB" sz="1000" dirty="0">
                <a:solidFill>
                  <a:schemeClr val="tx1"/>
                </a:solidFill>
              </a:rPr>
              <a:t>This is second level dummy text it is not here to be read</a:t>
            </a:r>
            <a:endParaRPr lang="en-US" sz="1000" dirty="0">
              <a:solidFill>
                <a:schemeClr val="tx1"/>
              </a:solidFill>
            </a:endParaRPr>
          </a:p>
        </p:txBody>
      </p:sp>
      <p:sp>
        <p:nvSpPr>
          <p:cNvPr id="11" name="Text Placeholder 5"/>
          <p:cNvSpPr txBox="1">
            <a:spLocks/>
          </p:cNvSpPr>
          <p:nvPr/>
        </p:nvSpPr>
        <p:spPr>
          <a:xfrm>
            <a:off x="2926715" y="2749538"/>
            <a:ext cx="5852160" cy="38472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bullet dummy text it is not here to be read</a:t>
            </a:r>
          </a:p>
          <a:p>
            <a:pPr marL="254000" lvl="2" indent="-114300">
              <a:spcBef>
                <a:spcPts val="600"/>
              </a:spcBef>
              <a:buSzPct val="100000"/>
              <a:buFont typeface="Arial"/>
              <a:buChar char="−"/>
            </a:pPr>
            <a:r>
              <a:rPr lang="en-GB" sz="1000" dirty="0">
                <a:solidFill>
                  <a:schemeClr val="tx1"/>
                </a:solidFill>
              </a:rPr>
              <a:t>This is second level dummy text it is not here to be read</a:t>
            </a:r>
            <a:endParaRPr lang="en-US" sz="1000" dirty="0">
              <a:solidFill>
                <a:schemeClr val="tx1"/>
              </a:solidFill>
            </a:endParaRPr>
          </a:p>
        </p:txBody>
      </p:sp>
      <p:sp>
        <p:nvSpPr>
          <p:cNvPr id="12" name="Text Placeholder 5"/>
          <p:cNvSpPr txBox="1">
            <a:spLocks/>
          </p:cNvSpPr>
          <p:nvPr/>
        </p:nvSpPr>
        <p:spPr>
          <a:xfrm>
            <a:off x="2926715" y="3878238"/>
            <a:ext cx="5852160" cy="38472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bullet dummy text it is not here to be read</a:t>
            </a:r>
          </a:p>
          <a:p>
            <a:pPr marL="254000" lvl="2" indent="-114300">
              <a:spcBef>
                <a:spcPts val="600"/>
              </a:spcBef>
              <a:buSzPct val="100000"/>
              <a:buFont typeface="Arial"/>
              <a:buChar char="−"/>
            </a:pPr>
            <a:r>
              <a:rPr lang="en-GB" sz="1000" dirty="0">
                <a:solidFill>
                  <a:schemeClr val="tx1"/>
                </a:solidFill>
              </a:rPr>
              <a:t>This is second level dummy text it is not here to be read</a:t>
            </a:r>
            <a:endParaRPr lang="en-US" sz="1000" dirty="0">
              <a:solidFill>
                <a:schemeClr val="tx1"/>
              </a:solidFill>
            </a:endParaRPr>
          </a:p>
        </p:txBody>
      </p:sp>
      <p:sp>
        <p:nvSpPr>
          <p:cNvPr id="13" name="Text Placeholder 5"/>
          <p:cNvSpPr txBox="1">
            <a:spLocks/>
          </p:cNvSpPr>
          <p:nvPr/>
        </p:nvSpPr>
        <p:spPr>
          <a:xfrm>
            <a:off x="2926715" y="5006937"/>
            <a:ext cx="5852160" cy="38472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bullet dummy text it is not here to be read</a:t>
            </a:r>
          </a:p>
          <a:p>
            <a:pPr marL="254000" lvl="2" indent="-114300">
              <a:spcBef>
                <a:spcPts val="600"/>
              </a:spcBef>
              <a:buSzPct val="100000"/>
              <a:buFont typeface="Arial"/>
              <a:buChar char="−"/>
            </a:pPr>
            <a:r>
              <a:rPr lang="en-GB" sz="1000" dirty="0">
                <a:solidFill>
                  <a:schemeClr val="tx1"/>
                </a:solidFill>
              </a:rPr>
              <a:t>This is second level dummy text it is not here to be read</a:t>
            </a:r>
            <a:endParaRPr lang="en-US" sz="1000"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sp>
        <p:nvSpPr>
          <p:cNvPr id="16" name="Freeform 15"/>
          <p:cNvSpPr/>
          <p:nvPr/>
        </p:nvSpPr>
        <p:spPr bwMode="gray">
          <a:xfrm>
            <a:off x="1415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dirty="0"/>
          </a:p>
        </p:txBody>
      </p:sp>
      <p:grpSp>
        <p:nvGrpSpPr>
          <p:cNvPr id="837635" name="Group 3"/>
          <p:cNvGrpSpPr>
            <a:grpSpLocks noChangeAspect="1"/>
          </p:cNvGrpSpPr>
          <p:nvPr/>
        </p:nvGrpSpPr>
        <p:grpSpPr bwMode="auto">
          <a:xfrm>
            <a:off x="1548384" y="2580001"/>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grpSp>
      <p:sp>
        <p:nvSpPr>
          <p:cNvPr id="837637" name="Text Box 9"/>
          <p:cNvSpPr txBox="1">
            <a:spLocks noChangeArrowheads="1"/>
          </p:cNvSpPr>
          <p:nvPr/>
        </p:nvSpPr>
        <p:spPr bwMode="auto">
          <a:xfrm>
            <a:off x="322273" y="3970830"/>
            <a:ext cx="1239827" cy="307777"/>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Number of occurrences</a:t>
            </a:r>
          </a:p>
        </p:txBody>
      </p:sp>
      <p:sp>
        <p:nvSpPr>
          <p:cNvPr id="837638" name="Text Box 10"/>
          <p:cNvSpPr txBox="1">
            <a:spLocks noChangeArrowheads="1"/>
          </p:cNvSpPr>
          <p:nvPr/>
        </p:nvSpPr>
        <p:spPr bwMode="auto">
          <a:xfrm>
            <a:off x="4331431" y="6084197"/>
            <a:ext cx="485711"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Unit</a:t>
            </a:r>
          </a:p>
        </p:txBody>
      </p:sp>
      <p:sp>
        <p:nvSpPr>
          <p:cNvPr id="12" name="TextBox 11"/>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sp>
        <p:nvSpPr>
          <p:cNvPr id="24" name="Freeform 23"/>
          <p:cNvSpPr/>
          <p:nvPr/>
        </p:nvSpPr>
        <p:spPr bwMode="gray">
          <a:xfrm>
            <a:off x="1940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838661" name="Text Box 5"/>
          <p:cNvSpPr txBox="1">
            <a:spLocks noChangeArrowheads="1"/>
          </p:cNvSpPr>
          <p:nvPr/>
        </p:nvSpPr>
        <p:spPr bwMode="auto">
          <a:xfrm>
            <a:off x="1143261" y="3877054"/>
            <a:ext cx="749647"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ost/unit</a:t>
            </a:r>
          </a:p>
        </p:txBody>
      </p:sp>
      <p:sp>
        <p:nvSpPr>
          <p:cNvPr id="838662" name="Text Box 6"/>
          <p:cNvSpPr txBox="1">
            <a:spLocks noChangeArrowheads="1"/>
          </p:cNvSpPr>
          <p:nvPr/>
        </p:nvSpPr>
        <p:spPr bwMode="auto">
          <a:xfrm>
            <a:off x="3830276" y="5889056"/>
            <a:ext cx="1538249"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umulative volume</a:t>
            </a:r>
          </a:p>
        </p:txBody>
      </p:sp>
      <p:sp>
        <p:nvSpPr>
          <p:cNvPr id="838663" name="Arc 7"/>
          <p:cNvSpPr>
            <a:spLocks/>
          </p:cNvSpPr>
          <p:nvPr/>
        </p:nvSpPr>
        <p:spPr bwMode="auto">
          <a:xfrm rot="10800000">
            <a:off x="2250278" y="2261970"/>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36000" tIns="36000" rIns="36000" bIns="36000" anchor="ctr"/>
          <a:lstStyle/>
          <a:p>
            <a:pPr algn="ctr"/>
            <a:endParaRPr lang="en-US" dirty="0"/>
          </a:p>
        </p:txBody>
      </p:sp>
      <p:sp>
        <p:nvSpPr>
          <p:cNvPr id="838664" name="Oval 8"/>
          <p:cNvSpPr>
            <a:spLocks noChangeArrowheads="1"/>
          </p:cNvSpPr>
          <p:nvPr/>
        </p:nvSpPr>
        <p:spPr bwMode="auto">
          <a:xfrm>
            <a:off x="2653156" y="3573817"/>
            <a:ext cx="145650"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65" name="Oval 9"/>
          <p:cNvSpPr>
            <a:spLocks noChangeArrowheads="1"/>
          </p:cNvSpPr>
          <p:nvPr/>
        </p:nvSpPr>
        <p:spPr bwMode="auto">
          <a:xfrm>
            <a:off x="2214953" y="2700323"/>
            <a:ext cx="145650"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11" name="Arc 10"/>
          <p:cNvSpPr>
            <a:spLocks/>
          </p:cNvSpPr>
          <p:nvPr/>
        </p:nvSpPr>
        <p:spPr bwMode="auto">
          <a:xfrm>
            <a:off x="2483104" y="2772579"/>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2282392" y="2376445"/>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8" name="Text Box 12"/>
          <p:cNvSpPr txBox="1">
            <a:spLocks noChangeArrowheads="1"/>
          </p:cNvSpPr>
          <p:nvPr/>
        </p:nvSpPr>
        <p:spPr bwMode="auto">
          <a:xfrm>
            <a:off x="2208530" y="3762154"/>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9" name="Oval 13"/>
          <p:cNvSpPr>
            <a:spLocks noChangeArrowheads="1"/>
          </p:cNvSpPr>
          <p:nvPr/>
        </p:nvSpPr>
        <p:spPr bwMode="auto">
          <a:xfrm>
            <a:off x="6181002" y="5259789"/>
            <a:ext cx="145650"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0" name="Oval 14"/>
          <p:cNvSpPr>
            <a:spLocks noChangeArrowheads="1"/>
          </p:cNvSpPr>
          <p:nvPr/>
        </p:nvSpPr>
        <p:spPr bwMode="auto">
          <a:xfrm>
            <a:off x="6853786" y="5310050"/>
            <a:ext cx="145650"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1" name="Text Box 15"/>
          <p:cNvSpPr txBox="1">
            <a:spLocks noChangeArrowheads="1"/>
          </p:cNvSpPr>
          <p:nvPr/>
        </p:nvSpPr>
        <p:spPr bwMode="auto">
          <a:xfrm>
            <a:off x="5806560" y="5435281"/>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72" name="Text Box 16"/>
          <p:cNvSpPr txBox="1">
            <a:spLocks noChangeArrowheads="1"/>
          </p:cNvSpPr>
          <p:nvPr/>
        </p:nvSpPr>
        <p:spPr bwMode="auto">
          <a:xfrm>
            <a:off x="6770776" y="5507536"/>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18" name="Arc 17"/>
          <p:cNvSpPr>
            <a:spLocks/>
          </p:cNvSpPr>
          <p:nvPr/>
        </p:nvSpPr>
        <p:spPr bwMode="auto">
          <a:xfrm>
            <a:off x="6352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20" name="TextBox 19"/>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2181962169"/>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96000" y="651600"/>
            <a:ext cx="8352000" cy="757255"/>
          </a:xfrm>
        </p:spPr>
        <p:txBody>
          <a:bodyPr/>
          <a:lstStyle/>
          <a:p>
            <a:r>
              <a:rPr lang="en-US"/>
              <a:t>Downward and upward slopes</a:t>
            </a:r>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19" name="Rectangle 18"/>
          <p:cNvSpPr>
            <a:spLocks noChangeArrowheads="1"/>
          </p:cNvSpPr>
          <p:nvPr/>
        </p:nvSpPr>
        <p:spPr bwMode="auto">
          <a:xfrm>
            <a:off x="5887617" y="0"/>
            <a:ext cx="3256384" cy="628650"/>
          </a:xfrm>
          <a:prstGeom prst="rect">
            <a:avLst/>
          </a:prstGeom>
          <a:solidFill>
            <a:srgbClr val="FFCD00"/>
          </a:solidFill>
          <a:ln w="6350" algn="ctr">
            <a:noFill/>
            <a:miter lim="800000"/>
            <a:headEnd/>
            <a:tailEnd/>
          </a:ln>
        </p:spPr>
        <p:txBody>
          <a:bodyPr tIns="91440" bIns="91440">
            <a:noAutofit/>
          </a:bodyPr>
          <a:lstStyle/>
          <a:p>
            <a:pPr>
              <a:defRPr/>
            </a:pPr>
            <a:r>
              <a:rPr lang="en-US" sz="1000" b="1" dirty="0">
                <a:solidFill>
                  <a:prstClr val="black"/>
                </a:solidFill>
                <a:ea typeface="ＭＳ Ｐゴシック" pitchFamily="50" charset="-128"/>
              </a:rPr>
              <a:t>Tip! </a:t>
            </a:r>
            <a:r>
              <a:rPr lang="en-US" sz="1000" dirty="0">
                <a:solidFill>
                  <a:prstClr val="black"/>
                </a:solidFill>
                <a:ea typeface="ＭＳ Ｐゴシック" pitchFamily="50" charset="-128"/>
              </a:rPr>
              <a:t>Footer information will need to be updated manually in the master slide when using a black background</a:t>
            </a:r>
          </a:p>
        </p:txBody>
      </p:sp>
      <p:sp>
        <p:nvSpPr>
          <p:cNvPr id="21" name="Freeform 3"/>
          <p:cNvSpPr>
            <a:spLocks/>
          </p:cNvSpPr>
          <p:nvPr/>
        </p:nvSpPr>
        <p:spPr bwMode="auto">
          <a:xfrm>
            <a:off x="471790" y="2125908"/>
            <a:ext cx="389101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23" name="Arc 4"/>
          <p:cNvSpPr>
            <a:spLocks/>
          </p:cNvSpPr>
          <p:nvPr/>
        </p:nvSpPr>
        <p:spPr bwMode="auto">
          <a:xfrm>
            <a:off x="753748" y="2347715"/>
            <a:ext cx="3195520" cy="2969954"/>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24" name="Oval 5"/>
          <p:cNvSpPr>
            <a:spLocks noChangeArrowheads="1"/>
          </p:cNvSpPr>
          <p:nvPr/>
        </p:nvSpPr>
        <p:spPr bwMode="auto">
          <a:xfrm>
            <a:off x="783619" y="3287573"/>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1</a:t>
            </a:r>
          </a:p>
        </p:txBody>
      </p:sp>
      <p:sp>
        <p:nvSpPr>
          <p:cNvPr id="25" name="Oval 6"/>
          <p:cNvSpPr>
            <a:spLocks noChangeArrowheads="1"/>
          </p:cNvSpPr>
          <p:nvPr/>
        </p:nvSpPr>
        <p:spPr bwMode="auto">
          <a:xfrm>
            <a:off x="1560146" y="4421044"/>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2</a:t>
            </a:r>
          </a:p>
        </p:txBody>
      </p:sp>
      <p:sp>
        <p:nvSpPr>
          <p:cNvPr id="26" name="Oval 7"/>
          <p:cNvSpPr>
            <a:spLocks noChangeArrowheads="1"/>
          </p:cNvSpPr>
          <p:nvPr/>
        </p:nvSpPr>
        <p:spPr bwMode="auto">
          <a:xfrm>
            <a:off x="2676698" y="5063907"/>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3</a:t>
            </a:r>
          </a:p>
        </p:txBody>
      </p:sp>
      <p:sp>
        <p:nvSpPr>
          <p:cNvPr id="27" name="Rectangle 8"/>
          <p:cNvSpPr>
            <a:spLocks noChangeArrowheads="1"/>
          </p:cNvSpPr>
          <p:nvPr/>
        </p:nvSpPr>
        <p:spPr bwMode="auto">
          <a:xfrm>
            <a:off x="196247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4774260" y="2125908"/>
            <a:ext cx="389289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29" name="Arc 10"/>
          <p:cNvSpPr>
            <a:spLocks/>
          </p:cNvSpPr>
          <p:nvPr/>
        </p:nvSpPr>
        <p:spPr bwMode="auto">
          <a:xfrm>
            <a:off x="5020504" y="2347715"/>
            <a:ext cx="3195520" cy="2969954"/>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30" name="Oval 11"/>
          <p:cNvSpPr>
            <a:spLocks noChangeArrowheads="1"/>
          </p:cNvSpPr>
          <p:nvPr/>
        </p:nvSpPr>
        <p:spPr bwMode="auto">
          <a:xfrm flipH="1">
            <a:off x="7844399" y="3287573"/>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3</a:t>
            </a:r>
          </a:p>
        </p:txBody>
      </p:sp>
      <p:sp>
        <p:nvSpPr>
          <p:cNvPr id="31" name="Oval 12"/>
          <p:cNvSpPr>
            <a:spLocks noChangeArrowheads="1"/>
          </p:cNvSpPr>
          <p:nvPr/>
        </p:nvSpPr>
        <p:spPr bwMode="auto">
          <a:xfrm flipH="1">
            <a:off x="7296841" y="4189838"/>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2</a:t>
            </a:r>
          </a:p>
        </p:txBody>
      </p:sp>
      <p:sp>
        <p:nvSpPr>
          <p:cNvPr id="32" name="Oval 13"/>
          <p:cNvSpPr>
            <a:spLocks noChangeArrowheads="1"/>
          </p:cNvSpPr>
          <p:nvPr/>
        </p:nvSpPr>
        <p:spPr bwMode="auto">
          <a:xfrm flipH="1">
            <a:off x="6332547" y="4883454"/>
            <a:ext cx="341013" cy="341013"/>
          </a:xfrm>
          <a:prstGeom prst="ellipse">
            <a:avLst/>
          </a:prstGeom>
          <a:solidFill>
            <a:srgbClr val="86BC25"/>
          </a:solidFill>
          <a:ln w="12700" algn="ctr">
            <a:noFill/>
            <a:round/>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i="0" u="none" strike="noStrike" kern="0" cap="none" spc="0" normalizeH="0" baseline="0" noProof="0" dirty="0">
                <a:ln>
                  <a:noFill/>
                </a:ln>
                <a:solidFill>
                  <a:schemeClr val="bg1"/>
                </a:solidFill>
                <a:effectLst/>
                <a:uLnTx/>
                <a:uFillTx/>
                <a:ea typeface="ＭＳ Ｐゴシック" charset="-128"/>
              </a:rPr>
              <a:t>1</a:t>
            </a:r>
          </a:p>
        </p:txBody>
      </p:sp>
      <p:sp>
        <p:nvSpPr>
          <p:cNvPr id="33" name="Rectangle 8"/>
          <p:cNvSpPr>
            <a:spLocks noChangeArrowheads="1"/>
          </p:cNvSpPr>
          <p:nvPr/>
        </p:nvSpPr>
        <p:spPr bwMode="auto">
          <a:xfrm>
            <a:off x="626588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34" name="TextBox 33"/>
          <p:cNvSpPr txBox="1"/>
          <p:nvPr/>
        </p:nvSpPr>
        <p:spPr bwMode="gray">
          <a:xfrm>
            <a:off x="4667250" y="1709928"/>
            <a:ext cx="4114800"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E7E6E6"/>
                </a:solidFill>
                <a:effectLst/>
                <a:uLnTx/>
                <a:uFillTx/>
              </a:rPr>
              <a:t>Chart title goes here</a:t>
            </a:r>
          </a:p>
        </p:txBody>
      </p:sp>
      <p:sp>
        <p:nvSpPr>
          <p:cNvPr id="35" name="TextBox 34"/>
          <p:cNvSpPr txBox="1"/>
          <p:nvPr/>
        </p:nvSpPr>
        <p:spPr bwMode="gray">
          <a:xfrm>
            <a:off x="396000" y="1709928"/>
            <a:ext cx="4114800"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E7E6E6"/>
                </a:solidFill>
                <a:effectLst/>
                <a:uLnTx/>
                <a:uFillTx/>
              </a:rPr>
              <a:t>Chart title goes her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sp>
        <p:nvSpPr>
          <p:cNvPr id="840713" name="Text Placeholder 12"/>
          <p:cNvSpPr>
            <a:spLocks/>
          </p:cNvSpPr>
          <p:nvPr>
            <p:custDataLst>
              <p:tags r:id="rId1"/>
            </p:custDataLst>
          </p:nvPr>
        </p:nvSpPr>
        <p:spPr bwMode="auto">
          <a:xfrm>
            <a:off x="1287384" y="4134447"/>
            <a:ext cx="598820" cy="184666"/>
          </a:xfrm>
          <a:prstGeom prst="rect">
            <a:avLst/>
          </a:prstGeom>
          <a:noFill/>
          <a:ln w="9525">
            <a:noFill/>
            <a:miter lim="800000"/>
            <a:headEnd/>
            <a:tailEnd/>
          </a:ln>
        </p:spPr>
        <p:txBody>
          <a:bodyPr wrap="square" lIns="0" tIns="0" rIns="0" bIns="0" anchor="ctr" anchorCtr="0">
            <a:spAutoFit/>
          </a:bodyPr>
          <a:lstStyle/>
          <a:p>
            <a:pPr algn="r" defTabSz="1019175">
              <a:spcAft>
                <a:spcPts val="300"/>
              </a:spcAft>
            </a:pPr>
            <a:r>
              <a:rPr lang="en-US" sz="1200" dirty="0"/>
              <a:t>Text</a:t>
            </a:r>
          </a:p>
        </p:txBody>
      </p:sp>
      <p:sp>
        <p:nvSpPr>
          <p:cNvPr id="840714" name="Text Placeholder 12"/>
          <p:cNvSpPr>
            <a:spLocks/>
          </p:cNvSpPr>
          <p:nvPr>
            <p:custDataLst>
              <p:tags r:id="rId2"/>
            </p:custDataLst>
          </p:nvPr>
        </p:nvSpPr>
        <p:spPr bwMode="auto">
          <a:xfrm>
            <a:off x="7260702" y="4134447"/>
            <a:ext cx="595914" cy="184666"/>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200" dirty="0"/>
              <a:t>Text</a:t>
            </a:r>
          </a:p>
        </p:txBody>
      </p:sp>
      <p:sp>
        <p:nvSpPr>
          <p:cNvPr id="840707" name="Line 3"/>
          <p:cNvSpPr>
            <a:spLocks noChangeShapeType="1"/>
          </p:cNvSpPr>
          <p:nvPr/>
        </p:nvSpPr>
        <p:spPr bwMode="auto">
          <a:xfrm flipH="1">
            <a:off x="4571206" y="2242406"/>
            <a:ext cx="1588" cy="3965575"/>
          </a:xfrm>
          <a:prstGeom prst="line">
            <a:avLst/>
          </a:prstGeom>
          <a:noFill/>
          <a:ln w="57150">
            <a:solidFill>
              <a:schemeClr val="accent6">
                <a:lumMod val="40000"/>
                <a:lumOff val="60000"/>
              </a:schemeClr>
            </a:solidFill>
            <a:round/>
            <a:headEnd type="triangle" w="med" len="med"/>
            <a:tailEnd type="triangle" w="med" len="med"/>
          </a:ln>
        </p:spPr>
        <p:txBody>
          <a:bodyPr wrap="none" lIns="36000" tIns="36000" rIns="36000" anchor="ctr"/>
          <a:lstStyle/>
          <a:p>
            <a:endParaRPr lang="en-US" dirty="0"/>
          </a:p>
        </p:txBody>
      </p:sp>
      <p:sp>
        <p:nvSpPr>
          <p:cNvPr id="840708" name="Line 4"/>
          <p:cNvSpPr>
            <a:spLocks noChangeShapeType="1"/>
          </p:cNvSpPr>
          <p:nvPr/>
        </p:nvSpPr>
        <p:spPr bwMode="auto">
          <a:xfrm>
            <a:off x="1997869" y="4225193"/>
            <a:ext cx="5148262" cy="3175"/>
          </a:xfrm>
          <a:prstGeom prst="line">
            <a:avLst/>
          </a:prstGeom>
          <a:noFill/>
          <a:ln w="57150">
            <a:solidFill>
              <a:schemeClr val="accent6">
                <a:lumMod val="40000"/>
                <a:lumOff val="60000"/>
              </a:schemeClr>
            </a:solidFill>
            <a:round/>
            <a:headEnd type="triangle" w="med" len="med"/>
            <a:tailEnd type="triangle" w="med" len="med"/>
          </a:ln>
        </p:spPr>
        <p:txBody>
          <a:bodyPr wrap="none" lIns="36000" tIns="36000" rIns="36000" anchor="ctr"/>
          <a:lstStyle/>
          <a:p>
            <a:endParaRPr lang="en-US" dirty="0"/>
          </a:p>
        </p:txBody>
      </p:sp>
      <p:sp>
        <p:nvSpPr>
          <p:cNvPr id="7" name="Rectangle 6"/>
          <p:cNvSpPr>
            <a:spLocks noChangeArrowheads="1"/>
          </p:cNvSpPr>
          <p:nvPr/>
        </p:nvSpPr>
        <p:spPr bwMode="auto">
          <a:xfrm>
            <a:off x="2142331" y="2490056"/>
            <a:ext cx="2359025" cy="1636712"/>
          </a:xfrm>
          <a:prstGeom prst="rect">
            <a:avLst/>
          </a:prstGeom>
          <a:solidFill>
            <a:schemeClr val="accent5"/>
          </a:solidFill>
          <a:ln w="12700">
            <a:noFill/>
            <a:miter lim="800000"/>
            <a:headEnd/>
            <a:tailEnd/>
          </a:ln>
        </p:spPr>
        <p:txBody>
          <a:bodyPr lIns="36000" tIns="36000" rIns="36000"/>
          <a:lstStyle/>
          <a:p>
            <a:pPr algn="ctr">
              <a:defRPr/>
            </a:pPr>
            <a:endParaRPr lang="en-US" dirty="0">
              <a:ea typeface="ＭＳ Ｐゴシック" pitchFamily="50" charset="-128"/>
            </a:endParaRPr>
          </a:p>
        </p:txBody>
      </p:sp>
      <p:sp>
        <p:nvSpPr>
          <p:cNvPr id="8" name="Rectangle 7"/>
          <p:cNvSpPr>
            <a:spLocks noChangeArrowheads="1"/>
          </p:cNvSpPr>
          <p:nvPr/>
        </p:nvSpPr>
        <p:spPr bwMode="auto">
          <a:xfrm>
            <a:off x="4642644" y="2490056"/>
            <a:ext cx="2360612" cy="1636712"/>
          </a:xfrm>
          <a:prstGeom prst="rect">
            <a:avLst/>
          </a:prstGeom>
          <a:solidFill>
            <a:schemeClr val="accent5"/>
          </a:solidFill>
          <a:ln w="12700">
            <a:noFill/>
            <a:miter lim="800000"/>
            <a:headEnd/>
            <a:tailEnd/>
          </a:ln>
        </p:spPr>
        <p:txBody>
          <a:bodyPr lIns="36000" tIns="36000" rIns="36000"/>
          <a:lstStyle/>
          <a:p>
            <a:pPr algn="ctr">
              <a:defRPr/>
            </a:pPr>
            <a:endParaRPr lang="en-US" dirty="0">
              <a:ea typeface="ＭＳ Ｐゴシック" pitchFamily="50" charset="-128"/>
            </a:endParaRPr>
          </a:p>
        </p:txBody>
      </p:sp>
      <p:sp>
        <p:nvSpPr>
          <p:cNvPr id="9" name="Rectangle 8"/>
          <p:cNvSpPr>
            <a:spLocks noChangeArrowheads="1"/>
          </p:cNvSpPr>
          <p:nvPr/>
        </p:nvSpPr>
        <p:spPr bwMode="auto">
          <a:xfrm>
            <a:off x="4642644" y="4326793"/>
            <a:ext cx="2360612" cy="1633538"/>
          </a:xfrm>
          <a:prstGeom prst="rect">
            <a:avLst/>
          </a:prstGeom>
          <a:solidFill>
            <a:schemeClr val="accent5"/>
          </a:solidFill>
          <a:ln w="12700">
            <a:noFill/>
            <a:miter lim="800000"/>
            <a:headEnd/>
            <a:tailEnd/>
          </a:ln>
        </p:spPr>
        <p:txBody>
          <a:bodyPr lIns="36000" tIns="36000" rIns="36000"/>
          <a:lstStyle/>
          <a:p>
            <a:pPr algn="ctr">
              <a:defRPr/>
            </a:pPr>
            <a:endParaRPr lang="en-US" dirty="0">
              <a:ea typeface="ＭＳ Ｐゴシック" pitchFamily="50" charset="-128"/>
            </a:endParaRPr>
          </a:p>
        </p:txBody>
      </p:sp>
      <p:sp>
        <p:nvSpPr>
          <p:cNvPr id="10" name="Rectangle 9"/>
          <p:cNvSpPr>
            <a:spLocks noChangeArrowheads="1"/>
          </p:cNvSpPr>
          <p:nvPr/>
        </p:nvSpPr>
        <p:spPr bwMode="auto">
          <a:xfrm>
            <a:off x="2142331" y="4326793"/>
            <a:ext cx="2359025" cy="1633538"/>
          </a:xfrm>
          <a:prstGeom prst="rect">
            <a:avLst/>
          </a:prstGeom>
          <a:solidFill>
            <a:schemeClr val="accent5"/>
          </a:solidFill>
          <a:ln w="12700">
            <a:noFill/>
            <a:miter lim="800000"/>
            <a:headEnd/>
            <a:tailEnd/>
          </a:ln>
        </p:spPr>
        <p:txBody>
          <a:bodyPr lIns="36000" tIns="36000" rIns="36000"/>
          <a:lstStyle/>
          <a:p>
            <a:pPr algn="ctr">
              <a:defRPr/>
            </a:pPr>
            <a:endParaRPr lang="en-US" dirty="0">
              <a:ea typeface="ＭＳ Ｐゴシック" pitchFamily="50" charset="-128"/>
            </a:endParaRPr>
          </a:p>
        </p:txBody>
      </p:sp>
      <p:sp>
        <p:nvSpPr>
          <p:cNvPr id="840715" name="Text Placeholder 12"/>
          <p:cNvSpPr>
            <a:spLocks/>
          </p:cNvSpPr>
          <p:nvPr>
            <p:custDataLst>
              <p:tags r:id="rId3"/>
            </p:custDataLst>
          </p:nvPr>
        </p:nvSpPr>
        <p:spPr bwMode="auto">
          <a:xfrm>
            <a:off x="4272590" y="195221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
        <p:nvSpPr>
          <p:cNvPr id="840716" name="Text Placeholder 12"/>
          <p:cNvSpPr>
            <a:spLocks/>
          </p:cNvSpPr>
          <p:nvPr>
            <p:custDataLst>
              <p:tags r:id="rId4"/>
            </p:custDataLst>
          </p:nvPr>
        </p:nvSpPr>
        <p:spPr bwMode="auto">
          <a:xfrm>
            <a:off x="4272590" y="634641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
        <p:nvSpPr>
          <p:cNvPr id="16" name="TextBox 15"/>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96000" y="651600"/>
            <a:ext cx="8352000" cy="757255"/>
          </a:xfrm>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18" name="Freeform 17"/>
          <p:cNvSpPr>
            <a:spLocks/>
          </p:cNvSpPr>
          <p:nvPr/>
        </p:nvSpPr>
        <p:spPr bwMode="auto">
          <a:xfrm>
            <a:off x="5738813"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6"/>
          </a:solidFill>
          <a:ln w="9525" cap="rnd" cmpd="sng">
            <a:solidFill>
              <a:schemeClr val="bg1"/>
            </a:solidFill>
            <a:prstDash val="solid"/>
            <a:round/>
            <a:headEnd type="none" w="med" len="med"/>
            <a:tailEnd type="none" w="med" len="med"/>
          </a:ln>
          <a:effectLst/>
        </p:spPr>
        <p:txBody>
          <a:bodyPr/>
          <a:lstStyle/>
          <a:p>
            <a:pPr>
              <a:defRPr/>
            </a:pPr>
            <a:endParaRPr lang="en-US" dirty="0"/>
          </a:p>
        </p:txBody>
      </p:sp>
      <p:sp>
        <p:nvSpPr>
          <p:cNvPr id="17" name="Rectangle 16"/>
          <p:cNvSpPr>
            <a:spLocks noChangeArrowheads="1"/>
          </p:cNvSpPr>
          <p:nvPr/>
        </p:nvSpPr>
        <p:spPr bwMode="auto">
          <a:xfrm>
            <a:off x="6618287" y="4551362"/>
            <a:ext cx="788988" cy="112713"/>
          </a:xfrm>
          <a:prstGeom prst="rect">
            <a:avLst/>
          </a:prstGeom>
          <a:solidFill>
            <a:schemeClr val="accent6"/>
          </a:solidFill>
          <a:ln w="9525">
            <a:solidFill>
              <a:schemeClr val="bg1"/>
            </a:solidFill>
            <a:miter lim="800000"/>
            <a:headEnd/>
            <a:tailEnd/>
          </a:ln>
        </p:spPr>
        <p:txBody>
          <a:bodyPr wrap="none" anchor="ctr"/>
          <a:lstStyle/>
          <a:p>
            <a:pPr algn="ctr">
              <a:defRPr/>
            </a:pPr>
            <a:endParaRPr lang="en-US" dirty="0"/>
          </a:p>
        </p:txBody>
      </p:sp>
      <p:sp>
        <p:nvSpPr>
          <p:cNvPr id="5" name="AutoShape 4"/>
          <p:cNvSpPr>
            <a:spLocks noChangeAspect="1" noChangeArrowheads="1"/>
          </p:cNvSpPr>
          <p:nvPr/>
        </p:nvSpPr>
        <p:spPr bwMode="auto">
          <a:xfrm rot="10800000" flipH="1">
            <a:off x="384175" y="2679700"/>
            <a:ext cx="1989138" cy="2332037"/>
          </a:xfrm>
          <a:prstGeom prst="triangle">
            <a:avLst>
              <a:gd name="adj" fmla="val 49995"/>
            </a:avLst>
          </a:prstGeom>
          <a:solidFill>
            <a:schemeClr val="bg1"/>
          </a:solidFill>
          <a:ln w="19050">
            <a:solidFill>
              <a:schemeClr val="accent6"/>
            </a:solidFill>
            <a:miter lim="800000"/>
            <a:headEnd/>
            <a:tailEnd/>
          </a:ln>
        </p:spPr>
        <p:txBody>
          <a:bodyPr wrap="none" anchor="ctr"/>
          <a:lstStyle/>
          <a:p>
            <a:pPr algn="ctr">
              <a:defRPr/>
            </a:pPr>
            <a:endParaRPr lang="en-US" dirty="0"/>
          </a:p>
        </p:txBody>
      </p:sp>
      <p:sp>
        <p:nvSpPr>
          <p:cNvPr id="6" name="Line 5"/>
          <p:cNvSpPr>
            <a:spLocks noChangeAspect="1" noChangeShapeType="1"/>
          </p:cNvSpPr>
          <p:nvPr/>
        </p:nvSpPr>
        <p:spPr bwMode="auto">
          <a:xfrm>
            <a:off x="463458" y="2865378"/>
            <a:ext cx="1830571" cy="0"/>
          </a:xfrm>
          <a:prstGeom prst="line">
            <a:avLst/>
          </a:prstGeom>
          <a:noFill/>
          <a:ln w="19050">
            <a:solidFill>
              <a:schemeClr val="accent6"/>
            </a:solidFill>
            <a:prstDash val="sysDash"/>
            <a:round/>
            <a:headEnd type="none" w="sm" len="sm"/>
            <a:tailEnd type="none" w="sm" len="sm"/>
          </a:ln>
        </p:spPr>
        <p:txBody>
          <a:bodyPr/>
          <a:lstStyle/>
          <a:p>
            <a:pPr>
              <a:defRPr/>
            </a:pPr>
            <a:endParaRPr lang="en-US" dirty="0"/>
          </a:p>
        </p:txBody>
      </p:sp>
      <p:sp>
        <p:nvSpPr>
          <p:cNvPr id="7" name="Line 6"/>
          <p:cNvSpPr>
            <a:spLocks noChangeAspect="1" noChangeShapeType="1"/>
          </p:cNvSpPr>
          <p:nvPr/>
        </p:nvSpPr>
        <p:spPr bwMode="auto">
          <a:xfrm>
            <a:off x="1259818" y="4726005"/>
            <a:ext cx="237851" cy="0"/>
          </a:xfrm>
          <a:prstGeom prst="line">
            <a:avLst/>
          </a:prstGeom>
          <a:noFill/>
          <a:ln w="19050">
            <a:solidFill>
              <a:schemeClr val="accent6"/>
            </a:solidFill>
            <a:prstDash val="sysDash"/>
            <a:round/>
            <a:headEnd type="none" w="sm" len="sm"/>
            <a:tailEnd type="none" w="sm" len="sm"/>
          </a:ln>
        </p:spPr>
        <p:txBody>
          <a:bodyPr/>
          <a:lstStyle/>
          <a:p>
            <a:pPr>
              <a:defRPr/>
            </a:pPr>
            <a:endParaRPr lang="en-US" dirty="0"/>
          </a:p>
        </p:txBody>
      </p:sp>
      <p:sp>
        <p:nvSpPr>
          <p:cNvPr id="8" name="Line 7"/>
          <p:cNvSpPr>
            <a:spLocks noChangeAspect="1" noChangeShapeType="1"/>
          </p:cNvSpPr>
          <p:nvPr/>
        </p:nvSpPr>
        <p:spPr bwMode="auto">
          <a:xfrm>
            <a:off x="967349" y="4046789"/>
            <a:ext cx="822788" cy="0"/>
          </a:xfrm>
          <a:prstGeom prst="line">
            <a:avLst/>
          </a:prstGeom>
          <a:noFill/>
          <a:ln w="19050">
            <a:solidFill>
              <a:schemeClr val="accent6"/>
            </a:solidFill>
            <a:prstDash val="sysDash"/>
            <a:round/>
            <a:headEnd type="none" w="sm" len="sm"/>
            <a:tailEnd type="none" w="sm" len="sm"/>
          </a:ln>
        </p:spPr>
        <p:txBody>
          <a:bodyPr/>
          <a:lstStyle/>
          <a:p>
            <a:pPr>
              <a:defRPr/>
            </a:pPr>
            <a:endParaRPr lang="en-US" dirty="0"/>
          </a:p>
        </p:txBody>
      </p:sp>
      <p:sp>
        <p:nvSpPr>
          <p:cNvPr id="9" name="Line 8"/>
          <p:cNvSpPr>
            <a:spLocks noChangeAspect="1" noChangeShapeType="1"/>
          </p:cNvSpPr>
          <p:nvPr/>
        </p:nvSpPr>
        <p:spPr bwMode="auto">
          <a:xfrm>
            <a:off x="714523" y="3453197"/>
            <a:ext cx="1328441" cy="0"/>
          </a:xfrm>
          <a:prstGeom prst="line">
            <a:avLst/>
          </a:prstGeom>
          <a:noFill/>
          <a:ln w="19050">
            <a:solidFill>
              <a:schemeClr val="bg2"/>
            </a:solidFill>
            <a:prstDash val="sysDash"/>
            <a:round/>
            <a:headEnd type="none" w="sm" len="sm"/>
            <a:tailEnd type="none" w="sm" len="sm"/>
          </a:ln>
        </p:spPr>
        <p:txBody>
          <a:bodyPr/>
          <a:lstStyle/>
          <a:p>
            <a:pPr>
              <a:defRPr/>
            </a:pPr>
            <a:endParaRPr lang="en-US" dirty="0"/>
          </a:p>
        </p:txBody>
      </p:sp>
      <p:sp>
        <p:nvSpPr>
          <p:cNvPr id="11" name="Freeform 10"/>
          <p:cNvSpPr>
            <a:spLocks/>
          </p:cNvSpPr>
          <p:nvPr/>
        </p:nvSpPr>
        <p:spPr bwMode="auto">
          <a:xfrm>
            <a:off x="2568575" y="2679700"/>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6"/>
          </a:solidFill>
          <a:ln w="9525" cap="rnd">
            <a:solidFill>
              <a:schemeClr val="bg1"/>
            </a:solidFill>
            <a:round/>
            <a:headEnd/>
            <a:tailEnd/>
          </a:ln>
          <a:effectLst/>
        </p:spPr>
        <p:txBody>
          <a:bodyPr/>
          <a:lstStyle/>
          <a:p>
            <a:pPr>
              <a:defRPr/>
            </a:pPr>
            <a:endParaRPr lang="en-US" dirty="0"/>
          </a:p>
        </p:txBody>
      </p:sp>
      <p:sp>
        <p:nvSpPr>
          <p:cNvPr id="366617" name="Freeform 13"/>
          <p:cNvSpPr>
            <a:spLocks/>
          </p:cNvSpPr>
          <p:nvPr/>
        </p:nvSpPr>
        <p:spPr bwMode="auto">
          <a:xfrm>
            <a:off x="3198704" y="3016250"/>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dirty="0"/>
          </a:p>
        </p:txBody>
      </p:sp>
      <p:cxnSp>
        <p:nvCxnSpPr>
          <p:cNvPr id="43" name="Straight Connector 42"/>
          <p:cNvCxnSpPr/>
          <p:nvPr/>
        </p:nvCxnSpPr>
        <p:spPr>
          <a:xfrm flipV="1">
            <a:off x="5738813"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6081713"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6419850"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bwMode="gray">
          <a:xfrm>
            <a:off x="2568575" y="1710507"/>
            <a:ext cx="2845627" cy="184666"/>
          </a:xfrm>
          <a:prstGeom prst="rect">
            <a:avLst/>
          </a:prstGeom>
          <a:noFill/>
        </p:spPr>
        <p:txBody>
          <a:bodyPr wrap="square" lIns="0" tIns="0" rIns="0" bIns="0" rtlCol="0">
            <a:spAutoFit/>
          </a:bodyPr>
          <a:lstStyle/>
          <a:p>
            <a:r>
              <a:rPr lang="en-US" sz="1200" dirty="0"/>
              <a:t>Chart title goes here</a:t>
            </a:r>
          </a:p>
        </p:txBody>
      </p:sp>
      <p:sp>
        <p:nvSpPr>
          <p:cNvPr id="36" name="TextBox 35"/>
          <p:cNvSpPr txBox="1"/>
          <p:nvPr/>
        </p:nvSpPr>
        <p:spPr bwMode="gray">
          <a:xfrm>
            <a:off x="5738813" y="1710507"/>
            <a:ext cx="2845627" cy="184666"/>
          </a:xfrm>
          <a:prstGeom prst="rect">
            <a:avLst/>
          </a:prstGeom>
          <a:noFill/>
        </p:spPr>
        <p:txBody>
          <a:bodyPr wrap="square" lIns="0" tIns="0" rIns="0" bIns="0" rtlCol="0">
            <a:spAutoFit/>
          </a:bodyPr>
          <a:lstStyle/>
          <a:p>
            <a:r>
              <a:rPr lang="en-US" sz="1200" dirty="0"/>
              <a:t>Chart title goes here</a:t>
            </a:r>
          </a:p>
        </p:txBody>
      </p:sp>
      <p:sp>
        <p:nvSpPr>
          <p:cNvPr id="366597" name="AutoShape 19"/>
          <p:cNvSpPr>
            <a:spLocks noChangeArrowheads="1"/>
          </p:cNvSpPr>
          <p:nvPr/>
        </p:nvSpPr>
        <p:spPr bwMode="auto">
          <a:xfrm rot="16200000" flipH="1">
            <a:off x="5984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dirty="0"/>
          </a:p>
        </p:txBody>
      </p:sp>
      <p:sp>
        <p:nvSpPr>
          <p:cNvPr id="366598" name="Freeform 23"/>
          <p:cNvSpPr>
            <a:spLocks/>
          </p:cNvSpPr>
          <p:nvPr/>
        </p:nvSpPr>
        <p:spPr bwMode="auto">
          <a:xfrm>
            <a:off x="7700963" y="3079750"/>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sp>
        <p:nvSpPr>
          <p:cNvPr id="366599" name="Freeform 24"/>
          <p:cNvSpPr>
            <a:spLocks/>
          </p:cNvSpPr>
          <p:nvPr/>
        </p:nvSpPr>
        <p:spPr bwMode="auto">
          <a:xfrm>
            <a:off x="7392988" y="3763962"/>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dirty="0"/>
          </a:p>
        </p:txBody>
      </p:sp>
      <p:sp>
        <p:nvSpPr>
          <p:cNvPr id="366600" name="Freeform 25"/>
          <p:cNvSpPr>
            <a:spLocks/>
          </p:cNvSpPr>
          <p:nvPr/>
        </p:nvSpPr>
        <p:spPr bwMode="auto">
          <a:xfrm>
            <a:off x="7953375"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grpSp>
        <p:nvGrpSpPr>
          <p:cNvPr id="366605" name="Group 52"/>
          <p:cNvGrpSpPr>
            <a:grpSpLocks/>
          </p:cNvGrpSpPr>
          <p:nvPr/>
        </p:nvGrpSpPr>
        <p:grpSpPr bwMode="auto">
          <a:xfrm>
            <a:off x="6348413" y="2286000"/>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grpSp>
        <p:nvGrpSpPr>
          <p:cNvPr id="366607" name="Group 53"/>
          <p:cNvGrpSpPr>
            <a:grpSpLocks/>
          </p:cNvGrpSpPr>
          <p:nvPr/>
        </p:nvGrpSpPr>
        <p:grpSpPr bwMode="auto">
          <a:xfrm>
            <a:off x="6594475" y="3025775"/>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sp>
        <p:nvSpPr>
          <p:cNvPr id="366609" name="AutoShape 22"/>
          <p:cNvSpPr>
            <a:spLocks noChangeArrowheads="1"/>
          </p:cNvSpPr>
          <p:nvPr/>
        </p:nvSpPr>
        <p:spPr bwMode="auto">
          <a:xfrm rot="16200000" flipH="1">
            <a:off x="6713538" y="3873500"/>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dirty="0"/>
          </a:p>
        </p:txBody>
      </p:sp>
      <p:sp>
        <p:nvSpPr>
          <p:cNvPr id="31" name="TextBox 30"/>
          <p:cNvSpPr txBox="1"/>
          <p:nvPr/>
        </p:nvSpPr>
        <p:spPr bwMode="gray">
          <a:xfrm>
            <a:off x="396000" y="1710507"/>
            <a:ext cx="2029968"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627063" y="2514600"/>
            <a:ext cx="7493000" cy="2549426"/>
            <a:chOff x="627063" y="2514600"/>
            <a:chExt cx="7493000" cy="2549426"/>
          </a:xfrm>
        </p:grpSpPr>
        <p:sp>
          <p:nvSpPr>
            <p:cNvPr id="842762" name="Rectangle 10"/>
            <p:cNvSpPr>
              <a:spLocks noChangeArrowheads="1"/>
            </p:cNvSpPr>
            <p:nvPr/>
          </p:nvSpPr>
          <p:spPr bwMode="auto">
            <a:xfrm>
              <a:off x="917893" y="4910138"/>
              <a:ext cx="989012" cy="153888"/>
            </a:xfrm>
            <a:prstGeom prst="rect">
              <a:avLst/>
            </a:prstGeom>
            <a:noFill/>
            <a:ln w="9525">
              <a:noFill/>
              <a:miter lim="800000"/>
              <a:headEnd/>
              <a:tailEnd/>
            </a:ln>
          </p:spPr>
          <p:txBody>
            <a:bodyPr lIns="0" tIns="0" rIns="0" bIns="0">
              <a:spAutoFit/>
            </a:bodyPr>
            <a:lstStyle/>
            <a:p>
              <a:r>
                <a:rPr lang="en-US" altLang="ja-JP" sz="1000" dirty="0">
                  <a:solidFill>
                    <a:srgbClr val="53565A"/>
                  </a:solidFill>
                  <a:ea typeface="ＭＳ Ｐゴシック" charset="-128"/>
                </a:rPr>
                <a:t>Low</a:t>
              </a:r>
            </a:p>
          </p:txBody>
        </p:sp>
        <p:sp>
          <p:nvSpPr>
            <p:cNvPr id="842763" name="Rectangle 11"/>
            <p:cNvSpPr>
              <a:spLocks noChangeArrowheads="1"/>
            </p:cNvSpPr>
            <p:nvPr/>
          </p:nvSpPr>
          <p:spPr bwMode="auto">
            <a:xfrm>
              <a:off x="6797040" y="4910138"/>
              <a:ext cx="739775" cy="153888"/>
            </a:xfrm>
            <a:prstGeom prst="rect">
              <a:avLst/>
            </a:prstGeom>
            <a:noFill/>
            <a:ln w="9525">
              <a:noFill/>
              <a:miter lim="800000"/>
              <a:headEnd/>
              <a:tailEnd/>
            </a:ln>
          </p:spPr>
          <p:txBody>
            <a:bodyPr lIns="0" tIns="0" rIns="0" bIns="0">
              <a:spAutoFit/>
            </a:bodyPr>
            <a:lstStyle/>
            <a:p>
              <a:pPr algn="r"/>
              <a:r>
                <a:rPr lang="en-US" altLang="ja-JP" sz="1000" dirty="0">
                  <a:solidFill>
                    <a:srgbClr val="53565A"/>
                  </a:solidFill>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dirty="0">
                <a:solidFill>
                  <a:schemeClr val="bg1"/>
                </a:solidFill>
                <a:ea typeface="ＭＳ Ｐゴシック" pitchFamily="50" charset="-128"/>
              </a:endParaRPr>
            </a:p>
            <a:p>
              <a:pPr algn="ctr">
                <a:defRPr/>
              </a:pPr>
              <a:r>
                <a:rPr lang="en-US" altLang="ja-JP" sz="1200" dirty="0">
                  <a:solidFill>
                    <a:schemeClr val="bg1"/>
                  </a:solidFill>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dirty="0"/>
            </a:p>
          </p:txBody>
        </p:sp>
      </p:grpSp>
      <p:sp>
        <p:nvSpPr>
          <p:cNvPr id="16" name="TextBox 15"/>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14" name="Line 3"/>
          <p:cNvSpPr>
            <a:spLocks noChangeShapeType="1"/>
          </p:cNvSpPr>
          <p:nvPr/>
        </p:nvSpPr>
        <p:spPr bwMode="auto">
          <a:xfrm flipH="1">
            <a:off x="1949450"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1949450"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1949450"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1949450"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2630488" y="4521200"/>
            <a:ext cx="496887" cy="0"/>
          </a:xfrm>
          <a:prstGeom prst="line">
            <a:avLst/>
          </a:prstGeom>
          <a:noFill/>
          <a:ln w="19050">
            <a:solidFill>
              <a:schemeClr val="accent6"/>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2630488" y="3900488"/>
            <a:ext cx="496887" cy="0"/>
          </a:xfrm>
          <a:prstGeom prst="line">
            <a:avLst/>
          </a:prstGeom>
          <a:noFill/>
          <a:ln w="19050">
            <a:solidFill>
              <a:schemeClr val="accent6"/>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2236788" y="2114550"/>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2236788"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2236788" y="2568575"/>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24" name="Line 13"/>
            <p:cNvSpPr>
              <a:spLocks noChangeShapeType="1"/>
            </p:cNvSpPr>
            <p:nvPr/>
          </p:nvSpPr>
          <p:spPr bwMode="auto">
            <a:xfrm>
              <a:off x="1467" y="4305488"/>
              <a:ext cx="159" cy="0"/>
            </a:xfrm>
            <a:prstGeom prst="line">
              <a:avLst/>
            </a:prstGeom>
            <a:noFill/>
            <a:ln w="9525">
              <a:solidFill>
                <a:schemeClr val="accent1">
                  <a:lumMod val="40000"/>
                  <a:lumOff val="60000"/>
                </a:schemeClr>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9525">
              <a:solidFill>
                <a:schemeClr val="accent1">
                  <a:lumMod val="40000"/>
                  <a:lumOff val="60000"/>
                </a:schemeClr>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9525">
              <a:solidFill>
                <a:schemeClr val="accent1">
                  <a:lumMod val="40000"/>
                  <a:lumOff val="60000"/>
                </a:schemeClr>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9525">
              <a:solidFill>
                <a:schemeClr val="accent1">
                  <a:lumMod val="40000"/>
                  <a:lumOff val="60000"/>
                </a:schemeClr>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9525">
              <a:solidFill>
                <a:schemeClr val="accent1">
                  <a:lumMod val="40000"/>
                  <a:lumOff val="60000"/>
                </a:schemeClr>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grpSp>
      <p:sp>
        <p:nvSpPr>
          <p:cNvPr id="843788" name="Rectangle 22"/>
          <p:cNvSpPr>
            <a:spLocks noChangeArrowheads="1"/>
          </p:cNvSpPr>
          <p:nvPr/>
        </p:nvSpPr>
        <p:spPr bwMode="auto">
          <a:xfrm>
            <a:off x="7120240" y="2643505"/>
            <a:ext cx="1795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0</a:t>
            </a:r>
          </a:p>
        </p:txBody>
      </p:sp>
      <p:sp>
        <p:nvSpPr>
          <p:cNvPr id="843789" name="Rectangle 23"/>
          <p:cNvSpPr>
            <a:spLocks noChangeArrowheads="1"/>
          </p:cNvSpPr>
          <p:nvPr/>
        </p:nvSpPr>
        <p:spPr bwMode="auto">
          <a:xfrm>
            <a:off x="7120240" y="2945130"/>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9</a:t>
            </a:r>
          </a:p>
        </p:txBody>
      </p:sp>
      <p:sp>
        <p:nvSpPr>
          <p:cNvPr id="843790" name="Rectangle 24"/>
          <p:cNvSpPr>
            <a:spLocks noChangeArrowheads="1"/>
          </p:cNvSpPr>
          <p:nvPr/>
        </p:nvSpPr>
        <p:spPr bwMode="auto">
          <a:xfrm>
            <a:off x="7120240" y="3264218"/>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8</a:t>
            </a:r>
          </a:p>
        </p:txBody>
      </p:sp>
      <p:sp>
        <p:nvSpPr>
          <p:cNvPr id="843791" name="Rectangle 25"/>
          <p:cNvSpPr>
            <a:spLocks noChangeArrowheads="1"/>
          </p:cNvSpPr>
          <p:nvPr/>
        </p:nvSpPr>
        <p:spPr bwMode="auto">
          <a:xfrm>
            <a:off x="7120240" y="3583305"/>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7</a:t>
            </a:r>
          </a:p>
        </p:txBody>
      </p:sp>
      <p:sp>
        <p:nvSpPr>
          <p:cNvPr id="843792" name="Rectangle 26"/>
          <p:cNvSpPr>
            <a:spLocks noChangeArrowheads="1"/>
          </p:cNvSpPr>
          <p:nvPr/>
        </p:nvSpPr>
        <p:spPr bwMode="auto">
          <a:xfrm>
            <a:off x="7120240" y="3900805"/>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6</a:t>
            </a:r>
          </a:p>
        </p:txBody>
      </p:sp>
      <p:sp>
        <p:nvSpPr>
          <p:cNvPr id="843793" name="Rectangle 27"/>
          <p:cNvSpPr>
            <a:spLocks noChangeArrowheads="1"/>
          </p:cNvSpPr>
          <p:nvPr/>
        </p:nvSpPr>
        <p:spPr bwMode="auto">
          <a:xfrm>
            <a:off x="7120240" y="4219893"/>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5</a:t>
            </a:r>
          </a:p>
        </p:txBody>
      </p:sp>
      <p:sp>
        <p:nvSpPr>
          <p:cNvPr id="843794" name="Rectangle 28"/>
          <p:cNvSpPr>
            <a:spLocks noChangeArrowheads="1"/>
          </p:cNvSpPr>
          <p:nvPr/>
        </p:nvSpPr>
        <p:spPr bwMode="auto">
          <a:xfrm>
            <a:off x="7120240" y="4538980"/>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4</a:t>
            </a:r>
          </a:p>
        </p:txBody>
      </p:sp>
      <p:sp>
        <p:nvSpPr>
          <p:cNvPr id="843795" name="Rectangle 29"/>
          <p:cNvSpPr>
            <a:spLocks noChangeArrowheads="1"/>
          </p:cNvSpPr>
          <p:nvPr/>
        </p:nvSpPr>
        <p:spPr bwMode="auto">
          <a:xfrm>
            <a:off x="7120240" y="4856480"/>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3</a:t>
            </a:r>
          </a:p>
        </p:txBody>
      </p:sp>
      <p:sp>
        <p:nvSpPr>
          <p:cNvPr id="843796" name="Rectangle 30"/>
          <p:cNvSpPr>
            <a:spLocks noChangeArrowheads="1"/>
          </p:cNvSpPr>
          <p:nvPr/>
        </p:nvSpPr>
        <p:spPr bwMode="auto">
          <a:xfrm>
            <a:off x="7120240" y="5175568"/>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2</a:t>
            </a:r>
          </a:p>
        </p:txBody>
      </p:sp>
      <p:sp>
        <p:nvSpPr>
          <p:cNvPr id="843797" name="Rectangle 31"/>
          <p:cNvSpPr>
            <a:spLocks noChangeArrowheads="1"/>
          </p:cNvSpPr>
          <p:nvPr/>
        </p:nvSpPr>
        <p:spPr bwMode="auto">
          <a:xfrm>
            <a:off x="7120240" y="5481955"/>
            <a:ext cx="89768"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a:t>
            </a:r>
          </a:p>
        </p:txBody>
      </p:sp>
      <p:sp>
        <p:nvSpPr>
          <p:cNvPr id="45" name="Oval 34"/>
          <p:cNvSpPr>
            <a:spLocks noChangeArrowheads="1"/>
          </p:cNvSpPr>
          <p:nvPr/>
        </p:nvSpPr>
        <p:spPr bwMode="auto">
          <a:xfrm>
            <a:off x="2133600" y="5789613"/>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2252663" y="5780088"/>
            <a:ext cx="288925" cy="58737"/>
          </a:xfrm>
          <a:prstGeom prst="rect">
            <a:avLst/>
          </a:prstGeom>
          <a:solidFill>
            <a:schemeClr val="accent1"/>
          </a:solidFill>
          <a:ln w="12700" algn="ctr">
            <a:noFill/>
            <a:miter lim="800000"/>
            <a:headEnd/>
            <a:tailEnd/>
          </a:ln>
        </p:spPr>
        <p:txBody>
          <a:bodyPr wrap="none" anchor="ctr"/>
          <a:lstStyle/>
          <a:p>
            <a:pPr algn="ctr"/>
            <a:endParaRPr lang="en-US" sz="1400" dirty="0"/>
          </a:p>
        </p:txBody>
      </p:sp>
      <p:sp>
        <p:nvSpPr>
          <p:cNvPr id="843802" name="Rectangle 36"/>
          <p:cNvSpPr>
            <a:spLocks noChangeArrowheads="1"/>
          </p:cNvSpPr>
          <p:nvPr/>
        </p:nvSpPr>
        <p:spPr bwMode="auto">
          <a:xfrm>
            <a:off x="2349065" y="5957888"/>
            <a:ext cx="89769"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ea typeface="ＭＳ Ｐゴシック" charset="-128"/>
              </a:rPr>
              <a:t>0</a:t>
            </a:r>
          </a:p>
        </p:txBody>
      </p:sp>
      <p:cxnSp>
        <p:nvCxnSpPr>
          <p:cNvPr id="48" name="AutoShape 37"/>
          <p:cNvCxnSpPr>
            <a:cxnSpLocks noChangeShapeType="1"/>
          </p:cNvCxnSpPr>
          <p:nvPr/>
        </p:nvCxnSpPr>
        <p:spPr bwMode="auto">
          <a:xfrm rot="10800000">
            <a:off x="2668588" y="4075113"/>
            <a:ext cx="461962" cy="141287"/>
          </a:xfrm>
          <a:prstGeom prst="bentConnector3">
            <a:avLst>
              <a:gd name="adj1" fmla="val 49796"/>
            </a:avLst>
          </a:prstGeom>
          <a:noFill/>
          <a:ln w="19050">
            <a:solidFill>
              <a:schemeClr val="accent6"/>
            </a:solidFill>
            <a:miter lim="800000"/>
            <a:headEnd/>
            <a:tailEnd type="triangle" w="med" len="med"/>
          </a:ln>
        </p:spPr>
      </p:cxnSp>
      <p:sp>
        <p:nvSpPr>
          <p:cNvPr id="49" name="Oval 38"/>
          <p:cNvSpPr>
            <a:spLocks noChangeArrowheads="1"/>
          </p:cNvSpPr>
          <p:nvPr/>
        </p:nvSpPr>
        <p:spPr bwMode="auto">
          <a:xfrm>
            <a:off x="2133600" y="2055813"/>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2246313" y="2424113"/>
            <a:ext cx="306387" cy="103187"/>
          </a:xfrm>
          <a:prstGeom prst="rect">
            <a:avLst/>
          </a:prstGeom>
          <a:solidFill>
            <a:schemeClr val="bg1"/>
          </a:solidFill>
          <a:ln w="12700">
            <a:noFill/>
            <a:miter lim="800000"/>
            <a:headEnd/>
            <a:tailEnd/>
          </a:ln>
        </p:spPr>
        <p:txBody>
          <a:bodyPr wrap="none" anchor="ctr"/>
          <a:lstStyle/>
          <a:p>
            <a:pPr algn="ctr"/>
            <a:endParaRPr lang="en-US" sz="1400" dirty="0"/>
          </a:p>
        </p:txBody>
      </p:sp>
      <p:sp>
        <p:nvSpPr>
          <p:cNvPr id="843806" name="Rectangle 40"/>
          <p:cNvSpPr>
            <a:spLocks noChangeArrowheads="1"/>
          </p:cNvSpPr>
          <p:nvPr/>
        </p:nvSpPr>
        <p:spPr bwMode="auto">
          <a:xfrm>
            <a:off x="2304976" y="2195513"/>
            <a:ext cx="179537"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sp>
        <p:nvSpPr>
          <p:cNvPr id="52" name="Rectangle 41"/>
          <p:cNvSpPr>
            <a:spLocks noChangeArrowheads="1"/>
          </p:cNvSpPr>
          <p:nvPr/>
        </p:nvSpPr>
        <p:spPr bwMode="auto">
          <a:xfrm>
            <a:off x="6728778" y="2125980"/>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dirty="0">
              <a:solidFill>
                <a:srgbClr val="53565A"/>
              </a:solidFill>
            </a:endParaRPr>
          </a:p>
        </p:txBody>
      </p:sp>
      <p:sp>
        <p:nvSpPr>
          <p:cNvPr id="53" name="Rectangle 42"/>
          <p:cNvSpPr>
            <a:spLocks noChangeArrowheads="1"/>
          </p:cNvSpPr>
          <p:nvPr/>
        </p:nvSpPr>
        <p:spPr bwMode="auto">
          <a:xfrm>
            <a:off x="6728778" y="3361055"/>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6728778" y="2580005"/>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lumMod val="40000"/>
                  <a:lumOff val="60000"/>
                </a:schemeClr>
              </a:solidFill>
              <a:prstDash val="sysDot"/>
              <a:round/>
              <a:headEnd/>
              <a:tailEnd/>
            </a:ln>
          </p:spPr>
          <p:txBody>
            <a:bodyPr wrap="none" anchor="ctr"/>
            <a:lstStyle/>
            <a:p>
              <a:pPr>
                <a:defRPr/>
              </a:pPr>
              <a:endParaRPr lang="en-US" sz="1400"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lumMod val="40000"/>
                  <a:lumOff val="60000"/>
                </a:schemeClr>
              </a:solidFill>
              <a:prstDash val="sysDot"/>
              <a:round/>
              <a:headEnd/>
              <a:tailEnd/>
            </a:ln>
          </p:spPr>
          <p:txBody>
            <a:bodyPr wrap="none" anchor="ctr"/>
            <a:lstStyle/>
            <a:p>
              <a:pPr>
                <a:defRPr/>
              </a:pPr>
              <a:endParaRPr lang="en-US" sz="1400"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lumMod val="40000"/>
                  <a:lumOff val="60000"/>
                </a:schemeClr>
              </a:solidFill>
              <a:prstDash val="sysDot"/>
              <a:round/>
              <a:headEnd/>
              <a:tailEnd/>
            </a:ln>
          </p:spPr>
          <p:txBody>
            <a:bodyPr wrap="none" anchor="ctr"/>
            <a:lstStyle/>
            <a:p>
              <a:pPr>
                <a:defRPr/>
              </a:pPr>
              <a:endParaRPr lang="en-US" sz="1400"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accent4">
                  <a:lumMod val="40000"/>
                  <a:lumOff val="60000"/>
                </a:schemeClr>
              </a:solidFill>
              <a:prstDash val="sysDot"/>
              <a:round/>
              <a:headEnd/>
              <a:tailEnd/>
            </a:ln>
          </p:spPr>
          <p:txBody>
            <a:bodyPr wrap="none" anchor="ctr"/>
            <a:lstStyle/>
            <a:p>
              <a:endParaRPr lang="en-US" dirty="0">
                <a:solidFill>
                  <a:srgbClr val="53565A"/>
                </a:solidFill>
              </a:endParaRPr>
            </a:p>
          </p:txBody>
        </p:sp>
      </p:grpSp>
      <p:sp>
        <p:nvSpPr>
          <p:cNvPr id="67" name="Oval 56"/>
          <p:cNvSpPr>
            <a:spLocks noChangeArrowheads="1"/>
          </p:cNvSpPr>
          <p:nvPr/>
        </p:nvSpPr>
        <p:spPr bwMode="auto">
          <a:xfrm>
            <a:off x="6622415" y="5801043"/>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3" name="Rectangle 57"/>
          <p:cNvSpPr>
            <a:spLocks noChangeArrowheads="1"/>
          </p:cNvSpPr>
          <p:nvPr/>
        </p:nvSpPr>
        <p:spPr bwMode="auto">
          <a:xfrm>
            <a:off x="6746240" y="5791518"/>
            <a:ext cx="287338" cy="58737"/>
          </a:xfrm>
          <a:prstGeom prst="rect">
            <a:avLst/>
          </a:prstGeom>
          <a:solidFill>
            <a:schemeClr val="accent4"/>
          </a:solidFill>
          <a:ln w="12700" algn="ctr">
            <a:noFill/>
            <a:miter lim="800000"/>
            <a:headEnd/>
            <a:tailEnd/>
          </a:ln>
        </p:spPr>
        <p:txBody>
          <a:bodyPr wrap="none" anchor="ctr"/>
          <a:lstStyle/>
          <a:p>
            <a:pPr algn="ctr"/>
            <a:endParaRPr lang="en-US" sz="1400" dirty="0">
              <a:solidFill>
                <a:srgbClr val="53565A"/>
              </a:solidFill>
            </a:endParaRPr>
          </a:p>
        </p:txBody>
      </p:sp>
      <p:sp>
        <p:nvSpPr>
          <p:cNvPr id="843814" name="Rectangle 58"/>
          <p:cNvSpPr>
            <a:spLocks noChangeArrowheads="1"/>
          </p:cNvSpPr>
          <p:nvPr/>
        </p:nvSpPr>
        <p:spPr bwMode="auto">
          <a:xfrm>
            <a:off x="6848254" y="5969318"/>
            <a:ext cx="78547"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chemeClr val="bg1"/>
                </a:solidFill>
                <a:ea typeface="ＭＳ Ｐゴシック" charset="-128"/>
              </a:rPr>
              <a:t>0</a:t>
            </a:r>
          </a:p>
        </p:txBody>
      </p:sp>
      <p:sp>
        <p:nvSpPr>
          <p:cNvPr id="70" name="Oval 59"/>
          <p:cNvSpPr>
            <a:spLocks noChangeArrowheads="1"/>
          </p:cNvSpPr>
          <p:nvPr/>
        </p:nvSpPr>
        <p:spPr bwMode="auto">
          <a:xfrm>
            <a:off x="6622415" y="2067243"/>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6" name="Rectangle 60"/>
          <p:cNvSpPr>
            <a:spLocks noChangeArrowheads="1"/>
          </p:cNvSpPr>
          <p:nvPr/>
        </p:nvSpPr>
        <p:spPr bwMode="white">
          <a:xfrm>
            <a:off x="6736048" y="2435543"/>
            <a:ext cx="310896" cy="103187"/>
          </a:xfrm>
          <a:prstGeom prst="rect">
            <a:avLst/>
          </a:prstGeom>
          <a:solidFill>
            <a:schemeClr val="bg1"/>
          </a:solidFill>
          <a:ln w="12700">
            <a:noFill/>
            <a:miter lim="800000"/>
            <a:headEnd/>
            <a:tailEnd/>
          </a:ln>
        </p:spPr>
        <p:txBody>
          <a:bodyPr wrap="none" anchor="ctr"/>
          <a:lstStyle/>
          <a:p>
            <a:pPr algn="ctr"/>
            <a:endParaRPr lang="en-US" sz="1400" dirty="0">
              <a:solidFill>
                <a:srgbClr val="53565A"/>
              </a:solidFill>
            </a:endParaRPr>
          </a:p>
        </p:txBody>
      </p:sp>
      <p:sp>
        <p:nvSpPr>
          <p:cNvPr id="843817" name="Rectangle 61"/>
          <p:cNvSpPr>
            <a:spLocks noChangeArrowheads="1"/>
          </p:cNvSpPr>
          <p:nvPr/>
        </p:nvSpPr>
        <p:spPr bwMode="auto">
          <a:xfrm>
            <a:off x="6797760" y="2218373"/>
            <a:ext cx="179537"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sp>
        <p:nvSpPr>
          <p:cNvPr id="64" name="Rectangle 7"/>
          <p:cNvSpPr>
            <a:spLocks noChangeArrowheads="1"/>
          </p:cNvSpPr>
          <p:nvPr/>
        </p:nvSpPr>
        <p:spPr bwMode="auto">
          <a:xfrm>
            <a:off x="6519672" y="91440"/>
            <a:ext cx="2542033" cy="647700"/>
          </a:xfrm>
          <a:prstGeom prst="rect">
            <a:avLst/>
          </a:prstGeom>
          <a:solidFill>
            <a:schemeClr val="accent1"/>
          </a:solidFill>
          <a:ln w="6350" algn="ctr">
            <a:noFill/>
            <a:miter lim="800000"/>
            <a:headEnd/>
            <a:tailEnd/>
          </a:ln>
        </p:spPr>
        <p:txBody>
          <a:bodyPr tIns="91440" bIns="91440" anchor="ctr" anchorCtr="0">
            <a:noAutofit/>
          </a:bodyPr>
          <a:lstStyle/>
          <a:p>
            <a:pPr>
              <a:defRPr/>
            </a:pPr>
            <a:r>
              <a:rPr lang="en-US" altLang="ja-JP" sz="1000" dirty="0">
                <a:solidFill>
                  <a:schemeClr val="bg1"/>
                </a:solidFill>
                <a:ea typeface="ＭＳ Ｐゴシック" pitchFamily="50" charset="-128"/>
              </a:rPr>
              <a:t>Tip! Click on the color portion and move up or down to the appropriate level</a:t>
            </a:r>
          </a:p>
        </p:txBody>
      </p:sp>
      <p:sp>
        <p:nvSpPr>
          <p:cNvPr id="62" name="TextBox 61"/>
          <p:cNvSpPr txBox="1"/>
          <p:nvPr/>
        </p:nvSpPr>
        <p:spPr bwMode="gray">
          <a:xfrm>
            <a:off x="397764"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3185627" y="211033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3048526" y="5434584"/>
            <a:ext cx="679450"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371723" name="Text Box 9"/>
          <p:cNvSpPr txBox="1">
            <a:spLocks noChangeArrowheads="1"/>
          </p:cNvSpPr>
          <p:nvPr/>
        </p:nvSpPr>
        <p:spPr bwMode="auto">
          <a:xfrm>
            <a:off x="2357912" y="472453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2M</a:t>
            </a:r>
          </a:p>
        </p:txBody>
      </p:sp>
      <p:sp>
        <p:nvSpPr>
          <p:cNvPr id="371724" name="Text Box 10"/>
          <p:cNvSpPr txBox="1">
            <a:spLocks noChangeArrowheads="1"/>
          </p:cNvSpPr>
          <p:nvPr/>
        </p:nvSpPr>
        <p:spPr bwMode="auto">
          <a:xfrm>
            <a:off x="2357912" y="434816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3M</a:t>
            </a:r>
          </a:p>
        </p:txBody>
      </p:sp>
      <p:sp>
        <p:nvSpPr>
          <p:cNvPr id="371725" name="Text Box 13"/>
          <p:cNvSpPr txBox="1">
            <a:spLocks noChangeArrowheads="1"/>
          </p:cNvSpPr>
          <p:nvPr/>
        </p:nvSpPr>
        <p:spPr bwMode="auto">
          <a:xfrm>
            <a:off x="2357912" y="510090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1M</a:t>
            </a:r>
          </a:p>
        </p:txBody>
      </p:sp>
      <p:sp>
        <p:nvSpPr>
          <p:cNvPr id="371726" name="Text Box 16"/>
          <p:cNvSpPr txBox="1">
            <a:spLocks noChangeArrowheads="1"/>
          </p:cNvSpPr>
          <p:nvPr/>
        </p:nvSpPr>
        <p:spPr bwMode="auto">
          <a:xfrm>
            <a:off x="2357912" y="397179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4M</a:t>
            </a:r>
          </a:p>
        </p:txBody>
      </p:sp>
      <p:sp>
        <p:nvSpPr>
          <p:cNvPr id="371727" name="Text Box 18"/>
          <p:cNvSpPr txBox="1">
            <a:spLocks noChangeArrowheads="1"/>
          </p:cNvSpPr>
          <p:nvPr/>
        </p:nvSpPr>
        <p:spPr bwMode="auto">
          <a:xfrm>
            <a:off x="2357912" y="5487861"/>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0M</a:t>
            </a:r>
          </a:p>
        </p:txBody>
      </p:sp>
      <p:sp>
        <p:nvSpPr>
          <p:cNvPr id="371728" name="Text Box 19"/>
          <p:cNvSpPr txBox="1">
            <a:spLocks noChangeArrowheads="1"/>
          </p:cNvSpPr>
          <p:nvPr/>
        </p:nvSpPr>
        <p:spPr bwMode="auto">
          <a:xfrm>
            <a:off x="2357912" y="321905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6M</a:t>
            </a:r>
          </a:p>
        </p:txBody>
      </p:sp>
      <p:sp>
        <p:nvSpPr>
          <p:cNvPr id="371729" name="Text Box 20"/>
          <p:cNvSpPr txBox="1">
            <a:spLocks noChangeArrowheads="1"/>
          </p:cNvSpPr>
          <p:nvPr/>
        </p:nvSpPr>
        <p:spPr bwMode="auto">
          <a:xfrm>
            <a:off x="3794443" y="2899347"/>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71730" name="Text Box 21"/>
          <p:cNvSpPr txBox="1">
            <a:spLocks noChangeArrowheads="1"/>
          </p:cNvSpPr>
          <p:nvPr/>
        </p:nvSpPr>
        <p:spPr bwMode="auto">
          <a:xfrm>
            <a:off x="3794443" y="3422269"/>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71731" name="Text Box 22"/>
          <p:cNvSpPr txBox="1">
            <a:spLocks noChangeArrowheads="1"/>
          </p:cNvSpPr>
          <p:nvPr/>
        </p:nvSpPr>
        <p:spPr bwMode="auto">
          <a:xfrm>
            <a:off x="3794443" y="3945191"/>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C: $XXM:</a:t>
            </a:r>
          </a:p>
          <a:p>
            <a:pPr marL="0" lvl="1">
              <a:buSzPct val="100000"/>
            </a:pPr>
            <a:r>
              <a:rPr lang="en-US" altLang="ja-JP" sz="1100" dirty="0">
                <a:solidFill>
                  <a:srgbClr val="53565A"/>
                </a:solidFill>
                <a:ea typeface="ＭＳ Ｐゴシック" charset="-128"/>
              </a:rPr>
              <a:t>..</a:t>
            </a:r>
          </a:p>
        </p:txBody>
      </p:sp>
      <p:sp>
        <p:nvSpPr>
          <p:cNvPr id="371732" name="Text Box 23"/>
          <p:cNvSpPr txBox="1">
            <a:spLocks noChangeArrowheads="1"/>
          </p:cNvSpPr>
          <p:nvPr/>
        </p:nvSpPr>
        <p:spPr bwMode="auto">
          <a:xfrm>
            <a:off x="2768078" y="190874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2357912" y="284268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7M</a:t>
            </a:r>
          </a:p>
        </p:txBody>
      </p:sp>
      <p:sp>
        <p:nvSpPr>
          <p:cNvPr id="371734" name="Text Box 31"/>
          <p:cNvSpPr txBox="1">
            <a:spLocks noChangeArrowheads="1"/>
          </p:cNvSpPr>
          <p:nvPr/>
        </p:nvSpPr>
        <p:spPr bwMode="auto">
          <a:xfrm>
            <a:off x="2357912" y="359542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5M</a:t>
            </a:r>
          </a:p>
        </p:txBody>
      </p:sp>
      <p:sp>
        <p:nvSpPr>
          <p:cNvPr id="371735" name="Text Box 35"/>
          <p:cNvSpPr txBox="1">
            <a:spLocks noChangeArrowheads="1"/>
          </p:cNvSpPr>
          <p:nvPr/>
        </p:nvSpPr>
        <p:spPr bwMode="auto">
          <a:xfrm>
            <a:off x="2357912" y="2468436"/>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8M</a:t>
            </a:r>
          </a:p>
        </p:txBody>
      </p:sp>
      <p:sp>
        <p:nvSpPr>
          <p:cNvPr id="371736" name="Text Box 36"/>
          <p:cNvSpPr txBox="1">
            <a:spLocks noChangeArrowheads="1"/>
          </p:cNvSpPr>
          <p:nvPr/>
        </p:nvSpPr>
        <p:spPr bwMode="auto">
          <a:xfrm>
            <a:off x="3794443" y="4468113"/>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371737" name="Rectangle 37"/>
          <p:cNvSpPr>
            <a:spLocks noChangeArrowheads="1"/>
          </p:cNvSpPr>
          <p:nvPr/>
        </p:nvSpPr>
        <p:spPr bwMode="auto">
          <a:xfrm>
            <a:off x="6757084" y="2678684"/>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371738" name="Rectangle 38"/>
          <p:cNvSpPr>
            <a:spLocks noChangeArrowheads="1"/>
          </p:cNvSpPr>
          <p:nvPr/>
        </p:nvSpPr>
        <p:spPr bwMode="auto">
          <a:xfrm>
            <a:off x="6757084" y="2913860"/>
            <a:ext cx="360000"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129" name="Rectangle 39"/>
          <p:cNvSpPr>
            <a:spLocks noChangeArrowheads="1"/>
          </p:cNvSpPr>
          <p:nvPr/>
        </p:nvSpPr>
        <p:spPr bwMode="auto">
          <a:xfrm>
            <a:off x="6757084" y="314903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371740" name="Text Box 40"/>
          <p:cNvSpPr txBox="1">
            <a:spLocks noChangeArrowheads="1"/>
          </p:cNvSpPr>
          <p:nvPr/>
        </p:nvSpPr>
        <p:spPr bwMode="auto">
          <a:xfrm>
            <a:off x="7183277" y="3154398"/>
            <a:ext cx="787075"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C</a:t>
            </a:r>
          </a:p>
        </p:txBody>
      </p:sp>
      <p:sp>
        <p:nvSpPr>
          <p:cNvPr id="371741" name="Text Box 41"/>
          <p:cNvSpPr txBox="1">
            <a:spLocks noChangeArrowheads="1"/>
          </p:cNvSpPr>
          <p:nvPr/>
        </p:nvSpPr>
        <p:spPr bwMode="auto">
          <a:xfrm>
            <a:off x="7183277" y="2919222"/>
            <a:ext cx="78547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B</a:t>
            </a:r>
          </a:p>
        </p:txBody>
      </p:sp>
      <p:sp>
        <p:nvSpPr>
          <p:cNvPr id="371742" name="Text Box 42"/>
          <p:cNvSpPr txBox="1">
            <a:spLocks noChangeArrowheads="1"/>
          </p:cNvSpPr>
          <p:nvPr/>
        </p:nvSpPr>
        <p:spPr bwMode="auto">
          <a:xfrm>
            <a:off x="7183277" y="2684046"/>
            <a:ext cx="78547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A</a:t>
            </a:r>
          </a:p>
        </p:txBody>
      </p:sp>
      <p:sp>
        <p:nvSpPr>
          <p:cNvPr id="133" name="Rectangle 43"/>
          <p:cNvSpPr>
            <a:spLocks noChangeArrowheads="1"/>
          </p:cNvSpPr>
          <p:nvPr/>
        </p:nvSpPr>
        <p:spPr bwMode="auto">
          <a:xfrm>
            <a:off x="6757084" y="338421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4" name="Text Box 44"/>
          <p:cNvSpPr txBox="1">
            <a:spLocks noChangeArrowheads="1"/>
          </p:cNvSpPr>
          <p:nvPr/>
        </p:nvSpPr>
        <p:spPr bwMode="auto">
          <a:xfrm>
            <a:off x="7183277" y="3389574"/>
            <a:ext cx="798295"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D</a:t>
            </a:r>
          </a:p>
        </p:txBody>
      </p:sp>
      <p:sp>
        <p:nvSpPr>
          <p:cNvPr id="135" name="Rectangle 45"/>
          <p:cNvSpPr>
            <a:spLocks noChangeArrowheads="1"/>
          </p:cNvSpPr>
          <p:nvPr/>
        </p:nvSpPr>
        <p:spPr bwMode="auto">
          <a:xfrm>
            <a:off x="6757084" y="3619389"/>
            <a:ext cx="360000"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6" name="Text Box 46"/>
          <p:cNvSpPr txBox="1">
            <a:spLocks noChangeArrowheads="1"/>
          </p:cNvSpPr>
          <p:nvPr/>
        </p:nvSpPr>
        <p:spPr bwMode="auto">
          <a:xfrm>
            <a:off x="7183277" y="3624751"/>
            <a:ext cx="77905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E</a:t>
            </a:r>
          </a:p>
        </p:txBody>
      </p:sp>
      <p:sp>
        <p:nvSpPr>
          <p:cNvPr id="371747" name="Text Box 47"/>
          <p:cNvSpPr txBox="1">
            <a:spLocks noChangeArrowheads="1"/>
          </p:cNvSpPr>
          <p:nvPr/>
        </p:nvSpPr>
        <p:spPr bwMode="auto">
          <a:xfrm>
            <a:off x="3794443" y="499103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4266026587"/>
              </p:ext>
            </p:extLst>
          </p:nvPr>
        </p:nvGraphicFramePr>
        <p:xfrm>
          <a:off x="3110548" y="255008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41" name="Rectangle 7"/>
          <p:cNvSpPr>
            <a:spLocks noChangeArrowheads="1"/>
          </p:cNvSpPr>
          <p:nvPr/>
        </p:nvSpPr>
        <p:spPr bwMode="auto">
          <a:xfrm>
            <a:off x="6519672" y="91440"/>
            <a:ext cx="2542033" cy="847416"/>
          </a:xfrm>
          <a:prstGeom prst="rect">
            <a:avLst/>
          </a:prstGeom>
          <a:solidFill>
            <a:schemeClr val="accent1"/>
          </a:solidFill>
          <a:ln w="6350" algn="ctr">
            <a:noFill/>
            <a:miter lim="800000"/>
            <a:headEnd/>
            <a:tailEnd/>
          </a:ln>
        </p:spPr>
        <p:txBody>
          <a:bodyPr tIns="91440" bIns="91440" anchor="ctr" anchorCtr="0">
            <a:noAutofit/>
          </a:bodyPr>
          <a:lstStyle/>
          <a:p>
            <a:pPr>
              <a:defRPr/>
            </a:pPr>
            <a:r>
              <a:rPr lang="en-US" altLang="ja-JP" sz="1000" dirty="0">
                <a:solidFill>
                  <a:schemeClr val="bg1"/>
                </a:solidFill>
                <a:ea typeface="ＭＳ Ｐゴシック" pitchFamily="50" charset="-128"/>
              </a:rPr>
              <a:t>Tip! Double-click on the colored area to adjust the amount per category, to change the scale use right click on the invisible vertical axis</a:t>
            </a:r>
          </a:p>
        </p:txBody>
      </p:sp>
      <p:sp>
        <p:nvSpPr>
          <p:cNvPr id="34" name="TextBox 33"/>
          <p:cNvSpPr txBox="1"/>
          <p:nvPr/>
        </p:nvSpPr>
        <p:spPr bwMode="gray">
          <a:xfrm>
            <a:off x="374904" y="1710507"/>
            <a:ext cx="8394192" cy="184666"/>
          </a:xfrm>
          <a:prstGeom prst="rect">
            <a:avLst/>
          </a:prstGeom>
          <a:noFill/>
        </p:spPr>
        <p:txBody>
          <a:bodyPr wrap="square" lIns="0" tIns="0" rIns="0" bIns="0" rtlCol="0">
            <a:spAutoFit/>
          </a:bodyPr>
          <a:lstStyle/>
          <a:p>
            <a:r>
              <a:rPr lang="en-US" sz="1200" dirty="0"/>
              <a:t>Chart title runs here</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country maps, please contact your local general counsel</a:t>
            </a:r>
            <a:endParaRPr lang="en-GB" dirty="0"/>
          </a:p>
        </p:txBody>
      </p:sp>
    </p:spTree>
    <p:extLst>
      <p:ext uri="{BB962C8B-B14F-4D97-AF65-F5344CB8AC3E}">
        <p14:creationId xmlns:p14="http://schemas.microsoft.com/office/powerpoint/2010/main" val="171344369"/>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lags</a:t>
            </a:r>
          </a:p>
        </p:txBody>
      </p:sp>
      <p:pic>
        <p:nvPicPr>
          <p:cNvPr id="4" name="Picture 4" descr="au"/>
          <p:cNvPicPr>
            <a:picLocks noChangeAspect="1" noChangeArrowheads="1"/>
          </p:cNvPicPr>
          <p:nvPr/>
        </p:nvPicPr>
        <p:blipFill>
          <a:blip r:embed="rId2" cstate="print"/>
          <a:srcRect/>
          <a:stretch>
            <a:fillRect/>
          </a:stretch>
        </p:blipFill>
        <p:spPr bwMode="auto">
          <a:xfrm>
            <a:off x="407060" y="1710717"/>
            <a:ext cx="685800" cy="342900"/>
          </a:xfrm>
          <a:prstGeom prst="rect">
            <a:avLst/>
          </a:prstGeom>
          <a:noFill/>
          <a:ln w="9525">
            <a:solidFill>
              <a:schemeClr val="bg1">
                <a:lumMod val="50000"/>
              </a:schemeClr>
            </a:solidFill>
            <a:miter lim="800000"/>
            <a:headEnd/>
            <a:tailEnd/>
          </a:ln>
        </p:spPr>
      </p:pic>
      <p:pic>
        <p:nvPicPr>
          <p:cNvPr id="5" name="Picture 5" descr="ca"/>
          <p:cNvPicPr>
            <a:picLocks noChangeAspect="1" noChangeArrowheads="1"/>
          </p:cNvPicPr>
          <p:nvPr/>
        </p:nvPicPr>
        <p:blipFill>
          <a:blip r:embed="rId3" cstate="print"/>
          <a:srcRect/>
          <a:stretch>
            <a:fillRect/>
          </a:stretch>
        </p:blipFill>
        <p:spPr bwMode="auto">
          <a:xfrm>
            <a:off x="407060" y="2280694"/>
            <a:ext cx="685800" cy="342900"/>
          </a:xfrm>
          <a:prstGeom prst="rect">
            <a:avLst/>
          </a:prstGeom>
          <a:noFill/>
          <a:ln w="9525">
            <a:solidFill>
              <a:schemeClr val="bg1">
                <a:lumMod val="50000"/>
              </a:schemeClr>
            </a:solidFill>
            <a:miter lim="800000"/>
            <a:headEnd/>
            <a:tailEnd/>
          </a:ln>
        </p:spPr>
      </p:pic>
      <p:pic>
        <p:nvPicPr>
          <p:cNvPr id="6" name="Picture 6" descr="cn"/>
          <p:cNvPicPr>
            <a:picLocks noChangeAspect="1" noChangeArrowheads="1"/>
          </p:cNvPicPr>
          <p:nvPr/>
        </p:nvPicPr>
        <p:blipFill>
          <a:blip r:embed="rId4" cstate="print"/>
          <a:srcRect/>
          <a:stretch>
            <a:fillRect/>
          </a:stretch>
        </p:blipFill>
        <p:spPr bwMode="auto">
          <a:xfrm>
            <a:off x="407060" y="2850292"/>
            <a:ext cx="685800" cy="342900"/>
          </a:xfrm>
          <a:prstGeom prst="rect">
            <a:avLst/>
          </a:prstGeom>
          <a:noFill/>
          <a:ln w="9525">
            <a:solidFill>
              <a:schemeClr val="bg1">
                <a:lumMod val="50000"/>
              </a:schemeClr>
            </a:solidFill>
            <a:miter lim="800000"/>
            <a:headEnd/>
            <a:tailEnd/>
          </a:ln>
        </p:spPr>
      </p:pic>
      <p:pic>
        <p:nvPicPr>
          <p:cNvPr id="7" name="Picture 7" descr="dk"/>
          <p:cNvPicPr>
            <a:picLocks noChangeAspect="1" noChangeArrowheads="1"/>
          </p:cNvPicPr>
          <p:nvPr/>
        </p:nvPicPr>
        <p:blipFill>
          <a:blip r:embed="rId5" cstate="print"/>
          <a:srcRect/>
          <a:stretch>
            <a:fillRect/>
          </a:stretch>
        </p:blipFill>
        <p:spPr bwMode="auto">
          <a:xfrm>
            <a:off x="407060" y="3420648"/>
            <a:ext cx="685800" cy="342900"/>
          </a:xfrm>
          <a:prstGeom prst="rect">
            <a:avLst/>
          </a:prstGeom>
          <a:noFill/>
          <a:ln w="9525">
            <a:solidFill>
              <a:schemeClr val="bg1">
                <a:lumMod val="50000"/>
              </a:schemeClr>
            </a:solidFill>
            <a:miter lim="800000"/>
            <a:headEnd/>
            <a:tailEnd/>
          </a:ln>
        </p:spPr>
      </p:pic>
      <p:pic>
        <p:nvPicPr>
          <p:cNvPr id="8" name="Picture 8" descr="fr"/>
          <p:cNvPicPr>
            <a:picLocks noChangeAspect="1" noChangeArrowheads="1"/>
          </p:cNvPicPr>
          <p:nvPr/>
        </p:nvPicPr>
        <p:blipFill>
          <a:blip r:embed="rId6" cstate="print"/>
          <a:srcRect/>
          <a:stretch>
            <a:fillRect/>
          </a:stretch>
        </p:blipFill>
        <p:spPr bwMode="auto">
          <a:xfrm>
            <a:off x="407060" y="3990625"/>
            <a:ext cx="685800" cy="342900"/>
          </a:xfrm>
          <a:prstGeom prst="rect">
            <a:avLst/>
          </a:prstGeom>
          <a:noFill/>
          <a:ln w="9525">
            <a:solidFill>
              <a:schemeClr val="bg1">
                <a:lumMod val="50000"/>
              </a:schemeClr>
            </a:solidFill>
            <a:miter lim="800000"/>
            <a:headEnd/>
            <a:tailEnd/>
          </a:ln>
        </p:spPr>
      </p:pic>
      <p:pic>
        <p:nvPicPr>
          <p:cNvPr id="9" name="Picture 9" descr="de"/>
          <p:cNvPicPr>
            <a:picLocks noChangeAspect="1" noChangeArrowheads="1"/>
          </p:cNvPicPr>
          <p:nvPr/>
        </p:nvPicPr>
        <p:blipFill>
          <a:blip r:embed="rId7" cstate="print"/>
          <a:srcRect/>
          <a:stretch>
            <a:fillRect/>
          </a:stretch>
        </p:blipFill>
        <p:spPr bwMode="auto">
          <a:xfrm>
            <a:off x="407060" y="4560602"/>
            <a:ext cx="685800" cy="342900"/>
          </a:xfrm>
          <a:prstGeom prst="rect">
            <a:avLst/>
          </a:prstGeom>
          <a:noFill/>
          <a:ln w="9525">
            <a:solidFill>
              <a:schemeClr val="bg1">
                <a:lumMod val="50000"/>
              </a:schemeClr>
            </a:solidFill>
            <a:miter lim="800000"/>
            <a:headEnd/>
            <a:tailEnd/>
          </a:ln>
        </p:spPr>
      </p:pic>
      <p:pic>
        <p:nvPicPr>
          <p:cNvPr id="10" name="Picture 10" descr="it"/>
          <p:cNvPicPr>
            <a:picLocks noChangeAspect="1" noChangeArrowheads="1"/>
          </p:cNvPicPr>
          <p:nvPr/>
        </p:nvPicPr>
        <p:blipFill>
          <a:blip r:embed="rId8" cstate="print"/>
          <a:srcRect/>
          <a:stretch>
            <a:fillRect/>
          </a:stretch>
        </p:blipFill>
        <p:spPr bwMode="auto">
          <a:xfrm>
            <a:off x="3549978" y="2280694"/>
            <a:ext cx="685800" cy="342900"/>
          </a:xfrm>
          <a:prstGeom prst="rect">
            <a:avLst/>
          </a:prstGeom>
          <a:noFill/>
          <a:ln w="9525">
            <a:solidFill>
              <a:schemeClr val="bg1">
                <a:lumMod val="50000"/>
              </a:schemeClr>
            </a:solidFill>
            <a:miter lim="800000"/>
            <a:headEnd/>
            <a:tailEnd/>
          </a:ln>
        </p:spPr>
      </p:pic>
      <p:pic>
        <p:nvPicPr>
          <p:cNvPr id="11" name="Picture 11" descr="ie7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549978" y="1710717"/>
            <a:ext cx="685800" cy="342900"/>
          </a:xfrm>
          <a:prstGeom prst="rect">
            <a:avLst/>
          </a:prstGeom>
          <a:noFill/>
          <a:ln w="9525">
            <a:solidFill>
              <a:schemeClr val="bg1">
                <a:lumMod val="50000"/>
              </a:schemeClr>
            </a:solidFill>
            <a:miter lim="800000"/>
            <a:headEnd/>
            <a:tailEnd/>
          </a:ln>
        </p:spPr>
      </p:pic>
      <p:pic>
        <p:nvPicPr>
          <p:cNvPr id="12" name="Picture 13" descr="lu"/>
          <p:cNvPicPr>
            <a:picLocks noChangeAspect="1" noChangeArrowheads="1"/>
          </p:cNvPicPr>
          <p:nvPr/>
        </p:nvPicPr>
        <p:blipFill>
          <a:blip r:embed="rId10" cstate="print"/>
          <a:srcRect/>
          <a:stretch>
            <a:fillRect/>
          </a:stretch>
        </p:blipFill>
        <p:spPr bwMode="auto">
          <a:xfrm>
            <a:off x="3549978" y="3422286"/>
            <a:ext cx="685800" cy="342900"/>
          </a:xfrm>
          <a:prstGeom prst="rect">
            <a:avLst/>
          </a:prstGeom>
          <a:noFill/>
          <a:ln w="9525">
            <a:solidFill>
              <a:schemeClr val="bg1">
                <a:lumMod val="50000"/>
              </a:schemeClr>
            </a:solidFill>
            <a:miter lim="800000"/>
            <a:headEnd/>
            <a:tailEnd/>
          </a:ln>
        </p:spPr>
      </p:pic>
      <p:pic>
        <p:nvPicPr>
          <p:cNvPr id="13" name="Picture 14" descr="mx"/>
          <p:cNvPicPr>
            <a:picLocks noChangeAspect="1" noChangeArrowheads="1"/>
          </p:cNvPicPr>
          <p:nvPr/>
        </p:nvPicPr>
        <p:blipFill>
          <a:blip r:embed="rId11" cstate="print"/>
          <a:srcRect/>
          <a:stretch>
            <a:fillRect/>
          </a:stretch>
        </p:blipFill>
        <p:spPr bwMode="auto">
          <a:xfrm>
            <a:off x="3549978" y="3992263"/>
            <a:ext cx="685800" cy="342900"/>
          </a:xfrm>
          <a:prstGeom prst="rect">
            <a:avLst/>
          </a:prstGeom>
          <a:noFill/>
          <a:ln w="9525">
            <a:solidFill>
              <a:schemeClr val="bg1">
                <a:lumMod val="50000"/>
              </a:schemeClr>
            </a:solidFill>
            <a:miter lim="800000"/>
            <a:headEnd/>
            <a:tailEnd/>
          </a:ln>
        </p:spPr>
      </p:pic>
      <p:pic>
        <p:nvPicPr>
          <p:cNvPr id="14" name="Picture 15" descr="nl"/>
          <p:cNvPicPr>
            <a:picLocks noChangeAspect="1" noChangeArrowheads="1"/>
          </p:cNvPicPr>
          <p:nvPr/>
        </p:nvPicPr>
        <p:blipFill>
          <a:blip r:embed="rId12" cstate="print"/>
          <a:srcRect/>
          <a:stretch>
            <a:fillRect/>
          </a:stretch>
        </p:blipFill>
        <p:spPr bwMode="auto">
          <a:xfrm>
            <a:off x="3549978" y="4561421"/>
            <a:ext cx="685800" cy="342900"/>
          </a:xfrm>
          <a:prstGeom prst="rect">
            <a:avLst/>
          </a:prstGeom>
          <a:noFill/>
          <a:ln w="9525">
            <a:solidFill>
              <a:schemeClr val="bg1">
                <a:lumMod val="50000"/>
              </a:schemeClr>
            </a:solidFill>
            <a:miter lim="800000"/>
            <a:headEnd/>
            <a:tailEnd/>
          </a:ln>
        </p:spPr>
      </p:pic>
      <p:pic>
        <p:nvPicPr>
          <p:cNvPr id="15" name="Picture 16" descr="sg"/>
          <p:cNvPicPr>
            <a:picLocks noChangeAspect="1" noChangeArrowheads="1"/>
          </p:cNvPicPr>
          <p:nvPr/>
        </p:nvPicPr>
        <p:blipFill>
          <a:blip r:embed="rId13" cstate="print"/>
          <a:srcRect/>
          <a:stretch>
            <a:fillRect/>
          </a:stretch>
        </p:blipFill>
        <p:spPr bwMode="auto">
          <a:xfrm>
            <a:off x="6692896" y="1710717"/>
            <a:ext cx="685800" cy="342900"/>
          </a:xfrm>
          <a:prstGeom prst="rect">
            <a:avLst/>
          </a:prstGeom>
          <a:noFill/>
          <a:ln w="9525">
            <a:solidFill>
              <a:schemeClr val="bg1">
                <a:lumMod val="50000"/>
              </a:schemeClr>
            </a:solidFill>
            <a:miter lim="800000"/>
            <a:headEnd/>
            <a:tailEnd/>
          </a:ln>
        </p:spPr>
      </p:pic>
      <p:pic>
        <p:nvPicPr>
          <p:cNvPr id="16" name="Picture 17" descr="es"/>
          <p:cNvPicPr>
            <a:picLocks noChangeAspect="1" noChangeArrowheads="1"/>
          </p:cNvPicPr>
          <p:nvPr/>
        </p:nvPicPr>
        <p:blipFill>
          <a:blip r:embed="rId14" cstate="print"/>
          <a:srcRect/>
          <a:stretch>
            <a:fillRect/>
          </a:stretch>
        </p:blipFill>
        <p:spPr bwMode="auto">
          <a:xfrm>
            <a:off x="6692896" y="2280694"/>
            <a:ext cx="685800" cy="342900"/>
          </a:xfrm>
          <a:prstGeom prst="rect">
            <a:avLst/>
          </a:prstGeom>
          <a:noFill/>
          <a:ln w="9525">
            <a:solidFill>
              <a:schemeClr val="bg1">
                <a:lumMod val="50000"/>
              </a:schemeClr>
            </a:solidFill>
            <a:miter lim="800000"/>
            <a:headEnd/>
            <a:tailEnd/>
          </a:ln>
        </p:spPr>
      </p:pic>
      <p:pic>
        <p:nvPicPr>
          <p:cNvPr id="17" name="Picture 18" descr="za"/>
          <p:cNvPicPr>
            <a:picLocks noChangeAspect="1" noChangeArrowheads="1"/>
          </p:cNvPicPr>
          <p:nvPr/>
        </p:nvPicPr>
        <p:blipFill>
          <a:blip r:embed="rId15" cstate="print"/>
          <a:srcRect/>
          <a:stretch>
            <a:fillRect/>
          </a:stretch>
        </p:blipFill>
        <p:spPr bwMode="auto">
          <a:xfrm>
            <a:off x="6692896" y="2850292"/>
            <a:ext cx="685800" cy="342900"/>
          </a:xfrm>
          <a:prstGeom prst="rect">
            <a:avLst/>
          </a:prstGeom>
          <a:noFill/>
          <a:ln w="9525">
            <a:solidFill>
              <a:schemeClr val="bg1">
                <a:lumMod val="50000"/>
              </a:schemeClr>
            </a:solidFill>
            <a:miter lim="800000"/>
            <a:headEnd/>
            <a:tailEnd/>
          </a:ln>
        </p:spPr>
      </p:pic>
      <p:pic>
        <p:nvPicPr>
          <p:cNvPr id="18" name="Picture 19" descr="gb"/>
          <p:cNvPicPr>
            <a:picLocks noChangeAspect="1" noChangeArrowheads="1"/>
          </p:cNvPicPr>
          <p:nvPr/>
        </p:nvPicPr>
        <p:blipFill>
          <a:blip r:embed="rId16" cstate="print"/>
          <a:srcRect/>
          <a:stretch>
            <a:fillRect/>
          </a:stretch>
        </p:blipFill>
        <p:spPr bwMode="auto">
          <a:xfrm>
            <a:off x="6692896" y="3420648"/>
            <a:ext cx="685800" cy="342900"/>
          </a:xfrm>
          <a:prstGeom prst="rect">
            <a:avLst/>
          </a:prstGeom>
          <a:noFill/>
          <a:ln w="9525">
            <a:solidFill>
              <a:schemeClr val="bg1">
                <a:lumMod val="50000"/>
              </a:schemeClr>
            </a:solidFill>
            <a:miter lim="800000"/>
            <a:headEnd/>
            <a:tailEnd/>
          </a:ln>
        </p:spPr>
      </p:pic>
      <p:pic>
        <p:nvPicPr>
          <p:cNvPr id="19" name="Picture 20" descr="us"/>
          <p:cNvPicPr>
            <a:picLocks noChangeAspect="1" noChangeArrowheads="1"/>
          </p:cNvPicPr>
          <p:nvPr/>
        </p:nvPicPr>
        <p:blipFill>
          <a:blip r:embed="rId17" cstate="print"/>
          <a:srcRect/>
          <a:stretch>
            <a:fillRect/>
          </a:stretch>
        </p:blipFill>
        <p:spPr bwMode="auto">
          <a:xfrm>
            <a:off x="6692896" y="3990625"/>
            <a:ext cx="685800" cy="355600"/>
          </a:xfrm>
          <a:prstGeom prst="rect">
            <a:avLst/>
          </a:prstGeom>
          <a:noFill/>
          <a:ln w="9525">
            <a:solidFill>
              <a:schemeClr val="bg1">
                <a:lumMod val="50000"/>
              </a:schemeClr>
            </a:solidFill>
            <a:miter lim="800000"/>
            <a:headEnd/>
            <a:tailEnd/>
          </a:ln>
        </p:spPr>
      </p:pic>
      <p:sp>
        <p:nvSpPr>
          <p:cNvPr id="20" name="Rectangle 21"/>
          <p:cNvSpPr>
            <a:spLocks noChangeArrowheads="1"/>
          </p:cNvSpPr>
          <p:nvPr/>
        </p:nvSpPr>
        <p:spPr bwMode="auto">
          <a:xfrm>
            <a:off x="1242605" y="1801761"/>
            <a:ext cx="623569"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Australia</a:t>
            </a:r>
          </a:p>
        </p:txBody>
      </p:sp>
      <p:sp>
        <p:nvSpPr>
          <p:cNvPr id="21" name="Rectangle 22"/>
          <p:cNvSpPr>
            <a:spLocks noChangeArrowheads="1"/>
          </p:cNvSpPr>
          <p:nvPr/>
        </p:nvSpPr>
        <p:spPr bwMode="auto">
          <a:xfrm>
            <a:off x="1242605" y="2371738"/>
            <a:ext cx="530594"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Canada</a:t>
            </a:r>
          </a:p>
        </p:txBody>
      </p:sp>
      <p:sp>
        <p:nvSpPr>
          <p:cNvPr id="22" name="Rectangle 23"/>
          <p:cNvSpPr>
            <a:spLocks noChangeArrowheads="1"/>
          </p:cNvSpPr>
          <p:nvPr/>
        </p:nvSpPr>
        <p:spPr bwMode="auto">
          <a:xfrm>
            <a:off x="1242605" y="2941336"/>
            <a:ext cx="400751"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China</a:t>
            </a:r>
          </a:p>
        </p:txBody>
      </p:sp>
      <p:sp>
        <p:nvSpPr>
          <p:cNvPr id="23" name="Rectangle 24"/>
          <p:cNvSpPr>
            <a:spLocks noChangeArrowheads="1"/>
          </p:cNvSpPr>
          <p:nvPr/>
        </p:nvSpPr>
        <p:spPr bwMode="auto">
          <a:xfrm>
            <a:off x="1242605" y="3511692"/>
            <a:ext cx="649217"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Denmark</a:t>
            </a:r>
          </a:p>
        </p:txBody>
      </p:sp>
      <p:sp>
        <p:nvSpPr>
          <p:cNvPr id="24" name="Rectangle 25"/>
          <p:cNvSpPr>
            <a:spLocks noChangeArrowheads="1"/>
          </p:cNvSpPr>
          <p:nvPr/>
        </p:nvSpPr>
        <p:spPr bwMode="auto">
          <a:xfrm>
            <a:off x="1242605" y="4081669"/>
            <a:ext cx="474489"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France</a:t>
            </a:r>
          </a:p>
        </p:txBody>
      </p:sp>
      <p:sp>
        <p:nvSpPr>
          <p:cNvPr id="25" name="Rectangle 26"/>
          <p:cNvSpPr>
            <a:spLocks noChangeArrowheads="1"/>
          </p:cNvSpPr>
          <p:nvPr/>
        </p:nvSpPr>
        <p:spPr bwMode="auto">
          <a:xfrm>
            <a:off x="1242605" y="4652465"/>
            <a:ext cx="649217"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Germany</a:t>
            </a:r>
          </a:p>
        </p:txBody>
      </p:sp>
      <p:sp>
        <p:nvSpPr>
          <p:cNvPr id="26" name="Rectangle 27"/>
          <p:cNvSpPr>
            <a:spLocks noChangeArrowheads="1"/>
          </p:cNvSpPr>
          <p:nvPr/>
        </p:nvSpPr>
        <p:spPr bwMode="auto">
          <a:xfrm>
            <a:off x="4420305" y="1801761"/>
            <a:ext cx="504946"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Ireland</a:t>
            </a:r>
          </a:p>
        </p:txBody>
      </p:sp>
      <p:sp>
        <p:nvSpPr>
          <p:cNvPr id="27" name="Rectangle 28"/>
          <p:cNvSpPr>
            <a:spLocks noChangeArrowheads="1"/>
          </p:cNvSpPr>
          <p:nvPr/>
        </p:nvSpPr>
        <p:spPr bwMode="auto">
          <a:xfrm>
            <a:off x="4420305" y="2371738"/>
            <a:ext cx="322204"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Italy</a:t>
            </a:r>
          </a:p>
        </p:txBody>
      </p:sp>
      <p:sp>
        <p:nvSpPr>
          <p:cNvPr id="28" name="Rectangle 29"/>
          <p:cNvSpPr>
            <a:spLocks noChangeArrowheads="1"/>
          </p:cNvSpPr>
          <p:nvPr/>
        </p:nvSpPr>
        <p:spPr bwMode="auto">
          <a:xfrm>
            <a:off x="4420305" y="2941336"/>
            <a:ext cx="411972"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Japan</a:t>
            </a:r>
          </a:p>
        </p:txBody>
      </p:sp>
      <p:sp>
        <p:nvSpPr>
          <p:cNvPr id="29" name="Rectangle 30"/>
          <p:cNvSpPr>
            <a:spLocks noChangeArrowheads="1"/>
          </p:cNvSpPr>
          <p:nvPr/>
        </p:nvSpPr>
        <p:spPr bwMode="auto">
          <a:xfrm>
            <a:off x="4420305" y="3511692"/>
            <a:ext cx="884858"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Luxembourg</a:t>
            </a:r>
          </a:p>
        </p:txBody>
      </p:sp>
      <p:sp>
        <p:nvSpPr>
          <p:cNvPr id="30" name="Rectangle 31"/>
          <p:cNvSpPr>
            <a:spLocks noChangeArrowheads="1"/>
          </p:cNvSpPr>
          <p:nvPr/>
        </p:nvSpPr>
        <p:spPr bwMode="auto">
          <a:xfrm>
            <a:off x="4420305" y="4081669"/>
            <a:ext cx="482504"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Mexico</a:t>
            </a:r>
          </a:p>
        </p:txBody>
      </p:sp>
      <p:sp>
        <p:nvSpPr>
          <p:cNvPr id="31" name="Rectangle 32"/>
          <p:cNvSpPr>
            <a:spLocks noChangeArrowheads="1"/>
          </p:cNvSpPr>
          <p:nvPr/>
        </p:nvSpPr>
        <p:spPr bwMode="auto">
          <a:xfrm>
            <a:off x="4420305" y="4652465"/>
            <a:ext cx="854401"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Netherlands</a:t>
            </a:r>
          </a:p>
        </p:txBody>
      </p:sp>
      <p:sp>
        <p:nvSpPr>
          <p:cNvPr id="32" name="Rectangle 33"/>
          <p:cNvSpPr>
            <a:spLocks noChangeArrowheads="1"/>
          </p:cNvSpPr>
          <p:nvPr/>
        </p:nvSpPr>
        <p:spPr bwMode="auto">
          <a:xfrm>
            <a:off x="7518257" y="1801761"/>
            <a:ext cx="714939"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Singapore</a:t>
            </a:r>
          </a:p>
        </p:txBody>
      </p:sp>
      <p:sp>
        <p:nvSpPr>
          <p:cNvPr id="33" name="Rectangle 34"/>
          <p:cNvSpPr>
            <a:spLocks noChangeArrowheads="1"/>
          </p:cNvSpPr>
          <p:nvPr/>
        </p:nvSpPr>
        <p:spPr bwMode="auto">
          <a:xfrm>
            <a:off x="7518257" y="2371738"/>
            <a:ext cx="397545"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Spain</a:t>
            </a:r>
          </a:p>
        </p:txBody>
      </p:sp>
      <p:sp>
        <p:nvSpPr>
          <p:cNvPr id="34" name="Rectangle 35"/>
          <p:cNvSpPr>
            <a:spLocks noChangeArrowheads="1"/>
          </p:cNvSpPr>
          <p:nvPr/>
        </p:nvSpPr>
        <p:spPr bwMode="auto">
          <a:xfrm>
            <a:off x="7518257" y="2941336"/>
            <a:ext cx="870431"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a:ea typeface="MS PGothic" pitchFamily="34" charset="-128"/>
              </a:rPr>
              <a:t>South Africa</a:t>
            </a:r>
          </a:p>
        </p:txBody>
      </p:sp>
      <p:sp>
        <p:nvSpPr>
          <p:cNvPr id="35" name="Rectangle 36"/>
          <p:cNvSpPr>
            <a:spLocks noChangeArrowheads="1"/>
          </p:cNvSpPr>
          <p:nvPr/>
        </p:nvSpPr>
        <p:spPr bwMode="auto">
          <a:xfrm>
            <a:off x="7518257" y="3511692"/>
            <a:ext cx="1133324"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United Kingdom</a:t>
            </a:r>
          </a:p>
        </p:txBody>
      </p:sp>
      <p:sp>
        <p:nvSpPr>
          <p:cNvPr id="36" name="Rectangle 37"/>
          <p:cNvSpPr>
            <a:spLocks noChangeArrowheads="1"/>
          </p:cNvSpPr>
          <p:nvPr/>
        </p:nvSpPr>
        <p:spPr bwMode="auto">
          <a:xfrm>
            <a:off x="7518257" y="4081669"/>
            <a:ext cx="958596" cy="160813"/>
          </a:xfrm>
          <a:prstGeom prst="rect">
            <a:avLst/>
          </a:prstGeom>
          <a:noFill/>
          <a:ln w="12700">
            <a:noFill/>
            <a:miter lim="800000"/>
            <a:headEnd/>
            <a:tailEnd/>
          </a:ln>
        </p:spPr>
        <p:txBody>
          <a:bodyPr wrap="none" lIns="0" tIns="0" rIns="0" bIns="0">
            <a:spAutoFit/>
          </a:bodyPr>
          <a:lstStyle/>
          <a:p>
            <a:pPr defTabSz="762000">
              <a:lnSpc>
                <a:spcPct val="95000"/>
              </a:lnSpc>
            </a:pPr>
            <a:r>
              <a:rPr lang="en-US" sz="1100" dirty="0">
                <a:ea typeface="MS PGothic" pitchFamily="34" charset="-128"/>
              </a:rPr>
              <a:t>United States</a:t>
            </a:r>
          </a:p>
        </p:txBody>
      </p:sp>
      <p:grpSp>
        <p:nvGrpSpPr>
          <p:cNvPr id="37" name="Group 36"/>
          <p:cNvGrpSpPr/>
          <p:nvPr/>
        </p:nvGrpSpPr>
        <p:grpSpPr>
          <a:xfrm>
            <a:off x="3549978" y="2850292"/>
            <a:ext cx="685800" cy="347472"/>
            <a:chOff x="3620719" y="3004888"/>
            <a:chExt cx="685800" cy="347472"/>
          </a:xfrm>
        </p:grpSpPr>
        <p:sp>
          <p:nvSpPr>
            <p:cNvPr id="38" name="Oval 37"/>
            <p:cNvSpPr/>
            <p:nvPr/>
          </p:nvSpPr>
          <p:spPr>
            <a:xfrm>
              <a:off x="3853891" y="3068896"/>
              <a:ext cx="219456" cy="219456"/>
            </a:xfrm>
            <a:prstGeom prst="ellipse">
              <a:avLst/>
            </a:prstGeom>
            <a:solidFill>
              <a:srgbClr val="ED1B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lgn="ctr"/>
              <a:endParaRPr lang="en-US" sz="1400" err="1">
                <a:solidFill>
                  <a:schemeClr val="tx1"/>
                </a:solidFill>
              </a:endParaRPr>
            </a:p>
          </p:txBody>
        </p:sp>
        <p:sp>
          <p:nvSpPr>
            <p:cNvPr id="39" name="Rectangle 38"/>
            <p:cNvSpPr/>
            <p:nvPr/>
          </p:nvSpPr>
          <p:spPr>
            <a:xfrm>
              <a:off x="3620719" y="3004888"/>
              <a:ext cx="685800" cy="347472"/>
            </a:xfrm>
            <a:prstGeom prst="rect">
              <a:avLst/>
            </a:prstGeom>
            <a:noFill/>
            <a:ln w="9525">
              <a:solidFill>
                <a:schemeClr val="bg1">
                  <a:lumMod val="50000"/>
                </a:schemeClr>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lgn="ctr"/>
              <a:endParaRPr lang="en-US" sz="1400" err="1">
                <a:solidFill>
                  <a:schemeClr val="tx1"/>
                </a:solidFill>
              </a:endParaRPr>
            </a:p>
          </p:txBody>
        </p:sp>
      </p:grpSp>
    </p:spTree>
    <p:extLst>
      <p:ext uri="{BB962C8B-B14F-4D97-AF65-F5344CB8AC3E}">
        <p14:creationId xmlns:p14="http://schemas.microsoft.com/office/powerpoint/2010/main" val="30878651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14" name="Rectangle 13"/>
          <p:cNvSpPr>
            <a:spLocks noChangeArrowheads="1"/>
          </p:cNvSpPr>
          <p:nvPr>
            <p:custDataLst>
              <p:tags r:id="rId1"/>
            </p:custDataLst>
          </p:nvPr>
        </p:nvSpPr>
        <p:spPr bwMode="auto">
          <a:xfrm>
            <a:off x="3266282"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1400" dirty="0">
                <a:ea typeface="ＭＳ Ｐゴシック" pitchFamily="50" charset="-128"/>
              </a:rPr>
              <a:t>Text</a:t>
            </a:r>
          </a:p>
        </p:txBody>
      </p:sp>
      <p:sp>
        <p:nvSpPr>
          <p:cNvPr id="15" name="Text Placeholder 5"/>
          <p:cNvSpPr txBox="1">
            <a:spLocks/>
          </p:cNvSpPr>
          <p:nvPr/>
        </p:nvSpPr>
        <p:spPr>
          <a:xfrm>
            <a:off x="700881" y="1710838"/>
            <a:ext cx="3146425" cy="1330325"/>
          </a:xfrm>
          <a:prstGeom prst="homePlate">
            <a:avLst>
              <a:gd name="adj" fmla="val 22028"/>
            </a:avLst>
          </a:prstGeom>
          <a:solidFill>
            <a:schemeClr val="bg2">
              <a:lumMod val="90000"/>
            </a:schemeClr>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a:p>
            <a:pPr marL="393700" lvl="3" indent="-114300">
              <a:spcBef>
                <a:spcPts val="600"/>
              </a:spcBef>
              <a:buSzPct val="100000"/>
              <a:buFont typeface="Arial"/>
              <a:buChar char="◦"/>
            </a:pPr>
            <a:r>
              <a:rPr lang="en-US" sz="1000" dirty="0">
                <a:solidFill>
                  <a:schemeClr val="tx1"/>
                </a:solidFill>
                <a:cs typeface="Arial" charset="0"/>
              </a:rPr>
              <a:t>This is a level 3 bullet</a:t>
            </a:r>
          </a:p>
        </p:txBody>
      </p:sp>
      <p:sp>
        <p:nvSpPr>
          <p:cNvPr id="16" name="Text Placeholder 5"/>
          <p:cNvSpPr txBox="1">
            <a:spLocks/>
          </p:cNvSpPr>
          <p:nvPr/>
        </p:nvSpPr>
        <p:spPr>
          <a:xfrm>
            <a:off x="700881" y="3171809"/>
            <a:ext cx="3146425" cy="1330325"/>
          </a:xfrm>
          <a:prstGeom prst="homePlate">
            <a:avLst>
              <a:gd name="adj" fmla="val 22028"/>
            </a:avLst>
          </a:prstGeom>
          <a:solidFill>
            <a:schemeClr val="bg2">
              <a:lumMod val="90000"/>
            </a:schemeClr>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a:p>
            <a:pPr marL="393700" lvl="3" indent="-114300">
              <a:spcBef>
                <a:spcPts val="600"/>
              </a:spcBef>
              <a:buSzPct val="100000"/>
              <a:buFont typeface="Arial"/>
              <a:buChar char="◦"/>
            </a:pPr>
            <a:r>
              <a:rPr lang="en-US" sz="1000" dirty="0">
                <a:solidFill>
                  <a:schemeClr val="tx1"/>
                </a:solidFill>
                <a:cs typeface="Arial" charset="0"/>
              </a:rPr>
              <a:t>This is a level 3 bullet</a:t>
            </a:r>
          </a:p>
        </p:txBody>
      </p:sp>
      <p:sp>
        <p:nvSpPr>
          <p:cNvPr id="17" name="Text Placeholder 5"/>
          <p:cNvSpPr txBox="1">
            <a:spLocks/>
          </p:cNvSpPr>
          <p:nvPr/>
        </p:nvSpPr>
        <p:spPr>
          <a:xfrm>
            <a:off x="700881" y="4632780"/>
            <a:ext cx="3146425" cy="1330325"/>
          </a:xfrm>
          <a:prstGeom prst="homePlate">
            <a:avLst>
              <a:gd name="adj" fmla="val 22028"/>
            </a:avLst>
          </a:prstGeom>
          <a:solidFill>
            <a:schemeClr val="bg2">
              <a:lumMod val="90000"/>
            </a:schemeClr>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a:p>
            <a:pPr marL="393700" lvl="3" indent="-114300">
              <a:spcBef>
                <a:spcPts val="600"/>
              </a:spcBef>
              <a:buSzPct val="100000"/>
              <a:buFont typeface="Arial"/>
              <a:buChar char="◦"/>
            </a:pPr>
            <a:r>
              <a:rPr lang="en-US" sz="1000" dirty="0">
                <a:solidFill>
                  <a:schemeClr val="tx1"/>
                </a:solidFill>
                <a:cs typeface="Arial" charset="0"/>
              </a:rPr>
              <a:t>This is a level 3 bullet</a:t>
            </a:r>
          </a:p>
        </p:txBody>
      </p:sp>
      <p:sp>
        <p:nvSpPr>
          <p:cNvPr id="18" name="Text Placeholder 5"/>
          <p:cNvSpPr txBox="1">
            <a:spLocks/>
          </p:cNvSpPr>
          <p:nvPr/>
        </p:nvSpPr>
        <p:spPr>
          <a:xfrm flipH="1">
            <a:off x="5296695" y="1710838"/>
            <a:ext cx="3146425"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000" dirty="0">
                <a:solidFill>
                  <a:schemeClr val="bg1"/>
                </a:solidFill>
                <a:cs typeface="Arial" charset="0"/>
              </a:rPr>
              <a:t>This is a level 2 bullet</a:t>
            </a:r>
          </a:p>
          <a:p>
            <a:pPr marL="393700" lvl="3" indent="-114300">
              <a:spcBef>
                <a:spcPts val="600"/>
              </a:spcBef>
              <a:buSzPct val="100000"/>
              <a:buFont typeface="Arial"/>
              <a:buChar char="◦"/>
            </a:pPr>
            <a:r>
              <a:rPr lang="en-US" sz="1000" dirty="0">
                <a:solidFill>
                  <a:schemeClr val="bg1"/>
                </a:solidFill>
                <a:cs typeface="Arial" charset="0"/>
              </a:rPr>
              <a:t>This is a level 3 bullet</a:t>
            </a:r>
          </a:p>
        </p:txBody>
      </p:sp>
      <p:sp>
        <p:nvSpPr>
          <p:cNvPr id="19" name="Text Placeholder 5"/>
          <p:cNvSpPr txBox="1">
            <a:spLocks/>
          </p:cNvSpPr>
          <p:nvPr/>
        </p:nvSpPr>
        <p:spPr>
          <a:xfrm flipH="1">
            <a:off x="5296695" y="3171809"/>
            <a:ext cx="3146425"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000" dirty="0">
                <a:solidFill>
                  <a:schemeClr val="bg1"/>
                </a:solidFill>
                <a:cs typeface="Arial" charset="0"/>
              </a:rPr>
              <a:t>This is a level 2 bullet</a:t>
            </a:r>
          </a:p>
          <a:p>
            <a:pPr marL="393700" lvl="3" indent="-114300">
              <a:spcBef>
                <a:spcPts val="600"/>
              </a:spcBef>
              <a:buSzPct val="100000"/>
              <a:buFont typeface="Arial"/>
              <a:buChar char="◦"/>
            </a:pPr>
            <a:r>
              <a:rPr lang="en-US" sz="1000" dirty="0">
                <a:solidFill>
                  <a:schemeClr val="bg1"/>
                </a:solidFill>
                <a:cs typeface="Arial" charset="0"/>
              </a:rPr>
              <a:t>This is a level 3 bullet</a:t>
            </a:r>
          </a:p>
        </p:txBody>
      </p:sp>
      <p:sp>
        <p:nvSpPr>
          <p:cNvPr id="20" name="Text Placeholder 5"/>
          <p:cNvSpPr txBox="1">
            <a:spLocks/>
          </p:cNvSpPr>
          <p:nvPr>
            <p:custDataLst>
              <p:tags r:id="rId2"/>
            </p:custDataLst>
          </p:nvPr>
        </p:nvSpPr>
        <p:spPr>
          <a:xfrm flipH="1">
            <a:off x="5296695" y="4632780"/>
            <a:ext cx="3146425"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000" dirty="0">
                <a:solidFill>
                  <a:schemeClr val="bg1"/>
                </a:solidFill>
                <a:cs typeface="Arial" charset="0"/>
              </a:rPr>
              <a:t>This is a level 2 bullet</a:t>
            </a:r>
          </a:p>
          <a:p>
            <a:pPr marL="393700" lvl="3" indent="-114300">
              <a:spcBef>
                <a:spcPts val="600"/>
              </a:spcBef>
              <a:buSzPct val="100000"/>
              <a:buFont typeface="Arial"/>
              <a:buChar char="◦"/>
            </a:pPr>
            <a:r>
              <a:rPr lang="en-US" sz="10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fographics</a:t>
            </a:r>
            <a:endParaRPr lang="en-GB" dirty="0"/>
          </a:p>
        </p:txBody>
      </p:sp>
    </p:spTree>
    <p:extLst>
      <p:ext uri="{BB962C8B-B14F-4D97-AF65-F5344CB8AC3E}">
        <p14:creationId xmlns:p14="http://schemas.microsoft.com/office/powerpoint/2010/main" val="307567819"/>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9" name="Group 8"/>
          <p:cNvGrpSpPr/>
          <p:nvPr/>
        </p:nvGrpSpPr>
        <p:grpSpPr>
          <a:xfrm>
            <a:off x="1436532" y="1831708"/>
            <a:ext cx="6274863" cy="3873261"/>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1</a:t>
              </a:r>
            </a:p>
            <a:p>
              <a:pPr algn="ctr">
                <a:buFont typeface="Wingdings 2" pitchFamily="18" charset="2"/>
                <a:buNone/>
              </a:pPr>
              <a:r>
                <a:rPr lang="en-GB" sz="1400"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2</a:t>
              </a:r>
            </a:p>
            <a:p>
              <a:pPr algn="ctr">
                <a:buFont typeface="Wingdings 2" pitchFamily="18" charset="2"/>
                <a:buNone/>
              </a:pPr>
              <a:r>
                <a:rPr lang="en-GB" sz="1400"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3</a:t>
              </a:r>
            </a:p>
            <a:p>
              <a:pPr algn="ctr">
                <a:buFont typeface="Wingdings 2" pitchFamily="18" charset="2"/>
                <a:buNone/>
              </a:pPr>
              <a:r>
                <a:rPr lang="en-GB" sz="1400"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4</a:t>
              </a:r>
            </a:p>
            <a:p>
              <a:pPr algn="ctr">
                <a:buFont typeface="Wingdings 2" pitchFamily="18" charset="2"/>
                <a:buNone/>
              </a:pPr>
              <a:r>
                <a:rPr lang="en-GB" sz="1400"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5</a:t>
              </a:r>
            </a:p>
            <a:p>
              <a:pPr algn="ctr">
                <a:buFont typeface="Wingdings 2" pitchFamily="18" charset="2"/>
                <a:buNone/>
              </a:pPr>
              <a:r>
                <a:rPr lang="en-GB" sz="1400"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4400" dirty="0">
                  <a:solidFill>
                    <a:schemeClr val="accent3"/>
                  </a:solidFill>
                </a:rPr>
                <a:t>6</a:t>
              </a:r>
            </a:p>
            <a:p>
              <a:pPr algn="ctr">
                <a:buFont typeface="Wingdings 2" pitchFamily="18" charset="2"/>
                <a:buNone/>
              </a:pPr>
              <a:r>
                <a:rPr lang="en-GB" sz="1400"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20" name="Group 19"/>
          <p:cNvGrpSpPr/>
          <p:nvPr/>
        </p:nvGrpSpPr>
        <p:grpSpPr>
          <a:xfrm>
            <a:off x="1413641" y="2027937"/>
            <a:ext cx="6993341" cy="3692103"/>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Producer</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Distributor</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Retailer</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en-GB" sz="1400" dirty="0">
                  <a:solidFill>
                    <a:schemeClr val="bg2">
                      <a:lumMod val="75000"/>
                    </a:schemeClr>
                  </a:solidFill>
                </a:rPr>
                <a:t>Shopping</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gray">
          <a:xfrm>
            <a:off x="396000" y="1408855"/>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105" name="Group 104"/>
          <p:cNvGrpSpPr/>
          <p:nvPr/>
        </p:nvGrpSpPr>
        <p:grpSpPr>
          <a:xfrm>
            <a:off x="1241796" y="1758900"/>
            <a:ext cx="6663600" cy="4237862"/>
            <a:chOff x="1101589" y="1758900"/>
            <a:chExt cx="6661535" cy="4237862"/>
          </a:xfrm>
        </p:grpSpPr>
        <p:cxnSp>
          <p:nvCxnSpPr>
            <p:cNvPr id="92" name="Straight Connector 91"/>
            <p:cNvCxnSpPr/>
            <p:nvPr/>
          </p:nvCxnSpPr>
          <p:spPr>
            <a:xfrm flipH="1">
              <a:off x="5168663" y="5102076"/>
              <a:ext cx="0" cy="2880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5"/>
                  </a:solidFill>
                </a:rPr>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5"/>
                  </a:solidFill>
                </a:rPr>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66" name="Straight Connector 65"/>
            <p:cNvCxnSpPr>
              <a:stCxn id="13" idx="0"/>
            </p:cNvCxnSpPr>
            <p:nvPr/>
          </p:nvCxnSpPr>
          <p:spPr>
            <a:xfrm flipH="1" flipV="1">
              <a:off x="5998219" y="1996062"/>
              <a:ext cx="1882" cy="138396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6595859"/>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5" name="Group 4"/>
          <p:cNvGrpSpPr/>
          <p:nvPr/>
        </p:nvGrpSpPr>
        <p:grpSpPr>
          <a:xfrm>
            <a:off x="1242000" y="2820997"/>
            <a:ext cx="6661823" cy="3175765"/>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396001" y="1832828"/>
            <a:ext cx="8392400" cy="3796720"/>
            <a:chOff x="396000" y="1832828"/>
            <a:chExt cx="8788625" cy="3975972"/>
          </a:xfrm>
        </p:grpSpPr>
        <p:cxnSp>
          <p:nvCxnSpPr>
            <p:cNvPr id="6" name="Straight Connector 5"/>
            <p:cNvCxnSpPr/>
            <p:nvPr/>
          </p:nvCxnSpPr>
          <p:spPr>
            <a:xfrm>
              <a:off x="396000" y="3835400"/>
              <a:ext cx="8746317"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04</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22</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2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4"/>
                  </a:solidFill>
                </a:rPr>
                <a:t>26</a:t>
              </a:r>
            </a:p>
            <a:p>
              <a:r>
                <a:rPr lang="en-GB" sz="800" dirty="0">
                  <a:solidFill>
                    <a:schemeClr val="accent4"/>
                  </a:solidFill>
                </a:rPr>
                <a:t>Lorem ipsum</a:t>
              </a:r>
            </a:p>
            <a:p>
              <a:r>
                <a:rPr lang="en-GB" sz="800" dirty="0" err="1">
                  <a:solidFill>
                    <a:schemeClr val="accent4"/>
                  </a:solidFill>
                </a:rPr>
                <a:t>odit</a:t>
              </a:r>
              <a:r>
                <a:rPr lang="en-GB" sz="800" dirty="0">
                  <a:solidFill>
                    <a:schemeClr val="accent4"/>
                  </a:solidFill>
                </a:rPr>
                <a:t> que </a:t>
              </a:r>
              <a:r>
                <a:rPr lang="en-GB" sz="800" dirty="0" err="1">
                  <a:solidFill>
                    <a:schemeClr val="accent4"/>
                  </a:solidFill>
                </a:rPr>
                <a:t>perovit</a:t>
              </a:r>
              <a:endParaRPr lang="en-GB" sz="800" dirty="0">
                <a:solidFill>
                  <a:schemeClr val="accent4"/>
                </a:solidFill>
              </a:endParaRPr>
            </a:p>
            <a:p>
              <a:r>
                <a:rPr lang="en-GB" sz="800" dirty="0" err="1">
                  <a:solidFill>
                    <a:schemeClr val="accent4"/>
                  </a:solidFill>
                </a:rPr>
                <a:t>unt</a:t>
              </a:r>
              <a:r>
                <a:rPr lang="en-GB" sz="800" dirty="0">
                  <a:solidFill>
                    <a:schemeClr val="accent4"/>
                  </a:solidFill>
                </a:rPr>
                <a:t> pa </a:t>
              </a:r>
              <a:r>
                <a:rPr lang="en-GB" sz="800" dirty="0" err="1">
                  <a:solidFill>
                    <a:schemeClr val="accent4"/>
                  </a:solidFill>
                </a:rPr>
                <a:t>voluptio</a:t>
              </a:r>
              <a:endParaRPr lang="en-GB" sz="800" dirty="0">
                <a:solidFill>
                  <a:schemeClr val="accent4"/>
                </a:solidFill>
              </a:endParaRPr>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6</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1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584775"/>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57" name="TextBox 56"/>
            <p:cNvSpPr txBox="1"/>
            <p:nvPr/>
          </p:nvSpPr>
          <p:spPr>
            <a:xfrm rot="16200000">
              <a:off x="1195306" y="4582561"/>
              <a:ext cx="1014960" cy="215444"/>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82561"/>
              <a:ext cx="1014960" cy="215444"/>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82561"/>
              <a:ext cx="1014960" cy="215444"/>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1421027" y="1959705"/>
            <a:ext cx="6005383" cy="4171393"/>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TextBox 42"/>
            <p:cNvSpPr txBox="1"/>
            <p:nvPr/>
          </p:nvSpPr>
          <p:spPr>
            <a:xfrm>
              <a:off x="6674941" y="1824728"/>
              <a:ext cx="1127667"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1"/>
                  </a:solidFill>
                </a:rPr>
                <a:t>User</a:t>
              </a:r>
            </a:p>
            <a:p>
              <a:r>
                <a:rPr lang="en-GB" sz="900" dirty="0">
                  <a:solidFill>
                    <a:schemeClr val="accent1"/>
                  </a:solidFill>
                </a:rPr>
                <a:t>Lorem ipsum</a:t>
              </a:r>
            </a:p>
            <a:p>
              <a:r>
                <a:rPr lang="en-GB" sz="900" dirty="0" err="1">
                  <a:solidFill>
                    <a:schemeClr val="accent1"/>
                  </a:solidFill>
                </a:rPr>
                <a:t>odit</a:t>
              </a:r>
              <a:r>
                <a:rPr lang="en-GB" sz="900" dirty="0">
                  <a:solidFill>
                    <a:schemeClr val="accent1"/>
                  </a:solidFill>
                </a:rPr>
                <a:t> que </a:t>
              </a:r>
              <a:r>
                <a:rPr lang="en-GB" sz="900" dirty="0" err="1">
                  <a:solidFill>
                    <a:schemeClr val="accent1"/>
                  </a:solidFill>
                </a:rPr>
                <a:t>perovit</a:t>
              </a:r>
              <a:endParaRPr lang="en-GB" sz="900" dirty="0">
                <a:solidFill>
                  <a:schemeClr val="accent1"/>
                </a:solidFill>
              </a:endParaRPr>
            </a:p>
            <a:p>
              <a:r>
                <a:rPr lang="en-GB" sz="900" dirty="0" err="1">
                  <a:solidFill>
                    <a:schemeClr val="accent1"/>
                  </a:solidFill>
                </a:rPr>
                <a:t>unt</a:t>
              </a:r>
              <a:r>
                <a:rPr lang="en-GB" sz="900" dirty="0">
                  <a:solidFill>
                    <a:schemeClr val="accent1"/>
                  </a:solidFill>
                </a:rPr>
                <a:t> pa </a:t>
              </a:r>
              <a:r>
                <a:rPr lang="en-GB" sz="900" dirty="0" err="1">
                  <a:solidFill>
                    <a:schemeClr val="accent1"/>
                  </a:solidFill>
                </a:rPr>
                <a:t>voluptio</a:t>
              </a:r>
              <a:endParaRPr lang="en-GB" sz="900" dirty="0">
                <a:solidFill>
                  <a:schemeClr val="accent1"/>
                </a:solidFill>
              </a:endParaRPr>
            </a:p>
            <a:p>
              <a:r>
                <a:rPr lang="en-GB" sz="900" dirty="0" err="1">
                  <a:solidFill>
                    <a:schemeClr val="accent1"/>
                  </a:solidFill>
                </a:rPr>
                <a:t>sequi</a:t>
              </a:r>
              <a:r>
                <a:rPr lang="en-GB" sz="900" dirty="0">
                  <a:solidFill>
                    <a:schemeClr val="accent1"/>
                  </a:solidFill>
                </a:rPr>
                <a:t> </a:t>
              </a:r>
              <a:r>
                <a:rPr lang="en-GB" sz="900" dirty="0" err="1">
                  <a:solidFill>
                    <a:schemeClr val="accent1"/>
                  </a:solidFill>
                </a:rPr>
                <a:t>ut</a:t>
              </a:r>
              <a:r>
                <a:rPr lang="en-GB" sz="900" dirty="0">
                  <a:solidFill>
                    <a:schemeClr val="accent1"/>
                  </a:solidFill>
                </a:rPr>
                <a:t> </a:t>
              </a:r>
              <a:r>
                <a:rPr lang="en-GB" sz="900" dirty="0" err="1">
                  <a:solidFill>
                    <a:schemeClr val="accent1"/>
                  </a:solidFill>
                </a:rPr>
                <a:t>aute</a:t>
              </a:r>
              <a:endParaRPr lang="en-GB" sz="900" dirty="0">
                <a:solidFill>
                  <a:schemeClr val="accent1"/>
                </a:solidFill>
              </a:endParaRPr>
            </a:p>
          </p:txBody>
        </p:sp>
        <p:sp>
          <p:nvSpPr>
            <p:cNvPr id="44" name="TextBox 43"/>
            <p:cNvSpPr txBox="1"/>
            <p:nvPr/>
          </p:nvSpPr>
          <p:spPr>
            <a:xfrm>
              <a:off x="6674938" y="5232646"/>
              <a:ext cx="1127669"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sp>
          <p:nvSpPr>
            <p:cNvPr id="45" name="TextBox 44"/>
            <p:cNvSpPr txBox="1"/>
            <p:nvPr/>
          </p:nvSpPr>
          <p:spPr>
            <a:xfrm>
              <a:off x="1062790" y="2940250"/>
              <a:ext cx="1081420"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2471948" y="2311455"/>
            <a:ext cx="5214965" cy="3607431"/>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400" b="1" dirty="0"/>
                <a:t>47 billion barrels</a:t>
              </a:r>
            </a:p>
            <a:p>
              <a:r>
                <a:rPr lang="en-GB" sz="1200" dirty="0"/>
                <a:t>Lorem ipsum </a:t>
              </a:r>
              <a:r>
                <a:rPr lang="en-GB" sz="1200" dirty="0" err="1"/>
                <a:t>iatesequi</a:t>
              </a:r>
              <a:r>
                <a:rPr lang="en-GB" sz="1200" dirty="0"/>
                <a:t> </a:t>
              </a:r>
              <a:r>
                <a:rPr lang="en-GB" sz="1200" dirty="0" err="1"/>
                <a:t>omnimpo</a:t>
              </a:r>
              <a:r>
                <a:rPr lang="en-GB" sz="1200"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400" b="1" dirty="0"/>
                <a:t>90 billion barrels</a:t>
              </a:r>
            </a:p>
            <a:p>
              <a:r>
                <a:rPr lang="en-GB" sz="1200" dirty="0"/>
                <a:t>Lorem ipsum </a:t>
              </a:r>
              <a:r>
                <a:rPr lang="en-GB" sz="1200" dirty="0" err="1"/>
                <a:t>iatesequi</a:t>
              </a:r>
              <a:r>
                <a:rPr lang="en-GB" sz="1200" dirty="0"/>
                <a:t> </a:t>
              </a:r>
              <a:r>
                <a:rPr lang="en-GB" sz="1200" dirty="0" err="1"/>
                <a:t>omnimpo</a:t>
              </a:r>
              <a:r>
                <a:rPr lang="en-GB" sz="1200"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2488992" y="1975604"/>
            <a:ext cx="4166016" cy="3949200"/>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2488507" y="1976400"/>
            <a:ext cx="4166986" cy="3950120"/>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11" name="Rectangle 10"/>
          <p:cNvSpPr>
            <a:spLocks noChangeArrowheads="1"/>
          </p:cNvSpPr>
          <p:nvPr>
            <p:custDataLst>
              <p:tags r:id="rId1"/>
            </p:custDataLst>
          </p:nvPr>
        </p:nvSpPr>
        <p:spPr bwMode="auto">
          <a:xfrm>
            <a:off x="3266282"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1400" dirty="0">
                <a:ea typeface="ＭＳ Ｐゴシック" pitchFamily="50" charset="-128"/>
              </a:rPr>
              <a:t>Text</a:t>
            </a:r>
          </a:p>
        </p:txBody>
      </p:sp>
      <p:sp>
        <p:nvSpPr>
          <p:cNvPr id="12" name="Text Placeholder 5"/>
          <p:cNvSpPr txBox="1">
            <a:spLocks/>
          </p:cNvSpPr>
          <p:nvPr>
            <p:custDataLst>
              <p:tags r:id="rId2"/>
            </p:custDataLst>
          </p:nvPr>
        </p:nvSpPr>
        <p:spPr>
          <a:xfrm flipH="1">
            <a:off x="695781" y="1706653"/>
            <a:ext cx="3146425" cy="990000"/>
          </a:xfrm>
          <a:prstGeom prst="homePlate">
            <a:avLst>
              <a:gd name="adj" fmla="val 22028"/>
            </a:avLst>
          </a:prstGeom>
          <a:solidFill>
            <a:schemeClr val="bg2">
              <a:lumMod val="90000"/>
            </a:schemeClr>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13" name="Text Placeholder 5"/>
          <p:cNvSpPr txBox="1">
            <a:spLocks/>
          </p:cNvSpPr>
          <p:nvPr>
            <p:custDataLst>
              <p:tags r:id="rId3"/>
            </p:custDataLst>
          </p:nvPr>
        </p:nvSpPr>
        <p:spPr>
          <a:xfrm flipH="1">
            <a:off x="695781" y="2796399"/>
            <a:ext cx="3146425" cy="990000"/>
          </a:xfrm>
          <a:prstGeom prst="homePlate">
            <a:avLst>
              <a:gd name="adj" fmla="val 22028"/>
            </a:avLst>
          </a:prstGeom>
          <a:solidFill>
            <a:schemeClr val="bg2">
              <a:lumMod val="90000"/>
            </a:schemeClr>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1" name="Text Placeholder 5"/>
          <p:cNvSpPr txBox="1">
            <a:spLocks/>
          </p:cNvSpPr>
          <p:nvPr>
            <p:custDataLst>
              <p:tags r:id="rId4"/>
            </p:custDataLst>
          </p:nvPr>
        </p:nvSpPr>
        <p:spPr>
          <a:xfrm flipH="1">
            <a:off x="695781" y="3886145"/>
            <a:ext cx="3146425" cy="990000"/>
          </a:xfrm>
          <a:prstGeom prst="homePlate">
            <a:avLst>
              <a:gd name="adj" fmla="val 22028"/>
            </a:avLst>
          </a:prstGeom>
          <a:solidFill>
            <a:schemeClr val="bg2">
              <a:lumMod val="90000"/>
            </a:schemeClr>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2" name="Text Placeholder 5"/>
          <p:cNvSpPr txBox="1">
            <a:spLocks/>
          </p:cNvSpPr>
          <p:nvPr>
            <p:custDataLst>
              <p:tags r:id="rId5"/>
            </p:custDataLst>
          </p:nvPr>
        </p:nvSpPr>
        <p:spPr>
          <a:xfrm>
            <a:off x="5301795" y="1706653"/>
            <a:ext cx="3146425" cy="990000"/>
          </a:xfrm>
          <a:prstGeom prst="homePlate">
            <a:avLst>
              <a:gd name="adj" fmla="val 22028"/>
            </a:avLst>
          </a:prstGeom>
          <a:solidFill>
            <a:schemeClr val="accent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3" name="Text Placeholder 5"/>
          <p:cNvSpPr txBox="1">
            <a:spLocks/>
          </p:cNvSpPr>
          <p:nvPr>
            <p:custDataLst>
              <p:tags r:id="rId6"/>
            </p:custDataLst>
          </p:nvPr>
        </p:nvSpPr>
        <p:spPr>
          <a:xfrm>
            <a:off x="5301795" y="2796399"/>
            <a:ext cx="3146425" cy="990000"/>
          </a:xfrm>
          <a:prstGeom prst="homePlate">
            <a:avLst>
              <a:gd name="adj" fmla="val 22028"/>
            </a:avLst>
          </a:prstGeom>
          <a:solidFill>
            <a:schemeClr val="accent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4" name="Text Placeholder 5"/>
          <p:cNvSpPr txBox="1">
            <a:spLocks/>
          </p:cNvSpPr>
          <p:nvPr>
            <p:custDataLst>
              <p:tags r:id="rId7"/>
            </p:custDataLst>
          </p:nvPr>
        </p:nvSpPr>
        <p:spPr>
          <a:xfrm>
            <a:off x="5301795" y="3886145"/>
            <a:ext cx="3146425" cy="990000"/>
          </a:xfrm>
          <a:prstGeom prst="homePlate">
            <a:avLst>
              <a:gd name="adj" fmla="val 22028"/>
            </a:avLst>
          </a:prstGeom>
          <a:solidFill>
            <a:schemeClr val="accent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5" name="Text Placeholder 5"/>
          <p:cNvSpPr txBox="1">
            <a:spLocks/>
          </p:cNvSpPr>
          <p:nvPr>
            <p:custDataLst>
              <p:tags r:id="rId8"/>
            </p:custDataLst>
          </p:nvPr>
        </p:nvSpPr>
        <p:spPr>
          <a:xfrm>
            <a:off x="5301795" y="4975890"/>
            <a:ext cx="3146425" cy="990000"/>
          </a:xfrm>
          <a:prstGeom prst="homePlate">
            <a:avLst>
              <a:gd name="adj" fmla="val 22028"/>
            </a:avLst>
          </a:prstGeom>
          <a:solidFill>
            <a:schemeClr val="accent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
        <p:nvSpPr>
          <p:cNvPr id="26" name="Text Placeholder 5"/>
          <p:cNvSpPr txBox="1">
            <a:spLocks/>
          </p:cNvSpPr>
          <p:nvPr>
            <p:custDataLst>
              <p:tags r:id="rId9"/>
            </p:custDataLst>
          </p:nvPr>
        </p:nvSpPr>
        <p:spPr>
          <a:xfrm flipH="1">
            <a:off x="695781" y="4975890"/>
            <a:ext cx="3146425" cy="990000"/>
          </a:xfrm>
          <a:prstGeom prst="homePlate">
            <a:avLst>
              <a:gd name="adj" fmla="val 22028"/>
            </a:avLst>
          </a:prstGeom>
          <a:solidFill>
            <a:schemeClr val="bg2">
              <a:lumMod val="90000"/>
            </a:schemeClr>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100" dirty="0">
                <a:solidFill>
                  <a:schemeClr val="tx1"/>
                </a:solidFill>
                <a:cs typeface="Arial" charset="0"/>
              </a:rPr>
              <a:t>Text runs here</a:t>
            </a:r>
          </a:p>
          <a:p>
            <a:pPr marL="114300" lvl="1" indent="-114300">
              <a:spcBef>
                <a:spcPts val="600"/>
              </a:spcBef>
              <a:buSzPct val="100000"/>
              <a:buFont typeface="Arial"/>
              <a:buChar char="•"/>
            </a:pPr>
            <a:r>
              <a:rPr lang="en-US" sz="1100" dirty="0">
                <a:solidFill>
                  <a:schemeClr val="tx1"/>
                </a:solidFill>
                <a:cs typeface="Arial" charset="0"/>
              </a:rPr>
              <a:t>This is a level 1 bullet</a:t>
            </a:r>
          </a:p>
          <a:p>
            <a:pPr marL="254000" lvl="2" indent="-114300">
              <a:spcBef>
                <a:spcPts val="600"/>
              </a:spcBef>
              <a:buSzPct val="100000"/>
              <a:buFont typeface="Arial"/>
              <a:buChar char="−"/>
            </a:pPr>
            <a:r>
              <a:rPr lang="en-US" sz="1000" dirty="0">
                <a:solidFill>
                  <a:schemeClr val="tx1"/>
                </a:solidFill>
                <a:cs typeface="Arial" charset="0"/>
              </a:rPr>
              <a:t>This is a level 2 bullet</a:t>
            </a:r>
          </a:p>
        </p:txBody>
      </p:sp>
    </p:spTree>
    <p:extLst>
      <p:ext uri="{BB962C8B-B14F-4D97-AF65-F5344CB8AC3E}">
        <p14:creationId xmlns:p14="http://schemas.microsoft.com/office/powerpoint/2010/main" val="2945785879"/>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sp>
        <p:nvSpPr>
          <p:cNvPr id="10" name="Oval 9"/>
          <p:cNvSpPr/>
          <p:nvPr/>
        </p:nvSpPr>
        <p:spPr bwMode="gray">
          <a:xfrm>
            <a:off x="1774658" y="3138073"/>
            <a:ext cx="1536196" cy="1536196"/>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rPr>
              <a:t>$1.7m</a:t>
            </a:r>
          </a:p>
        </p:txBody>
      </p:sp>
      <p:sp>
        <p:nvSpPr>
          <p:cNvPr id="32" name="Oval 31"/>
          <p:cNvSpPr/>
          <p:nvPr/>
        </p:nvSpPr>
        <p:spPr bwMode="gray">
          <a:xfrm>
            <a:off x="4267198" y="2365881"/>
            <a:ext cx="2982155" cy="298215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4000" b="1" dirty="0">
                <a:solidFill>
                  <a:schemeClr val="bg1"/>
                </a:solidFill>
              </a:rPr>
              <a:t>$52m</a:t>
            </a:r>
          </a:p>
        </p:txBody>
      </p:sp>
      <p:sp>
        <p:nvSpPr>
          <p:cNvPr id="35" name="TextBox 34"/>
          <p:cNvSpPr txBox="1"/>
          <p:nvPr/>
        </p:nvSpPr>
        <p:spPr>
          <a:xfrm>
            <a:off x="4102768" y="2183732"/>
            <a:ext cx="3326645" cy="3320715"/>
          </a:xfrm>
          <a:prstGeom prst="rect">
            <a:avLst/>
          </a:prstGeom>
          <a:noFill/>
        </p:spPr>
        <p:txBody>
          <a:bodyPr wrap="square" lIns="0" tIns="0" rIns="0" bIns="0" rtlCol="0">
            <a:prstTxWarp prst="textArchUp">
              <a:avLst>
                <a:gd name="adj" fmla="val 11715203"/>
              </a:avLst>
            </a:prstTxWarp>
            <a:noAutofit/>
          </a:bodyPr>
          <a:lstStyle/>
          <a:p>
            <a:r>
              <a:rPr lang="en-GB" dirty="0">
                <a:solidFill>
                  <a:schemeClr val="accent1"/>
                </a:solidFill>
              </a:rPr>
              <a:t>Title one here</a:t>
            </a:r>
            <a:endParaRPr lang="en-GB" sz="1400" dirty="0">
              <a:solidFill>
                <a:schemeClr val="accent1"/>
              </a:solidFill>
            </a:endParaRPr>
          </a:p>
        </p:txBody>
      </p:sp>
      <p:sp>
        <p:nvSpPr>
          <p:cNvPr id="36" name="TextBox 35"/>
          <p:cNvSpPr txBox="1"/>
          <p:nvPr/>
        </p:nvSpPr>
        <p:spPr>
          <a:xfrm>
            <a:off x="1654629" y="3021874"/>
            <a:ext cx="1792324" cy="1751197"/>
          </a:xfrm>
          <a:prstGeom prst="rect">
            <a:avLst/>
          </a:prstGeom>
          <a:noFill/>
        </p:spPr>
        <p:txBody>
          <a:bodyPr wrap="square" lIns="0" tIns="0" rIns="0" bIns="0" rtlCol="0">
            <a:prstTxWarp prst="textArchUp">
              <a:avLst>
                <a:gd name="adj" fmla="val 10781328"/>
              </a:avLst>
            </a:prstTxWarp>
            <a:noAutofit/>
          </a:bodyPr>
          <a:lstStyle/>
          <a:p>
            <a:r>
              <a:rPr lang="en-GB" dirty="0">
                <a:solidFill>
                  <a:schemeClr val="accent2"/>
                </a:solidFill>
              </a:rPr>
              <a:t>Title two</a:t>
            </a:r>
            <a:endParaRPr lang="en-GB" sz="1400" dirty="0">
              <a:solidFill>
                <a:schemeClr val="accent2"/>
              </a:solidFill>
            </a:endParaRPr>
          </a:p>
        </p:txBody>
      </p:sp>
    </p:spTree>
    <p:extLst>
      <p:ext uri="{BB962C8B-B14F-4D97-AF65-F5344CB8AC3E}">
        <p14:creationId xmlns:p14="http://schemas.microsoft.com/office/powerpoint/2010/main" val="4038912118"/>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7" name="Group 6"/>
          <p:cNvGrpSpPr/>
          <p:nvPr/>
        </p:nvGrpSpPr>
        <p:grpSpPr>
          <a:xfrm>
            <a:off x="396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a:t>
              </a:r>
            </a:p>
          </p:txBody>
        </p:sp>
      </p:grpSp>
      <p:grpSp>
        <p:nvGrpSpPr>
          <p:cNvPr id="8" name="Group 7"/>
          <p:cNvGrpSpPr/>
          <p:nvPr/>
        </p:nvGrpSpPr>
        <p:grpSpPr>
          <a:xfrm>
            <a:off x="4859231"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4%</a:t>
              </a:r>
            </a:p>
          </p:txBody>
        </p:sp>
      </p:grpSp>
    </p:spTree>
    <p:extLst>
      <p:ext uri="{BB962C8B-B14F-4D97-AF65-F5344CB8AC3E}">
        <p14:creationId xmlns:p14="http://schemas.microsoft.com/office/powerpoint/2010/main" val="2657698934"/>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1545273" y="1902941"/>
            <a:ext cx="6053454" cy="4122738"/>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600" b="1" dirty="0">
                  <a:solidFill>
                    <a:schemeClr val="accent2"/>
                  </a:solidFill>
                </a:rPr>
                <a:t>52,44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600" b="1" dirty="0">
                  <a:solidFill>
                    <a:schemeClr val="accent2"/>
                  </a:solidFill>
                </a:rPr>
                <a:t>1,011,000</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600" b="1" dirty="0">
                  <a:solidFill>
                    <a:schemeClr val="accent2"/>
                  </a:solidFill>
                </a:rPr>
                <a:t>1,181,40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600" b="1" dirty="0">
                  <a:solidFill>
                    <a:schemeClr val="accent2"/>
                  </a:solidFill>
                </a:rPr>
                <a:t>1,339,691</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Highlight numbers</a:t>
            </a:r>
            <a:endParaRPr lang="en-GB" dirty="0"/>
          </a:p>
        </p:txBody>
      </p:sp>
      <p:sp>
        <p:nvSpPr>
          <p:cNvPr id="50" name="TextBox 49"/>
          <p:cNvSpPr txBox="1"/>
          <p:nvPr/>
        </p:nvSpPr>
        <p:spPr>
          <a:xfrm>
            <a:off x="1916903" y="1854938"/>
            <a:ext cx="2051428"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2" name="TextBox 51"/>
          <p:cNvSpPr txBox="1"/>
          <p:nvPr/>
        </p:nvSpPr>
        <p:spPr>
          <a:xfrm>
            <a:off x="-17904" y="2896808"/>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17904" y="1629303"/>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6133076" y="1854938"/>
            <a:ext cx="2256571" cy="1077218"/>
          </a:xfrm>
          <a:prstGeom prst="rect">
            <a:avLst/>
          </a:prstGeom>
          <a:noFill/>
        </p:spPr>
        <p:txBody>
          <a:bodyPr wrap="square" lIns="0" tIns="0" rIns="0" bIns="0" rtlCol="0">
            <a:noAutofit/>
          </a:bodyPr>
          <a:lstStyle/>
          <a:p>
            <a:r>
              <a:rPr lang="en-GB" sz="1100" b="1" dirty="0">
                <a:solidFill>
                  <a:schemeClr val="tx2"/>
                </a:solidFill>
              </a:rPr>
              <a:t>Maecenas </a:t>
            </a:r>
            <a:r>
              <a:rPr lang="en-GB" sz="1100" b="1" dirty="0" err="1">
                <a:solidFill>
                  <a:schemeClr val="tx2"/>
                </a:solidFill>
              </a:rPr>
              <a:t>tincidunt</a:t>
            </a:r>
            <a:endParaRPr lang="en-GB" sz="1100" b="1" dirty="0">
              <a:solidFill>
                <a:schemeClr val="tx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6" name="TextBox 55"/>
          <p:cNvSpPr txBox="1"/>
          <p:nvPr/>
        </p:nvSpPr>
        <p:spPr>
          <a:xfrm>
            <a:off x="4189627" y="1629303"/>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solidFill>
              </a:rPr>
              <a:t>04</a:t>
            </a:r>
          </a:p>
        </p:txBody>
      </p:sp>
      <p:sp>
        <p:nvSpPr>
          <p:cNvPr id="58" name="TextBox 57"/>
          <p:cNvSpPr txBox="1"/>
          <p:nvPr/>
        </p:nvSpPr>
        <p:spPr>
          <a:xfrm>
            <a:off x="-17904" y="4294538"/>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4189627" y="2896808"/>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4189627" y="4294538"/>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1916903" y="3164024"/>
            <a:ext cx="2051428" cy="1077218"/>
          </a:xfrm>
          <a:prstGeom prst="rect">
            <a:avLst/>
          </a:prstGeom>
          <a:noFill/>
        </p:spPr>
        <p:txBody>
          <a:bodyPr wrap="square" lIns="0" tIns="0" rIns="0" bIns="0" rtlCol="0">
            <a:noAutofit/>
          </a:bodyPr>
          <a:lstStyle/>
          <a:p>
            <a:r>
              <a:rPr lang="en-GB" sz="1100" b="1" dirty="0">
                <a:solidFill>
                  <a:schemeClr val="accent2"/>
                </a:solidFill>
              </a:rPr>
              <a:t>Maecenas </a:t>
            </a:r>
            <a:r>
              <a:rPr lang="en-GB" sz="1100" b="1" dirty="0" err="1">
                <a:solidFill>
                  <a:schemeClr val="accent2"/>
                </a:solidFill>
              </a:rPr>
              <a:t>tincidunt</a:t>
            </a:r>
            <a:endParaRPr lang="en-GB" sz="1100" b="1" dirty="0">
              <a:solidFill>
                <a:schemeClr val="accent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7" name="TextBox 66"/>
          <p:cNvSpPr txBox="1"/>
          <p:nvPr/>
        </p:nvSpPr>
        <p:spPr>
          <a:xfrm>
            <a:off x="6133076" y="3164024"/>
            <a:ext cx="2256571" cy="1077218"/>
          </a:xfrm>
          <a:prstGeom prst="rect">
            <a:avLst/>
          </a:prstGeom>
          <a:noFill/>
        </p:spPr>
        <p:txBody>
          <a:bodyPr wrap="square" lIns="0" tIns="0" rIns="0" bIns="0" rtlCol="0">
            <a:noAutofit/>
          </a:bodyPr>
          <a:lstStyle/>
          <a:p>
            <a:r>
              <a:rPr lang="en-GB" sz="1100" b="1" dirty="0">
                <a:solidFill>
                  <a:schemeClr val="accent5"/>
                </a:solidFill>
              </a:rPr>
              <a:t>Maecenas </a:t>
            </a:r>
            <a:r>
              <a:rPr lang="en-GB" sz="1100" b="1" dirty="0" err="1">
                <a:solidFill>
                  <a:schemeClr val="accent5"/>
                </a:solidFill>
              </a:rPr>
              <a:t>tincidunt</a:t>
            </a:r>
            <a:endParaRPr lang="en-GB" sz="1100" b="1" dirty="0">
              <a:solidFill>
                <a:schemeClr val="accent5"/>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9" name="TextBox 68"/>
          <p:cNvSpPr txBox="1"/>
          <p:nvPr/>
        </p:nvSpPr>
        <p:spPr>
          <a:xfrm>
            <a:off x="1916903" y="4568595"/>
            <a:ext cx="2051428" cy="1077218"/>
          </a:xfrm>
          <a:prstGeom prst="rect">
            <a:avLst/>
          </a:prstGeom>
          <a:noFill/>
        </p:spPr>
        <p:txBody>
          <a:bodyPr wrap="square" lIns="0" tIns="0" rIns="0" bIns="0" rtlCol="0">
            <a:noAutofit/>
          </a:bodyPr>
          <a:lstStyle/>
          <a:p>
            <a:r>
              <a:rPr lang="en-GB" sz="1100" b="1" dirty="0">
                <a:solidFill>
                  <a:schemeClr val="accent1"/>
                </a:solidFill>
              </a:rPr>
              <a:t>Maecenas </a:t>
            </a:r>
            <a:r>
              <a:rPr lang="en-GB" sz="1100" b="1" dirty="0" err="1">
                <a:solidFill>
                  <a:schemeClr val="accent1"/>
                </a:solidFill>
              </a:rPr>
              <a:t>tincidunt</a:t>
            </a:r>
            <a:endParaRPr lang="en-GB" sz="1100" b="1" dirty="0">
              <a:solidFill>
                <a:schemeClr val="accent1"/>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71" name="TextBox 70"/>
          <p:cNvSpPr txBox="1"/>
          <p:nvPr/>
        </p:nvSpPr>
        <p:spPr>
          <a:xfrm>
            <a:off x="6133076" y="4568595"/>
            <a:ext cx="2256571"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5042648" y="1972651"/>
            <a:ext cx="2116435" cy="3476201"/>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13" name="Group 12"/>
          <p:cNvGrpSpPr/>
          <p:nvPr/>
        </p:nvGrpSpPr>
        <p:grpSpPr>
          <a:xfrm>
            <a:off x="1984917" y="1972651"/>
            <a:ext cx="2116435" cy="3476201"/>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9" name="TextBox 18"/>
          <p:cNvSpPr txBox="1"/>
          <p:nvPr/>
        </p:nvSpPr>
        <p:spPr>
          <a:xfrm>
            <a:off x="2257543" y="2147900"/>
            <a:ext cx="1703480" cy="849107"/>
          </a:xfrm>
          <a:prstGeom prst="rect">
            <a:avLst/>
          </a:prstGeom>
          <a:noFill/>
        </p:spPr>
        <p:txBody>
          <a:bodyPr wrap="square" lIns="0" tIns="0" rIns="0" bIns="0" rtlCol="0">
            <a:noAutofit/>
          </a:bodyPr>
          <a:lstStyle/>
          <a:p>
            <a:r>
              <a:rPr lang="en-GB" sz="2000" b="1" dirty="0">
                <a:solidFill>
                  <a:schemeClr val="bg1"/>
                </a:solidFill>
              </a:rPr>
              <a:t>Early adopters</a:t>
            </a:r>
            <a:endParaRPr lang="en-GB" sz="2000" dirty="0">
              <a:solidFill>
                <a:schemeClr val="bg1"/>
              </a:solidFill>
            </a:endParaRPr>
          </a:p>
        </p:txBody>
      </p:sp>
      <p:grpSp>
        <p:nvGrpSpPr>
          <p:cNvPr id="7" name="Group 6"/>
          <p:cNvGrpSpPr/>
          <p:nvPr/>
        </p:nvGrpSpPr>
        <p:grpSpPr>
          <a:xfrm>
            <a:off x="2508776" y="2993013"/>
            <a:ext cx="1011237" cy="1011237"/>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TextBox 32"/>
          <p:cNvSpPr txBox="1"/>
          <p:nvPr/>
        </p:nvSpPr>
        <p:spPr>
          <a:xfrm>
            <a:off x="2254763" y="4253347"/>
            <a:ext cx="1741264" cy="651460"/>
          </a:xfrm>
          <a:prstGeom prst="rect">
            <a:avLst/>
          </a:prstGeom>
          <a:noFill/>
        </p:spPr>
        <p:txBody>
          <a:bodyPr wrap="square" lIns="0" tIns="0" rIns="0" bIns="0" rtlCol="0">
            <a:noAutofit/>
          </a:bodyPr>
          <a:lstStyle/>
          <a:p>
            <a:r>
              <a:rPr lang="en-GB" sz="1000" i="1" dirty="0">
                <a:solidFill>
                  <a:schemeClr val="bg1"/>
                </a:solidFill>
              </a:rPr>
              <a:t>“I’m always keen to </a:t>
            </a:r>
          </a:p>
          <a:p>
            <a:r>
              <a:rPr lang="en-GB" sz="1000" i="1" dirty="0">
                <a:solidFill>
                  <a:schemeClr val="bg1"/>
                </a:solidFill>
              </a:rPr>
              <a:t>use new technology </a:t>
            </a:r>
          </a:p>
          <a:p>
            <a:r>
              <a:rPr lang="en-GB" sz="1000" i="1" dirty="0">
                <a:solidFill>
                  <a:schemeClr val="bg1"/>
                </a:solidFill>
              </a:rPr>
              <a:t>products as soon as </a:t>
            </a:r>
          </a:p>
          <a:p>
            <a:r>
              <a:rPr lang="en-GB" sz="1000" i="1" dirty="0">
                <a:solidFill>
                  <a:schemeClr val="bg1"/>
                </a:solidFill>
              </a:rPr>
              <a:t>they enter the market.”</a:t>
            </a:r>
          </a:p>
        </p:txBody>
      </p:sp>
      <p:grpSp>
        <p:nvGrpSpPr>
          <p:cNvPr id="18" name="Group 17"/>
          <p:cNvGrpSpPr/>
          <p:nvPr/>
        </p:nvGrpSpPr>
        <p:grpSpPr>
          <a:xfrm>
            <a:off x="2184775" y="5586617"/>
            <a:ext cx="1757822" cy="341140"/>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57" name="TextBox 56"/>
          <p:cNvSpPr txBox="1"/>
          <p:nvPr/>
        </p:nvSpPr>
        <p:spPr>
          <a:xfrm>
            <a:off x="2531099" y="5648507"/>
            <a:ext cx="1295020" cy="183402"/>
          </a:xfrm>
          <a:prstGeom prst="rect">
            <a:avLst/>
          </a:prstGeom>
          <a:noFill/>
        </p:spPr>
        <p:txBody>
          <a:bodyPr wrap="square" lIns="0" tIns="0" rIns="0" bIns="0" rtlCol="0">
            <a:noAutofit/>
          </a:bodyPr>
          <a:lstStyle/>
          <a:p>
            <a:r>
              <a:rPr lang="en-GB" sz="1400" b="1" dirty="0">
                <a:solidFill>
                  <a:schemeClr val="accent5"/>
                </a:solidFill>
              </a:rPr>
              <a:t>10% </a:t>
            </a:r>
            <a:r>
              <a:rPr lang="en-GB" sz="900" dirty="0">
                <a:solidFill>
                  <a:schemeClr val="accent5"/>
                </a:solidFill>
              </a:rPr>
              <a:t>of the UK</a:t>
            </a:r>
          </a:p>
        </p:txBody>
      </p:sp>
      <p:sp>
        <p:nvSpPr>
          <p:cNvPr id="64" name="TextBox 63"/>
          <p:cNvSpPr txBox="1"/>
          <p:nvPr/>
        </p:nvSpPr>
        <p:spPr>
          <a:xfrm>
            <a:off x="5315273" y="2147900"/>
            <a:ext cx="1703480" cy="849107"/>
          </a:xfrm>
          <a:prstGeom prst="rect">
            <a:avLst/>
          </a:prstGeom>
          <a:noFill/>
        </p:spPr>
        <p:txBody>
          <a:bodyPr wrap="square" lIns="0" tIns="0" rIns="0" bIns="0" rtlCol="0">
            <a:noAutofit/>
          </a:bodyPr>
          <a:lstStyle/>
          <a:p>
            <a:r>
              <a:rPr lang="en-GB" sz="2000" b="1" dirty="0">
                <a:solidFill>
                  <a:schemeClr val="bg1"/>
                </a:solidFill>
              </a:rPr>
              <a:t>Late adopters</a:t>
            </a:r>
            <a:endParaRPr lang="en-GB" sz="2000" dirty="0">
              <a:solidFill>
                <a:schemeClr val="bg1"/>
              </a:solidFill>
            </a:endParaRPr>
          </a:p>
        </p:txBody>
      </p:sp>
      <p:sp>
        <p:nvSpPr>
          <p:cNvPr id="79" name="TextBox 78"/>
          <p:cNvSpPr txBox="1"/>
          <p:nvPr/>
        </p:nvSpPr>
        <p:spPr>
          <a:xfrm>
            <a:off x="5312493" y="4253347"/>
            <a:ext cx="1741264" cy="651460"/>
          </a:xfrm>
          <a:prstGeom prst="rect">
            <a:avLst/>
          </a:prstGeom>
          <a:noFill/>
        </p:spPr>
        <p:txBody>
          <a:bodyPr wrap="square" lIns="0" tIns="0" rIns="0" bIns="0" rtlCol="0">
            <a:noAutofit/>
          </a:bodyPr>
          <a:lstStyle/>
          <a:p>
            <a:r>
              <a:rPr lang="en-GB" sz="1000" i="1" dirty="0">
                <a:solidFill>
                  <a:schemeClr val="bg1"/>
                </a:solidFill>
              </a:rPr>
              <a:t>“I only replace </a:t>
            </a:r>
          </a:p>
          <a:p>
            <a:r>
              <a:rPr lang="en-GB" sz="1000" i="1" dirty="0">
                <a:solidFill>
                  <a:schemeClr val="bg1"/>
                </a:solidFill>
              </a:rPr>
              <a:t> technology products </a:t>
            </a:r>
          </a:p>
          <a:p>
            <a:r>
              <a:rPr lang="en-GB" sz="1000" i="1" dirty="0">
                <a:solidFill>
                  <a:schemeClr val="bg1"/>
                </a:solidFill>
              </a:rPr>
              <a:t> when they go wrong </a:t>
            </a:r>
          </a:p>
          <a:p>
            <a:r>
              <a:rPr lang="en-GB" sz="1000" i="1" dirty="0">
                <a:solidFill>
                  <a:schemeClr val="bg1"/>
                </a:solidFill>
              </a:rPr>
              <a:t> or are broken.”</a:t>
            </a:r>
          </a:p>
        </p:txBody>
      </p:sp>
      <p:grpSp>
        <p:nvGrpSpPr>
          <p:cNvPr id="17" name="Group 16"/>
          <p:cNvGrpSpPr/>
          <p:nvPr/>
        </p:nvGrpSpPr>
        <p:grpSpPr>
          <a:xfrm>
            <a:off x="5242505" y="5586617"/>
            <a:ext cx="1757822" cy="341140"/>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6" name="TextBox 85"/>
          <p:cNvSpPr txBox="1"/>
          <p:nvPr/>
        </p:nvSpPr>
        <p:spPr>
          <a:xfrm>
            <a:off x="5588830" y="5648507"/>
            <a:ext cx="1319248" cy="183402"/>
          </a:xfrm>
          <a:prstGeom prst="rect">
            <a:avLst/>
          </a:prstGeom>
          <a:noFill/>
        </p:spPr>
        <p:txBody>
          <a:bodyPr wrap="square" lIns="0" tIns="0" rIns="0" bIns="0" rtlCol="0">
            <a:noAutofit/>
          </a:bodyPr>
          <a:lstStyle/>
          <a:p>
            <a:r>
              <a:rPr lang="en-GB" sz="1400" b="1" dirty="0">
                <a:solidFill>
                  <a:schemeClr val="accent4"/>
                </a:solidFill>
              </a:rPr>
              <a:t>25% </a:t>
            </a:r>
            <a:r>
              <a:rPr lang="en-GB" sz="1000" dirty="0">
                <a:solidFill>
                  <a:schemeClr val="accent4"/>
                </a:solidFill>
              </a:rPr>
              <a:t>of the UK</a:t>
            </a:r>
          </a:p>
        </p:txBody>
      </p:sp>
      <p:sp>
        <p:nvSpPr>
          <p:cNvPr id="41" name="Freeform 923"/>
          <p:cNvSpPr>
            <a:spLocks noEditPoints="1"/>
          </p:cNvSpPr>
          <p:nvPr/>
        </p:nvSpPr>
        <p:spPr bwMode="auto">
          <a:xfrm rot="9057761">
            <a:off x="5473880" y="2922870"/>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TextBox 86"/>
          <p:cNvSpPr txBox="1"/>
          <p:nvPr/>
        </p:nvSpPr>
        <p:spPr>
          <a:xfrm>
            <a:off x="4047472" y="3370875"/>
            <a:ext cx="1053835" cy="767986"/>
          </a:xfrm>
          <a:prstGeom prst="rect">
            <a:avLst/>
          </a:prstGeom>
          <a:noFill/>
        </p:spPr>
        <p:txBody>
          <a:bodyPr wrap="square" lIns="0" tIns="0" rIns="0" bIns="0" rtlCol="0">
            <a:noAutofit/>
          </a:bodyPr>
          <a:lstStyle/>
          <a:p>
            <a:pPr algn="ctr"/>
            <a:r>
              <a:rPr lang="en-GB" sz="4800" dirty="0"/>
              <a:t>Vs</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343591"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Oval 8"/>
          <p:cNvSpPr/>
          <p:nvPr/>
        </p:nvSpPr>
        <p:spPr>
          <a:xfrm rot="13988512">
            <a:off x="375386" y="2150158"/>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Oval 8"/>
          <p:cNvSpPr/>
          <p:nvPr/>
        </p:nvSpPr>
        <p:spPr>
          <a:xfrm rot="17081601">
            <a:off x="1844164"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Oval 8"/>
          <p:cNvSpPr/>
          <p:nvPr/>
        </p:nvSpPr>
        <p:spPr>
          <a:xfrm rot="20617441">
            <a:off x="2725177"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Oval 8"/>
          <p:cNvSpPr/>
          <p:nvPr/>
        </p:nvSpPr>
        <p:spPr>
          <a:xfrm rot="2134922">
            <a:off x="2479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Freeform 7"/>
          <p:cNvSpPr>
            <a:spLocks noChangeAspect="1"/>
          </p:cNvSpPr>
          <p:nvPr/>
        </p:nvSpPr>
        <p:spPr bwMode="auto">
          <a:xfrm>
            <a:off x="1753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5650866" y="1803666"/>
            <a:ext cx="3108960" cy="461665"/>
          </a:xfrm>
          <a:prstGeom prst="rect">
            <a:avLst/>
          </a:prstGeom>
          <a:noFill/>
        </p:spPr>
        <p:txBody>
          <a:bodyPr wrap="square" lIns="0" tIns="0" rIns="0" bIns="0" rtlCol="0">
            <a:spAutoFit/>
          </a:bodyPr>
          <a:lstStyle/>
          <a:p>
            <a:r>
              <a:rPr lang="en-US" sz="1000" b="1" dirty="0" err="1">
                <a:solidFill>
                  <a:schemeClr val="accent1"/>
                </a:solidFill>
                <a:cs typeface="Times New Roman" pitchFamily="18" charset="0"/>
              </a:rPr>
              <a:t>Lorem</a:t>
            </a:r>
            <a:r>
              <a:rPr lang="en-US" sz="1000" b="1" dirty="0">
                <a:solidFill>
                  <a:schemeClr val="accent1"/>
                </a:solidFill>
                <a:cs typeface="Times New Roman" pitchFamily="18" charset="0"/>
              </a:rPr>
              <a:t> </a:t>
            </a:r>
            <a:r>
              <a:rPr lang="en-US" sz="1000" b="1" dirty="0" err="1">
                <a:solidFill>
                  <a:schemeClr val="accent1"/>
                </a:solidFill>
                <a:cs typeface="Times New Roman" pitchFamily="18" charset="0"/>
              </a:rPr>
              <a:t>ipsum</a:t>
            </a:r>
            <a:r>
              <a:rPr lang="en-US" sz="1000" b="1" dirty="0">
                <a:solidFill>
                  <a:schemeClr val="accent1"/>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 </a:t>
            </a:r>
          </a:p>
        </p:txBody>
      </p:sp>
      <p:sp>
        <p:nvSpPr>
          <p:cNvPr id="41" name="Oval 8"/>
          <p:cNvSpPr/>
          <p:nvPr/>
        </p:nvSpPr>
        <p:spPr>
          <a:xfrm rot="21012786">
            <a:off x="5100673" y="184404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a:solidFill>
                <a:schemeClr val="tx2"/>
              </a:solidFill>
            </a:endParaRPr>
          </a:p>
        </p:txBody>
      </p:sp>
      <p:sp>
        <p:nvSpPr>
          <p:cNvPr id="39" name="TextBox 38"/>
          <p:cNvSpPr txBox="1"/>
          <p:nvPr/>
        </p:nvSpPr>
        <p:spPr>
          <a:xfrm>
            <a:off x="5650866" y="2792030"/>
            <a:ext cx="3108960" cy="461665"/>
          </a:xfrm>
          <a:prstGeom prst="rect">
            <a:avLst/>
          </a:prstGeom>
          <a:noFill/>
        </p:spPr>
        <p:txBody>
          <a:bodyPr wrap="square" lIns="0" tIns="0" rIns="0" bIns="0" rtlCol="0">
            <a:spAutoFit/>
          </a:bodyPr>
          <a:lstStyle/>
          <a:p>
            <a:r>
              <a:rPr lang="en-US" sz="1000" b="1" dirty="0" err="1">
                <a:solidFill>
                  <a:schemeClr val="accent2"/>
                </a:solidFill>
                <a:cs typeface="Times New Roman" pitchFamily="18" charset="0"/>
              </a:rPr>
              <a:t>Lorem</a:t>
            </a:r>
            <a:r>
              <a:rPr lang="en-US" sz="1000" b="1" dirty="0">
                <a:solidFill>
                  <a:schemeClr val="accent2"/>
                </a:solidFill>
                <a:cs typeface="Times New Roman" pitchFamily="18" charset="0"/>
              </a:rPr>
              <a:t> </a:t>
            </a:r>
            <a:r>
              <a:rPr lang="en-US" sz="1000" b="1" dirty="0" err="1">
                <a:solidFill>
                  <a:schemeClr val="accent2"/>
                </a:solidFill>
                <a:cs typeface="Times New Roman" pitchFamily="18" charset="0"/>
              </a:rPr>
              <a:t>ipsum</a:t>
            </a:r>
            <a:r>
              <a:rPr lang="en-US" sz="1000" b="1" dirty="0">
                <a:solidFill>
                  <a:schemeClr val="accent2"/>
                </a:solidFill>
                <a:cs typeface="Times New Roman" pitchFamily="18" charset="0"/>
              </a:rPr>
              <a:t> </a:t>
            </a:r>
            <a:br>
              <a:rPr lang="en-US" sz="1000" b="1" dirty="0">
                <a:solidFill>
                  <a:srgbClr val="313131"/>
                </a:solidFill>
              </a:rPr>
            </a:br>
            <a:r>
              <a:rPr lang="en-US" sz="1000" dirty="0">
                <a:solidFill>
                  <a:srgbClr val="53565A"/>
                </a:solidFill>
              </a:rPr>
              <a:t>This is dummy text it is not here to be read this is dummy text it is not here to be read.</a:t>
            </a:r>
          </a:p>
        </p:txBody>
      </p:sp>
      <p:sp>
        <p:nvSpPr>
          <p:cNvPr id="42" name="Oval 8"/>
          <p:cNvSpPr/>
          <p:nvPr/>
        </p:nvSpPr>
        <p:spPr>
          <a:xfrm rot="13988512">
            <a:off x="5121926" y="2889371"/>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7" name="TextBox 36"/>
          <p:cNvSpPr txBox="1"/>
          <p:nvPr/>
        </p:nvSpPr>
        <p:spPr>
          <a:xfrm>
            <a:off x="5669915" y="3780394"/>
            <a:ext cx="3108960" cy="461665"/>
          </a:xfrm>
          <a:prstGeom prst="rect">
            <a:avLst/>
          </a:prstGeom>
          <a:noFill/>
        </p:spPr>
        <p:txBody>
          <a:bodyPr wrap="square" lIns="0" tIns="0" rIns="0" bIns="0" rtlCol="0">
            <a:spAutoFit/>
          </a:bodyPr>
          <a:lstStyle/>
          <a:p>
            <a:r>
              <a:rPr lang="en-US" sz="1000" b="1" dirty="0" err="1">
                <a:solidFill>
                  <a:schemeClr val="accent3"/>
                </a:solidFill>
                <a:cs typeface="Times New Roman" pitchFamily="18" charset="0"/>
              </a:rPr>
              <a:t>Lorem</a:t>
            </a:r>
            <a:r>
              <a:rPr lang="en-US" sz="1000" b="1" dirty="0">
                <a:solidFill>
                  <a:schemeClr val="accent3"/>
                </a:solidFill>
                <a:cs typeface="Times New Roman" pitchFamily="18" charset="0"/>
              </a:rPr>
              <a:t> </a:t>
            </a:r>
            <a:r>
              <a:rPr lang="en-US" sz="1000" b="1" dirty="0" err="1">
                <a:solidFill>
                  <a:schemeClr val="accent3"/>
                </a:solidFill>
                <a:cs typeface="Times New Roman" pitchFamily="18" charset="0"/>
              </a:rPr>
              <a:t>ipsum</a:t>
            </a:r>
            <a:r>
              <a:rPr lang="en-US" sz="1000" b="1" dirty="0">
                <a:solidFill>
                  <a:schemeClr val="accent3"/>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3" name="Oval 8"/>
          <p:cNvSpPr/>
          <p:nvPr/>
        </p:nvSpPr>
        <p:spPr>
          <a:xfrm rot="17081601">
            <a:off x="5087404" y="391152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8" name="TextBox 37"/>
          <p:cNvSpPr txBox="1"/>
          <p:nvPr/>
        </p:nvSpPr>
        <p:spPr>
          <a:xfrm>
            <a:off x="5669915" y="4768758"/>
            <a:ext cx="3108960" cy="461665"/>
          </a:xfrm>
          <a:prstGeom prst="rect">
            <a:avLst/>
          </a:prstGeom>
          <a:noFill/>
        </p:spPr>
        <p:txBody>
          <a:bodyPr wrap="square" lIns="0" tIns="0" rIns="0" bIns="0" rtlCol="0">
            <a:spAutoFit/>
          </a:bodyPr>
          <a:lstStyle/>
          <a:p>
            <a:r>
              <a:rPr lang="en-US" sz="1000" b="1" dirty="0" err="1">
                <a:solidFill>
                  <a:schemeClr val="accent4"/>
                </a:solidFill>
                <a:cs typeface="Times New Roman" pitchFamily="18" charset="0"/>
              </a:rPr>
              <a:t>Lorem</a:t>
            </a:r>
            <a:r>
              <a:rPr lang="en-US" sz="1000" b="1" dirty="0">
                <a:solidFill>
                  <a:schemeClr val="accent4"/>
                </a:solidFill>
                <a:cs typeface="Times New Roman" pitchFamily="18" charset="0"/>
              </a:rPr>
              <a:t> </a:t>
            </a:r>
            <a:r>
              <a:rPr lang="en-US" sz="1000" b="1" dirty="0" err="1">
                <a:solidFill>
                  <a:schemeClr val="accent4"/>
                </a:solidFill>
                <a:cs typeface="Times New Roman" pitchFamily="18" charset="0"/>
              </a:rPr>
              <a:t>ipsum</a:t>
            </a:r>
            <a:r>
              <a:rPr lang="en-US" sz="1000" b="1" dirty="0">
                <a:solidFill>
                  <a:schemeClr val="accent4"/>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4" name="Oval 8"/>
          <p:cNvSpPr/>
          <p:nvPr/>
        </p:nvSpPr>
        <p:spPr>
          <a:xfrm rot="20617441">
            <a:off x="5097532" y="482132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40" name="TextBox 39"/>
          <p:cNvSpPr txBox="1"/>
          <p:nvPr/>
        </p:nvSpPr>
        <p:spPr>
          <a:xfrm>
            <a:off x="5669915" y="5757123"/>
            <a:ext cx="3108960" cy="461665"/>
          </a:xfrm>
          <a:prstGeom prst="rect">
            <a:avLst/>
          </a:prstGeom>
          <a:noFill/>
        </p:spPr>
        <p:txBody>
          <a:bodyPr wrap="square" lIns="0" tIns="0" rIns="0" bIns="0" rtlCol="0">
            <a:spAutoFit/>
          </a:bodyPr>
          <a:lstStyle/>
          <a:p>
            <a:r>
              <a:rPr lang="en-US" sz="1000" b="1" dirty="0" err="1">
                <a:solidFill>
                  <a:schemeClr val="accent5"/>
                </a:solidFill>
                <a:cs typeface="Times New Roman" pitchFamily="18" charset="0"/>
              </a:rPr>
              <a:t>Lorem</a:t>
            </a:r>
            <a:r>
              <a:rPr lang="en-US" sz="1000" b="1" dirty="0">
                <a:solidFill>
                  <a:schemeClr val="accent5"/>
                </a:solidFill>
                <a:cs typeface="Times New Roman" pitchFamily="18" charset="0"/>
              </a:rPr>
              <a:t> </a:t>
            </a:r>
            <a:r>
              <a:rPr lang="en-US" sz="1000" b="1" dirty="0" err="1">
                <a:solidFill>
                  <a:schemeClr val="accent5"/>
                </a:solidFill>
                <a:cs typeface="Times New Roman" pitchFamily="18" charset="0"/>
              </a:rPr>
              <a:t>ipsum</a:t>
            </a:r>
            <a:r>
              <a:rPr lang="en-US" sz="1000" b="1" dirty="0">
                <a:solidFill>
                  <a:schemeClr val="accent5"/>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5" name="Oval 8"/>
          <p:cNvSpPr/>
          <p:nvPr/>
        </p:nvSpPr>
        <p:spPr>
          <a:xfrm rot="2134922">
            <a:off x="5123246" y="5794051"/>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53" name="Rectangle 52"/>
          <p:cNvSpPr/>
          <p:nvPr/>
        </p:nvSpPr>
        <p:spPr>
          <a:xfrm>
            <a:off x="1828632" y="5736126"/>
            <a:ext cx="1162274" cy="338554"/>
          </a:xfrm>
          <a:prstGeom prst="rect">
            <a:avLst/>
          </a:prstGeom>
        </p:spPr>
        <p:txBody>
          <a:bodyPr wrap="square" lIns="0" tIns="0" rIns="0" bIns="0" anchor="ctr" anchorCtr="0">
            <a:spAutoFit/>
          </a:bodyPr>
          <a:lstStyle/>
          <a:p>
            <a:pPr algn="ctr"/>
            <a:r>
              <a:rPr lang="en-US" sz="1100" b="1" dirty="0" err="1">
                <a:solidFill>
                  <a:schemeClr val="bg1"/>
                </a:solidFill>
              </a:rPr>
              <a:t>Lorem</a:t>
            </a:r>
            <a:r>
              <a:rPr lang="en-US" sz="1100" b="1" dirty="0">
                <a:solidFill>
                  <a:schemeClr val="bg1"/>
                </a:solidFill>
              </a:rPr>
              <a:t> </a:t>
            </a:r>
            <a:br>
              <a:rPr lang="en-US" sz="1100" b="1" dirty="0">
                <a:solidFill>
                  <a:schemeClr val="bg1"/>
                </a:solidFill>
              </a:rPr>
            </a:br>
            <a:r>
              <a:rPr lang="en-US" sz="1100" b="1" dirty="0" err="1">
                <a:solidFill>
                  <a:schemeClr val="bg1"/>
                </a:solidFill>
              </a:rPr>
              <a:t>ipsum</a:t>
            </a:r>
            <a:r>
              <a:rPr lang="en-US" sz="1100" b="1" dirty="0">
                <a:solidFill>
                  <a:schemeClr val="bg1"/>
                </a:solidFill>
              </a:rPr>
              <a:t> </a:t>
            </a:r>
            <a:endParaRPr lang="en-US" sz="1000" dirty="0">
              <a:solidFill>
                <a:schemeClr val="bg1"/>
              </a:solidFill>
            </a:endParaRPr>
          </a:p>
        </p:txBody>
      </p:sp>
      <p:sp>
        <p:nvSpPr>
          <p:cNvPr id="54" name="Rectangle 53"/>
          <p:cNvSpPr/>
          <p:nvPr/>
        </p:nvSpPr>
        <p:spPr>
          <a:xfrm rot="21126068">
            <a:off x="676856" y="3894103"/>
            <a:ext cx="1287567" cy="615553"/>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a:t>
            </a:r>
          </a:p>
        </p:txBody>
      </p:sp>
      <p:sp>
        <p:nvSpPr>
          <p:cNvPr id="56" name="Rectangle 55"/>
          <p:cNvSpPr/>
          <p:nvPr/>
        </p:nvSpPr>
        <p:spPr>
          <a:xfrm>
            <a:off x="915709" y="2339506"/>
            <a:ext cx="1104000" cy="62748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7" name="Rectangle 56"/>
          <p:cNvSpPr/>
          <p:nvPr/>
        </p:nvSpPr>
        <p:spPr>
          <a:xfrm>
            <a:off x="2551297" y="2090637"/>
            <a:ext cx="642664" cy="1231106"/>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a:t>
            </a:r>
          </a:p>
          <a:p>
            <a:r>
              <a:rPr lang="en-US" sz="1000" dirty="0"/>
              <a:t>read </a:t>
            </a:r>
          </a:p>
        </p:txBody>
      </p:sp>
      <p:sp>
        <p:nvSpPr>
          <p:cNvPr id="58" name="Rectangle 57"/>
          <p:cNvSpPr/>
          <p:nvPr/>
        </p:nvSpPr>
        <p:spPr>
          <a:xfrm>
            <a:off x="3331279" y="3211935"/>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9" name="Rectangle 58"/>
          <p:cNvSpPr/>
          <p:nvPr/>
        </p:nvSpPr>
        <p:spPr>
          <a:xfrm rot="1945462">
            <a:off x="2748462" y="4380899"/>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3791079" y="2327353"/>
            <a:ext cx="1886391" cy="3916285"/>
            <a:chOff x="3791079" y="2327353"/>
            <a:chExt cx="1886391" cy="3916285"/>
          </a:xfrm>
          <a:solidFill>
            <a:schemeClr val="accent6"/>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2148473" y="4000677"/>
            <a:ext cx="1939280"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35" name="Oval 34"/>
          <p:cNvSpPr/>
          <p:nvPr/>
        </p:nvSpPr>
        <p:spPr>
          <a:xfrm>
            <a:off x="5417453" y="3413937"/>
            <a:ext cx="1939280"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5103932" y="2035521"/>
            <a:ext cx="1754553" cy="1754553"/>
          </a:xfrm>
          <a:prstGeom prst="ellipse">
            <a:avLst/>
          </a:prstGeom>
          <a:solidFill>
            <a:srgbClr val="43B02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2632782" y="2536660"/>
            <a:ext cx="1754553"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3189360" y="1321534"/>
            <a:ext cx="1427974"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1" name="Oval 60"/>
          <p:cNvSpPr/>
          <p:nvPr/>
        </p:nvSpPr>
        <p:spPr>
          <a:xfrm>
            <a:off x="4389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Rectangle 61"/>
          <p:cNvSpPr/>
          <p:nvPr/>
        </p:nvSpPr>
        <p:spPr>
          <a:xfrm>
            <a:off x="2705972" y="3090771"/>
            <a:ext cx="1606464" cy="769441"/>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63" name="Rectangle 62"/>
          <p:cNvSpPr/>
          <p:nvPr/>
        </p:nvSpPr>
        <p:spPr>
          <a:xfrm>
            <a:off x="2338594" y="4431039"/>
            <a:ext cx="1606464" cy="1077218"/>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4" name="Rectangle 63"/>
          <p:cNvSpPr/>
          <p:nvPr/>
        </p:nvSpPr>
        <p:spPr>
          <a:xfrm>
            <a:off x="5172588" y="2637256"/>
            <a:ext cx="1606464"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65" name="Rectangle 64"/>
          <p:cNvSpPr/>
          <p:nvPr/>
        </p:nvSpPr>
        <p:spPr>
          <a:xfrm>
            <a:off x="5583861" y="3921912"/>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6" name="Rectangle 65"/>
          <p:cNvSpPr/>
          <p:nvPr/>
        </p:nvSpPr>
        <p:spPr>
          <a:xfrm>
            <a:off x="3385456" y="1578261"/>
            <a:ext cx="956157" cy="923330"/>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a:t>
            </a:r>
          </a:p>
        </p:txBody>
      </p:sp>
      <p:sp>
        <p:nvSpPr>
          <p:cNvPr id="67" name="Rectangle 66"/>
          <p:cNvSpPr/>
          <p:nvPr/>
        </p:nvSpPr>
        <p:spPr>
          <a:xfrm>
            <a:off x="4572000" y="1552840"/>
            <a:ext cx="1042582" cy="923330"/>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3791079" y="2327353"/>
            <a:ext cx="1886391" cy="3916285"/>
            <a:chOff x="3791079" y="2327353"/>
            <a:chExt cx="1886391" cy="3916285"/>
          </a:xfrm>
          <a:solidFill>
            <a:schemeClr val="tx2">
              <a:lumMod val="75000"/>
              <a:lumOff val="25000"/>
            </a:schemeClr>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2148473" y="4000677"/>
            <a:ext cx="1939280" cy="1939280"/>
          </a:xfrm>
          <a:prstGeom prst="ellipse">
            <a:avLst/>
          </a:prstGeom>
          <a:solidFill>
            <a:schemeClr val="bg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Oval 34"/>
          <p:cNvSpPr/>
          <p:nvPr/>
        </p:nvSpPr>
        <p:spPr>
          <a:xfrm>
            <a:off x="5417453" y="3413937"/>
            <a:ext cx="1939280" cy="1939280"/>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5103932" y="2035521"/>
            <a:ext cx="1754553" cy="1754553"/>
          </a:xfrm>
          <a:prstGeom prst="ellipse">
            <a:avLst/>
          </a:prstGeom>
          <a:solidFill>
            <a:schemeClr val="tx2">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2632782" y="2536660"/>
            <a:ext cx="1754553" cy="1754553"/>
          </a:xfrm>
          <a:prstGeom prst="ellipse">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3189360" y="1321534"/>
            <a:ext cx="1427974" cy="1427974"/>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1" name="Oval 60"/>
          <p:cNvSpPr/>
          <p:nvPr/>
        </p:nvSpPr>
        <p:spPr>
          <a:xfrm>
            <a:off x="4389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Rectangle 61"/>
          <p:cNvSpPr/>
          <p:nvPr/>
        </p:nvSpPr>
        <p:spPr>
          <a:xfrm>
            <a:off x="2705972" y="3090771"/>
            <a:ext cx="1606464" cy="769441"/>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63" name="Rectangle 62"/>
          <p:cNvSpPr/>
          <p:nvPr/>
        </p:nvSpPr>
        <p:spPr>
          <a:xfrm>
            <a:off x="2338594" y="4431039"/>
            <a:ext cx="1606464" cy="1077218"/>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This is dummy text it is not here to be read.</a:t>
            </a:r>
          </a:p>
        </p:txBody>
      </p:sp>
      <p:sp>
        <p:nvSpPr>
          <p:cNvPr id="64" name="Rectangle 63"/>
          <p:cNvSpPr/>
          <p:nvPr/>
        </p:nvSpPr>
        <p:spPr>
          <a:xfrm>
            <a:off x="5172588" y="2637256"/>
            <a:ext cx="1606464"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65" name="Rectangle 64"/>
          <p:cNvSpPr/>
          <p:nvPr/>
        </p:nvSpPr>
        <p:spPr>
          <a:xfrm>
            <a:off x="5583861" y="3844968"/>
            <a:ext cx="1606464" cy="1077218"/>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This is dummy text it is not here to be read.</a:t>
            </a:r>
          </a:p>
        </p:txBody>
      </p:sp>
      <p:sp>
        <p:nvSpPr>
          <p:cNvPr id="66" name="Rectangle 65"/>
          <p:cNvSpPr/>
          <p:nvPr/>
        </p:nvSpPr>
        <p:spPr>
          <a:xfrm>
            <a:off x="3385456" y="1578261"/>
            <a:ext cx="956157" cy="923330"/>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a:t>
            </a:r>
          </a:p>
        </p:txBody>
      </p:sp>
      <p:sp>
        <p:nvSpPr>
          <p:cNvPr id="67" name="Rectangle 66"/>
          <p:cNvSpPr/>
          <p:nvPr/>
        </p:nvSpPr>
        <p:spPr>
          <a:xfrm>
            <a:off x="4572000" y="1552840"/>
            <a:ext cx="1042582" cy="923330"/>
          </a:xfrm>
          <a:prstGeom prst="rect">
            <a:avLst/>
          </a:prstGeom>
        </p:spPr>
        <p:txBody>
          <a:bodyPr wrap="square" lIns="0" tIns="0" rIns="0" bIns="0" anchor="ctr" anchorCtr="0">
            <a:spAutoFit/>
          </a:bodyPr>
          <a:lstStyle/>
          <a:p>
            <a:pPr algn="ct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a:t>
            </a:r>
          </a:p>
        </p:txBody>
      </p:sp>
    </p:spTree>
    <p:extLst>
      <p:ext uri="{BB962C8B-B14F-4D97-AF65-F5344CB8AC3E}">
        <p14:creationId xmlns:p14="http://schemas.microsoft.com/office/powerpoint/2010/main" val="3682236687"/>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4031611" y="315763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4031611" y="2173771"/>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6827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423196"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2" name="Rectangle 41"/>
          <p:cNvSpPr/>
          <p:nvPr/>
        </p:nvSpPr>
        <p:spPr>
          <a:xfrm>
            <a:off x="6423196"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5753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711200"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8" name="Rectangle 47"/>
          <p:cNvSpPr/>
          <p:nvPr/>
        </p:nvSpPr>
        <p:spPr>
          <a:xfrm>
            <a:off x="711200"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4260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4443730" y="5695433"/>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1" name="Rectangle 50"/>
          <p:cNvSpPr/>
          <p:nvPr/>
        </p:nvSpPr>
        <p:spPr>
          <a:xfrm>
            <a:off x="4443730" y="5908973"/>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711200"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4" name="Rectangle 53"/>
          <p:cNvSpPr/>
          <p:nvPr/>
        </p:nvSpPr>
        <p:spPr>
          <a:xfrm>
            <a:off x="711200"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6423196"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7" name="Rectangle 56"/>
          <p:cNvSpPr/>
          <p:nvPr/>
        </p:nvSpPr>
        <p:spPr>
          <a:xfrm>
            <a:off x="6423196"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4443730" y="1200921"/>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68" name="Rectangle 67"/>
          <p:cNvSpPr/>
          <p:nvPr/>
        </p:nvSpPr>
        <p:spPr>
          <a:xfrm>
            <a:off x="4443730" y="1414461"/>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6" name="Freeform 45"/>
          <p:cNvSpPr/>
          <p:nvPr/>
        </p:nvSpPr>
        <p:spPr bwMode="gray">
          <a:xfrm flipV="1">
            <a:off x="4274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Freeform 516"/>
          <p:cNvSpPr>
            <a:spLocks noChangeAspect="1" noEditPoints="1"/>
          </p:cNvSpPr>
          <p:nvPr/>
        </p:nvSpPr>
        <p:spPr bwMode="auto">
          <a:xfrm>
            <a:off x="4239894" y="2331238"/>
            <a:ext cx="678470" cy="67648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992"/>
          <p:cNvSpPr>
            <a:spLocks noChangeAspect="1" noEditPoints="1"/>
          </p:cNvSpPr>
          <p:nvPr/>
        </p:nvSpPr>
        <p:spPr bwMode="auto">
          <a:xfrm>
            <a:off x="3327306" y="3748203"/>
            <a:ext cx="699105" cy="699105"/>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4" name="Group 674"/>
          <p:cNvGrpSpPr>
            <a:grpSpLocks noChangeAspect="1"/>
          </p:cNvGrpSpPr>
          <p:nvPr/>
        </p:nvGrpSpPr>
        <p:grpSpPr bwMode="auto">
          <a:xfrm>
            <a:off x="4209914" y="4239521"/>
            <a:ext cx="734261" cy="734261"/>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927"/>
          <p:cNvGrpSpPr>
            <a:grpSpLocks noChangeAspect="1"/>
          </p:cNvGrpSpPr>
          <p:nvPr/>
        </p:nvGrpSpPr>
        <p:grpSpPr bwMode="auto">
          <a:xfrm>
            <a:off x="5129334" y="2791548"/>
            <a:ext cx="685944" cy="685944"/>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331"/>
          <p:cNvSpPr>
            <a:spLocks noChangeAspect="1" noEditPoints="1"/>
          </p:cNvSpPr>
          <p:nvPr/>
        </p:nvSpPr>
        <p:spPr bwMode="auto">
          <a:xfrm>
            <a:off x="5170352" y="3774527"/>
            <a:ext cx="643181" cy="64507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507"/>
          <p:cNvSpPr>
            <a:spLocks noChangeAspect="1" noEditPoints="1"/>
          </p:cNvSpPr>
          <p:nvPr/>
        </p:nvSpPr>
        <p:spPr bwMode="auto">
          <a:xfrm>
            <a:off x="3339558" y="2795876"/>
            <a:ext cx="679616" cy="681615"/>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5753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1" name="Freeform 70"/>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5" name="Freeform 74"/>
          <p:cNvSpPr/>
          <p:nvPr/>
        </p:nvSpPr>
        <p:spPr bwMode="gray">
          <a:xfrm>
            <a:off x="4260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p>
        </p:txBody>
      </p:sp>
      <p:sp>
        <p:nvSpPr>
          <p:cNvPr id="81" name="Freeform 80"/>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86" name="Freeform 85"/>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91" name="Freeform 90"/>
          <p:cNvSpPr/>
          <p:nvPr/>
        </p:nvSpPr>
        <p:spPr bwMode="gray">
          <a:xfrm flipV="1">
            <a:off x="4260850" y="1378895"/>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104" name="Rectangle 103"/>
          <p:cNvSpPr/>
          <p:nvPr/>
        </p:nvSpPr>
        <p:spPr bwMode="gray">
          <a:xfrm>
            <a:off x="396000" y="1408855"/>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4031611" y="315763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6" name="Hexagon 55"/>
          <p:cNvSpPr/>
          <p:nvPr/>
        </p:nvSpPr>
        <p:spPr bwMode="gray">
          <a:xfrm>
            <a:off x="4031611" y="2173771"/>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58" name="Hexagon 57"/>
          <p:cNvSpPr/>
          <p:nvPr/>
        </p:nvSpPr>
        <p:spPr bwMode="gray">
          <a:xfrm>
            <a:off x="4031611" y="414149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9" name="Hexagon 58"/>
          <p:cNvSpPr/>
          <p:nvPr/>
        </p:nvSpPr>
        <p:spPr bwMode="gray">
          <a:xfrm>
            <a:off x="4933054" y="3646986"/>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1" name="Hexagon 60"/>
          <p:cNvSpPr/>
          <p:nvPr/>
        </p:nvSpPr>
        <p:spPr bwMode="gray">
          <a:xfrm>
            <a:off x="4933054" y="266827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2" name="Hexagon 61"/>
          <p:cNvSpPr/>
          <p:nvPr/>
        </p:nvSpPr>
        <p:spPr bwMode="gray">
          <a:xfrm>
            <a:off x="3130168" y="3646986"/>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3" name="Hexagon 62"/>
          <p:cNvSpPr/>
          <p:nvPr/>
        </p:nvSpPr>
        <p:spPr bwMode="gray">
          <a:xfrm>
            <a:off x="3130168" y="266827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65" name="Rectangle 64"/>
          <p:cNvSpPr/>
          <p:nvPr/>
        </p:nvSpPr>
        <p:spPr>
          <a:xfrm>
            <a:off x="6423196"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67" name="Rectangle 66"/>
          <p:cNvSpPr/>
          <p:nvPr/>
        </p:nvSpPr>
        <p:spPr>
          <a:xfrm>
            <a:off x="6423196"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2" name="Rectangle 71"/>
          <p:cNvSpPr/>
          <p:nvPr/>
        </p:nvSpPr>
        <p:spPr>
          <a:xfrm>
            <a:off x="711200"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3" name="Rectangle 72"/>
          <p:cNvSpPr/>
          <p:nvPr/>
        </p:nvSpPr>
        <p:spPr>
          <a:xfrm>
            <a:off x="711200"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8" name="Rectangle 77"/>
          <p:cNvSpPr/>
          <p:nvPr/>
        </p:nvSpPr>
        <p:spPr>
          <a:xfrm>
            <a:off x="4443730" y="5695433"/>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9" name="Rectangle 78"/>
          <p:cNvSpPr/>
          <p:nvPr/>
        </p:nvSpPr>
        <p:spPr>
          <a:xfrm>
            <a:off x="4443730" y="5908973"/>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3" name="Rectangle 82"/>
          <p:cNvSpPr/>
          <p:nvPr/>
        </p:nvSpPr>
        <p:spPr>
          <a:xfrm>
            <a:off x="711200"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85" name="Rectangle 84"/>
          <p:cNvSpPr/>
          <p:nvPr/>
        </p:nvSpPr>
        <p:spPr>
          <a:xfrm>
            <a:off x="711200"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8" name="Rectangle 87"/>
          <p:cNvSpPr/>
          <p:nvPr/>
        </p:nvSpPr>
        <p:spPr>
          <a:xfrm>
            <a:off x="6423196"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0" name="Rectangle 89"/>
          <p:cNvSpPr/>
          <p:nvPr/>
        </p:nvSpPr>
        <p:spPr>
          <a:xfrm>
            <a:off x="6423196"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93" name="Rectangle 92"/>
          <p:cNvSpPr/>
          <p:nvPr/>
        </p:nvSpPr>
        <p:spPr>
          <a:xfrm>
            <a:off x="4443730" y="1200921"/>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4" name="Rectangle 93"/>
          <p:cNvSpPr/>
          <p:nvPr/>
        </p:nvSpPr>
        <p:spPr>
          <a:xfrm>
            <a:off x="4443730" y="1414461"/>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122" name="Group 510"/>
          <p:cNvGrpSpPr>
            <a:grpSpLocks noChangeAspect="1"/>
          </p:cNvGrpSpPr>
          <p:nvPr/>
        </p:nvGrpSpPr>
        <p:grpSpPr bwMode="auto">
          <a:xfrm>
            <a:off x="3311181" y="2765008"/>
            <a:ext cx="738305" cy="736140"/>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325"/>
          <p:cNvGrpSpPr>
            <a:grpSpLocks noChangeAspect="1"/>
          </p:cNvGrpSpPr>
          <p:nvPr/>
        </p:nvGrpSpPr>
        <p:grpSpPr bwMode="auto">
          <a:xfrm>
            <a:off x="5121440" y="3746819"/>
            <a:ext cx="684623" cy="686636"/>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932"/>
          <p:cNvGrpSpPr>
            <a:grpSpLocks noChangeAspect="1"/>
          </p:cNvGrpSpPr>
          <p:nvPr/>
        </p:nvGrpSpPr>
        <p:grpSpPr bwMode="auto">
          <a:xfrm>
            <a:off x="5130844" y="2777694"/>
            <a:ext cx="715774" cy="715774"/>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669"/>
          <p:cNvGrpSpPr>
            <a:grpSpLocks noChangeAspect="1"/>
          </p:cNvGrpSpPr>
          <p:nvPr/>
        </p:nvGrpSpPr>
        <p:grpSpPr bwMode="auto">
          <a:xfrm>
            <a:off x="4179616" y="4225666"/>
            <a:ext cx="780311" cy="780311"/>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986"/>
          <p:cNvGrpSpPr>
            <a:grpSpLocks noChangeAspect="1"/>
          </p:cNvGrpSpPr>
          <p:nvPr/>
        </p:nvGrpSpPr>
        <p:grpSpPr bwMode="auto">
          <a:xfrm>
            <a:off x="3345876" y="3762058"/>
            <a:ext cx="685798" cy="685798"/>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519"/>
          <p:cNvGrpSpPr>
            <a:grpSpLocks noChangeAspect="1"/>
          </p:cNvGrpSpPr>
          <p:nvPr/>
        </p:nvGrpSpPr>
        <p:grpSpPr bwMode="auto">
          <a:xfrm>
            <a:off x="4230471" y="2317380"/>
            <a:ext cx="689055" cy="689055"/>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Arrow 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7113350" y="2569998"/>
            <a:ext cx="1656000" cy="165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dirty="0">
                <a:solidFill>
                  <a:schemeClr val="tx1"/>
                </a:solidFill>
              </a:rPr>
              <a:t>Text runs here</a:t>
            </a:r>
          </a:p>
        </p:txBody>
      </p:sp>
      <p:sp>
        <p:nvSpPr>
          <p:cNvPr id="15" name="TextBox 14"/>
          <p:cNvSpPr txBox="1"/>
          <p:nvPr/>
        </p:nvSpPr>
        <p:spPr bwMode="gray">
          <a:xfrm>
            <a:off x="374650" y="1811783"/>
            <a:ext cx="5062538" cy="215444"/>
          </a:xfrm>
          <a:prstGeom prst="rect">
            <a:avLst/>
          </a:prstGeom>
          <a:noFill/>
        </p:spPr>
        <p:txBody>
          <a:bodyPr wrap="square" lIns="0" tIns="0" rIns="0" bIns="0" rtlCol="0" anchor="ctr">
            <a:spAutoFit/>
          </a:bodyPr>
          <a:lstStyle/>
          <a:p>
            <a:r>
              <a:rPr lang="en-US" sz="1400" dirty="0"/>
              <a:t>Text runs here</a:t>
            </a:r>
          </a:p>
        </p:txBody>
      </p:sp>
      <p:sp>
        <p:nvSpPr>
          <p:cNvPr id="16" name="TextBox 15"/>
          <p:cNvSpPr txBox="1"/>
          <p:nvPr/>
        </p:nvSpPr>
        <p:spPr bwMode="gray">
          <a:xfrm>
            <a:off x="374650" y="2405581"/>
            <a:ext cx="5062538" cy="215444"/>
          </a:xfrm>
          <a:prstGeom prst="rect">
            <a:avLst/>
          </a:prstGeom>
          <a:noFill/>
        </p:spPr>
        <p:txBody>
          <a:bodyPr wrap="square" lIns="0" tIns="0" rIns="0" bIns="0" rtlCol="0" anchor="ctr">
            <a:spAutoFit/>
          </a:bodyPr>
          <a:lstStyle/>
          <a:p>
            <a:r>
              <a:rPr lang="en-US" sz="1400" dirty="0"/>
              <a:t>Text runs here</a:t>
            </a:r>
          </a:p>
        </p:txBody>
      </p:sp>
      <p:sp>
        <p:nvSpPr>
          <p:cNvPr id="17" name="TextBox 16"/>
          <p:cNvSpPr txBox="1"/>
          <p:nvPr/>
        </p:nvSpPr>
        <p:spPr bwMode="gray">
          <a:xfrm>
            <a:off x="374650" y="2999379"/>
            <a:ext cx="5062538" cy="215444"/>
          </a:xfrm>
          <a:prstGeom prst="rect">
            <a:avLst/>
          </a:prstGeom>
          <a:noFill/>
        </p:spPr>
        <p:txBody>
          <a:bodyPr wrap="square" lIns="0" tIns="0" rIns="0" bIns="0" rtlCol="0" anchor="ctr">
            <a:spAutoFit/>
          </a:bodyPr>
          <a:lstStyle/>
          <a:p>
            <a:r>
              <a:rPr lang="en-US" sz="1400" dirty="0"/>
              <a:t>Text runs here</a:t>
            </a:r>
          </a:p>
        </p:txBody>
      </p:sp>
      <p:sp>
        <p:nvSpPr>
          <p:cNvPr id="18" name="TextBox 17"/>
          <p:cNvSpPr txBox="1"/>
          <p:nvPr/>
        </p:nvSpPr>
        <p:spPr bwMode="gray">
          <a:xfrm>
            <a:off x="374650" y="3593177"/>
            <a:ext cx="5062538" cy="215444"/>
          </a:xfrm>
          <a:prstGeom prst="rect">
            <a:avLst/>
          </a:prstGeom>
          <a:noFill/>
        </p:spPr>
        <p:txBody>
          <a:bodyPr wrap="square" lIns="0" tIns="0" rIns="0" bIns="0" rtlCol="0" anchor="ctr">
            <a:spAutoFit/>
          </a:bodyPr>
          <a:lstStyle/>
          <a:p>
            <a:r>
              <a:rPr lang="en-US" sz="1400" dirty="0"/>
              <a:t>Text runs here</a:t>
            </a:r>
          </a:p>
        </p:txBody>
      </p:sp>
      <p:sp>
        <p:nvSpPr>
          <p:cNvPr id="19" name="TextBox 18"/>
          <p:cNvSpPr txBox="1"/>
          <p:nvPr/>
        </p:nvSpPr>
        <p:spPr bwMode="gray">
          <a:xfrm>
            <a:off x="374650" y="4186975"/>
            <a:ext cx="5062538" cy="215444"/>
          </a:xfrm>
          <a:prstGeom prst="rect">
            <a:avLst/>
          </a:prstGeom>
          <a:noFill/>
        </p:spPr>
        <p:txBody>
          <a:bodyPr wrap="square" lIns="0" tIns="0" rIns="0" bIns="0" rtlCol="0" anchor="ctr">
            <a:spAutoFit/>
          </a:bodyPr>
          <a:lstStyle/>
          <a:p>
            <a:r>
              <a:rPr lang="en-US" sz="1400" dirty="0"/>
              <a:t>Text runs here</a:t>
            </a:r>
          </a:p>
        </p:txBody>
      </p:sp>
      <p:sp>
        <p:nvSpPr>
          <p:cNvPr id="20" name="TextBox 19"/>
          <p:cNvSpPr txBox="1"/>
          <p:nvPr/>
        </p:nvSpPr>
        <p:spPr bwMode="gray">
          <a:xfrm>
            <a:off x="374650" y="4780775"/>
            <a:ext cx="5062538" cy="215444"/>
          </a:xfrm>
          <a:prstGeom prst="rect">
            <a:avLst/>
          </a:prstGeom>
          <a:noFill/>
        </p:spPr>
        <p:txBody>
          <a:bodyPr wrap="square" lIns="0" tIns="0" rIns="0" bIns="0" rtlCol="0" anchor="ctr">
            <a:spAutoFit/>
          </a:bodyPr>
          <a:lstStyle/>
          <a:p>
            <a:r>
              <a:rPr lang="en-US" sz="1400" dirty="0"/>
              <a:t>Text runs here</a:t>
            </a:r>
          </a:p>
        </p:txBody>
      </p:sp>
      <p:grpSp>
        <p:nvGrpSpPr>
          <p:cNvPr id="27" name="Group 26"/>
          <p:cNvGrpSpPr/>
          <p:nvPr/>
        </p:nvGrpSpPr>
        <p:grpSpPr>
          <a:xfrm>
            <a:off x="374650" y="1610656"/>
            <a:ext cx="6547628" cy="3577738"/>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4031611" y="3157631"/>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4031611" y="2173771"/>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68277"/>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423196" y="5100120"/>
            <a:ext cx="201168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42" name="Rectangle 41"/>
          <p:cNvSpPr/>
          <p:nvPr/>
        </p:nvSpPr>
        <p:spPr>
          <a:xfrm>
            <a:off x="6423196"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5753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711200" y="5100120"/>
            <a:ext cx="201168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48" name="Rectangle 47"/>
          <p:cNvSpPr/>
          <p:nvPr/>
        </p:nvSpPr>
        <p:spPr>
          <a:xfrm>
            <a:off x="711200" y="531366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4260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4443730" y="5695433"/>
            <a:ext cx="1828800" cy="15388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endParaRPr lang="en-US" sz="800" dirty="0">
              <a:solidFill>
                <a:schemeClr val="accent2"/>
              </a:solidFill>
            </a:endParaRPr>
          </a:p>
        </p:txBody>
      </p:sp>
      <p:sp>
        <p:nvSpPr>
          <p:cNvPr id="51" name="Rectangle 50"/>
          <p:cNvSpPr/>
          <p:nvPr/>
        </p:nvSpPr>
        <p:spPr>
          <a:xfrm>
            <a:off x="4443730" y="5908973"/>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711200" y="1793060"/>
            <a:ext cx="201168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54" name="Rectangle 53"/>
          <p:cNvSpPr/>
          <p:nvPr/>
        </p:nvSpPr>
        <p:spPr>
          <a:xfrm>
            <a:off x="711200"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6423196" y="1793060"/>
            <a:ext cx="201168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57" name="Rectangle 56"/>
          <p:cNvSpPr/>
          <p:nvPr/>
        </p:nvSpPr>
        <p:spPr>
          <a:xfrm>
            <a:off x="6423196" y="2006600"/>
            <a:ext cx="201168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8" name="Freeform 57"/>
          <p:cNvSpPr/>
          <p:nvPr/>
        </p:nvSpPr>
        <p:spPr bwMode="gray">
          <a:xfrm flipV="1">
            <a:off x="4274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9" name="Rectangle 58"/>
          <p:cNvSpPr/>
          <p:nvPr/>
        </p:nvSpPr>
        <p:spPr>
          <a:xfrm>
            <a:off x="4443730" y="1200921"/>
            <a:ext cx="1828800" cy="153888"/>
          </a:xfrm>
          <a:prstGeom prst="rect">
            <a:avLst/>
          </a:prstGeom>
        </p:spPr>
        <p:txBody>
          <a:bodyPr wrap="square" lIns="0" tIns="0" rIns="0" bIns="0">
            <a:spAutoFit/>
          </a:bodyPr>
          <a:lstStyle/>
          <a:p>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endParaRPr lang="en-US" sz="800" dirty="0">
              <a:solidFill>
                <a:schemeClr val="accent6"/>
              </a:solidFill>
            </a:endParaRPr>
          </a:p>
        </p:txBody>
      </p:sp>
      <p:sp>
        <p:nvSpPr>
          <p:cNvPr id="68" name="Rectangle 67"/>
          <p:cNvSpPr/>
          <p:nvPr/>
        </p:nvSpPr>
        <p:spPr>
          <a:xfrm>
            <a:off x="4443730" y="1414461"/>
            <a:ext cx="1828800" cy="615553"/>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47" name="Group 510"/>
          <p:cNvGrpSpPr>
            <a:grpSpLocks noChangeAspect="1"/>
          </p:cNvGrpSpPr>
          <p:nvPr/>
        </p:nvGrpSpPr>
        <p:grpSpPr bwMode="auto">
          <a:xfrm>
            <a:off x="3311181" y="2765008"/>
            <a:ext cx="738305" cy="736140"/>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25"/>
          <p:cNvGrpSpPr>
            <a:grpSpLocks noChangeAspect="1"/>
          </p:cNvGrpSpPr>
          <p:nvPr/>
        </p:nvGrpSpPr>
        <p:grpSpPr bwMode="auto">
          <a:xfrm>
            <a:off x="5121440"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32"/>
          <p:cNvGrpSpPr>
            <a:grpSpLocks noChangeAspect="1"/>
          </p:cNvGrpSpPr>
          <p:nvPr/>
        </p:nvGrpSpPr>
        <p:grpSpPr bwMode="auto">
          <a:xfrm>
            <a:off x="5130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669"/>
          <p:cNvGrpSpPr>
            <a:grpSpLocks noChangeAspect="1"/>
          </p:cNvGrpSpPr>
          <p:nvPr/>
        </p:nvGrpSpPr>
        <p:grpSpPr bwMode="auto">
          <a:xfrm>
            <a:off x="4179616" y="4225666"/>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986"/>
          <p:cNvGrpSpPr>
            <a:grpSpLocks noChangeAspect="1"/>
          </p:cNvGrpSpPr>
          <p:nvPr/>
        </p:nvGrpSpPr>
        <p:grpSpPr bwMode="auto">
          <a:xfrm>
            <a:off x="3345876" y="3762058"/>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519"/>
          <p:cNvGrpSpPr>
            <a:grpSpLocks noChangeAspect="1"/>
          </p:cNvGrpSpPr>
          <p:nvPr/>
        </p:nvGrpSpPr>
        <p:grpSpPr bwMode="auto">
          <a:xfrm>
            <a:off x="4230471" y="2317380"/>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384255" y="1580936"/>
            <a:ext cx="1828800" cy="615553"/>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0" name="Rectangle 59"/>
          <p:cNvSpPr/>
          <p:nvPr/>
        </p:nvSpPr>
        <p:spPr>
          <a:xfrm>
            <a:off x="384255" y="1377732"/>
            <a:ext cx="182880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61" name="Freeform 60"/>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6887800" y="1744017"/>
            <a:ext cx="1828800" cy="615553"/>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3" name="Rectangle 62"/>
          <p:cNvSpPr/>
          <p:nvPr/>
        </p:nvSpPr>
        <p:spPr>
          <a:xfrm>
            <a:off x="6887800" y="1540813"/>
            <a:ext cx="182880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64" name="Freeform 63"/>
          <p:cNvSpPr/>
          <p:nvPr/>
        </p:nvSpPr>
        <p:spPr bwMode="gray">
          <a:xfrm flipV="1">
            <a:off x="384255" y="5145358"/>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384255" y="5393812"/>
            <a:ext cx="1828800" cy="615553"/>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6" name="Rectangle 65"/>
          <p:cNvSpPr/>
          <p:nvPr/>
        </p:nvSpPr>
        <p:spPr>
          <a:xfrm>
            <a:off x="384255" y="5190608"/>
            <a:ext cx="182880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67" name="Freeform 66"/>
          <p:cNvSpPr/>
          <p:nvPr/>
        </p:nvSpPr>
        <p:spPr bwMode="gray">
          <a:xfrm flipH="1" flipV="1">
            <a:off x="6519526" y="5534651"/>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6895757" y="5784147"/>
            <a:ext cx="1828800" cy="615553"/>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79" name="Rectangle 78"/>
          <p:cNvSpPr/>
          <p:nvPr/>
        </p:nvSpPr>
        <p:spPr>
          <a:xfrm>
            <a:off x="6895757" y="5580943"/>
            <a:ext cx="182880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80" name="Oval 79"/>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3645574" y="2756494"/>
            <a:ext cx="2007085" cy="1846659"/>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2985478" y="1620348"/>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38"/>
          <p:cNvGrpSpPr>
            <a:grpSpLocks noChangeAspect="1"/>
          </p:cNvGrpSpPr>
          <p:nvPr/>
        </p:nvGrpSpPr>
        <p:grpSpPr bwMode="auto">
          <a:xfrm>
            <a:off x="5667895" y="18427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516"/>
          <p:cNvGrpSpPr>
            <a:grpSpLocks noChangeAspect="1"/>
          </p:cNvGrpSpPr>
          <p:nvPr/>
        </p:nvGrpSpPr>
        <p:grpSpPr bwMode="auto">
          <a:xfrm>
            <a:off x="5538883" y="4963465"/>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309"/>
          <p:cNvGrpSpPr>
            <a:grpSpLocks noChangeAspect="1"/>
          </p:cNvGrpSpPr>
          <p:nvPr/>
        </p:nvGrpSpPr>
        <p:grpSpPr bwMode="auto">
          <a:xfrm>
            <a:off x="2354905" y="4178037"/>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4105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4971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3240129" y="2699919"/>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4105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7172411" y="1765889"/>
            <a:ext cx="1606464" cy="769441"/>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7172411" y="5273014"/>
            <a:ext cx="1606464" cy="769441"/>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40" name="Rectangle 39"/>
          <p:cNvSpPr/>
          <p:nvPr/>
        </p:nvSpPr>
        <p:spPr>
          <a:xfrm>
            <a:off x="358431" y="1765889"/>
            <a:ext cx="1606464" cy="769441"/>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1" name="Rectangle 40"/>
          <p:cNvSpPr/>
          <p:nvPr/>
        </p:nvSpPr>
        <p:spPr>
          <a:xfrm>
            <a:off x="358431" y="5358739"/>
            <a:ext cx="1606464" cy="769441"/>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4914900" y="1855960"/>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2073244" y="1855960"/>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5800723" y="4485890"/>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2645204"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2182388" y="2036252"/>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6574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6521335" y="5564646"/>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2167523"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137"/>
          <p:cNvGrpSpPr>
            <a:grpSpLocks noChangeAspect="1"/>
          </p:cNvGrpSpPr>
          <p:nvPr/>
        </p:nvGrpSpPr>
        <p:grpSpPr bwMode="auto">
          <a:xfrm>
            <a:off x="2066440" y="1934062"/>
            <a:ext cx="706366" cy="706366"/>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285"/>
          <p:cNvGrpSpPr>
            <a:grpSpLocks noChangeAspect="1"/>
          </p:cNvGrpSpPr>
          <p:nvPr/>
        </p:nvGrpSpPr>
        <p:grpSpPr bwMode="auto">
          <a:xfrm>
            <a:off x="6310726" y="5406480"/>
            <a:ext cx="713529" cy="711437"/>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569"/>
          <p:cNvGrpSpPr>
            <a:grpSpLocks noChangeAspect="1"/>
          </p:cNvGrpSpPr>
          <p:nvPr/>
        </p:nvGrpSpPr>
        <p:grpSpPr bwMode="auto">
          <a:xfrm>
            <a:off x="2117692" y="5410416"/>
            <a:ext cx="707502" cy="707502"/>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Freeform 917"/>
          <p:cNvSpPr>
            <a:spLocks noChangeAspect="1" noEditPoints="1"/>
          </p:cNvSpPr>
          <p:nvPr/>
        </p:nvSpPr>
        <p:spPr bwMode="auto">
          <a:xfrm>
            <a:off x="6347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4105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4971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3240129" y="2699919"/>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4105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7172411" y="1765889"/>
            <a:ext cx="1606464" cy="769441"/>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7172411" y="5273014"/>
            <a:ext cx="1606464" cy="769441"/>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a:t>
            </a:r>
            <a:br>
              <a:rPr lang="en-US" sz="1000" b="1" dirty="0"/>
            </a:br>
            <a:r>
              <a:rPr lang="en-US" sz="1000" dirty="0"/>
              <a:t>This is dummy text it is not here to be read this is dummy text it is not here to be read.</a:t>
            </a:r>
          </a:p>
        </p:txBody>
      </p:sp>
      <p:sp>
        <p:nvSpPr>
          <p:cNvPr id="40" name="Rectangle 39"/>
          <p:cNvSpPr/>
          <p:nvPr/>
        </p:nvSpPr>
        <p:spPr>
          <a:xfrm>
            <a:off x="358431" y="1765889"/>
            <a:ext cx="1606464" cy="769441"/>
          </a:xfrm>
          <a:prstGeom prst="rect">
            <a:avLst/>
          </a:prstGeom>
        </p:spPr>
        <p:txBody>
          <a:bodyPr wrap="square" lIns="0" tIns="0" rIns="0" bIns="0">
            <a:spAutoFit/>
          </a:bodyPr>
          <a:lstStyle/>
          <a:p>
            <a:pPr algn="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a:t>
            </a:r>
            <a:br>
              <a:rPr lang="en-US" sz="1000" b="1" dirty="0"/>
            </a:br>
            <a:r>
              <a:rPr lang="en-US" sz="1000" dirty="0"/>
              <a:t>This is dummy text it is not here to be read this is dummy text it is not here to be read. </a:t>
            </a:r>
          </a:p>
        </p:txBody>
      </p:sp>
      <p:sp>
        <p:nvSpPr>
          <p:cNvPr id="41" name="Rectangle 40"/>
          <p:cNvSpPr/>
          <p:nvPr/>
        </p:nvSpPr>
        <p:spPr>
          <a:xfrm>
            <a:off x="358431" y="5358739"/>
            <a:ext cx="1606464" cy="769441"/>
          </a:xfrm>
          <a:prstGeom prst="rect">
            <a:avLst/>
          </a:prstGeom>
        </p:spPr>
        <p:txBody>
          <a:bodyPr wrap="square" lIns="0" tIns="0" rIns="0" bIns="0">
            <a:spAutoFit/>
          </a:bodyPr>
          <a:lstStyle/>
          <a:p>
            <a:pPr algn="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4914900" y="1855960"/>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2073244" y="1855960"/>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5800723" y="4485890"/>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2645204"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2182388" y="2036252"/>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6574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6521335" y="5564646"/>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2167523"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 name="Freeform 917"/>
          <p:cNvSpPr>
            <a:spLocks noChangeAspect="1" noEditPoints="1"/>
          </p:cNvSpPr>
          <p:nvPr/>
        </p:nvSpPr>
        <p:spPr bwMode="auto">
          <a:xfrm>
            <a:off x="6347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34"/>
          <p:cNvSpPr>
            <a:spLocks noChangeAspect="1" noEditPoints="1"/>
          </p:cNvSpPr>
          <p:nvPr/>
        </p:nvSpPr>
        <p:spPr bwMode="auto">
          <a:xfrm>
            <a:off x="2061888" y="1939796"/>
            <a:ext cx="690538" cy="692568"/>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566"/>
          <p:cNvSpPr>
            <a:spLocks noChangeAspect="1" noEditPoints="1"/>
          </p:cNvSpPr>
          <p:nvPr/>
        </p:nvSpPr>
        <p:spPr bwMode="auto">
          <a:xfrm>
            <a:off x="2140258" y="5417775"/>
            <a:ext cx="691649" cy="691649"/>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noEditPoints="1"/>
          </p:cNvSpPr>
          <p:nvPr/>
        </p:nvSpPr>
        <p:spPr bwMode="auto">
          <a:xfrm>
            <a:off x="6303327" y="5401664"/>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2218096" y="2671776"/>
            <a:ext cx="4173172" cy="3351800"/>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9" name="Round Diagonal Corner Rectangle 28"/>
          <p:cNvSpPr/>
          <p:nvPr/>
        </p:nvSpPr>
        <p:spPr bwMode="gray">
          <a:xfrm>
            <a:off x="5151420" y="1596426"/>
            <a:ext cx="2052943" cy="1267486"/>
          </a:xfrm>
          <a:prstGeom prst="round2Diag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0" name="Round Diagonal Corner Rectangle 29"/>
          <p:cNvSpPr/>
          <p:nvPr/>
        </p:nvSpPr>
        <p:spPr bwMode="gray">
          <a:xfrm flipH="1">
            <a:off x="5151418" y="2963499"/>
            <a:ext cx="2596369" cy="1421395"/>
          </a:xfrm>
          <a:prstGeom prst="round2Diag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1" name="Round Diagonal Corner Rectangle 30"/>
          <p:cNvSpPr/>
          <p:nvPr/>
        </p:nvSpPr>
        <p:spPr bwMode="gray">
          <a:xfrm flipH="1">
            <a:off x="2716037" y="1442517"/>
            <a:ext cx="2335795" cy="1421395"/>
          </a:xfrm>
          <a:prstGeom prst="round2Diag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2" name="Rectangle 31"/>
          <p:cNvSpPr/>
          <p:nvPr/>
        </p:nvSpPr>
        <p:spPr>
          <a:xfrm>
            <a:off x="2923109" y="3220031"/>
            <a:ext cx="2023541" cy="2308324"/>
          </a:xfrm>
          <a:prstGeom prst="rect">
            <a:avLst/>
          </a:prstGeom>
        </p:spPr>
        <p:txBody>
          <a:bodyPr wrap="square" lIns="0" tIns="0" rIns="0" bIns="0">
            <a:spAutoFit/>
          </a:bodyPr>
          <a:lstStyle/>
          <a:p>
            <a:pPr>
              <a:spcBef>
                <a:spcPts val="600"/>
              </a:spcBef>
            </a:pPr>
            <a:r>
              <a:rPr lang="en-US" sz="1000" b="1" dirty="0" err="1"/>
              <a:t>Lorem</a:t>
            </a:r>
            <a:r>
              <a:rPr lang="en-US" sz="1000" b="1" dirty="0"/>
              <a:t> </a:t>
            </a:r>
            <a:r>
              <a:rPr lang="en-US" sz="1000" b="1" dirty="0" err="1"/>
              <a:t>ipsum</a:t>
            </a:r>
            <a:r>
              <a:rPr lang="en-US" sz="1000" b="1" dirty="0"/>
              <a:t> dolor </a:t>
            </a:r>
          </a:p>
          <a:p>
            <a:pPr>
              <a:spcBef>
                <a:spcPts val="600"/>
              </a:spcBef>
            </a:pPr>
            <a:r>
              <a:rPr lang="en-US" sz="1000" dirty="0"/>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600"/>
              </a:spcBef>
            </a:pPr>
            <a:endParaRPr lang="en-US" sz="1000" dirty="0"/>
          </a:p>
        </p:txBody>
      </p:sp>
      <p:cxnSp>
        <p:nvCxnSpPr>
          <p:cNvPr id="33" name="Straight Connector 32"/>
          <p:cNvCxnSpPr/>
          <p:nvPr/>
        </p:nvCxnSpPr>
        <p:spPr>
          <a:xfrm>
            <a:off x="2923109" y="3412276"/>
            <a:ext cx="1966391"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230562" y="1674020"/>
            <a:ext cx="1766888"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3230562" y="186626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241506" y="1827908"/>
            <a:ext cx="1353257" cy="846386"/>
          </a:xfrm>
          <a:prstGeom prst="rect">
            <a:avLst/>
          </a:prstGeom>
        </p:spPr>
        <p:txBody>
          <a:bodyPr wrap="square" lIns="0" tIns="0" rIns="0" bIns="0">
            <a:spAutoFit/>
          </a:bodyPr>
          <a:lstStyle/>
          <a:p>
            <a:pPr>
              <a:spcBef>
                <a:spcPts val="600"/>
              </a:spcBef>
            </a:pPr>
            <a:r>
              <a:rPr lang="en-US" sz="1000" b="1" dirty="0" err="1"/>
              <a:t>Lorem</a:t>
            </a:r>
            <a:r>
              <a:rPr lang="en-US" sz="1000" b="1" dirty="0"/>
              <a:t> </a:t>
            </a:r>
            <a:r>
              <a:rPr lang="en-US" sz="1000" b="1" dirty="0" err="1"/>
              <a:t>ipsum</a:t>
            </a:r>
            <a:r>
              <a:rPr lang="en-US" sz="1000" b="1" dirty="0"/>
              <a:t> dolor </a:t>
            </a:r>
          </a:p>
          <a:p>
            <a:pPr>
              <a:spcBef>
                <a:spcPts val="600"/>
              </a:spcBef>
            </a:pPr>
            <a:r>
              <a:rPr lang="en-US" sz="1000" dirty="0"/>
              <a:t>This is dummy text it is not here to be read. This is dummy text . </a:t>
            </a:r>
          </a:p>
        </p:txBody>
      </p:sp>
      <p:cxnSp>
        <p:nvCxnSpPr>
          <p:cNvPr id="60" name="Straight Connector 59"/>
          <p:cNvCxnSpPr/>
          <p:nvPr/>
        </p:nvCxnSpPr>
        <p:spPr>
          <a:xfrm>
            <a:off x="5241507" y="2020153"/>
            <a:ext cx="117299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5305008" y="3220031"/>
            <a:ext cx="1624112"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a:t>
            </a:r>
          </a:p>
        </p:txBody>
      </p:sp>
      <p:cxnSp>
        <p:nvCxnSpPr>
          <p:cNvPr id="62" name="Straight Connector 61"/>
          <p:cNvCxnSpPr/>
          <p:nvPr/>
        </p:nvCxnSpPr>
        <p:spPr>
          <a:xfrm>
            <a:off x="5305007" y="3412276"/>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2778603" y="1641619"/>
            <a:ext cx="367631" cy="367631"/>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162"/>
          <p:cNvGrpSpPr>
            <a:grpSpLocks noChangeAspect="1"/>
          </p:cNvGrpSpPr>
          <p:nvPr/>
        </p:nvGrpSpPr>
        <p:grpSpPr bwMode="auto">
          <a:xfrm>
            <a:off x="2411506" y="3179473"/>
            <a:ext cx="367631" cy="367631"/>
            <a:chOff x="3425" y="1699"/>
            <a:chExt cx="340" cy="340"/>
          </a:xfrm>
          <a:solidFill>
            <a:schemeClr val="tx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67"/>
          <p:cNvGrpSpPr>
            <a:grpSpLocks noChangeAspect="1"/>
          </p:cNvGrpSpPr>
          <p:nvPr/>
        </p:nvGrpSpPr>
        <p:grpSpPr bwMode="auto">
          <a:xfrm>
            <a:off x="7171010" y="3137908"/>
            <a:ext cx="368254" cy="368152"/>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537"/>
          <p:cNvGrpSpPr>
            <a:grpSpLocks noChangeAspect="1"/>
          </p:cNvGrpSpPr>
          <p:nvPr/>
        </p:nvGrpSpPr>
        <p:grpSpPr bwMode="auto">
          <a:xfrm>
            <a:off x="6698006" y="1738598"/>
            <a:ext cx="367982" cy="367982"/>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2096670" y="1600201"/>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Rounded Rectangle 5"/>
          <p:cNvSpPr/>
          <p:nvPr/>
        </p:nvSpPr>
        <p:spPr>
          <a:xfrm>
            <a:off x="4948479" y="336607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Rounded Rectangle 5"/>
          <p:cNvSpPr/>
          <p:nvPr/>
        </p:nvSpPr>
        <p:spPr>
          <a:xfrm flipV="1">
            <a:off x="4948480" y="1836585"/>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Rectangle 88"/>
          <p:cNvSpPr/>
          <p:nvPr/>
        </p:nvSpPr>
        <p:spPr>
          <a:xfrm>
            <a:off x="2676396" y="1722172"/>
            <a:ext cx="2043973" cy="1349710"/>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2681457" y="1925446"/>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5077278" y="2114506"/>
            <a:ext cx="1600613"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92" name="Straight Connector 91"/>
          <p:cNvCxnSpPr/>
          <p:nvPr/>
        </p:nvCxnSpPr>
        <p:spPr>
          <a:xfrm>
            <a:off x="5051818" y="2324987"/>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5126076" y="3545961"/>
            <a:ext cx="1940871" cy="1000274"/>
          </a:xfrm>
          <a:prstGeom prst="rect">
            <a:avLst/>
          </a:prstGeom>
        </p:spPr>
        <p:txBody>
          <a:bodyPr wrap="square" lIns="0" tIns="0" rIns="0" bIns="0">
            <a:spAutoFit/>
          </a:bodyPr>
          <a:lstStyle/>
          <a:p>
            <a:pPr>
              <a:spcBef>
                <a:spcPts val="600"/>
              </a:spcBef>
            </a:pPr>
            <a:r>
              <a:rPr lang="en-US" sz="1000" b="1" dirty="0" err="1"/>
              <a:t>Lorem</a:t>
            </a:r>
            <a:r>
              <a:rPr lang="en-US" sz="1000" b="1" dirty="0"/>
              <a:t> </a:t>
            </a:r>
            <a:r>
              <a:rPr lang="en-US" sz="1000" b="1" dirty="0" err="1"/>
              <a:t>ipsum</a:t>
            </a:r>
            <a:r>
              <a:rPr lang="en-US" sz="1000" b="1" dirty="0"/>
              <a:t> dolor </a:t>
            </a:r>
          </a:p>
          <a:p>
            <a:pPr>
              <a:spcBef>
                <a:spcPts val="600"/>
              </a:spcBef>
            </a:pPr>
            <a:r>
              <a:rPr lang="en-US" sz="1000" dirty="0"/>
              <a:t>This is dummy text it is not here to be read. This is dummy text it is not here to be read. This is dummy text it is not here to be read. </a:t>
            </a:r>
          </a:p>
        </p:txBody>
      </p:sp>
      <p:cxnSp>
        <p:nvCxnSpPr>
          <p:cNvPr id="94" name="Straight Connector 93"/>
          <p:cNvCxnSpPr/>
          <p:nvPr/>
        </p:nvCxnSpPr>
        <p:spPr>
          <a:xfrm>
            <a:off x="5126076" y="3754298"/>
            <a:ext cx="187317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1862892" y="3366072"/>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6" name="Rectangle 95"/>
          <p:cNvSpPr/>
          <p:nvPr/>
        </p:nvSpPr>
        <p:spPr>
          <a:xfrm>
            <a:off x="2667353" y="3529069"/>
            <a:ext cx="2017372" cy="1529671"/>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2667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2196712" y="1738604"/>
            <a:ext cx="367631" cy="367631"/>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162"/>
          <p:cNvGrpSpPr>
            <a:grpSpLocks noChangeAspect="1"/>
          </p:cNvGrpSpPr>
          <p:nvPr/>
        </p:nvGrpSpPr>
        <p:grpSpPr bwMode="auto">
          <a:xfrm>
            <a:off x="2065143" y="3553550"/>
            <a:ext cx="367631" cy="367631"/>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67"/>
          <p:cNvGrpSpPr>
            <a:grpSpLocks noChangeAspect="1"/>
          </p:cNvGrpSpPr>
          <p:nvPr/>
        </p:nvGrpSpPr>
        <p:grpSpPr bwMode="auto">
          <a:xfrm>
            <a:off x="7101735" y="3456563"/>
            <a:ext cx="368254" cy="368152"/>
            <a:chOff x="1017" y="408"/>
            <a:chExt cx="3636" cy="3635"/>
          </a:xfrm>
          <a:solidFill>
            <a:schemeClr val="tx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537"/>
          <p:cNvGrpSpPr>
            <a:grpSpLocks noChangeAspect="1"/>
          </p:cNvGrpSpPr>
          <p:nvPr/>
        </p:nvGrpSpPr>
        <p:grpSpPr bwMode="auto">
          <a:xfrm>
            <a:off x="6490187" y="1932568"/>
            <a:ext cx="367982" cy="367982"/>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2096670" y="1600201"/>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Rounded Rectangle 5"/>
          <p:cNvSpPr/>
          <p:nvPr/>
        </p:nvSpPr>
        <p:spPr>
          <a:xfrm>
            <a:off x="4948479" y="336607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ounded Rectangle 5"/>
          <p:cNvSpPr/>
          <p:nvPr/>
        </p:nvSpPr>
        <p:spPr>
          <a:xfrm flipV="1">
            <a:off x="4948480" y="1836585"/>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ectangle 50"/>
          <p:cNvSpPr/>
          <p:nvPr/>
        </p:nvSpPr>
        <p:spPr>
          <a:xfrm>
            <a:off x="2676396" y="1722172"/>
            <a:ext cx="2043973" cy="1154162"/>
          </a:xfrm>
          <a:prstGeom prst="rect">
            <a:avLst/>
          </a:prstGeom>
        </p:spPr>
        <p:txBody>
          <a:bodyPr wrap="square" lIns="0" tIns="0" rIns="0" bIns="0">
            <a:spAutoFit/>
          </a:bodyPr>
          <a:lstStyle/>
          <a:p>
            <a:pPr>
              <a:spcBef>
                <a:spcPts val="600"/>
              </a:spcBef>
            </a:pP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2681457" y="193423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077278" y="2114506"/>
            <a:ext cx="1600613" cy="846386"/>
          </a:xfrm>
          <a:prstGeom prst="rect">
            <a:avLst/>
          </a:prstGeom>
        </p:spPr>
        <p:txBody>
          <a:bodyPr wrap="square" lIns="0" tIns="0" rIns="0" bIns="0">
            <a:spAutoFit/>
          </a:bodyPr>
          <a:lstStyle/>
          <a:p>
            <a:pPr>
              <a:spcBef>
                <a:spcPts val="600"/>
              </a:spcBef>
            </a:pP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54" name="Straight Connector 53"/>
          <p:cNvCxnSpPr/>
          <p:nvPr/>
        </p:nvCxnSpPr>
        <p:spPr>
          <a:xfrm>
            <a:off x="5051818" y="2333779"/>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5126076" y="3545961"/>
            <a:ext cx="1940871" cy="1000274"/>
          </a:xfrm>
          <a:prstGeom prst="rect">
            <a:avLst/>
          </a:prstGeom>
        </p:spPr>
        <p:txBody>
          <a:bodyPr wrap="square" lIns="0" tIns="0" rIns="0" bIns="0">
            <a:spAutoFit/>
          </a:bodyPr>
          <a:lstStyle/>
          <a:p>
            <a:pPr>
              <a:spcBef>
                <a:spcPts val="600"/>
              </a:spcBef>
            </a:pPr>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a:t>
            </a:r>
          </a:p>
        </p:txBody>
      </p:sp>
      <p:cxnSp>
        <p:nvCxnSpPr>
          <p:cNvPr id="60" name="Straight Connector 59"/>
          <p:cNvCxnSpPr/>
          <p:nvPr/>
        </p:nvCxnSpPr>
        <p:spPr>
          <a:xfrm>
            <a:off x="5126076" y="375429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1862892" y="3366072"/>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Rectangle 65"/>
          <p:cNvSpPr/>
          <p:nvPr/>
        </p:nvSpPr>
        <p:spPr>
          <a:xfrm>
            <a:off x="2667353" y="3529069"/>
            <a:ext cx="2017372" cy="1154162"/>
          </a:xfrm>
          <a:prstGeom prst="rect">
            <a:avLst/>
          </a:prstGeom>
        </p:spPr>
        <p:txBody>
          <a:bodyPr wrap="square" lIns="0" tIns="0" rIns="0" bIns="0">
            <a:spAutoFit/>
          </a:bodyPr>
          <a:lstStyle/>
          <a:p>
            <a:pPr>
              <a:spcBef>
                <a:spcPts val="600"/>
              </a:spcBef>
            </a:pP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2667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2205998" y="1738602"/>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3" name="Freeform 64"/>
          <p:cNvSpPr>
            <a:spLocks noChangeAspect="1" noEditPoints="1"/>
          </p:cNvSpPr>
          <p:nvPr/>
        </p:nvSpPr>
        <p:spPr bwMode="auto">
          <a:xfrm>
            <a:off x="7111685" y="3456566"/>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6" name="Freeform 159"/>
          <p:cNvSpPr>
            <a:spLocks noChangeAspect="1" noEditPoints="1"/>
          </p:cNvSpPr>
          <p:nvPr/>
        </p:nvSpPr>
        <p:spPr bwMode="auto">
          <a:xfrm>
            <a:off x="2061654" y="3553548"/>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8" name="Freeform 534"/>
          <p:cNvSpPr>
            <a:spLocks noChangeAspect="1" noEditPoints="1"/>
          </p:cNvSpPr>
          <p:nvPr/>
        </p:nvSpPr>
        <p:spPr bwMode="auto">
          <a:xfrm>
            <a:off x="6486354" y="1932566"/>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8327551"/>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1" name="Rectangle 30"/>
          <p:cNvSpPr/>
          <p:nvPr/>
        </p:nvSpPr>
        <p:spPr>
          <a:xfrm>
            <a:off x="1493446" y="3925028"/>
            <a:ext cx="1645920" cy="923330"/>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r>
              <a:rPr lang="en-US" sz="1000" dirty="0">
                <a:solidFill>
                  <a:schemeClr val="accent4"/>
                </a:solidFill>
              </a:rPr>
              <a:t>This is dummy text it is not here to be read. This is dummy text it is not here to be read. This is dummy text it is not here to be read</a:t>
            </a:r>
            <a:r>
              <a:rPr lang="en-US" sz="800" dirty="0">
                <a:solidFill>
                  <a:schemeClr val="accent4"/>
                </a:solidFill>
              </a:rPr>
              <a:t>. </a:t>
            </a:r>
          </a:p>
        </p:txBody>
      </p:sp>
      <p:sp>
        <p:nvSpPr>
          <p:cNvPr id="32" name="TextBox 31"/>
          <p:cNvSpPr txBox="1"/>
          <p:nvPr/>
        </p:nvSpPr>
        <p:spPr>
          <a:xfrm>
            <a:off x="1905868" y="3261106"/>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33" name="Rectangle 32"/>
          <p:cNvSpPr/>
          <p:nvPr/>
        </p:nvSpPr>
        <p:spPr>
          <a:xfrm>
            <a:off x="4281547" y="3925028"/>
            <a:ext cx="1645920" cy="107721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r>
              <a:rPr lang="en-US" sz="1000"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7074692" y="3925028"/>
            <a:ext cx="1645920" cy="107721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dolor </a:t>
            </a:r>
          </a:p>
          <a:p>
            <a:r>
              <a:rPr lang="en-US" sz="1000"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4714263" y="3261106"/>
            <a:ext cx="385737" cy="688256"/>
          </a:xfrm>
          <a:prstGeom prst="rect">
            <a:avLst/>
          </a:prstGeom>
          <a:noFill/>
        </p:spPr>
        <p:txBody>
          <a:bodyPr wrap="square" lIns="36000" tIns="36000" rIns="36000" bIns="36000" rtlCol="0">
            <a:spAutoFit/>
          </a:bodyPr>
          <a:lstStyle/>
          <a:p>
            <a:r>
              <a:rPr lang="en-US" sz="4000" b="1" dirty="0">
                <a:solidFill>
                  <a:schemeClr val="accent2"/>
                </a:solidFill>
              </a:rPr>
              <a:t>2</a:t>
            </a:r>
          </a:p>
        </p:txBody>
      </p:sp>
      <p:sp>
        <p:nvSpPr>
          <p:cNvPr id="36" name="TextBox 35"/>
          <p:cNvSpPr txBox="1"/>
          <p:nvPr/>
        </p:nvSpPr>
        <p:spPr>
          <a:xfrm>
            <a:off x="7500907" y="3261106"/>
            <a:ext cx="385737" cy="688256"/>
          </a:xfrm>
          <a:prstGeom prst="rect">
            <a:avLst/>
          </a:prstGeom>
          <a:noFill/>
        </p:spPr>
        <p:txBody>
          <a:bodyPr wrap="square" lIns="36000" tIns="36000" rIns="36000" bIns="36000" rtlCol="0">
            <a:spAutoFit/>
          </a:bodyPr>
          <a:lstStyle/>
          <a:p>
            <a:r>
              <a:rPr lang="en-US" sz="4000" b="1" dirty="0">
                <a:solidFill>
                  <a:schemeClr val="accent5"/>
                </a:solidFill>
              </a:rPr>
              <a:t>3</a:t>
            </a:r>
          </a:p>
        </p:txBody>
      </p:sp>
      <p:sp>
        <p:nvSpPr>
          <p:cNvPr id="38" name="Diagonal Stripe 37"/>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iagonal Stripe 42"/>
          <p:cNvSpPr/>
          <p:nvPr/>
        </p:nvSpPr>
        <p:spPr>
          <a:xfrm>
            <a:off x="5978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5978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Diagonal Stripe 47"/>
          <p:cNvSpPr/>
          <p:nvPr/>
        </p:nvSpPr>
        <p:spPr>
          <a:xfrm>
            <a:off x="3186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3186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nvGrpSpPr>
          <p:cNvPr id="52" name="Group 740"/>
          <p:cNvGrpSpPr>
            <a:grpSpLocks noChangeAspect="1"/>
          </p:cNvGrpSpPr>
          <p:nvPr/>
        </p:nvGrpSpPr>
        <p:grpSpPr bwMode="auto">
          <a:xfrm>
            <a:off x="287715"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414"/>
          <p:cNvGrpSpPr>
            <a:grpSpLocks noChangeAspect="1"/>
          </p:cNvGrpSpPr>
          <p:nvPr/>
        </p:nvGrpSpPr>
        <p:grpSpPr bwMode="auto">
          <a:xfrm>
            <a:off x="3110554"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382"/>
          <p:cNvGrpSpPr>
            <a:grpSpLocks noChangeAspect="1"/>
          </p:cNvGrpSpPr>
          <p:nvPr/>
        </p:nvGrpSpPr>
        <p:grpSpPr bwMode="auto">
          <a:xfrm>
            <a:off x="5872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98687245"/>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Rectangle 13"/>
          <p:cNvSpPr/>
          <p:nvPr/>
        </p:nvSpPr>
        <p:spPr>
          <a:xfrm rot="12691956">
            <a:off x="6136580"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2" name="Rectangle 13"/>
          <p:cNvSpPr/>
          <p:nvPr/>
        </p:nvSpPr>
        <p:spPr>
          <a:xfrm rot="9073758">
            <a:off x="4391098"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13"/>
          <p:cNvSpPr/>
          <p:nvPr/>
        </p:nvSpPr>
        <p:spPr>
          <a:xfrm rot="2024838">
            <a:off x="2476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4" name="Oval 63"/>
          <p:cNvSpPr>
            <a:spLocks noChangeAspect="1"/>
          </p:cNvSpPr>
          <p:nvPr/>
        </p:nvSpPr>
        <p:spPr>
          <a:xfrm>
            <a:off x="5004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Oval 64"/>
          <p:cNvSpPr/>
          <p:nvPr/>
        </p:nvSpPr>
        <p:spPr>
          <a:xfrm>
            <a:off x="1110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a:spLocks noChangeAspect="1"/>
          </p:cNvSpPr>
          <p:nvPr/>
        </p:nvSpPr>
        <p:spPr>
          <a:xfrm>
            <a:off x="3165561" y="3199233"/>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Rectangle 66"/>
          <p:cNvSpPr/>
          <p:nvPr/>
        </p:nvSpPr>
        <p:spPr>
          <a:xfrm>
            <a:off x="1747541" y="2345375"/>
            <a:ext cx="1325805" cy="1231106"/>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1181983" y="241674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1</a:t>
            </a:r>
          </a:p>
        </p:txBody>
      </p:sp>
      <p:cxnSp>
        <p:nvCxnSpPr>
          <p:cNvPr id="69" name="Straight Connector 68"/>
          <p:cNvCxnSpPr/>
          <p:nvPr/>
        </p:nvCxnSpPr>
        <p:spPr>
          <a:xfrm>
            <a:off x="1671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872503" y="3484795"/>
            <a:ext cx="1034476" cy="1384995"/>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3271157" y="3633109"/>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72" name="Straight Connector 71"/>
          <p:cNvCxnSpPr/>
          <p:nvPr/>
        </p:nvCxnSpPr>
        <p:spPr>
          <a:xfrm>
            <a:off x="3800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5702743" y="2660624"/>
            <a:ext cx="871368" cy="1077218"/>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a:t>
            </a:r>
          </a:p>
        </p:txBody>
      </p:sp>
      <p:sp>
        <p:nvSpPr>
          <p:cNvPr id="74" name="TextBox 73"/>
          <p:cNvSpPr txBox="1"/>
          <p:nvPr/>
        </p:nvSpPr>
        <p:spPr>
          <a:xfrm>
            <a:off x="5072805" y="2655050"/>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75" name="Straight Connector 74"/>
          <p:cNvCxnSpPr/>
          <p:nvPr/>
        </p:nvCxnSpPr>
        <p:spPr>
          <a:xfrm>
            <a:off x="5620257" y="2521723"/>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6629192" y="3386354"/>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1"/>
              </a:solidFill>
            </a:endParaRPr>
          </a:p>
        </p:txBody>
      </p:sp>
      <p:sp>
        <p:nvSpPr>
          <p:cNvPr id="77" name="Rectangle 76"/>
          <p:cNvSpPr/>
          <p:nvPr/>
        </p:nvSpPr>
        <p:spPr>
          <a:xfrm>
            <a:off x="7303619" y="3627033"/>
            <a:ext cx="617489" cy="923330"/>
          </a:xfrm>
          <a:prstGeom prst="rect">
            <a:avLst/>
          </a:prstGeom>
        </p:spPr>
        <p:txBody>
          <a:bodyPr wrap="square" lIns="0" tIns="0" rIns="0" bIns="0" anchor="ctr" anchorCtr="0">
            <a:spAutoFit/>
          </a:bodyPr>
          <a:lstStyle/>
          <a:p>
            <a:r>
              <a:rPr lang="en-US" sz="1000" dirty="0"/>
              <a:t>This is dummy text it is not here to be read. </a:t>
            </a:r>
          </a:p>
        </p:txBody>
      </p:sp>
      <p:sp>
        <p:nvSpPr>
          <p:cNvPr id="78" name="TextBox 77"/>
          <p:cNvSpPr txBox="1"/>
          <p:nvPr/>
        </p:nvSpPr>
        <p:spPr>
          <a:xfrm>
            <a:off x="6676124" y="3544514"/>
            <a:ext cx="631825" cy="1088366"/>
          </a:xfrm>
          <a:prstGeom prst="rect">
            <a:avLst/>
          </a:prstGeom>
          <a:noFill/>
        </p:spPr>
        <p:txBody>
          <a:bodyPr wrap="square" lIns="36000" tIns="36000" rIns="36000" bIns="36000" rtlCol="0" anchor="ctr" anchorCtr="0">
            <a:spAutoFit/>
          </a:bodyPr>
          <a:lstStyle/>
          <a:p>
            <a:r>
              <a:rPr lang="en-US" sz="6600" dirty="0"/>
              <a:t>4</a:t>
            </a:r>
          </a:p>
        </p:txBody>
      </p:sp>
      <p:cxnSp>
        <p:nvCxnSpPr>
          <p:cNvPr id="79" name="Straight Connector 78"/>
          <p:cNvCxnSpPr/>
          <p:nvPr/>
        </p:nvCxnSpPr>
        <p:spPr>
          <a:xfrm>
            <a:off x="7212179" y="3602967"/>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8469303"/>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3021795" y="1609953"/>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4568025"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2"/>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2360832" y="3573365"/>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1"/>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4704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3156668" y="3985277"/>
            <a:ext cx="1371600" cy="1692771"/>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2500440" y="4237813"/>
            <a:ext cx="689491" cy="1187699"/>
          </a:xfrm>
          <a:prstGeom prst="rect">
            <a:avLst/>
          </a:prstGeom>
          <a:noFill/>
        </p:spPr>
        <p:txBody>
          <a:bodyPr wrap="square" lIns="0" tIns="0" rIns="0" bIns="0" rtlCol="0" anchor="ctr" anchorCtr="0">
            <a:noAutofit/>
          </a:bodyPr>
          <a:lstStyle/>
          <a:p>
            <a:r>
              <a:rPr lang="en-US" sz="6600" dirty="0"/>
              <a:t>1</a:t>
            </a:r>
          </a:p>
        </p:txBody>
      </p:sp>
      <p:cxnSp>
        <p:nvCxnSpPr>
          <p:cNvPr id="29" name="Straight Connector 28"/>
          <p:cNvCxnSpPr/>
          <p:nvPr/>
        </p:nvCxnSpPr>
        <p:spPr>
          <a:xfrm>
            <a:off x="3041884" y="3952100"/>
            <a:ext cx="0" cy="17591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713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31" name="TextBox 30"/>
          <p:cNvSpPr txBox="1"/>
          <p:nvPr/>
        </p:nvSpPr>
        <p:spPr>
          <a:xfrm>
            <a:off x="3075785" y="2018839"/>
            <a:ext cx="689491" cy="1187699"/>
          </a:xfrm>
          <a:prstGeom prst="rect">
            <a:avLst/>
          </a:prstGeom>
          <a:noFill/>
        </p:spPr>
        <p:txBody>
          <a:bodyPr wrap="square" lIns="0" tIns="0" rIns="0" bIns="0" rtlCol="0" anchor="ctr" anchorCtr="0">
            <a:noAutofit/>
          </a:bodyPr>
          <a:lstStyle/>
          <a:p>
            <a:r>
              <a:rPr lang="en-US" sz="6600" dirty="0"/>
              <a:t>3</a:t>
            </a:r>
          </a:p>
        </p:txBody>
      </p:sp>
      <p:cxnSp>
        <p:nvCxnSpPr>
          <p:cNvPr id="32" name="Straight Connector 31"/>
          <p:cNvCxnSpPr/>
          <p:nvPr/>
        </p:nvCxnSpPr>
        <p:spPr>
          <a:xfrm>
            <a:off x="3608176" y="1875443"/>
            <a:ext cx="0" cy="147449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415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4780619" y="3189674"/>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5300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5608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4992273" y="1385789"/>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5511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6425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auto">
          <a:xfrm>
            <a:off x="1052684" y="161178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2549525" y="161178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4046366" y="161178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1052684" y="4539283"/>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2549525" y="4539283"/>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4046366" y="4539283"/>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1052684" y="307553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2549525" y="307553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4046366" y="3075534"/>
            <a:ext cx="1406525" cy="1371600"/>
          </a:xfrm>
          <a:prstGeom prst="rect">
            <a:avLst/>
          </a:prstGeom>
          <a:solidFill>
            <a:schemeClr val="accent3"/>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5654503" y="1611784"/>
            <a:ext cx="336550" cy="4297680"/>
          </a:xfrm>
          <a:prstGeom prst="homePlate">
            <a:avLst>
              <a:gd name="adj" fmla="val 100000"/>
            </a:avLst>
          </a:prstGeom>
          <a:solidFill>
            <a:schemeClr val="bg2">
              <a:lumMod val="90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6192666" y="1611785"/>
            <a:ext cx="1898650" cy="4299098"/>
          </a:xfrm>
          <a:prstGeom prst="rect">
            <a:avLst/>
          </a:prstGeom>
          <a:solidFill>
            <a:schemeClr val="accent4"/>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Tree>
    <p:extLst>
      <p:ext uri="{BB962C8B-B14F-4D97-AF65-F5344CB8AC3E}">
        <p14:creationId xmlns:p14="http://schemas.microsoft.com/office/powerpoint/2010/main" val="496745728"/>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3021795" y="1609953"/>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4568025"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2360832" y="3573365"/>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4704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3156668" y="3985277"/>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2500440" y="4237813"/>
            <a:ext cx="689491" cy="1187699"/>
          </a:xfrm>
          <a:prstGeom prst="rect">
            <a:avLst/>
          </a:prstGeom>
          <a:noFill/>
        </p:spPr>
        <p:txBody>
          <a:bodyPr wrap="square" lIns="0" tIns="0" rIns="0" bIns="0" rtlCol="0" anchor="ctr" anchorCtr="0">
            <a:noAutofit/>
          </a:bodyPr>
          <a:lstStyle/>
          <a:p>
            <a:r>
              <a:rPr lang="en-US" sz="6600" dirty="0">
                <a:solidFill>
                  <a:schemeClr val="bg1"/>
                </a:solidFill>
              </a:rPr>
              <a:t>1</a:t>
            </a:r>
          </a:p>
        </p:txBody>
      </p:sp>
      <p:cxnSp>
        <p:nvCxnSpPr>
          <p:cNvPr id="29" name="Straight Connector 28"/>
          <p:cNvCxnSpPr/>
          <p:nvPr/>
        </p:nvCxnSpPr>
        <p:spPr>
          <a:xfrm>
            <a:off x="3041884" y="3952100"/>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713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31" name="TextBox 30"/>
          <p:cNvSpPr txBox="1"/>
          <p:nvPr/>
        </p:nvSpPr>
        <p:spPr>
          <a:xfrm>
            <a:off x="3075785" y="2018839"/>
            <a:ext cx="689491" cy="1187699"/>
          </a:xfrm>
          <a:prstGeom prst="rect">
            <a:avLst/>
          </a:prstGeom>
          <a:noFill/>
        </p:spPr>
        <p:txBody>
          <a:bodyPr wrap="square" lIns="0" tIns="0" rIns="0" bIns="0" rtlCol="0" anchor="ctr" anchorCtr="0">
            <a:noAutofit/>
          </a:bodyPr>
          <a:lstStyle/>
          <a:p>
            <a:r>
              <a:rPr lang="en-US" sz="6600" dirty="0"/>
              <a:t>3</a:t>
            </a:r>
          </a:p>
        </p:txBody>
      </p:sp>
      <p:cxnSp>
        <p:nvCxnSpPr>
          <p:cNvPr id="32" name="Straight Connector 31"/>
          <p:cNvCxnSpPr/>
          <p:nvPr/>
        </p:nvCxnSpPr>
        <p:spPr>
          <a:xfrm>
            <a:off x="3608176" y="1875443"/>
            <a:ext cx="0" cy="147449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415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4780619" y="3189674"/>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5300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5608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4992273" y="1385789"/>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5511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3021795" y="1609953"/>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tx1"/>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1" name="Teardrop 1"/>
          <p:cNvSpPr/>
          <p:nvPr/>
        </p:nvSpPr>
        <p:spPr bwMode="gray">
          <a:xfrm rot="13500000">
            <a:off x="4568025"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tx1"/>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2" name="Teardrop 25"/>
          <p:cNvSpPr/>
          <p:nvPr/>
        </p:nvSpPr>
        <p:spPr bwMode="gray">
          <a:xfrm rot="8100000" flipH="1">
            <a:off x="2360832" y="3573365"/>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tx1"/>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3" name="Oval 2"/>
          <p:cNvSpPr/>
          <p:nvPr/>
        </p:nvSpPr>
        <p:spPr bwMode="gray">
          <a:xfrm>
            <a:off x="4704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tx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Rectangle 23"/>
          <p:cNvSpPr/>
          <p:nvPr/>
        </p:nvSpPr>
        <p:spPr>
          <a:xfrm>
            <a:off x="3156668" y="3985277"/>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2500440" y="4237813"/>
            <a:ext cx="689491" cy="1187699"/>
          </a:xfrm>
          <a:prstGeom prst="rect">
            <a:avLst/>
          </a:prstGeom>
          <a:noFill/>
        </p:spPr>
        <p:txBody>
          <a:bodyPr wrap="square" lIns="0" tIns="0" rIns="0" bIns="0" rtlCol="0" anchor="ctr" anchorCtr="0">
            <a:noAutofit/>
          </a:bodyPr>
          <a:lstStyle/>
          <a:p>
            <a:r>
              <a:rPr lang="en-US" sz="6600" dirty="0">
                <a:solidFill>
                  <a:schemeClr val="accent1"/>
                </a:solidFill>
              </a:rPr>
              <a:t>1</a:t>
            </a:r>
          </a:p>
        </p:txBody>
      </p:sp>
      <p:cxnSp>
        <p:nvCxnSpPr>
          <p:cNvPr id="26" name="Straight Connector 25"/>
          <p:cNvCxnSpPr/>
          <p:nvPr/>
        </p:nvCxnSpPr>
        <p:spPr>
          <a:xfrm>
            <a:off x="3041884" y="3952100"/>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713908" y="1997135"/>
            <a:ext cx="1005840" cy="1231106"/>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28" name="TextBox 27"/>
          <p:cNvSpPr txBox="1"/>
          <p:nvPr/>
        </p:nvSpPr>
        <p:spPr>
          <a:xfrm>
            <a:off x="3075785" y="2018839"/>
            <a:ext cx="689491" cy="1187699"/>
          </a:xfrm>
          <a:prstGeom prst="rect">
            <a:avLst/>
          </a:prstGeom>
          <a:noFill/>
        </p:spPr>
        <p:txBody>
          <a:bodyPr wrap="square" lIns="0" tIns="0" rIns="0" bIns="0" rtlCol="0" anchor="ctr" anchorCtr="0">
            <a:noAutofit/>
          </a:bodyPr>
          <a:lstStyle/>
          <a:p>
            <a:r>
              <a:rPr lang="en-US" sz="6600" dirty="0">
                <a:solidFill>
                  <a:schemeClr val="accent3"/>
                </a:solidFill>
              </a:rPr>
              <a:t>3</a:t>
            </a:r>
          </a:p>
        </p:txBody>
      </p:sp>
      <p:cxnSp>
        <p:nvCxnSpPr>
          <p:cNvPr id="29" name="Straight Connector 28"/>
          <p:cNvCxnSpPr/>
          <p:nvPr/>
        </p:nvCxnSpPr>
        <p:spPr>
          <a:xfrm>
            <a:off x="3608176" y="1875443"/>
            <a:ext cx="0" cy="147449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415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1" name="TextBox 30"/>
          <p:cNvSpPr txBox="1"/>
          <p:nvPr/>
        </p:nvSpPr>
        <p:spPr>
          <a:xfrm>
            <a:off x="4780619" y="3189674"/>
            <a:ext cx="689491" cy="986179"/>
          </a:xfrm>
          <a:prstGeom prst="rect">
            <a:avLst/>
          </a:prstGeom>
          <a:noFill/>
        </p:spPr>
        <p:txBody>
          <a:bodyPr wrap="square" lIns="0" tIns="0" rIns="0" bIns="0" rtlCol="0" anchor="ctr" anchorCtr="0">
            <a:noAutofit/>
          </a:bodyPr>
          <a:lstStyle/>
          <a:p>
            <a:r>
              <a:rPr lang="en-US" sz="6600" dirty="0">
                <a:solidFill>
                  <a:schemeClr val="accent2"/>
                </a:solidFill>
              </a:rPr>
              <a:t>2</a:t>
            </a:r>
          </a:p>
        </p:txBody>
      </p:sp>
      <p:cxnSp>
        <p:nvCxnSpPr>
          <p:cNvPr id="32" name="Straight Connector 31"/>
          <p:cNvCxnSpPr/>
          <p:nvPr/>
        </p:nvCxnSpPr>
        <p:spPr>
          <a:xfrm>
            <a:off x="5300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608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4992273" y="1385789"/>
            <a:ext cx="689491" cy="986179"/>
          </a:xfrm>
          <a:prstGeom prst="rect">
            <a:avLst/>
          </a:prstGeom>
          <a:noFill/>
        </p:spPr>
        <p:txBody>
          <a:bodyPr wrap="square" lIns="0" tIns="0" rIns="0" bIns="0" rtlCol="0" anchor="ctr" anchorCtr="0">
            <a:noAutofit/>
          </a:bodyPr>
          <a:lstStyle/>
          <a:p>
            <a:r>
              <a:rPr lang="en-US" sz="6600" dirty="0">
                <a:solidFill>
                  <a:schemeClr val="accent5"/>
                </a:solidFill>
              </a:rPr>
              <a:t>4</a:t>
            </a:r>
          </a:p>
        </p:txBody>
      </p:sp>
      <p:cxnSp>
        <p:nvCxnSpPr>
          <p:cNvPr id="35" name="Straight Connector 34"/>
          <p:cNvCxnSpPr/>
          <p:nvPr/>
        </p:nvCxnSpPr>
        <p:spPr>
          <a:xfrm>
            <a:off x="5511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1597588" y="3292288"/>
            <a:ext cx="4187190" cy="969264"/>
          </a:xfrm>
          <a:prstGeom prst="rect">
            <a:avLst/>
          </a:prstGeom>
          <a:solidFill>
            <a:schemeClr val="accent5"/>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2402401" y="4914713"/>
            <a:ext cx="4187190" cy="969264"/>
          </a:xfrm>
          <a:prstGeom prst="rect">
            <a:avLst/>
          </a:prstGeom>
          <a:solidFill>
            <a:schemeClr val="accent2"/>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6572540" y="4436506"/>
            <a:ext cx="1620874" cy="1920242"/>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2" name="Rectangle 41"/>
          <p:cNvSpPr/>
          <p:nvPr/>
        </p:nvSpPr>
        <p:spPr bwMode="gray">
          <a:xfrm>
            <a:off x="821885" y="1669863"/>
            <a:ext cx="4187190" cy="969264"/>
          </a:xfrm>
          <a:prstGeom prst="rect">
            <a:avLst/>
          </a:prstGeom>
          <a:solidFill>
            <a:schemeClr val="accent3"/>
          </a:solidFill>
          <a:ln w="19050" algn="ctr">
            <a:noFill/>
            <a:miter lim="800000"/>
            <a:headEnd/>
            <a:tailEnd/>
          </a:ln>
        </p:spPr>
        <p:txBody>
          <a:bodyPr wrap="square" lIns="88900" tIns="88900" rIns="88900" bIns="88900" rtlCol="0" anchor="ct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4986790" y="1193060"/>
            <a:ext cx="1620875" cy="1920240"/>
            <a:chOff x="3525926" y="2604211"/>
            <a:chExt cx="1887322" cy="2235900"/>
          </a:xfrm>
        </p:grpSpPr>
        <p:sp>
          <p:nvSpPr>
            <p:cNvPr id="44" name="Freeform 43"/>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7" name="TextBox 46"/>
          <p:cNvSpPr txBox="1"/>
          <p:nvPr/>
        </p:nvSpPr>
        <p:spPr>
          <a:xfrm>
            <a:off x="5441179" y="1295718"/>
            <a:ext cx="691028" cy="688256"/>
          </a:xfrm>
          <a:prstGeom prst="rect">
            <a:avLst/>
          </a:prstGeom>
          <a:noFill/>
        </p:spPr>
        <p:txBody>
          <a:bodyPr wrap="square" lIns="36000" tIns="36000" rIns="36000" bIns="36000" rtlCol="0">
            <a:spAutoFit/>
          </a:bodyPr>
          <a:lstStyle/>
          <a:p>
            <a:pPr algn="ctr"/>
            <a:r>
              <a:rPr lang="en-US" sz="4000" b="1" dirty="0">
                <a:solidFill>
                  <a:schemeClr val="accent3"/>
                </a:solidFill>
              </a:rPr>
              <a:t>1</a:t>
            </a:r>
          </a:p>
        </p:txBody>
      </p:sp>
      <p:sp>
        <p:nvSpPr>
          <p:cNvPr id="48" name="Rectangle 47"/>
          <p:cNvSpPr/>
          <p:nvPr/>
        </p:nvSpPr>
        <p:spPr>
          <a:xfrm>
            <a:off x="4917061" y="2175594"/>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3" name="Rectangle 52"/>
          <p:cNvSpPr/>
          <p:nvPr/>
        </p:nvSpPr>
        <p:spPr>
          <a:xfrm>
            <a:off x="6503411" y="5449689"/>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5" name="TextBox 54"/>
          <p:cNvSpPr txBox="1"/>
          <p:nvPr/>
        </p:nvSpPr>
        <p:spPr>
          <a:xfrm>
            <a:off x="7047688" y="4569845"/>
            <a:ext cx="691028" cy="688256"/>
          </a:xfrm>
          <a:prstGeom prst="rect">
            <a:avLst/>
          </a:prstGeom>
          <a:noFill/>
        </p:spPr>
        <p:txBody>
          <a:bodyPr wrap="square" lIns="36000" tIns="36000" rIns="36000" bIns="36000" rtlCol="0">
            <a:spAutoFit/>
          </a:bodyPr>
          <a:lstStyle/>
          <a:p>
            <a:pPr algn="ctr"/>
            <a:r>
              <a:rPr lang="en-US" sz="4000" b="1" dirty="0">
                <a:solidFill>
                  <a:schemeClr val="accent2"/>
                </a:solidFill>
              </a:rPr>
              <a:t>3</a:t>
            </a:r>
          </a:p>
        </p:txBody>
      </p:sp>
      <p:grpSp>
        <p:nvGrpSpPr>
          <p:cNvPr id="56" name="Group 55"/>
          <p:cNvGrpSpPr/>
          <p:nvPr/>
        </p:nvGrpSpPr>
        <p:grpSpPr>
          <a:xfrm>
            <a:off x="5774128" y="2814784"/>
            <a:ext cx="1620875" cy="192024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60" name="TextBox 59"/>
          <p:cNvSpPr txBox="1"/>
          <p:nvPr/>
        </p:nvSpPr>
        <p:spPr>
          <a:xfrm>
            <a:off x="6239052" y="2948123"/>
            <a:ext cx="691028" cy="688256"/>
          </a:xfrm>
          <a:prstGeom prst="rect">
            <a:avLst/>
          </a:prstGeom>
          <a:noFill/>
        </p:spPr>
        <p:txBody>
          <a:bodyPr wrap="square" lIns="36000" tIns="36000" rIns="36000" bIns="36000" rtlCol="0">
            <a:spAutoFit/>
          </a:bodyPr>
          <a:lstStyle/>
          <a:p>
            <a:pPr algn="ctr"/>
            <a:r>
              <a:rPr lang="en-US" sz="4000" b="1" dirty="0">
                <a:solidFill>
                  <a:schemeClr val="accent5"/>
                </a:solidFill>
              </a:rPr>
              <a:t>2</a:t>
            </a:r>
          </a:p>
        </p:txBody>
      </p:sp>
      <p:sp>
        <p:nvSpPr>
          <p:cNvPr id="61" name="Rectangle 60"/>
          <p:cNvSpPr/>
          <p:nvPr/>
        </p:nvSpPr>
        <p:spPr>
          <a:xfrm>
            <a:off x="5705561" y="3785646"/>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grpSp>
        <p:nvGrpSpPr>
          <p:cNvPr id="63" name="Group 517"/>
          <p:cNvGrpSpPr>
            <a:grpSpLocks noChangeAspect="1"/>
          </p:cNvGrpSpPr>
          <p:nvPr/>
        </p:nvGrpSpPr>
        <p:grpSpPr bwMode="auto">
          <a:xfrm>
            <a:off x="5863692" y="2080948"/>
            <a:ext cx="625256" cy="625256"/>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1000"/>
          <p:cNvGrpSpPr>
            <a:grpSpLocks noChangeAspect="1"/>
          </p:cNvGrpSpPr>
          <p:nvPr/>
        </p:nvGrpSpPr>
        <p:grpSpPr bwMode="auto">
          <a:xfrm>
            <a:off x="6657989" y="3758842"/>
            <a:ext cx="626859" cy="626859"/>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568"/>
          <p:cNvGrpSpPr>
            <a:grpSpLocks noChangeAspect="1"/>
          </p:cNvGrpSpPr>
          <p:nvPr/>
        </p:nvGrpSpPr>
        <p:grpSpPr bwMode="auto">
          <a:xfrm>
            <a:off x="7461036" y="5354630"/>
            <a:ext cx="689621" cy="625256"/>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637309" y="1381356"/>
            <a:ext cx="7760626" cy="176022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647440" y="2920596"/>
            <a:ext cx="6894975"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624823" y="4436976"/>
            <a:ext cx="7925512" cy="176022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821875" y="1478193"/>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3224441" y="1854151"/>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608591" y="1645913"/>
            <a:ext cx="756507" cy="1231106"/>
          </a:xfrm>
          <a:prstGeom prst="rect">
            <a:avLst/>
          </a:prstGeom>
          <a:noFill/>
        </p:spPr>
        <p:txBody>
          <a:bodyPr wrap="square" lIns="0" tIns="0" rIns="0" bIns="0" rtlCol="0">
            <a:spAutoFit/>
          </a:bodyPr>
          <a:lstStyle/>
          <a:p>
            <a:pPr algn="ctr"/>
            <a:r>
              <a:rPr lang="en-US" sz="8000" dirty="0">
                <a:solidFill>
                  <a:schemeClr val="accent3"/>
                </a:solidFill>
              </a:rPr>
              <a:t>1</a:t>
            </a:r>
          </a:p>
        </p:txBody>
      </p:sp>
      <p:sp>
        <p:nvSpPr>
          <p:cNvPr id="79" name="Half Frame 78"/>
          <p:cNvSpPr/>
          <p:nvPr/>
        </p:nvSpPr>
        <p:spPr>
          <a:xfrm rot="8142470">
            <a:off x="3053881" y="3400617"/>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0" name="TextBox 79"/>
          <p:cNvSpPr txBox="1"/>
          <p:nvPr/>
        </p:nvSpPr>
        <p:spPr>
          <a:xfrm>
            <a:off x="2392311" y="3185153"/>
            <a:ext cx="756507" cy="1231106"/>
          </a:xfrm>
          <a:prstGeom prst="rect">
            <a:avLst/>
          </a:prstGeom>
          <a:noFill/>
        </p:spPr>
        <p:txBody>
          <a:bodyPr wrap="square" lIns="0" tIns="0" rIns="0" bIns="0" rtlCol="0">
            <a:spAutoFit/>
          </a:bodyPr>
          <a:lstStyle/>
          <a:p>
            <a:pPr algn="ctr"/>
            <a:r>
              <a:rPr lang="en-US" sz="8000" dirty="0">
                <a:solidFill>
                  <a:schemeClr val="accent5"/>
                </a:solidFill>
              </a:rPr>
              <a:t>2</a:t>
            </a:r>
          </a:p>
        </p:txBody>
      </p:sp>
      <p:sp>
        <p:nvSpPr>
          <p:cNvPr id="81" name="Half Frame 80"/>
          <p:cNvSpPr/>
          <p:nvPr/>
        </p:nvSpPr>
        <p:spPr>
          <a:xfrm rot="8142470">
            <a:off x="2788022" y="4886518"/>
            <a:ext cx="281314"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2" name="TextBox 81"/>
          <p:cNvSpPr txBox="1"/>
          <p:nvPr/>
        </p:nvSpPr>
        <p:spPr>
          <a:xfrm>
            <a:off x="2134072" y="4701533"/>
            <a:ext cx="756507" cy="1231106"/>
          </a:xfrm>
          <a:prstGeom prst="rect">
            <a:avLst/>
          </a:prstGeom>
          <a:noFill/>
        </p:spPr>
        <p:txBody>
          <a:bodyPr wrap="square" lIns="0" tIns="0" rIns="0" bIns="0" rtlCol="0">
            <a:spAutoFit/>
          </a:bodyPr>
          <a:lstStyle/>
          <a:p>
            <a:pPr algn="ctr"/>
            <a:r>
              <a:rPr lang="en-US" sz="8000" dirty="0">
                <a:solidFill>
                  <a:schemeClr val="accent2"/>
                </a:solidFill>
              </a:rPr>
              <a:t>3</a:t>
            </a:r>
          </a:p>
        </p:txBody>
      </p:sp>
      <p:sp>
        <p:nvSpPr>
          <p:cNvPr id="83" name="Rectangle 82"/>
          <p:cNvSpPr/>
          <p:nvPr/>
        </p:nvSpPr>
        <p:spPr>
          <a:xfrm>
            <a:off x="3880664" y="1738246"/>
            <a:ext cx="3560128" cy="923330"/>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r>
              <a:rPr lang="en-US" sz="1000" dirty="0"/>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3626823" y="3277486"/>
            <a:ext cx="3560128"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3396516" y="4793472"/>
            <a:ext cx="3560128"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834481" y="1859273"/>
            <a:ext cx="824502" cy="824502"/>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0" name="Group 1000"/>
          <p:cNvGrpSpPr>
            <a:grpSpLocks noChangeAspect="1"/>
          </p:cNvGrpSpPr>
          <p:nvPr/>
        </p:nvGrpSpPr>
        <p:grpSpPr bwMode="auto">
          <a:xfrm>
            <a:off x="834481" y="3426327"/>
            <a:ext cx="826616" cy="82661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3" name="Group 568"/>
          <p:cNvGrpSpPr>
            <a:grpSpLocks noChangeAspect="1"/>
          </p:cNvGrpSpPr>
          <p:nvPr/>
        </p:nvGrpSpPr>
        <p:grpSpPr bwMode="auto">
          <a:xfrm>
            <a:off x="834481" y="4938989"/>
            <a:ext cx="909378" cy="824502"/>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532245" y="162127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8" name="Rectangle 127"/>
          <p:cNvSpPr/>
          <p:nvPr/>
        </p:nvSpPr>
        <p:spPr>
          <a:xfrm>
            <a:off x="532245" y="253567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9" name="Rectangle 128"/>
          <p:cNvSpPr/>
          <p:nvPr/>
        </p:nvSpPr>
        <p:spPr>
          <a:xfrm>
            <a:off x="532245" y="343483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0" name="Rectangle 129"/>
          <p:cNvSpPr/>
          <p:nvPr/>
        </p:nvSpPr>
        <p:spPr>
          <a:xfrm>
            <a:off x="532245" y="434923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1" name="Rectangle 130"/>
          <p:cNvSpPr/>
          <p:nvPr/>
        </p:nvSpPr>
        <p:spPr>
          <a:xfrm>
            <a:off x="532245" y="5251567"/>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2" name="Isosceles Triangle 131"/>
          <p:cNvSpPr/>
          <p:nvPr/>
        </p:nvSpPr>
        <p:spPr>
          <a:xfrm rot="16200000">
            <a:off x="1471887" y="374994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3" name="Round Same Side Corner Rectangle 132"/>
          <p:cNvSpPr/>
          <p:nvPr/>
        </p:nvSpPr>
        <p:spPr>
          <a:xfrm rot="5400000">
            <a:off x="4436702" y="218715"/>
            <a:ext cx="673101" cy="6866575"/>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a:p>
        </p:txBody>
      </p:sp>
      <p:sp>
        <p:nvSpPr>
          <p:cNvPr id="134" name="Isosceles Triangle 133"/>
          <p:cNvSpPr/>
          <p:nvPr/>
        </p:nvSpPr>
        <p:spPr>
          <a:xfrm rot="16200000">
            <a:off x="1457601" y="465006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5" name="Round Same Side Corner Rectangle 134"/>
          <p:cNvSpPr/>
          <p:nvPr/>
        </p:nvSpPr>
        <p:spPr>
          <a:xfrm rot="5400000">
            <a:off x="4436702" y="1121050"/>
            <a:ext cx="673101" cy="6866575"/>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a:p>
        </p:txBody>
      </p:sp>
      <p:sp>
        <p:nvSpPr>
          <p:cNvPr id="136" name="Isosceles Triangle 135"/>
          <p:cNvSpPr/>
          <p:nvPr/>
        </p:nvSpPr>
        <p:spPr>
          <a:xfrm rot="16200000">
            <a:off x="1457597" y="5547639"/>
            <a:ext cx="274956" cy="51022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7" name="Round Same Side Corner Rectangle 136"/>
          <p:cNvSpPr/>
          <p:nvPr/>
        </p:nvSpPr>
        <p:spPr>
          <a:xfrm rot="5400000">
            <a:off x="4436702" y="2023385"/>
            <a:ext cx="673101" cy="6866575"/>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a:p>
        </p:txBody>
      </p:sp>
      <p:sp>
        <p:nvSpPr>
          <p:cNvPr id="138" name="Isosceles Triangle 137"/>
          <p:cNvSpPr/>
          <p:nvPr/>
        </p:nvSpPr>
        <p:spPr>
          <a:xfrm rot="16200000">
            <a:off x="1471888" y="285078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9" name="Round Same Side Corner Rectangle 138"/>
          <p:cNvSpPr/>
          <p:nvPr/>
        </p:nvSpPr>
        <p:spPr>
          <a:xfrm rot="5400000">
            <a:off x="4436702" y="-683620"/>
            <a:ext cx="673101" cy="6866575"/>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a:p>
        </p:txBody>
      </p:sp>
      <p:sp>
        <p:nvSpPr>
          <p:cNvPr id="140" name="Isosceles Triangle 139"/>
          <p:cNvSpPr/>
          <p:nvPr/>
        </p:nvSpPr>
        <p:spPr>
          <a:xfrm rot="16200000">
            <a:off x="1471889" y="193638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41" name="Round Same Side Corner Rectangle 140"/>
          <p:cNvSpPr/>
          <p:nvPr/>
        </p:nvSpPr>
        <p:spPr>
          <a:xfrm rot="5400000">
            <a:off x="4436702" y="-1585955"/>
            <a:ext cx="673101" cy="6866575"/>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a:p>
        </p:txBody>
      </p:sp>
      <p:sp>
        <p:nvSpPr>
          <p:cNvPr id="142" name="TextBox 141"/>
          <p:cNvSpPr txBox="1"/>
          <p:nvPr/>
        </p:nvSpPr>
        <p:spPr>
          <a:xfrm>
            <a:off x="591131" y="1584823"/>
            <a:ext cx="691028" cy="738664"/>
          </a:xfrm>
          <a:prstGeom prst="rect">
            <a:avLst/>
          </a:prstGeom>
          <a:noFill/>
        </p:spPr>
        <p:txBody>
          <a:bodyPr wrap="square" lIns="0" tIns="0" rIns="0" bIns="0" rtlCol="0">
            <a:spAutoFit/>
          </a:bodyPr>
          <a:lstStyle/>
          <a:p>
            <a:pPr algn="ctr"/>
            <a:r>
              <a:rPr lang="en-US" sz="4800" b="1" dirty="0">
                <a:solidFill>
                  <a:schemeClr val="bg1"/>
                </a:solidFill>
              </a:rPr>
              <a:t>1</a:t>
            </a:r>
          </a:p>
        </p:txBody>
      </p:sp>
      <p:sp>
        <p:nvSpPr>
          <p:cNvPr id="143" name="TextBox 142"/>
          <p:cNvSpPr txBox="1"/>
          <p:nvPr/>
        </p:nvSpPr>
        <p:spPr>
          <a:xfrm>
            <a:off x="591131" y="2513273"/>
            <a:ext cx="691028" cy="738664"/>
          </a:xfrm>
          <a:prstGeom prst="rect">
            <a:avLst/>
          </a:prstGeom>
          <a:noFill/>
        </p:spPr>
        <p:txBody>
          <a:bodyPr wrap="square" lIns="0" tIns="0" rIns="0" bIns="0" rtlCol="0">
            <a:spAutoFit/>
          </a:bodyPr>
          <a:lstStyle/>
          <a:p>
            <a:pPr algn="ctr"/>
            <a:r>
              <a:rPr lang="en-US" sz="4800" b="1" dirty="0"/>
              <a:t>2</a:t>
            </a:r>
          </a:p>
        </p:txBody>
      </p:sp>
      <p:sp>
        <p:nvSpPr>
          <p:cNvPr id="144" name="TextBox 143"/>
          <p:cNvSpPr txBox="1"/>
          <p:nvPr/>
        </p:nvSpPr>
        <p:spPr>
          <a:xfrm>
            <a:off x="591131" y="3412433"/>
            <a:ext cx="691028" cy="738664"/>
          </a:xfrm>
          <a:prstGeom prst="rect">
            <a:avLst/>
          </a:prstGeom>
          <a:noFill/>
        </p:spPr>
        <p:txBody>
          <a:bodyPr wrap="square" lIns="0" tIns="0" rIns="0" bIns="0" rtlCol="0">
            <a:spAutoFit/>
          </a:bodyPr>
          <a:lstStyle/>
          <a:p>
            <a:pPr algn="ctr"/>
            <a:r>
              <a:rPr lang="en-US" sz="4800" b="1">
                <a:solidFill>
                  <a:schemeClr val="bg1"/>
                </a:solidFill>
              </a:rPr>
              <a:t>3</a:t>
            </a:r>
          </a:p>
        </p:txBody>
      </p:sp>
      <p:sp>
        <p:nvSpPr>
          <p:cNvPr id="145" name="TextBox 144"/>
          <p:cNvSpPr txBox="1"/>
          <p:nvPr/>
        </p:nvSpPr>
        <p:spPr>
          <a:xfrm>
            <a:off x="591131" y="4326833"/>
            <a:ext cx="691028" cy="738664"/>
          </a:xfrm>
          <a:prstGeom prst="rect">
            <a:avLst/>
          </a:prstGeom>
          <a:noFill/>
        </p:spPr>
        <p:txBody>
          <a:bodyPr wrap="square" lIns="0" tIns="0" rIns="0" bIns="0" rtlCol="0">
            <a:spAutoFit/>
          </a:bodyPr>
          <a:lstStyle/>
          <a:p>
            <a:pPr algn="ctr"/>
            <a:r>
              <a:rPr lang="en-US" sz="4800" b="1">
                <a:solidFill>
                  <a:schemeClr val="bg1"/>
                </a:solidFill>
              </a:rPr>
              <a:t>4</a:t>
            </a:r>
          </a:p>
        </p:txBody>
      </p:sp>
      <p:sp>
        <p:nvSpPr>
          <p:cNvPr id="146" name="TextBox 145"/>
          <p:cNvSpPr txBox="1"/>
          <p:nvPr/>
        </p:nvSpPr>
        <p:spPr>
          <a:xfrm>
            <a:off x="591131" y="5224807"/>
            <a:ext cx="691028" cy="738664"/>
          </a:xfrm>
          <a:prstGeom prst="rect">
            <a:avLst/>
          </a:prstGeom>
          <a:noFill/>
        </p:spPr>
        <p:txBody>
          <a:bodyPr wrap="square" lIns="0" tIns="0" rIns="0" bIns="0" rtlCol="0">
            <a:spAutoFit/>
          </a:bodyPr>
          <a:lstStyle/>
          <a:p>
            <a:pPr algn="ctr"/>
            <a:r>
              <a:rPr lang="en-US" sz="4800" b="1">
                <a:solidFill>
                  <a:schemeClr val="bg1"/>
                </a:solidFill>
              </a:rPr>
              <a:t>5</a:t>
            </a:r>
          </a:p>
        </p:txBody>
      </p:sp>
      <p:sp>
        <p:nvSpPr>
          <p:cNvPr id="147" name="Rectangle 146"/>
          <p:cNvSpPr/>
          <p:nvPr/>
        </p:nvSpPr>
        <p:spPr>
          <a:xfrm>
            <a:off x="1509509" y="1547866"/>
            <a:ext cx="6355715"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509509" y="2445431"/>
            <a:ext cx="6355715" cy="615553"/>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509509" y="3340839"/>
            <a:ext cx="6355715"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509509" y="4257720"/>
            <a:ext cx="6355715"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509509" y="5155453"/>
            <a:ext cx="6355715"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2039620" y="1312773"/>
            <a:ext cx="5054281" cy="4555172"/>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4033561" y="166400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924339" y="233075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3091539" y="231789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979459" y="298131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2139673" y="296703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2035530" y="3636162"/>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1204952" y="3621397"/>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862586" y="5090139"/>
            <a:ext cx="2341949"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816334" y="4369674"/>
            <a:ext cx="246813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777780" y="3724925"/>
            <a:ext cx="252599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747471" y="2912908"/>
            <a:ext cx="2568892"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953973" y="2769528"/>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630327" y="2997647"/>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591156" y="2350283"/>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530089" y="1701392"/>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441082" y="1049689"/>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935070" y="3670865"/>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3059858" y="4350133"/>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2080144" y="5055527"/>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5" name="Group 452"/>
          <p:cNvGrpSpPr>
            <a:grpSpLocks noChangeAspect="1"/>
          </p:cNvGrpSpPr>
          <p:nvPr/>
        </p:nvGrpSpPr>
        <p:grpSpPr bwMode="auto">
          <a:xfrm>
            <a:off x="1645502" y="4112057"/>
            <a:ext cx="367041" cy="36704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349"/>
          <p:cNvGrpSpPr>
            <a:grpSpLocks noChangeAspect="1"/>
          </p:cNvGrpSpPr>
          <p:nvPr/>
        </p:nvGrpSpPr>
        <p:grpSpPr bwMode="auto">
          <a:xfrm>
            <a:off x="2562071" y="3412810"/>
            <a:ext cx="367041" cy="36704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29"/>
          <p:cNvGrpSpPr>
            <a:grpSpLocks noChangeAspect="1"/>
          </p:cNvGrpSpPr>
          <p:nvPr/>
        </p:nvGrpSpPr>
        <p:grpSpPr bwMode="auto">
          <a:xfrm>
            <a:off x="4461783" y="2072507"/>
            <a:ext cx="371475" cy="371475"/>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p:cNvGrpSpPr>
            <a:grpSpLocks noChangeAspect="1"/>
          </p:cNvGrpSpPr>
          <p:nvPr/>
        </p:nvGrpSpPr>
        <p:grpSpPr bwMode="auto">
          <a:xfrm>
            <a:off x="3553501" y="2725030"/>
            <a:ext cx="369021" cy="369021"/>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4033561" y="166400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924339" y="233075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3091539" y="231789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979459" y="298131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2139673" y="296703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2035530" y="3636162"/>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1204952" y="3621397"/>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862586" y="5090139"/>
            <a:ext cx="2341949" cy="577081"/>
          </a:xfrm>
          <a:prstGeom prst="rect">
            <a:avLst/>
          </a:prstGeom>
        </p:spPr>
        <p:txBody>
          <a:bodyPr wrap="square" lIns="0" tIns="0" rIns="0" bIns="0">
            <a:spAutoFit/>
          </a:bodyPr>
          <a:lstStyle/>
          <a:p>
            <a:pPr>
              <a:spcAft>
                <a:spcPts val="600"/>
              </a:spcAft>
            </a:pPr>
            <a:r>
              <a:rPr lang="en-US" sz="1050" b="1" dirty="0" err="1">
                <a:solidFill>
                  <a:schemeClr val="accent1"/>
                </a:solidFill>
              </a:rPr>
              <a:t>Lorem</a:t>
            </a:r>
            <a:r>
              <a:rPr lang="en-US" sz="1050" b="1" dirty="0">
                <a:solidFill>
                  <a:schemeClr val="accent1"/>
                </a:solidFill>
              </a:rPr>
              <a:t> </a:t>
            </a:r>
            <a:r>
              <a:rPr lang="en-US" sz="1050" b="1" dirty="0" err="1">
                <a:solidFill>
                  <a:schemeClr val="accent1"/>
                </a:solidFill>
              </a:rPr>
              <a:t>ipsum</a:t>
            </a:r>
            <a:r>
              <a:rPr lang="en-US" sz="1050" b="1" dirty="0">
                <a:solidFill>
                  <a:schemeClr val="accent1"/>
                </a:solidFill>
              </a:rPr>
              <a:t> </a:t>
            </a:r>
            <a:br>
              <a:rPr lang="en-US" sz="1050" b="1" dirty="0">
                <a:solidFill>
                  <a:schemeClr val="tx2"/>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816334" y="4369674"/>
            <a:ext cx="2468130" cy="577081"/>
          </a:xfrm>
          <a:prstGeom prst="rect">
            <a:avLst/>
          </a:prstGeom>
        </p:spPr>
        <p:txBody>
          <a:bodyPr wrap="square" lIns="0" tIns="0" rIns="0" bIns="0">
            <a:spAutoFit/>
          </a:bodyPr>
          <a:lstStyle/>
          <a:p>
            <a:pPr>
              <a:spcAft>
                <a:spcPts val="600"/>
              </a:spcAft>
            </a:pPr>
            <a:r>
              <a:rPr lang="en-US" sz="1050" b="1" dirty="0" err="1">
                <a:solidFill>
                  <a:schemeClr val="accent6"/>
                </a:solidFill>
              </a:rPr>
              <a:t>Lorem</a:t>
            </a:r>
            <a:r>
              <a:rPr lang="en-US" sz="1050" b="1" dirty="0">
                <a:solidFill>
                  <a:schemeClr val="accent6"/>
                </a:solidFill>
              </a:rPr>
              <a:t> </a:t>
            </a:r>
            <a:r>
              <a:rPr lang="en-US" sz="1050" b="1" dirty="0" err="1">
                <a:solidFill>
                  <a:schemeClr val="accent6"/>
                </a:solidFill>
              </a:rPr>
              <a:t>ipsum</a:t>
            </a:r>
            <a:r>
              <a:rPr lang="en-US" sz="1050" b="1" dirty="0">
                <a:solidFill>
                  <a:schemeClr val="accent6"/>
                </a:solidFill>
              </a:rPr>
              <a:t> </a:t>
            </a:r>
            <a:br>
              <a:rPr lang="en-US" sz="1050" b="1" dirty="0">
                <a:solidFill>
                  <a:schemeClr val="tx2"/>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777780" y="3724925"/>
            <a:ext cx="2525990" cy="577081"/>
          </a:xfrm>
          <a:prstGeom prst="rect">
            <a:avLst/>
          </a:prstGeom>
        </p:spPr>
        <p:txBody>
          <a:bodyPr wrap="square" lIns="0" tIns="0" rIns="0" bIns="0">
            <a:spAutoFit/>
          </a:bodyPr>
          <a:lstStyle/>
          <a:p>
            <a:pPr>
              <a:spcAft>
                <a:spcPts val="600"/>
              </a:spcAft>
            </a:pPr>
            <a:r>
              <a:rPr lang="en-US" sz="1050" b="1" dirty="0" err="1">
                <a:solidFill>
                  <a:schemeClr val="accent3"/>
                </a:solidFill>
              </a:rPr>
              <a:t>Lorem</a:t>
            </a:r>
            <a:r>
              <a:rPr lang="en-US" sz="1050" b="1" dirty="0">
                <a:solidFill>
                  <a:schemeClr val="accent3"/>
                </a:solidFill>
              </a:rPr>
              <a:t> </a:t>
            </a:r>
            <a:r>
              <a:rPr lang="en-US" sz="1050" b="1" dirty="0" err="1">
                <a:solidFill>
                  <a:schemeClr val="accent3"/>
                </a:solidFill>
              </a:rPr>
              <a:t>ipsum</a:t>
            </a:r>
            <a:r>
              <a:rPr lang="en-US" sz="1050" b="1" dirty="0">
                <a:solidFill>
                  <a:schemeClr val="accent3"/>
                </a:solidFill>
              </a:rPr>
              <a:t> </a:t>
            </a:r>
            <a:br>
              <a:rPr lang="en-US" sz="1050" b="1" dirty="0">
                <a:solidFill>
                  <a:schemeClr val="tx2"/>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747471" y="2912908"/>
            <a:ext cx="2568892" cy="577081"/>
          </a:xfrm>
          <a:prstGeom prst="rect">
            <a:avLst/>
          </a:prstGeom>
        </p:spPr>
        <p:txBody>
          <a:bodyPr wrap="square" lIns="0" tIns="0" rIns="0" bIns="0">
            <a:spAutoFit/>
          </a:bodyPr>
          <a:lstStyle/>
          <a:p>
            <a:pPr>
              <a:spcAft>
                <a:spcPts val="600"/>
              </a:spcAft>
            </a:pPr>
            <a:r>
              <a:rPr lang="en-US" sz="1050" b="1" dirty="0" err="1">
                <a:solidFill>
                  <a:schemeClr val="accent5"/>
                </a:solidFill>
              </a:rPr>
              <a:t>Lorem</a:t>
            </a:r>
            <a:r>
              <a:rPr lang="en-US" sz="1050" b="1" dirty="0">
                <a:solidFill>
                  <a:schemeClr val="accent5"/>
                </a:solidFill>
              </a:rPr>
              <a:t> </a:t>
            </a:r>
            <a:r>
              <a:rPr lang="en-US" sz="1050" b="1" dirty="0" err="1">
                <a:solidFill>
                  <a:schemeClr val="accent5"/>
                </a:solidFill>
              </a:rPr>
              <a:t>ipsum</a:t>
            </a:r>
            <a:r>
              <a:rPr lang="en-US" sz="1050" b="1" dirty="0">
                <a:solidFill>
                  <a:schemeClr val="accent5"/>
                </a:solidFill>
              </a:rPr>
              <a:t> </a:t>
            </a:r>
            <a:br>
              <a:rPr lang="en-US" sz="1050" b="1" dirty="0">
                <a:solidFill>
                  <a:schemeClr val="tx2"/>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953973" y="2769528"/>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630327" y="2997647"/>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591156" y="2350283"/>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530089" y="1701392"/>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441082" y="1049689"/>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935070" y="3670865"/>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3059858" y="4350133"/>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2080144" y="5055527"/>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24" name="Freeform 26"/>
          <p:cNvSpPr>
            <a:spLocks noEditPoints="1"/>
          </p:cNvSpPr>
          <p:nvPr/>
        </p:nvSpPr>
        <p:spPr bwMode="auto">
          <a:xfrm>
            <a:off x="4466235" y="2056757"/>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3"/>
          <p:cNvSpPr>
            <a:spLocks noChangeAspect="1" noEditPoints="1"/>
          </p:cNvSpPr>
          <p:nvPr/>
        </p:nvSpPr>
        <p:spPr bwMode="auto">
          <a:xfrm>
            <a:off x="3561910" y="2731561"/>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6" name="Freeform 346"/>
          <p:cNvSpPr>
            <a:spLocks noChangeAspect="1" noEditPoints="1"/>
          </p:cNvSpPr>
          <p:nvPr/>
        </p:nvSpPr>
        <p:spPr bwMode="auto">
          <a:xfrm>
            <a:off x="2573548" y="3419341"/>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27" name="Group 447"/>
          <p:cNvGrpSpPr>
            <a:grpSpLocks noChangeAspect="1"/>
          </p:cNvGrpSpPr>
          <p:nvPr/>
        </p:nvGrpSpPr>
        <p:grpSpPr bwMode="auto">
          <a:xfrm>
            <a:off x="1656978" y="4105141"/>
            <a:ext cx="367041" cy="36704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02267625"/>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634998" y="2343785"/>
            <a:ext cx="2366433" cy="1018645"/>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0" name="Pentagon 39"/>
          <p:cNvSpPr/>
          <p:nvPr/>
        </p:nvSpPr>
        <p:spPr>
          <a:xfrm flipH="1">
            <a:off x="634998" y="3362430"/>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1" name="Pentagon 40"/>
          <p:cNvSpPr/>
          <p:nvPr/>
        </p:nvSpPr>
        <p:spPr>
          <a:xfrm flipH="1">
            <a:off x="634998" y="4381075"/>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2" name="Rectangle 8"/>
          <p:cNvSpPr/>
          <p:nvPr/>
        </p:nvSpPr>
        <p:spPr>
          <a:xfrm>
            <a:off x="3001433" y="3197330"/>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3" name="Rectangle 9"/>
          <p:cNvSpPr/>
          <p:nvPr/>
        </p:nvSpPr>
        <p:spPr>
          <a:xfrm>
            <a:off x="3001433" y="1851660"/>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4" name="Rectangle 10"/>
          <p:cNvSpPr/>
          <p:nvPr/>
        </p:nvSpPr>
        <p:spPr>
          <a:xfrm>
            <a:off x="3001433" y="4381074"/>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5" name="Rectangle 44"/>
          <p:cNvSpPr/>
          <p:nvPr/>
        </p:nvSpPr>
        <p:spPr>
          <a:xfrm>
            <a:off x="1419024" y="2403072"/>
            <a:ext cx="1533182" cy="923330"/>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a:t>
            </a:r>
          </a:p>
        </p:txBody>
      </p:sp>
      <p:sp>
        <p:nvSpPr>
          <p:cNvPr id="46" name="Rectangle 45"/>
          <p:cNvSpPr/>
          <p:nvPr/>
        </p:nvSpPr>
        <p:spPr>
          <a:xfrm>
            <a:off x="1419024" y="3382528"/>
            <a:ext cx="1493993" cy="923330"/>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7" name="Rectangle 46"/>
          <p:cNvSpPr/>
          <p:nvPr/>
        </p:nvSpPr>
        <p:spPr>
          <a:xfrm>
            <a:off x="1419024" y="4401173"/>
            <a:ext cx="1454805" cy="923330"/>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8" name="Round Same Side Corner Rectangle 47"/>
          <p:cNvSpPr/>
          <p:nvPr/>
        </p:nvSpPr>
        <p:spPr>
          <a:xfrm rot="5400000">
            <a:off x="5322358" y="191928"/>
            <a:ext cx="1346199" cy="4667248"/>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49" name="Round Same Side Corner Rectangle 48"/>
          <p:cNvSpPr/>
          <p:nvPr/>
        </p:nvSpPr>
        <p:spPr>
          <a:xfrm rot="5400000">
            <a:off x="5322358" y="1538128"/>
            <a:ext cx="1346199" cy="4667248"/>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50" name="Round Same Side Corner Rectangle 49"/>
          <p:cNvSpPr/>
          <p:nvPr/>
        </p:nvSpPr>
        <p:spPr>
          <a:xfrm rot="5400000">
            <a:off x="5322358" y="2884328"/>
            <a:ext cx="1346199" cy="4667248"/>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err="1"/>
          </a:p>
        </p:txBody>
      </p:sp>
      <p:sp>
        <p:nvSpPr>
          <p:cNvPr id="51" name="Rectangle 50"/>
          <p:cNvSpPr/>
          <p:nvPr/>
        </p:nvSpPr>
        <p:spPr>
          <a:xfrm>
            <a:off x="3803913" y="2062454"/>
            <a:ext cx="4383088" cy="923330"/>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803913" y="3421717"/>
            <a:ext cx="4383088" cy="923330"/>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a:t>
            </a:r>
            <a:r>
              <a:rPr lang="en-US" sz="1000" dirty="0" err="1"/>
              <a:t>read.This</a:t>
            </a:r>
            <a:r>
              <a:rPr lang="en-US" sz="1000" dirty="0"/>
              <a:t> is dummy text it is not here to be read. The is just text to show where you could insert text. This is dummy text it is not here to be read. </a:t>
            </a:r>
          </a:p>
        </p:txBody>
      </p:sp>
      <p:sp>
        <p:nvSpPr>
          <p:cNvPr id="53" name="Rectangle 52"/>
          <p:cNvSpPr/>
          <p:nvPr/>
        </p:nvSpPr>
        <p:spPr>
          <a:xfrm>
            <a:off x="3803913" y="4767917"/>
            <a:ext cx="4383088" cy="923330"/>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939264" y="2657649"/>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3"/>
          <p:cNvSpPr>
            <a:spLocks noChangeAspect="1" noEditPoints="1"/>
          </p:cNvSpPr>
          <p:nvPr/>
        </p:nvSpPr>
        <p:spPr bwMode="auto">
          <a:xfrm>
            <a:off x="949339" y="3659025"/>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9" name="Group 447"/>
          <p:cNvGrpSpPr>
            <a:grpSpLocks noChangeAspect="1"/>
          </p:cNvGrpSpPr>
          <p:nvPr/>
        </p:nvGrpSpPr>
        <p:grpSpPr bwMode="auto">
          <a:xfrm>
            <a:off x="951584" y="4719096"/>
            <a:ext cx="367041" cy="36704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24" name="Freeform 6"/>
          <p:cNvSpPr>
            <a:spLocks/>
          </p:cNvSpPr>
          <p:nvPr/>
        </p:nvSpPr>
        <p:spPr bwMode="auto">
          <a:xfrm>
            <a:off x="0" y="4932634"/>
            <a:ext cx="6184816" cy="1840640"/>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5" name="Freeform 7"/>
          <p:cNvSpPr>
            <a:spLocks/>
          </p:cNvSpPr>
          <p:nvPr/>
        </p:nvSpPr>
        <p:spPr bwMode="auto">
          <a:xfrm>
            <a:off x="0" y="960587"/>
            <a:ext cx="6187484" cy="1820633"/>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6" name="Freeform 8"/>
          <p:cNvSpPr>
            <a:spLocks/>
          </p:cNvSpPr>
          <p:nvPr/>
        </p:nvSpPr>
        <p:spPr bwMode="auto">
          <a:xfrm>
            <a:off x="0" y="2270376"/>
            <a:ext cx="6187484" cy="1229761"/>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7" name="Freeform 9"/>
          <p:cNvSpPr>
            <a:spLocks/>
          </p:cNvSpPr>
          <p:nvPr/>
        </p:nvSpPr>
        <p:spPr bwMode="auto">
          <a:xfrm>
            <a:off x="0" y="4073669"/>
            <a:ext cx="6184816" cy="1067038"/>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8" name="Freeform 10"/>
          <p:cNvSpPr>
            <a:spLocks/>
          </p:cNvSpPr>
          <p:nvPr/>
        </p:nvSpPr>
        <p:spPr bwMode="auto">
          <a:xfrm>
            <a:off x="0" y="3174690"/>
            <a:ext cx="6182149" cy="1040362"/>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9" name="Rectangle 28"/>
          <p:cNvSpPr/>
          <p:nvPr/>
        </p:nvSpPr>
        <p:spPr>
          <a:xfrm>
            <a:off x="1117037" y="2185105"/>
            <a:ext cx="4303650" cy="461665"/>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0" name="Rectangle 29"/>
          <p:cNvSpPr/>
          <p:nvPr/>
        </p:nvSpPr>
        <p:spPr>
          <a:xfrm>
            <a:off x="1117037" y="2909005"/>
            <a:ext cx="4303650" cy="461665"/>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1" name="Rectangle 30"/>
          <p:cNvSpPr/>
          <p:nvPr/>
        </p:nvSpPr>
        <p:spPr>
          <a:xfrm>
            <a:off x="1117037" y="3632905"/>
            <a:ext cx="4303650" cy="461665"/>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2" name="Rectangle 31"/>
          <p:cNvSpPr/>
          <p:nvPr/>
        </p:nvSpPr>
        <p:spPr>
          <a:xfrm>
            <a:off x="1117037" y="4356805"/>
            <a:ext cx="4303650" cy="461665"/>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3" name="Rectangle 32"/>
          <p:cNvSpPr/>
          <p:nvPr/>
        </p:nvSpPr>
        <p:spPr>
          <a:xfrm>
            <a:off x="1117037" y="5080705"/>
            <a:ext cx="4303650" cy="461665"/>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grpSp>
        <p:nvGrpSpPr>
          <p:cNvPr id="71" name="Group 501"/>
          <p:cNvGrpSpPr>
            <a:grpSpLocks noChangeAspect="1"/>
          </p:cNvGrpSpPr>
          <p:nvPr/>
        </p:nvGrpSpPr>
        <p:grpSpPr bwMode="auto">
          <a:xfrm>
            <a:off x="6239006" y="5161553"/>
            <a:ext cx="547619" cy="547619"/>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853"/>
          <p:cNvGrpSpPr>
            <a:grpSpLocks noChangeAspect="1"/>
          </p:cNvGrpSpPr>
          <p:nvPr/>
        </p:nvGrpSpPr>
        <p:grpSpPr bwMode="auto">
          <a:xfrm>
            <a:off x="6239006" y="3659363"/>
            <a:ext cx="547619" cy="547619"/>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309"/>
          <p:cNvGrpSpPr>
            <a:grpSpLocks noChangeAspect="1"/>
          </p:cNvGrpSpPr>
          <p:nvPr/>
        </p:nvGrpSpPr>
        <p:grpSpPr bwMode="auto">
          <a:xfrm>
            <a:off x="6239007" y="4409686"/>
            <a:ext cx="550780" cy="549165"/>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6239007" y="2907493"/>
            <a:ext cx="549166" cy="549166"/>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657"/>
          <p:cNvGrpSpPr>
            <a:grpSpLocks noChangeAspect="1"/>
          </p:cNvGrpSpPr>
          <p:nvPr/>
        </p:nvGrpSpPr>
        <p:grpSpPr bwMode="auto">
          <a:xfrm>
            <a:off x="6239007" y="2154649"/>
            <a:ext cx="551758" cy="550140"/>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926711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on solid background </a:t>
            </a:r>
            <a:endParaRPr lang="en-US" dirty="0"/>
          </a:p>
        </p:txBody>
      </p:sp>
      <p:sp>
        <p:nvSpPr>
          <p:cNvPr id="4" name="Rectangle 3"/>
          <p:cNvSpPr>
            <a:spLocks noChangeArrowheads="1"/>
          </p:cNvSpPr>
          <p:nvPr/>
        </p:nvSpPr>
        <p:spPr bwMode="auto">
          <a:xfrm>
            <a:off x="1052684" y="161178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549525" y="161178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lvl="0"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4046366" y="161178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1052684" y="4539283"/>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2549525" y="4539283"/>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9" name="Rectangle 8"/>
          <p:cNvSpPr>
            <a:spLocks noChangeArrowheads="1"/>
          </p:cNvSpPr>
          <p:nvPr/>
        </p:nvSpPr>
        <p:spPr bwMode="auto">
          <a:xfrm>
            <a:off x="4046366" y="4539283"/>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0" name="Rectangle 9"/>
          <p:cNvSpPr>
            <a:spLocks noChangeArrowheads="1"/>
          </p:cNvSpPr>
          <p:nvPr/>
        </p:nvSpPr>
        <p:spPr bwMode="auto">
          <a:xfrm>
            <a:off x="1052684" y="307553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1" name="Rectangle 10"/>
          <p:cNvSpPr>
            <a:spLocks noChangeArrowheads="1"/>
          </p:cNvSpPr>
          <p:nvPr/>
        </p:nvSpPr>
        <p:spPr bwMode="auto">
          <a:xfrm>
            <a:off x="2549525" y="307553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2" name="Rectangle 11"/>
          <p:cNvSpPr>
            <a:spLocks noChangeArrowheads="1"/>
          </p:cNvSpPr>
          <p:nvPr/>
        </p:nvSpPr>
        <p:spPr bwMode="auto">
          <a:xfrm>
            <a:off x="4046366" y="3075534"/>
            <a:ext cx="1406525" cy="1371600"/>
          </a:xfrm>
          <a:prstGeom prst="rect">
            <a:avLst/>
          </a:prstGeom>
          <a:solidFill>
            <a:schemeClr val="bg2">
              <a:lumMod val="40000"/>
              <a:lumOff val="60000"/>
            </a:schemeClr>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3" name="AutoShape 12"/>
          <p:cNvSpPr>
            <a:spLocks noChangeArrowheads="1"/>
          </p:cNvSpPr>
          <p:nvPr/>
        </p:nvSpPr>
        <p:spPr bwMode="auto">
          <a:xfrm>
            <a:off x="5654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6192666" y="1611785"/>
            <a:ext cx="1898650" cy="4299098"/>
          </a:xfrm>
          <a:prstGeom prst="rect">
            <a:avLst/>
          </a:prstGeom>
          <a:solidFill>
            <a:schemeClr val="accent5"/>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Tree>
    <p:extLst>
      <p:ext uri="{BB962C8B-B14F-4D97-AF65-F5344CB8AC3E}">
        <p14:creationId xmlns:p14="http://schemas.microsoft.com/office/powerpoint/2010/main" val="1297394925"/>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sp>
        <p:nvSpPr>
          <p:cNvPr id="36" name="Freeform 6"/>
          <p:cNvSpPr>
            <a:spLocks/>
          </p:cNvSpPr>
          <p:nvPr/>
        </p:nvSpPr>
        <p:spPr bwMode="auto">
          <a:xfrm>
            <a:off x="0" y="4932634"/>
            <a:ext cx="6184816" cy="1840640"/>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7" name="Freeform 7"/>
          <p:cNvSpPr>
            <a:spLocks/>
          </p:cNvSpPr>
          <p:nvPr/>
        </p:nvSpPr>
        <p:spPr bwMode="auto">
          <a:xfrm>
            <a:off x="0" y="960587"/>
            <a:ext cx="6187484" cy="1820633"/>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8" name="Freeform 8"/>
          <p:cNvSpPr>
            <a:spLocks/>
          </p:cNvSpPr>
          <p:nvPr/>
        </p:nvSpPr>
        <p:spPr bwMode="auto">
          <a:xfrm>
            <a:off x="0" y="2270376"/>
            <a:ext cx="6187484" cy="1229761"/>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9" name="Freeform 9"/>
          <p:cNvSpPr>
            <a:spLocks/>
          </p:cNvSpPr>
          <p:nvPr/>
        </p:nvSpPr>
        <p:spPr bwMode="auto">
          <a:xfrm>
            <a:off x="0" y="4073669"/>
            <a:ext cx="6184816" cy="1067038"/>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40" name="Freeform 10"/>
          <p:cNvSpPr>
            <a:spLocks/>
          </p:cNvSpPr>
          <p:nvPr/>
        </p:nvSpPr>
        <p:spPr bwMode="auto">
          <a:xfrm>
            <a:off x="0" y="3174690"/>
            <a:ext cx="6182149" cy="1040362"/>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41" name="Rectangle 40"/>
          <p:cNvSpPr/>
          <p:nvPr/>
        </p:nvSpPr>
        <p:spPr>
          <a:xfrm>
            <a:off x="1117037" y="2185105"/>
            <a:ext cx="4303650" cy="461665"/>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42" name="Rectangle 41"/>
          <p:cNvSpPr/>
          <p:nvPr/>
        </p:nvSpPr>
        <p:spPr>
          <a:xfrm>
            <a:off x="1117037" y="2909005"/>
            <a:ext cx="4303650" cy="461665"/>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43" name="Rectangle 42"/>
          <p:cNvSpPr/>
          <p:nvPr/>
        </p:nvSpPr>
        <p:spPr>
          <a:xfrm>
            <a:off x="1117037" y="3632905"/>
            <a:ext cx="4303650" cy="461665"/>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4" name="Rectangle 43"/>
          <p:cNvSpPr/>
          <p:nvPr/>
        </p:nvSpPr>
        <p:spPr>
          <a:xfrm>
            <a:off x="1117037" y="4356805"/>
            <a:ext cx="4303650" cy="461665"/>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5" name="Rectangle 44"/>
          <p:cNvSpPr/>
          <p:nvPr/>
        </p:nvSpPr>
        <p:spPr>
          <a:xfrm>
            <a:off x="1117037" y="5080705"/>
            <a:ext cx="4303650" cy="461665"/>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grpSp>
        <p:nvGrpSpPr>
          <p:cNvPr id="46" name="Group 501"/>
          <p:cNvGrpSpPr>
            <a:grpSpLocks noChangeAspect="1"/>
          </p:cNvGrpSpPr>
          <p:nvPr/>
        </p:nvGrpSpPr>
        <p:grpSpPr bwMode="auto">
          <a:xfrm>
            <a:off x="6239006" y="5161553"/>
            <a:ext cx="547619" cy="547619"/>
            <a:chOff x="3419" y="2995"/>
            <a:chExt cx="340" cy="340"/>
          </a:xfrm>
          <a:solidFill>
            <a:schemeClr val="accent6"/>
          </a:solidFill>
        </p:grpSpPr>
        <p:sp>
          <p:nvSpPr>
            <p:cNvPr id="47"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 name="Group 853"/>
          <p:cNvGrpSpPr>
            <a:grpSpLocks noChangeAspect="1"/>
          </p:cNvGrpSpPr>
          <p:nvPr/>
        </p:nvGrpSpPr>
        <p:grpSpPr bwMode="auto">
          <a:xfrm>
            <a:off x="6239006" y="3659363"/>
            <a:ext cx="547619" cy="547619"/>
            <a:chOff x="5046" y="4010"/>
            <a:chExt cx="340" cy="340"/>
          </a:xfrm>
          <a:solidFill>
            <a:schemeClr val="accent2"/>
          </a:solidFill>
        </p:grpSpPr>
        <p:sp>
          <p:nvSpPr>
            <p:cNvPr id="50"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2" name="Group 309"/>
          <p:cNvGrpSpPr>
            <a:grpSpLocks noChangeAspect="1"/>
          </p:cNvGrpSpPr>
          <p:nvPr/>
        </p:nvGrpSpPr>
        <p:grpSpPr bwMode="auto">
          <a:xfrm>
            <a:off x="6239007" y="4409686"/>
            <a:ext cx="550780" cy="549165"/>
            <a:chOff x="6585" y="1193"/>
            <a:chExt cx="341" cy="340"/>
          </a:xfrm>
          <a:solidFill>
            <a:schemeClr val="accent5"/>
          </a:solidFill>
        </p:grpSpPr>
        <p:sp>
          <p:nvSpPr>
            <p:cNvPr id="53"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786"/>
          <p:cNvGrpSpPr>
            <a:grpSpLocks noChangeAspect="1"/>
          </p:cNvGrpSpPr>
          <p:nvPr/>
        </p:nvGrpSpPr>
        <p:grpSpPr bwMode="auto">
          <a:xfrm>
            <a:off x="6239007" y="2907493"/>
            <a:ext cx="549166" cy="549166"/>
            <a:chOff x="5071" y="3066"/>
            <a:chExt cx="340" cy="340"/>
          </a:xfrm>
          <a:solidFill>
            <a:schemeClr val="accent3"/>
          </a:solidFill>
        </p:grpSpPr>
        <p:sp>
          <p:nvSpPr>
            <p:cNvPr id="56"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57"/>
          <p:cNvGrpSpPr>
            <a:grpSpLocks noChangeAspect="1"/>
          </p:cNvGrpSpPr>
          <p:nvPr/>
        </p:nvGrpSpPr>
        <p:grpSpPr bwMode="auto">
          <a:xfrm>
            <a:off x="6239007" y="2154649"/>
            <a:ext cx="551758" cy="550140"/>
            <a:chOff x="2738" y="2314"/>
            <a:chExt cx="341" cy="340"/>
          </a:xfrm>
          <a:solidFill>
            <a:schemeClr val="accent1"/>
          </a:solidFill>
        </p:grpSpPr>
        <p:sp>
          <p:nvSpPr>
            <p:cNvPr id="59"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12406231"/>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2488962" y="2112757"/>
            <a:ext cx="2031619" cy="1059954"/>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5" name="Rectangle 34"/>
          <p:cNvSpPr/>
          <p:nvPr/>
        </p:nvSpPr>
        <p:spPr>
          <a:xfrm rot="2700000" flipH="1">
            <a:off x="4675034" y="2112756"/>
            <a:ext cx="2031619" cy="105995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err="1">
              <a:solidFill>
                <a:schemeClr val="tx2"/>
              </a:solidFill>
            </a:endParaRPr>
          </a:p>
        </p:txBody>
      </p:sp>
      <p:sp>
        <p:nvSpPr>
          <p:cNvPr id="36" name="Rectangle 35"/>
          <p:cNvSpPr/>
          <p:nvPr/>
        </p:nvSpPr>
        <p:spPr>
          <a:xfrm rot="2700000" flipV="1">
            <a:off x="2488963" y="4307318"/>
            <a:ext cx="2031619" cy="1059954"/>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7" name="Rectangle 36"/>
          <p:cNvSpPr/>
          <p:nvPr/>
        </p:nvSpPr>
        <p:spPr>
          <a:xfrm rot="18900000" flipH="1" flipV="1">
            <a:off x="4675035" y="4307318"/>
            <a:ext cx="2031619" cy="1059954"/>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8" name="Isosceles Triangle 7"/>
          <p:cNvSpPr/>
          <p:nvPr/>
        </p:nvSpPr>
        <p:spPr>
          <a:xfrm rot="5400000">
            <a:off x="2030542" y="336477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Isosceles Triangle 7"/>
          <p:cNvSpPr/>
          <p:nvPr/>
        </p:nvSpPr>
        <p:spPr>
          <a:xfrm rot="16200000" flipH="1">
            <a:off x="5670866" y="33647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Isosceles Triangle 7"/>
          <p:cNvSpPr/>
          <p:nvPr/>
        </p:nvSpPr>
        <p:spPr>
          <a:xfrm flipH="1">
            <a:off x="3852850" y="519851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Isosceles Triangle 7"/>
          <p:cNvSpPr/>
          <p:nvPr/>
        </p:nvSpPr>
        <p:spPr>
          <a:xfrm flipH="1" flipV="1">
            <a:off x="3852850" y="154064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2" name="Rectangle 41"/>
          <p:cNvSpPr/>
          <p:nvPr/>
        </p:nvSpPr>
        <p:spPr>
          <a:xfrm rot="18886336">
            <a:off x="2599257" y="233495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3" name="Rectangle 42"/>
          <p:cNvSpPr/>
          <p:nvPr/>
        </p:nvSpPr>
        <p:spPr>
          <a:xfrm rot="2703714">
            <a:off x="4821667" y="238369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4" name="Rectangle 43"/>
          <p:cNvSpPr/>
          <p:nvPr/>
        </p:nvSpPr>
        <p:spPr>
          <a:xfrm rot="18886336">
            <a:off x="4802953" y="4452574"/>
            <a:ext cx="1775778" cy="769441"/>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r>
              <a:rPr lang="en-US" sz="1000" dirty="0"/>
              <a:t>This is dummy text it is not here to be read. This is dummy text it is not here to be read.</a:t>
            </a:r>
          </a:p>
        </p:txBody>
      </p:sp>
      <p:sp>
        <p:nvSpPr>
          <p:cNvPr id="45" name="Rectangle 44"/>
          <p:cNvSpPr/>
          <p:nvPr/>
        </p:nvSpPr>
        <p:spPr>
          <a:xfrm rot="2703714">
            <a:off x="2616884" y="4528447"/>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6" name="Rectangle 45"/>
          <p:cNvSpPr/>
          <p:nvPr/>
        </p:nvSpPr>
        <p:spPr>
          <a:xfrm>
            <a:off x="3639708" y="3433205"/>
            <a:ext cx="1951653" cy="861774"/>
          </a:xfrm>
          <a:prstGeom prst="rect">
            <a:avLst/>
          </a:prstGeom>
          <a:noFill/>
        </p:spPr>
        <p:txBody>
          <a:bodyPr wrap="square" lIns="0" tIns="0" rIns="0" bIns="0">
            <a:spAutoFit/>
          </a:bodyPr>
          <a:lstStyle/>
          <a:p>
            <a:pPr algn="ctr">
              <a:spcAft>
                <a:spcPts val="600"/>
              </a:spcAft>
            </a:pPr>
            <a:r>
              <a:rPr lang="en-US" sz="1400" b="1" dirty="0"/>
              <a:t>Insert text here</a:t>
            </a:r>
            <a:br>
              <a:rPr lang="en-US" sz="1400" dirty="0"/>
            </a:br>
            <a:r>
              <a:rPr lang="en-US" sz="1400" dirty="0"/>
              <a:t>This is dummy text it is not here to be read. </a:t>
            </a:r>
            <a:endParaRPr lang="en-US" sz="1400"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4327830" y="1598913"/>
            <a:ext cx="498644" cy="498644"/>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309"/>
          <p:cNvGrpSpPr>
            <a:grpSpLocks noChangeAspect="1"/>
          </p:cNvGrpSpPr>
          <p:nvPr/>
        </p:nvGrpSpPr>
        <p:grpSpPr bwMode="auto">
          <a:xfrm>
            <a:off x="2451561" y="3499153"/>
            <a:ext cx="501522" cy="50005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57"/>
          <p:cNvGrpSpPr>
            <a:grpSpLocks noChangeAspect="1"/>
          </p:cNvGrpSpPr>
          <p:nvPr/>
        </p:nvGrpSpPr>
        <p:grpSpPr bwMode="auto">
          <a:xfrm>
            <a:off x="4365801" y="5392815"/>
            <a:ext cx="502414" cy="500940"/>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6226669" y="3486444"/>
            <a:ext cx="502920" cy="502920"/>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2503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4" name="Freeform 73"/>
          <p:cNvSpPr/>
          <p:nvPr/>
        </p:nvSpPr>
        <p:spPr>
          <a:xfrm>
            <a:off x="1930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5" name="Freeform 74"/>
          <p:cNvSpPr/>
          <p:nvPr/>
        </p:nvSpPr>
        <p:spPr>
          <a:xfrm rot="4341267">
            <a:off x="2025560"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6" name="Freeform 75"/>
          <p:cNvSpPr/>
          <p:nvPr/>
        </p:nvSpPr>
        <p:spPr>
          <a:xfrm rot="8659183">
            <a:off x="4009674" y="233797"/>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7" name="Freeform 76"/>
          <p:cNvSpPr/>
          <p:nvPr/>
        </p:nvSpPr>
        <p:spPr>
          <a:xfrm rot="13082864">
            <a:off x="5111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8" name="Freeform 77"/>
          <p:cNvSpPr/>
          <p:nvPr/>
        </p:nvSpPr>
        <p:spPr>
          <a:xfrm rot="17264471">
            <a:off x="3858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9" name="Rectangle 78"/>
          <p:cNvSpPr/>
          <p:nvPr/>
        </p:nvSpPr>
        <p:spPr>
          <a:xfrm>
            <a:off x="2600862" y="1928198"/>
            <a:ext cx="1109747"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3" name="Rectangle 82"/>
          <p:cNvSpPr/>
          <p:nvPr/>
        </p:nvSpPr>
        <p:spPr>
          <a:xfrm>
            <a:off x="5328613" y="1733748"/>
            <a:ext cx="1204710"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4" name="Rectangle 83"/>
          <p:cNvSpPr/>
          <p:nvPr/>
        </p:nvSpPr>
        <p:spPr>
          <a:xfrm>
            <a:off x="5955778" y="3800267"/>
            <a:ext cx="1158842"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a:t>
            </a:r>
            <a:br>
              <a:rPr lang="en-US" sz="1000" dirty="0">
                <a:solidFill>
                  <a:schemeClr val="bg1"/>
                </a:solidFill>
              </a:rPr>
            </a:br>
            <a:r>
              <a:rPr lang="en-US" sz="1000" dirty="0">
                <a:solidFill>
                  <a:schemeClr val="bg1"/>
                </a:solidFill>
              </a:rPr>
              <a:t>be read. </a:t>
            </a:r>
          </a:p>
        </p:txBody>
      </p:sp>
      <p:sp>
        <p:nvSpPr>
          <p:cNvPr id="85" name="Rectangle 84"/>
          <p:cNvSpPr/>
          <p:nvPr/>
        </p:nvSpPr>
        <p:spPr>
          <a:xfrm>
            <a:off x="4117860" y="5553635"/>
            <a:ext cx="1501062"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6" name="Rectangle 85"/>
          <p:cNvSpPr/>
          <p:nvPr/>
        </p:nvSpPr>
        <p:spPr>
          <a:xfrm>
            <a:off x="2294248" y="3988613"/>
            <a:ext cx="1045299" cy="107721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87" name="Rectangle 86"/>
          <p:cNvSpPr/>
          <p:nvPr/>
        </p:nvSpPr>
        <p:spPr>
          <a:xfrm>
            <a:off x="3592652" y="3107406"/>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97" name="Freeform 865"/>
          <p:cNvSpPr>
            <a:spLocks noChangeAspect="1" noEditPoints="1"/>
          </p:cNvSpPr>
          <p:nvPr/>
        </p:nvSpPr>
        <p:spPr bwMode="auto">
          <a:xfrm>
            <a:off x="4896672" y="1099179"/>
            <a:ext cx="603272" cy="6032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98" name="Group 789"/>
          <p:cNvGrpSpPr>
            <a:grpSpLocks noChangeAspect="1"/>
          </p:cNvGrpSpPr>
          <p:nvPr/>
        </p:nvGrpSpPr>
        <p:grpSpPr bwMode="auto">
          <a:xfrm>
            <a:off x="2330455" y="3361918"/>
            <a:ext cx="600734" cy="598972"/>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17"/>
          <p:cNvGrpSpPr>
            <a:grpSpLocks noChangeAspect="1"/>
          </p:cNvGrpSpPr>
          <p:nvPr/>
        </p:nvGrpSpPr>
        <p:grpSpPr bwMode="auto">
          <a:xfrm>
            <a:off x="3505949" y="1387159"/>
            <a:ext cx="599936" cy="599932"/>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06"/>
          <p:cNvGrpSpPr>
            <a:grpSpLocks noChangeAspect="1"/>
          </p:cNvGrpSpPr>
          <p:nvPr/>
        </p:nvGrpSpPr>
        <p:grpSpPr bwMode="auto">
          <a:xfrm>
            <a:off x="4342554" y="4898691"/>
            <a:ext cx="600508" cy="600508"/>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893"/>
          <p:cNvGrpSpPr>
            <a:grpSpLocks noChangeAspect="1"/>
          </p:cNvGrpSpPr>
          <p:nvPr/>
        </p:nvGrpSpPr>
        <p:grpSpPr bwMode="auto">
          <a:xfrm>
            <a:off x="6590330" y="3018453"/>
            <a:ext cx="600508" cy="600508"/>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extLst/>
          </p:nvPr>
        </p:nvGraphicFramePr>
        <p:xfrm>
          <a:off x="2789167" y="2761619"/>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4133699" y="2354061"/>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grpSp>
      <p:sp>
        <p:nvSpPr>
          <p:cNvPr id="117" name="Teardrop 116"/>
          <p:cNvSpPr/>
          <p:nvPr/>
        </p:nvSpPr>
        <p:spPr>
          <a:xfrm rot="11700000">
            <a:off x="3047820" y="4320021"/>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118" name="Oval 117"/>
          <p:cNvSpPr/>
          <p:nvPr/>
        </p:nvSpPr>
        <p:spPr>
          <a:xfrm rot="11700000">
            <a:off x="3078364" y="4355803"/>
            <a:ext cx="754756" cy="754756"/>
          </a:xfrm>
          <a:prstGeom prst="ellipse">
            <a:avLst/>
          </a:prstGeom>
          <a:solidFill>
            <a:schemeClr val="accent5"/>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grpSp>
        <p:nvGrpSpPr>
          <p:cNvPr id="119" name="Group 118"/>
          <p:cNvGrpSpPr>
            <a:grpSpLocks noChangeAspect="1"/>
          </p:cNvGrpSpPr>
          <p:nvPr/>
        </p:nvGrpSpPr>
        <p:grpSpPr>
          <a:xfrm rot="4776862">
            <a:off x="5179548" y="4372413"/>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grpSp>
      <p:sp>
        <p:nvSpPr>
          <p:cNvPr id="122" name="Rounded Rectangle 121"/>
          <p:cNvSpPr/>
          <p:nvPr/>
        </p:nvSpPr>
        <p:spPr>
          <a:xfrm>
            <a:off x="2955341" y="1103087"/>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391326" y="4473270"/>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6062327" y="4473270"/>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tx1"/>
                </a:solidFill>
              </a:rPr>
              <a:t>Lorem</a:t>
            </a:r>
            <a:r>
              <a:rPr lang="en-US" sz="1000" b="1" dirty="0">
                <a:solidFill>
                  <a:schemeClr val="tx1"/>
                </a:solidFill>
              </a:rPr>
              <a:t> </a:t>
            </a:r>
            <a:r>
              <a:rPr lang="en-US" sz="1000" b="1" dirty="0" err="1">
                <a:solidFill>
                  <a:schemeClr val="tx1"/>
                </a:solidFill>
              </a:rPr>
              <a:t>ipsum</a:t>
            </a:r>
            <a:r>
              <a:rPr lang="en-US" sz="1000" b="1" dirty="0">
                <a:solidFill>
                  <a:schemeClr val="tx1"/>
                </a:solidFill>
              </a:rPr>
              <a:t> </a:t>
            </a:r>
            <a:br>
              <a:rPr lang="en-US" sz="1000" b="1" dirty="0">
                <a:solidFill>
                  <a:schemeClr val="tx1"/>
                </a:solidFill>
              </a:rPr>
            </a:br>
            <a:r>
              <a:rPr lang="en-US" sz="1000" dirty="0">
                <a:solidFill>
                  <a:schemeClr val="tx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4272175" y="2492538"/>
            <a:ext cx="546010" cy="546008"/>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5" name="Group 828"/>
          <p:cNvGrpSpPr>
            <a:grpSpLocks noChangeAspect="1"/>
          </p:cNvGrpSpPr>
          <p:nvPr/>
        </p:nvGrpSpPr>
        <p:grpSpPr bwMode="auto">
          <a:xfrm>
            <a:off x="5316463" y="4520444"/>
            <a:ext cx="552622" cy="551000"/>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1" name="Group 844"/>
          <p:cNvGrpSpPr>
            <a:grpSpLocks noChangeAspect="1"/>
          </p:cNvGrpSpPr>
          <p:nvPr/>
        </p:nvGrpSpPr>
        <p:grpSpPr bwMode="auto">
          <a:xfrm>
            <a:off x="3185739" y="4461124"/>
            <a:ext cx="551000" cy="551000"/>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4688744" y="3405456"/>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grpSp>
      <p:grpSp>
        <p:nvGrpSpPr>
          <p:cNvPr id="37" name="Group 36"/>
          <p:cNvGrpSpPr/>
          <p:nvPr/>
        </p:nvGrpSpPr>
        <p:grpSpPr>
          <a:xfrm rot="16200000">
            <a:off x="3945933" y="1296616"/>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0" name="Group 39"/>
          <p:cNvGrpSpPr/>
          <p:nvPr/>
        </p:nvGrpSpPr>
        <p:grpSpPr>
          <a:xfrm flipH="1">
            <a:off x="1689009" y="1890979"/>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3" name="Group 42"/>
          <p:cNvGrpSpPr/>
          <p:nvPr/>
        </p:nvGrpSpPr>
        <p:grpSpPr>
          <a:xfrm rot="5400000" flipV="1">
            <a:off x="2606481" y="4151264"/>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6" name="Freeform 45"/>
          <p:cNvSpPr/>
          <p:nvPr/>
        </p:nvSpPr>
        <p:spPr>
          <a:xfrm>
            <a:off x="4719541" y="1420601"/>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Freeform 46"/>
          <p:cNvSpPr/>
          <p:nvPr/>
        </p:nvSpPr>
        <p:spPr>
          <a:xfrm flipH="1">
            <a:off x="2922386" y="3264641"/>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Freeform 47"/>
          <p:cNvSpPr/>
          <p:nvPr/>
        </p:nvSpPr>
        <p:spPr>
          <a:xfrm rot="5400000">
            <a:off x="4627513" y="3153995"/>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Freeform 48"/>
          <p:cNvSpPr/>
          <p:nvPr/>
        </p:nvSpPr>
        <p:spPr>
          <a:xfrm rot="16200000" flipV="1">
            <a:off x="2910328" y="1432031"/>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Rectangle 49"/>
          <p:cNvSpPr/>
          <p:nvPr/>
        </p:nvSpPr>
        <p:spPr>
          <a:xfrm>
            <a:off x="3511567" y="1165428"/>
            <a:ext cx="1163464"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a:t>
            </a:r>
          </a:p>
        </p:txBody>
      </p:sp>
      <p:sp>
        <p:nvSpPr>
          <p:cNvPr id="51" name="Rectangle 50"/>
          <p:cNvSpPr/>
          <p:nvPr/>
        </p:nvSpPr>
        <p:spPr>
          <a:xfrm>
            <a:off x="3522998" y="950040"/>
            <a:ext cx="1219424" cy="184666"/>
          </a:xfrm>
          <a:prstGeom prst="rect">
            <a:avLst/>
          </a:prstGeom>
        </p:spPr>
        <p:txBody>
          <a:bodyPr wrap="square" lIns="0" tIns="0" rIns="0" bIns="0">
            <a:spAutoFit/>
          </a:bodyPr>
          <a:lstStyle/>
          <a:p>
            <a:pPr>
              <a:spcAft>
                <a:spcPts val="600"/>
              </a:spcAft>
            </a:pPr>
            <a:r>
              <a:rPr lang="en-US" sz="1200" b="1" dirty="0" err="1">
                <a:solidFill>
                  <a:schemeClr val="accent1"/>
                </a:solidFill>
              </a:rPr>
              <a:t>Lorem</a:t>
            </a:r>
            <a:r>
              <a:rPr lang="en-US" sz="1200" b="1" dirty="0">
                <a:solidFill>
                  <a:schemeClr val="accent1"/>
                </a:solidFill>
              </a:rPr>
              <a:t> </a:t>
            </a:r>
            <a:r>
              <a:rPr lang="en-US" sz="1200" b="1" dirty="0" err="1">
                <a:solidFill>
                  <a:schemeClr val="accent1"/>
                </a:solidFill>
              </a:rPr>
              <a:t>ipsum</a:t>
            </a:r>
            <a:r>
              <a:rPr lang="en-US" sz="1200" b="1" dirty="0">
                <a:solidFill>
                  <a:schemeClr val="accent1"/>
                </a:solidFill>
              </a:rPr>
              <a:t> </a:t>
            </a:r>
            <a:endParaRPr lang="en-US" sz="1200" dirty="0">
              <a:solidFill>
                <a:schemeClr val="accent1"/>
              </a:solidFill>
            </a:endParaRPr>
          </a:p>
        </p:txBody>
      </p:sp>
      <p:sp>
        <p:nvSpPr>
          <p:cNvPr id="52" name="Rectangle 51"/>
          <p:cNvSpPr/>
          <p:nvPr/>
        </p:nvSpPr>
        <p:spPr>
          <a:xfrm>
            <a:off x="5883544" y="2724001"/>
            <a:ext cx="1826626"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53" name="Rectangle 52"/>
          <p:cNvSpPr/>
          <p:nvPr/>
        </p:nvSpPr>
        <p:spPr>
          <a:xfrm>
            <a:off x="5883543" y="2515603"/>
            <a:ext cx="1329936" cy="184666"/>
          </a:xfrm>
          <a:prstGeom prst="rect">
            <a:avLst/>
          </a:prstGeom>
        </p:spPr>
        <p:txBody>
          <a:bodyPr wrap="square" lIns="0" tIns="0" rIns="0" bIns="0">
            <a:spAutoFit/>
          </a:bodyPr>
          <a:lstStyle/>
          <a:p>
            <a:pPr>
              <a:spcAft>
                <a:spcPts val="600"/>
              </a:spcAft>
            </a:pPr>
            <a:r>
              <a:rPr lang="en-US" sz="1200" b="1" dirty="0" err="1">
                <a:solidFill>
                  <a:schemeClr val="accent3"/>
                </a:solidFill>
              </a:rPr>
              <a:t>Lorem</a:t>
            </a:r>
            <a:r>
              <a:rPr lang="en-US" sz="1200" b="1" dirty="0">
                <a:solidFill>
                  <a:schemeClr val="accent3"/>
                </a:solidFill>
              </a:rPr>
              <a:t> </a:t>
            </a:r>
            <a:r>
              <a:rPr lang="en-US" sz="1200" b="1" dirty="0" err="1">
                <a:solidFill>
                  <a:schemeClr val="accent3"/>
                </a:solidFill>
              </a:rPr>
              <a:t>ipsum</a:t>
            </a:r>
            <a:r>
              <a:rPr lang="en-US" sz="1200" b="1" dirty="0">
                <a:solidFill>
                  <a:schemeClr val="accent3"/>
                </a:solidFill>
              </a:rPr>
              <a:t> </a:t>
            </a:r>
            <a:endParaRPr lang="en-US" sz="1200" dirty="0">
              <a:solidFill>
                <a:schemeClr val="accent3"/>
              </a:solidFill>
            </a:endParaRPr>
          </a:p>
        </p:txBody>
      </p:sp>
      <p:sp>
        <p:nvSpPr>
          <p:cNvPr id="54" name="Rectangle 53"/>
          <p:cNvSpPr/>
          <p:nvPr/>
        </p:nvSpPr>
        <p:spPr>
          <a:xfrm>
            <a:off x="4692650" y="4530165"/>
            <a:ext cx="1154358" cy="184666"/>
          </a:xfrm>
          <a:prstGeom prst="rect">
            <a:avLst/>
          </a:prstGeom>
        </p:spPr>
        <p:txBody>
          <a:bodyPr wrap="square" lIns="0" tIns="0" rIns="0" bIns="0">
            <a:spAutoFit/>
          </a:bodyPr>
          <a:lstStyle/>
          <a:p>
            <a:pPr>
              <a:spcAft>
                <a:spcPts val="600"/>
              </a:spcAft>
            </a:pPr>
            <a:r>
              <a:rPr lang="en-US" sz="1200" b="1" dirty="0" err="1">
                <a:solidFill>
                  <a:schemeClr val="accent4"/>
                </a:solidFill>
              </a:rPr>
              <a:t>Lorem</a:t>
            </a:r>
            <a:r>
              <a:rPr lang="en-US" sz="1200" b="1" dirty="0">
                <a:solidFill>
                  <a:schemeClr val="accent4"/>
                </a:solidFill>
              </a:rPr>
              <a:t> </a:t>
            </a:r>
            <a:r>
              <a:rPr lang="en-US" sz="1200" b="1" dirty="0" err="1">
                <a:solidFill>
                  <a:schemeClr val="accent4"/>
                </a:solidFill>
              </a:rPr>
              <a:t>ipsum</a:t>
            </a:r>
            <a:r>
              <a:rPr lang="en-US" sz="1200" b="1" dirty="0">
                <a:solidFill>
                  <a:schemeClr val="accent4"/>
                </a:solidFill>
              </a:rPr>
              <a:t> </a:t>
            </a:r>
            <a:endParaRPr lang="en-US" sz="1200" dirty="0">
              <a:solidFill>
                <a:schemeClr val="accent4"/>
              </a:solidFill>
            </a:endParaRPr>
          </a:p>
        </p:txBody>
      </p:sp>
      <p:sp>
        <p:nvSpPr>
          <p:cNvPr id="55" name="Rectangle 54"/>
          <p:cNvSpPr/>
          <p:nvPr/>
        </p:nvSpPr>
        <p:spPr>
          <a:xfrm>
            <a:off x="4692650" y="4733543"/>
            <a:ext cx="1258842" cy="923330"/>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a:t>
            </a:r>
          </a:p>
        </p:txBody>
      </p:sp>
      <p:sp>
        <p:nvSpPr>
          <p:cNvPr id="56" name="Rectangle 55"/>
          <p:cNvSpPr/>
          <p:nvPr/>
        </p:nvSpPr>
        <p:spPr>
          <a:xfrm>
            <a:off x="2253014" y="3116788"/>
            <a:ext cx="1369719" cy="184666"/>
          </a:xfrm>
          <a:prstGeom prst="rect">
            <a:avLst/>
          </a:prstGeom>
        </p:spPr>
        <p:txBody>
          <a:bodyPr wrap="square" lIns="0" tIns="0" rIns="0" bIns="0">
            <a:spAutoFit/>
          </a:bodyPr>
          <a:lstStyle/>
          <a:p>
            <a:pPr>
              <a:spcAft>
                <a:spcPts val="600"/>
              </a:spcAft>
            </a:pPr>
            <a:r>
              <a:rPr lang="en-US" sz="1200" b="1" dirty="0" err="1">
                <a:solidFill>
                  <a:schemeClr val="accent2"/>
                </a:solidFill>
              </a:rPr>
              <a:t>Lorem</a:t>
            </a:r>
            <a:r>
              <a:rPr lang="en-US" sz="1200" b="1" dirty="0">
                <a:solidFill>
                  <a:schemeClr val="accent2"/>
                </a:solidFill>
              </a:rPr>
              <a:t> </a:t>
            </a:r>
            <a:r>
              <a:rPr lang="en-US" sz="1200" b="1" dirty="0" err="1">
                <a:solidFill>
                  <a:schemeClr val="accent2"/>
                </a:solidFill>
              </a:rPr>
              <a:t>ipsum</a:t>
            </a:r>
            <a:r>
              <a:rPr lang="en-US" sz="1200" b="1" dirty="0">
                <a:solidFill>
                  <a:schemeClr val="accent2"/>
                </a:solidFill>
              </a:rPr>
              <a:t> </a:t>
            </a:r>
            <a:endParaRPr lang="en-US" sz="1200" dirty="0">
              <a:solidFill>
                <a:schemeClr val="accent2"/>
              </a:solidFill>
            </a:endParaRPr>
          </a:p>
        </p:txBody>
      </p:sp>
      <p:sp>
        <p:nvSpPr>
          <p:cNvPr id="57" name="Rectangle 56"/>
          <p:cNvSpPr/>
          <p:nvPr/>
        </p:nvSpPr>
        <p:spPr>
          <a:xfrm>
            <a:off x="2241583" y="3334493"/>
            <a:ext cx="1377951" cy="769441"/>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4291778" y="2296606"/>
            <a:ext cx="352214" cy="32558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31"/>
          <p:cNvSpPr>
            <a:spLocks noChangeAspect="1" noEditPoints="1"/>
          </p:cNvSpPr>
          <p:nvPr/>
        </p:nvSpPr>
        <p:spPr bwMode="auto">
          <a:xfrm>
            <a:off x="5383812" y="2868250"/>
            <a:ext cx="286656" cy="36938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 name="Group 63"/>
          <p:cNvGrpSpPr/>
          <p:nvPr/>
        </p:nvGrpSpPr>
        <p:grpSpPr>
          <a:xfrm>
            <a:off x="3956356" y="3183733"/>
            <a:ext cx="412796" cy="398123"/>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30"/>
          <p:cNvSpPr>
            <a:spLocks noChangeAspect="1" noEditPoints="1"/>
          </p:cNvSpPr>
          <p:nvPr/>
        </p:nvSpPr>
        <p:spPr bwMode="auto">
          <a:xfrm>
            <a:off x="4796833" y="3735768"/>
            <a:ext cx="319878" cy="336811"/>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498"/>
          <p:cNvSpPr>
            <a:spLocks noChangeAspect="1" noEditPoints="1"/>
          </p:cNvSpPr>
          <p:nvPr/>
        </p:nvSpPr>
        <p:spPr bwMode="auto">
          <a:xfrm>
            <a:off x="4122446" y="2069034"/>
            <a:ext cx="448238" cy="448238"/>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841"/>
          <p:cNvSpPr>
            <a:spLocks noChangeAspect="1" noEditPoints="1"/>
          </p:cNvSpPr>
          <p:nvPr/>
        </p:nvSpPr>
        <p:spPr bwMode="auto">
          <a:xfrm>
            <a:off x="4776023" y="3918205"/>
            <a:ext cx="448238" cy="448238"/>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315"/>
          <p:cNvSpPr>
            <a:spLocks noChangeAspect="1" noEditPoints="1"/>
          </p:cNvSpPr>
          <p:nvPr/>
        </p:nvSpPr>
        <p:spPr bwMode="auto">
          <a:xfrm>
            <a:off x="3749010" y="3303161"/>
            <a:ext cx="449504" cy="449502"/>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792"/>
          <p:cNvSpPr>
            <a:spLocks noChangeAspect="1" noEditPoints="1"/>
          </p:cNvSpPr>
          <p:nvPr/>
        </p:nvSpPr>
        <p:spPr bwMode="auto">
          <a:xfrm>
            <a:off x="5334783" y="2804786"/>
            <a:ext cx="449504" cy="449502"/>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1744663"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59" name="Freeform 7"/>
          <p:cNvSpPr>
            <a:spLocks/>
          </p:cNvSpPr>
          <p:nvPr/>
        </p:nvSpPr>
        <p:spPr bwMode="auto">
          <a:xfrm>
            <a:off x="1744663"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60" name="Freeform 7"/>
          <p:cNvSpPr>
            <a:spLocks/>
          </p:cNvSpPr>
          <p:nvPr/>
        </p:nvSpPr>
        <p:spPr bwMode="auto">
          <a:xfrm flipH="1">
            <a:off x="4611338"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61" name="Freeform 7"/>
          <p:cNvSpPr>
            <a:spLocks/>
          </p:cNvSpPr>
          <p:nvPr/>
        </p:nvSpPr>
        <p:spPr bwMode="auto">
          <a:xfrm flipH="1">
            <a:off x="4611338"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74" name="Rectangle 73"/>
          <p:cNvSpPr/>
          <p:nvPr/>
        </p:nvSpPr>
        <p:spPr>
          <a:xfrm>
            <a:off x="2717738" y="4236964"/>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6" name="Rectangle 75"/>
          <p:cNvSpPr/>
          <p:nvPr/>
        </p:nvSpPr>
        <p:spPr>
          <a:xfrm>
            <a:off x="2717738" y="2932782"/>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8" name="Freeform 7"/>
          <p:cNvSpPr>
            <a:spLocks/>
          </p:cNvSpPr>
          <p:nvPr/>
        </p:nvSpPr>
        <p:spPr bwMode="auto">
          <a:xfrm>
            <a:off x="1744663" y="127364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79" name="Rectangle 78"/>
          <p:cNvSpPr/>
          <p:nvPr/>
        </p:nvSpPr>
        <p:spPr>
          <a:xfrm>
            <a:off x="4900707" y="2932782"/>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0" name="Rectangle 79"/>
          <p:cNvSpPr/>
          <p:nvPr/>
        </p:nvSpPr>
        <p:spPr>
          <a:xfrm>
            <a:off x="4900707" y="4236964"/>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7" name="Rectangle 86"/>
          <p:cNvSpPr/>
          <p:nvPr/>
        </p:nvSpPr>
        <p:spPr>
          <a:xfrm>
            <a:off x="2717738" y="1626129"/>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6658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23"/>
          <p:cNvGrpSpPr>
            <a:grpSpLocks noChangeAspect="1"/>
          </p:cNvGrpSpPr>
          <p:nvPr/>
        </p:nvGrpSpPr>
        <p:grpSpPr bwMode="auto">
          <a:xfrm>
            <a:off x="1979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35"/>
          <p:cNvGrpSpPr>
            <a:grpSpLocks noChangeAspect="1"/>
          </p:cNvGrpSpPr>
          <p:nvPr/>
        </p:nvGrpSpPr>
        <p:grpSpPr bwMode="auto">
          <a:xfrm>
            <a:off x="6654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345"/>
          <p:cNvGrpSpPr>
            <a:grpSpLocks noChangeAspect="1"/>
          </p:cNvGrpSpPr>
          <p:nvPr/>
        </p:nvGrpSpPr>
        <p:grpSpPr bwMode="auto">
          <a:xfrm>
            <a:off x="1979092" y="1567822"/>
            <a:ext cx="611454" cy="611450"/>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380"/>
          <p:cNvGrpSpPr>
            <a:grpSpLocks noChangeAspect="1"/>
          </p:cNvGrpSpPr>
          <p:nvPr/>
        </p:nvGrpSpPr>
        <p:grpSpPr bwMode="auto">
          <a:xfrm>
            <a:off x="1979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2041485" y="1343910"/>
            <a:ext cx="3405787" cy="3092192"/>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09" name="Rectangle 7"/>
          <p:cNvSpPr/>
          <p:nvPr/>
        </p:nvSpPr>
        <p:spPr>
          <a:xfrm rot="18426807" flipV="1">
            <a:off x="4149501" y="443483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0" name="Rectangle 9"/>
          <p:cNvSpPr/>
          <p:nvPr/>
        </p:nvSpPr>
        <p:spPr>
          <a:xfrm rot="3610536" flipV="1">
            <a:off x="2966487" y="441106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1" name="Rectangle 5"/>
          <p:cNvSpPr/>
          <p:nvPr/>
        </p:nvSpPr>
        <p:spPr>
          <a:xfrm flipV="1">
            <a:off x="3313767" y="320451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7"/>
          <p:cNvSpPr/>
          <p:nvPr/>
        </p:nvSpPr>
        <p:spPr>
          <a:xfrm rot="18426807" flipV="1">
            <a:off x="6059135" y="321505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3" name="Rectangle 5"/>
          <p:cNvSpPr/>
          <p:nvPr/>
        </p:nvSpPr>
        <p:spPr>
          <a:xfrm>
            <a:off x="2593446" y="378866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p:cNvSpPr/>
          <p:nvPr/>
        </p:nvSpPr>
        <p:spPr>
          <a:xfrm rot="8142470">
            <a:off x="4938885" y="237244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115" name="TextBox 114"/>
          <p:cNvSpPr txBox="1"/>
          <p:nvPr/>
        </p:nvSpPr>
        <p:spPr>
          <a:xfrm>
            <a:off x="4473803" y="2233948"/>
            <a:ext cx="631825" cy="565146"/>
          </a:xfrm>
          <a:prstGeom prst="rect">
            <a:avLst/>
          </a:prstGeom>
          <a:noFill/>
        </p:spPr>
        <p:txBody>
          <a:bodyPr wrap="square" lIns="36000" tIns="36000" rIns="36000" bIns="36000" rtlCol="0">
            <a:spAutoFit/>
          </a:bodyPr>
          <a:lstStyle/>
          <a:p>
            <a:r>
              <a:rPr lang="en-US" sz="3200">
                <a:solidFill>
                  <a:schemeClr val="accent3"/>
                </a:solidFill>
              </a:rPr>
              <a:t>01</a:t>
            </a:r>
          </a:p>
        </p:txBody>
      </p:sp>
      <p:sp>
        <p:nvSpPr>
          <p:cNvPr id="116" name="TextBox 115"/>
          <p:cNvSpPr txBox="1"/>
          <p:nvPr/>
        </p:nvSpPr>
        <p:spPr>
          <a:xfrm>
            <a:off x="4487758" y="2057857"/>
            <a:ext cx="901700" cy="257369"/>
          </a:xfrm>
          <a:prstGeom prst="rect">
            <a:avLst/>
          </a:prstGeom>
          <a:noFill/>
        </p:spPr>
        <p:txBody>
          <a:bodyPr wrap="square" lIns="36000" tIns="36000" rIns="36000" bIns="36000" rtlCol="0">
            <a:spAutoFit/>
          </a:bodyPr>
          <a:lstStyle/>
          <a:p>
            <a:r>
              <a:rPr lang="en-US" sz="1200" b="1" dirty="0">
                <a:solidFill>
                  <a:schemeClr val="accent3"/>
                </a:solidFill>
              </a:rPr>
              <a:t>Options</a:t>
            </a:r>
          </a:p>
        </p:txBody>
      </p:sp>
      <p:sp>
        <p:nvSpPr>
          <p:cNvPr id="117" name="Rectangle 116"/>
          <p:cNvSpPr/>
          <p:nvPr/>
        </p:nvSpPr>
        <p:spPr>
          <a:xfrm>
            <a:off x="5404956" y="2287378"/>
            <a:ext cx="2283731" cy="769441"/>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dolor </a:t>
            </a:r>
            <a:br>
              <a:rPr lang="en-US" sz="1000" dirty="0">
                <a:solidFill>
                  <a:schemeClr val="accent3"/>
                </a:solidFill>
              </a:rPr>
            </a:br>
            <a:r>
              <a:rPr lang="en-US" sz="1000"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2808608" y="4575854"/>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119" name="TextBox 118"/>
          <p:cNvSpPr txBox="1"/>
          <p:nvPr/>
        </p:nvSpPr>
        <p:spPr>
          <a:xfrm>
            <a:off x="2343526" y="4437355"/>
            <a:ext cx="631825" cy="565146"/>
          </a:xfrm>
          <a:prstGeom prst="rect">
            <a:avLst/>
          </a:prstGeom>
          <a:noFill/>
        </p:spPr>
        <p:txBody>
          <a:bodyPr wrap="square" lIns="36000" tIns="36000" rIns="36000" bIns="36000" rtlCol="0">
            <a:spAutoFit/>
          </a:bodyPr>
          <a:lstStyle/>
          <a:p>
            <a:r>
              <a:rPr lang="en-US" sz="3200" dirty="0">
                <a:solidFill>
                  <a:schemeClr val="accent2"/>
                </a:solidFill>
              </a:rPr>
              <a:t>01</a:t>
            </a:r>
          </a:p>
        </p:txBody>
      </p:sp>
      <p:sp>
        <p:nvSpPr>
          <p:cNvPr id="120" name="TextBox 119"/>
          <p:cNvSpPr txBox="1"/>
          <p:nvPr/>
        </p:nvSpPr>
        <p:spPr>
          <a:xfrm>
            <a:off x="2386997" y="4260035"/>
            <a:ext cx="901700" cy="257369"/>
          </a:xfrm>
          <a:prstGeom prst="rect">
            <a:avLst/>
          </a:prstGeom>
          <a:noFill/>
        </p:spPr>
        <p:txBody>
          <a:bodyPr wrap="square" lIns="36000" tIns="36000" rIns="36000" bIns="36000" rtlCol="0">
            <a:spAutoFit/>
          </a:bodyPr>
          <a:lstStyle/>
          <a:p>
            <a:r>
              <a:rPr lang="en-US" sz="1200" b="1" dirty="0">
                <a:solidFill>
                  <a:schemeClr val="accent2"/>
                </a:solidFill>
              </a:rPr>
              <a:t>Options</a:t>
            </a:r>
          </a:p>
        </p:txBody>
      </p:sp>
      <p:sp>
        <p:nvSpPr>
          <p:cNvPr id="121" name="Rectangle 120"/>
          <p:cNvSpPr/>
          <p:nvPr/>
        </p:nvSpPr>
        <p:spPr>
          <a:xfrm>
            <a:off x="2537139" y="5007499"/>
            <a:ext cx="1764406" cy="769441"/>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a:t>
            </a:r>
            <a:br>
              <a:rPr lang="en-US" sz="1000" dirty="0">
                <a:solidFill>
                  <a:schemeClr val="accent2"/>
                </a:solidFill>
              </a:rPr>
            </a:br>
            <a:r>
              <a:rPr lang="en-US" sz="1000" dirty="0">
                <a:solidFill>
                  <a:schemeClr val="accent2"/>
                </a:solidFill>
              </a:rPr>
              <a:t>This is dummy text it is not here to be read. This is dummy text it is not here to be read. </a:t>
            </a:r>
          </a:p>
        </p:txBody>
      </p:sp>
      <p:sp>
        <p:nvSpPr>
          <p:cNvPr id="122" name="Rectangle 121"/>
          <p:cNvSpPr/>
          <p:nvPr/>
        </p:nvSpPr>
        <p:spPr>
          <a:xfrm rot="18000619">
            <a:off x="2002169" y="2572228"/>
            <a:ext cx="2251858" cy="307777"/>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br>
              <a:rPr lang="en-US" sz="1000" dirty="0">
                <a:solidFill>
                  <a:schemeClr val="bg1"/>
                </a:solidFill>
              </a:rPr>
            </a:br>
            <a:r>
              <a:rPr lang="en-US" sz="1000" dirty="0">
                <a:solidFill>
                  <a:schemeClr val="bg1"/>
                </a:solidFill>
              </a:rPr>
              <a:t>This is dummy text not to be read</a:t>
            </a:r>
          </a:p>
        </p:txBody>
      </p:sp>
      <p:sp>
        <p:nvSpPr>
          <p:cNvPr id="123" name="Rectangle 122"/>
          <p:cNvSpPr/>
          <p:nvPr/>
        </p:nvSpPr>
        <p:spPr>
          <a:xfrm>
            <a:off x="3665949" y="3255993"/>
            <a:ext cx="2452161" cy="307777"/>
          </a:xfrm>
          <a:prstGeom prst="rect">
            <a:avLst/>
          </a:prstGeom>
        </p:spPr>
        <p:txBody>
          <a:bodyPr wrap="square" lIns="0" tIns="0" rIns="0" bIns="0">
            <a:spAutoFit/>
          </a:bodyPr>
          <a:lstStyle/>
          <a:p>
            <a:r>
              <a:rPr lang="en-US" sz="1000" b="1" dirty="0">
                <a:solidFill>
                  <a:schemeClr val="bg1"/>
                </a:solidFill>
              </a:rPr>
              <a:t>Lorem ipsum dolor </a:t>
            </a:r>
            <a:br>
              <a:rPr lang="en-US" sz="1000" dirty="0">
                <a:solidFill>
                  <a:schemeClr val="bg1"/>
                </a:solidFill>
              </a:rPr>
            </a:br>
            <a:r>
              <a:rPr lang="en-US" sz="1000" dirty="0">
                <a:solidFill>
                  <a:schemeClr val="bg1"/>
                </a:solidFill>
              </a:rPr>
              <a:t>This is dummy text</a:t>
            </a:r>
          </a:p>
        </p:txBody>
      </p:sp>
      <p:grpSp>
        <p:nvGrpSpPr>
          <p:cNvPr id="126" name="Group 351"/>
          <p:cNvGrpSpPr>
            <a:grpSpLocks noChangeAspect="1"/>
          </p:cNvGrpSpPr>
          <p:nvPr/>
        </p:nvGrpSpPr>
        <p:grpSpPr bwMode="auto">
          <a:xfrm>
            <a:off x="3265909" y="4334308"/>
            <a:ext cx="612486" cy="614286"/>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9" name="Group 336"/>
          <p:cNvGrpSpPr>
            <a:grpSpLocks noChangeAspect="1"/>
          </p:cNvGrpSpPr>
          <p:nvPr/>
        </p:nvGrpSpPr>
        <p:grpSpPr bwMode="auto">
          <a:xfrm>
            <a:off x="5414116" y="1642220"/>
            <a:ext cx="613198" cy="611398"/>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4055052" y="1048882"/>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Donut 30"/>
          <p:cNvSpPr/>
          <p:nvPr/>
        </p:nvSpPr>
        <p:spPr>
          <a:xfrm>
            <a:off x="3823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Rectangle 31"/>
          <p:cNvSpPr/>
          <p:nvPr/>
        </p:nvSpPr>
        <p:spPr>
          <a:xfrm>
            <a:off x="4156074" y="1371176"/>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3" name="Flowchart: Process 32"/>
          <p:cNvSpPr/>
          <p:nvPr/>
        </p:nvSpPr>
        <p:spPr>
          <a:xfrm>
            <a:off x="4609350" y="2456966"/>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Oval 33"/>
          <p:cNvSpPr/>
          <p:nvPr/>
        </p:nvSpPr>
        <p:spPr>
          <a:xfrm>
            <a:off x="5333092" y="2626868"/>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Donut 34"/>
          <p:cNvSpPr/>
          <p:nvPr/>
        </p:nvSpPr>
        <p:spPr>
          <a:xfrm>
            <a:off x="5101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Rectangle 35"/>
          <p:cNvSpPr/>
          <p:nvPr/>
        </p:nvSpPr>
        <p:spPr>
          <a:xfrm>
            <a:off x="5434114" y="2949162"/>
            <a:ext cx="1058096" cy="615553"/>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37" name="Flowchart: Process 36"/>
          <p:cNvSpPr/>
          <p:nvPr/>
        </p:nvSpPr>
        <p:spPr>
          <a:xfrm>
            <a:off x="5103164"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Oval 37"/>
          <p:cNvSpPr/>
          <p:nvPr/>
        </p:nvSpPr>
        <p:spPr>
          <a:xfrm>
            <a:off x="2777011" y="2626868"/>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onut 38"/>
          <p:cNvSpPr/>
          <p:nvPr/>
        </p:nvSpPr>
        <p:spPr>
          <a:xfrm>
            <a:off x="2545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Rectangle 39"/>
          <p:cNvSpPr/>
          <p:nvPr/>
        </p:nvSpPr>
        <p:spPr>
          <a:xfrm>
            <a:off x="2878033" y="2949162"/>
            <a:ext cx="1058096" cy="769441"/>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41" name="Flowchart: Process 40"/>
          <p:cNvSpPr/>
          <p:nvPr/>
        </p:nvSpPr>
        <p:spPr>
          <a:xfrm>
            <a:off x="4097285"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Oval 41"/>
          <p:cNvSpPr/>
          <p:nvPr/>
        </p:nvSpPr>
        <p:spPr>
          <a:xfrm>
            <a:off x="2186982" y="4505465"/>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onut 42"/>
          <p:cNvSpPr/>
          <p:nvPr/>
        </p:nvSpPr>
        <p:spPr>
          <a:xfrm>
            <a:off x="1955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p:cNvSpPr/>
          <p:nvPr/>
        </p:nvSpPr>
        <p:spPr>
          <a:xfrm>
            <a:off x="2288004" y="4827759"/>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45" name="Flowchart: Process 44"/>
          <p:cNvSpPr/>
          <p:nvPr/>
        </p:nvSpPr>
        <p:spPr>
          <a:xfrm>
            <a:off x="3507256"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5923757" y="4502435"/>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Donut 46"/>
          <p:cNvSpPr/>
          <p:nvPr/>
        </p:nvSpPr>
        <p:spPr>
          <a:xfrm>
            <a:off x="5692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Rectangle 47"/>
          <p:cNvSpPr/>
          <p:nvPr/>
        </p:nvSpPr>
        <p:spPr>
          <a:xfrm>
            <a:off x="6024779" y="4824729"/>
            <a:ext cx="1058096" cy="615553"/>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49" name="Flowchart: Process 48"/>
          <p:cNvSpPr/>
          <p:nvPr/>
        </p:nvSpPr>
        <p:spPr>
          <a:xfrm>
            <a:off x="5692560"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4055052" y="1048882"/>
            <a:ext cx="1260140" cy="1260140"/>
          </a:xfrm>
          <a:prstGeom prst="ellipse">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Donut 29"/>
          <p:cNvSpPr/>
          <p:nvPr/>
        </p:nvSpPr>
        <p:spPr>
          <a:xfrm>
            <a:off x="3823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Rectangle 30"/>
          <p:cNvSpPr/>
          <p:nvPr/>
        </p:nvSpPr>
        <p:spPr>
          <a:xfrm>
            <a:off x="4156074" y="1371176"/>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2" name="Flowchart: Process 31"/>
          <p:cNvSpPr/>
          <p:nvPr/>
        </p:nvSpPr>
        <p:spPr>
          <a:xfrm>
            <a:off x="4609350" y="2456966"/>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Oval 32"/>
          <p:cNvSpPr/>
          <p:nvPr/>
        </p:nvSpPr>
        <p:spPr>
          <a:xfrm>
            <a:off x="5333092" y="2626868"/>
            <a:ext cx="1260140" cy="1260140"/>
          </a:xfrm>
          <a:prstGeom prst="ellipse">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Donut 33"/>
          <p:cNvSpPr/>
          <p:nvPr/>
        </p:nvSpPr>
        <p:spPr>
          <a:xfrm>
            <a:off x="5101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Rectangle 34"/>
          <p:cNvSpPr/>
          <p:nvPr/>
        </p:nvSpPr>
        <p:spPr>
          <a:xfrm>
            <a:off x="5434114" y="2949162"/>
            <a:ext cx="1058096" cy="615553"/>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61" name="Flowchart: Process 60"/>
          <p:cNvSpPr/>
          <p:nvPr/>
        </p:nvSpPr>
        <p:spPr>
          <a:xfrm>
            <a:off x="5103164"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Oval 61"/>
          <p:cNvSpPr/>
          <p:nvPr/>
        </p:nvSpPr>
        <p:spPr>
          <a:xfrm>
            <a:off x="2777011" y="2626868"/>
            <a:ext cx="1260140" cy="1260140"/>
          </a:xfrm>
          <a:prstGeom prst="ellipse">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Donut 62"/>
          <p:cNvSpPr/>
          <p:nvPr/>
        </p:nvSpPr>
        <p:spPr>
          <a:xfrm>
            <a:off x="2545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Rectangle 63"/>
          <p:cNvSpPr/>
          <p:nvPr/>
        </p:nvSpPr>
        <p:spPr>
          <a:xfrm>
            <a:off x="2878033" y="2949162"/>
            <a:ext cx="1058096" cy="769441"/>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65" name="Flowchart: Process 64"/>
          <p:cNvSpPr/>
          <p:nvPr/>
        </p:nvSpPr>
        <p:spPr>
          <a:xfrm>
            <a:off x="4097285"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p:nvPr/>
        </p:nvSpPr>
        <p:spPr>
          <a:xfrm>
            <a:off x="2186982" y="4505465"/>
            <a:ext cx="1260140" cy="1260140"/>
          </a:xfrm>
          <a:prstGeom prst="ellipse">
            <a:avLst/>
          </a:prstGeom>
          <a:solidFill>
            <a:schemeClr val="tx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Donut 66"/>
          <p:cNvSpPr/>
          <p:nvPr/>
        </p:nvSpPr>
        <p:spPr>
          <a:xfrm>
            <a:off x="1955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8" name="Rectangle 67"/>
          <p:cNvSpPr/>
          <p:nvPr/>
        </p:nvSpPr>
        <p:spPr>
          <a:xfrm>
            <a:off x="2288004" y="4827759"/>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69" name="Flowchart: Process 68"/>
          <p:cNvSpPr/>
          <p:nvPr/>
        </p:nvSpPr>
        <p:spPr>
          <a:xfrm>
            <a:off x="3507256"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0" name="Oval 69"/>
          <p:cNvSpPr/>
          <p:nvPr/>
        </p:nvSpPr>
        <p:spPr>
          <a:xfrm>
            <a:off x="5923757" y="4502435"/>
            <a:ext cx="1260140" cy="1260140"/>
          </a:xfrm>
          <a:prstGeom prst="ellipse">
            <a:avLst/>
          </a:prstGeom>
          <a:solidFill>
            <a:schemeClr val="tx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Donut 70"/>
          <p:cNvSpPr/>
          <p:nvPr/>
        </p:nvSpPr>
        <p:spPr>
          <a:xfrm>
            <a:off x="5692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2" name="Rectangle 71"/>
          <p:cNvSpPr/>
          <p:nvPr/>
        </p:nvSpPr>
        <p:spPr>
          <a:xfrm>
            <a:off x="6024779" y="4824729"/>
            <a:ext cx="1058096" cy="615553"/>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73" name="Flowchart: Process 72"/>
          <p:cNvSpPr/>
          <p:nvPr/>
        </p:nvSpPr>
        <p:spPr>
          <a:xfrm>
            <a:off x="5692560"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rocess circle</a:t>
            </a:r>
            <a:endParaRPr lang="en-US" dirty="0"/>
          </a:p>
        </p:txBody>
      </p:sp>
      <p:sp>
        <p:nvSpPr>
          <p:cNvPr id="24" name="Freeform 23"/>
          <p:cNvSpPr/>
          <p:nvPr/>
        </p:nvSpPr>
        <p:spPr>
          <a:xfrm>
            <a:off x="4892639" y="881613"/>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6029221"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6022939" y="3656563"/>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4898988"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2952714" y="881613"/>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2101814"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2098639" y="3656563"/>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2962201"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5191088" y="1856874"/>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5991188" y="2656973"/>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6001320" y="3806324"/>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5170716" y="4638964"/>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4002014" y="4638464"/>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3189283" y="3804723"/>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3192032" y="2675636"/>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3993994" y="1854681"/>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3747199" y="2973188"/>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61" name="Rectangle 60"/>
          <p:cNvSpPr/>
          <p:nvPr/>
        </p:nvSpPr>
        <p:spPr>
          <a:xfrm>
            <a:off x="3409848" y="1687319"/>
            <a:ext cx="1090615"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2" name="Rectangle 61"/>
          <p:cNvSpPr/>
          <p:nvPr/>
        </p:nvSpPr>
        <p:spPr>
          <a:xfrm>
            <a:off x="5070560" y="1678794"/>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3" name="Rectangle 62"/>
          <p:cNvSpPr/>
          <p:nvPr/>
        </p:nvSpPr>
        <p:spPr>
          <a:xfrm>
            <a:off x="6412348" y="2843364"/>
            <a:ext cx="825579" cy="307777"/>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4" name="Rectangle 63"/>
          <p:cNvSpPr/>
          <p:nvPr/>
        </p:nvSpPr>
        <p:spPr>
          <a:xfrm>
            <a:off x="6245921" y="4404703"/>
            <a:ext cx="824581" cy="307777"/>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5" name="Rectangle 64"/>
          <p:cNvSpPr/>
          <p:nvPr/>
        </p:nvSpPr>
        <p:spPr>
          <a:xfrm>
            <a:off x="5027282" y="5615744"/>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6" name="Rectangle 65"/>
          <p:cNvSpPr/>
          <p:nvPr/>
        </p:nvSpPr>
        <p:spPr>
          <a:xfrm>
            <a:off x="3400107" y="5615744"/>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7" name="Rectangle 66"/>
          <p:cNvSpPr/>
          <p:nvPr/>
        </p:nvSpPr>
        <p:spPr>
          <a:xfrm>
            <a:off x="2449157" y="4392755"/>
            <a:ext cx="860714" cy="307777"/>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8" name="Rectangle 67"/>
          <p:cNvSpPr/>
          <p:nvPr/>
        </p:nvSpPr>
        <p:spPr>
          <a:xfrm>
            <a:off x="2261325" y="2824142"/>
            <a:ext cx="842484" cy="307777"/>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grpSp>
        <p:nvGrpSpPr>
          <p:cNvPr id="81" name="Group 80"/>
          <p:cNvGrpSpPr>
            <a:grpSpLocks noChangeAspect="1"/>
          </p:cNvGrpSpPr>
          <p:nvPr/>
        </p:nvGrpSpPr>
        <p:grpSpPr bwMode="auto">
          <a:xfrm>
            <a:off x="3747477" y="1121405"/>
            <a:ext cx="513122" cy="51312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920"/>
          <p:cNvGrpSpPr>
            <a:grpSpLocks noChangeAspect="1"/>
          </p:cNvGrpSpPr>
          <p:nvPr/>
        </p:nvGrpSpPr>
        <p:grpSpPr bwMode="auto">
          <a:xfrm>
            <a:off x="6564388" y="3821260"/>
            <a:ext cx="513122" cy="513122"/>
            <a:chOff x="5645" y="4510"/>
            <a:chExt cx="340" cy="340"/>
          </a:xfrm>
          <a:solidFill>
            <a:schemeClr val="bg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929"/>
          <p:cNvGrpSpPr>
            <a:grpSpLocks noChangeAspect="1"/>
          </p:cNvGrpSpPr>
          <p:nvPr/>
        </p:nvGrpSpPr>
        <p:grpSpPr bwMode="auto">
          <a:xfrm>
            <a:off x="2567967" y="2210519"/>
            <a:ext cx="513122" cy="51312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38"/>
          <p:cNvGrpSpPr>
            <a:grpSpLocks noChangeAspect="1"/>
          </p:cNvGrpSpPr>
          <p:nvPr/>
        </p:nvGrpSpPr>
        <p:grpSpPr bwMode="auto">
          <a:xfrm>
            <a:off x="5333886" y="1111454"/>
            <a:ext cx="513122" cy="51312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47"/>
          <p:cNvGrpSpPr>
            <a:grpSpLocks noChangeAspect="1"/>
          </p:cNvGrpSpPr>
          <p:nvPr/>
        </p:nvGrpSpPr>
        <p:grpSpPr bwMode="auto">
          <a:xfrm>
            <a:off x="6447790" y="2189437"/>
            <a:ext cx="513122" cy="51312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6"/>
          <p:cNvGrpSpPr>
            <a:grpSpLocks noChangeAspect="1"/>
          </p:cNvGrpSpPr>
          <p:nvPr/>
        </p:nvGrpSpPr>
        <p:grpSpPr bwMode="auto">
          <a:xfrm>
            <a:off x="2503776" y="3804394"/>
            <a:ext cx="513122" cy="51312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965"/>
          <p:cNvGrpSpPr>
            <a:grpSpLocks noChangeAspect="1"/>
          </p:cNvGrpSpPr>
          <p:nvPr/>
        </p:nvGrpSpPr>
        <p:grpSpPr bwMode="auto">
          <a:xfrm>
            <a:off x="5381016" y="5052294"/>
            <a:ext cx="513122" cy="514632"/>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3"/>
          <p:cNvGrpSpPr>
            <a:grpSpLocks noChangeAspect="1"/>
          </p:cNvGrpSpPr>
          <p:nvPr/>
        </p:nvGrpSpPr>
        <p:grpSpPr bwMode="auto">
          <a:xfrm>
            <a:off x="3673679" y="5097382"/>
            <a:ext cx="511812" cy="511808"/>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520440" y="2896757"/>
            <a:ext cx="2103120" cy="2103120"/>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3377473861"/>
              </p:ext>
            </p:extLst>
          </p:nvPr>
        </p:nvGraphicFramePr>
        <p:xfrm>
          <a:off x="376237" y="1605847"/>
          <a:ext cx="3017520" cy="164592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200" b="0" dirty="0">
                          <a:solidFill>
                            <a:schemeClr val="accent1"/>
                          </a:solidFill>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1730773562"/>
              </p:ext>
            </p:extLst>
          </p:nvPr>
        </p:nvGraphicFramePr>
        <p:xfrm>
          <a:off x="376237" y="4036732"/>
          <a:ext cx="3017520" cy="164592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200" b="0" dirty="0">
                          <a:solidFill>
                            <a:schemeClr val="accent1"/>
                          </a:solidFill>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1806394775"/>
              </p:ext>
            </p:extLst>
          </p:nvPr>
        </p:nvGraphicFramePr>
        <p:xfrm>
          <a:off x="5750242" y="1605847"/>
          <a:ext cx="3017520" cy="164592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200" b="0" dirty="0">
                          <a:solidFill>
                            <a:schemeClr val="accent1"/>
                          </a:solidFill>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4064101150"/>
              </p:ext>
            </p:extLst>
          </p:nvPr>
        </p:nvGraphicFramePr>
        <p:xfrm>
          <a:off x="5750242" y="4036732"/>
          <a:ext cx="3017520" cy="164592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200" b="0" dirty="0">
                          <a:solidFill>
                            <a:schemeClr val="accent1"/>
                          </a:solidFill>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onography</a:t>
            </a:r>
            <a:endParaRPr lang="en-GB" dirty="0"/>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a:t>Iconography</a:t>
            </a:r>
            <a:endParaRPr lang="en-GB" dirty="0"/>
          </a:p>
        </p:txBody>
      </p:sp>
      <p:sp>
        <p:nvSpPr>
          <p:cNvPr id="422" name="TextBox 421"/>
          <p:cNvSpPr txBox="1"/>
          <p:nvPr/>
        </p:nvSpPr>
        <p:spPr>
          <a:xfrm>
            <a:off x="385134" y="210240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us</a:t>
            </a:r>
          </a:p>
        </p:txBody>
      </p:sp>
      <p:sp>
        <p:nvSpPr>
          <p:cNvPr id="423" name="TextBox 422"/>
          <p:cNvSpPr txBox="1"/>
          <p:nvPr/>
        </p:nvSpPr>
        <p:spPr>
          <a:xfrm>
            <a:off x="1213269" y="2102404"/>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nus</a:t>
            </a:r>
          </a:p>
        </p:txBody>
      </p:sp>
      <p:sp>
        <p:nvSpPr>
          <p:cNvPr id="424" name="TextBox 423"/>
          <p:cNvSpPr txBox="1"/>
          <p:nvPr/>
        </p:nvSpPr>
        <p:spPr>
          <a:xfrm>
            <a:off x="2056221"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ick</a:t>
            </a:r>
          </a:p>
        </p:txBody>
      </p:sp>
      <p:sp>
        <p:nvSpPr>
          <p:cNvPr id="427" name="TextBox 426"/>
          <p:cNvSpPr txBox="1"/>
          <p:nvPr/>
        </p:nvSpPr>
        <p:spPr>
          <a:xfrm>
            <a:off x="2895998"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ross</a:t>
            </a:r>
          </a:p>
        </p:txBody>
      </p:sp>
      <p:sp>
        <p:nvSpPr>
          <p:cNvPr id="429" name="TextBox 428"/>
          <p:cNvSpPr txBox="1"/>
          <p:nvPr/>
        </p:nvSpPr>
        <p:spPr>
          <a:xfrm>
            <a:off x="4575552"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urger menu</a:t>
            </a:r>
          </a:p>
        </p:txBody>
      </p:sp>
      <p:sp>
        <p:nvSpPr>
          <p:cNvPr id="430" name="TextBox 429"/>
          <p:cNvSpPr txBox="1"/>
          <p:nvPr/>
        </p:nvSpPr>
        <p:spPr>
          <a:xfrm>
            <a:off x="3735775"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avigation 1</a:t>
            </a:r>
          </a:p>
        </p:txBody>
      </p:sp>
      <p:sp>
        <p:nvSpPr>
          <p:cNvPr id="472" name="TextBox 471"/>
          <p:cNvSpPr txBox="1"/>
          <p:nvPr/>
        </p:nvSpPr>
        <p:spPr>
          <a:xfrm>
            <a:off x="363868" y="2944463"/>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st</a:t>
            </a:r>
          </a:p>
        </p:txBody>
      </p:sp>
      <p:sp>
        <p:nvSpPr>
          <p:cNvPr id="475" name="TextBox 474"/>
          <p:cNvSpPr txBox="1"/>
          <p:nvPr/>
        </p:nvSpPr>
        <p:spPr>
          <a:xfrm>
            <a:off x="3750964"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ock</a:t>
            </a:r>
          </a:p>
        </p:txBody>
      </p:sp>
      <p:sp>
        <p:nvSpPr>
          <p:cNvPr id="476" name="TextBox 475"/>
          <p:cNvSpPr txBox="1"/>
          <p:nvPr/>
        </p:nvSpPr>
        <p:spPr>
          <a:xfrm>
            <a:off x="4603559"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nlock</a:t>
            </a:r>
          </a:p>
        </p:txBody>
      </p:sp>
      <p:sp>
        <p:nvSpPr>
          <p:cNvPr id="477" name="TextBox 476"/>
          <p:cNvSpPr txBox="1"/>
          <p:nvPr/>
        </p:nvSpPr>
        <p:spPr>
          <a:xfrm>
            <a:off x="2898369"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ar</a:t>
            </a:r>
          </a:p>
        </p:txBody>
      </p:sp>
      <p:sp>
        <p:nvSpPr>
          <p:cNvPr id="479" name="TextBox 478"/>
          <p:cNvSpPr txBox="1"/>
          <p:nvPr/>
        </p:nvSpPr>
        <p:spPr>
          <a:xfrm>
            <a:off x="7094882" y="21005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n</a:t>
            </a:r>
          </a:p>
        </p:txBody>
      </p:sp>
      <p:sp>
        <p:nvSpPr>
          <p:cNvPr id="480" name="TextBox 479"/>
          <p:cNvSpPr txBox="1"/>
          <p:nvPr/>
        </p:nvSpPr>
        <p:spPr>
          <a:xfrm>
            <a:off x="6255106"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arget</a:t>
            </a:r>
          </a:p>
        </p:txBody>
      </p:sp>
      <p:sp>
        <p:nvSpPr>
          <p:cNvPr id="481" name="TextBox 480"/>
          <p:cNvSpPr txBox="1"/>
          <p:nvPr/>
        </p:nvSpPr>
        <p:spPr>
          <a:xfrm>
            <a:off x="5415329" y="21024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lag</a:t>
            </a:r>
          </a:p>
        </p:txBody>
      </p:sp>
      <p:sp>
        <p:nvSpPr>
          <p:cNvPr id="522" name="TextBox 521"/>
          <p:cNvSpPr txBox="1"/>
          <p:nvPr/>
        </p:nvSpPr>
        <p:spPr>
          <a:xfrm>
            <a:off x="385134" y="3785167"/>
            <a:ext cx="819150" cy="184666"/>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xit</a:t>
            </a:r>
            <a:r>
              <a:rPr lang="en-US" sz="1200" dirty="0">
                <a:solidFill>
                  <a:srgbClr val="313131"/>
                </a:solidFill>
              </a:rPr>
              <a:t> </a:t>
            </a:r>
            <a:endParaRPr lang="en-US" sz="1000" dirty="0">
              <a:solidFill>
                <a:srgbClr val="313131"/>
              </a:solidFill>
            </a:endParaRPr>
          </a:p>
        </p:txBody>
      </p:sp>
      <p:sp>
        <p:nvSpPr>
          <p:cNvPr id="523" name="TextBox 522"/>
          <p:cNvSpPr txBox="1"/>
          <p:nvPr/>
        </p:nvSpPr>
        <p:spPr>
          <a:xfrm>
            <a:off x="1216260" y="3785167"/>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nter</a:t>
            </a:r>
          </a:p>
        </p:txBody>
      </p:sp>
      <p:sp>
        <p:nvSpPr>
          <p:cNvPr id="524" name="TextBox 523"/>
          <p:cNvSpPr txBox="1"/>
          <p:nvPr/>
        </p:nvSpPr>
        <p:spPr>
          <a:xfrm>
            <a:off x="2062203" y="3785167"/>
            <a:ext cx="830792" cy="184666"/>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avigation</a:t>
            </a:r>
            <a:r>
              <a:rPr lang="en-US" sz="1200" dirty="0">
                <a:solidFill>
                  <a:srgbClr val="313131"/>
                </a:solidFill>
              </a:rPr>
              <a:t> </a:t>
            </a:r>
            <a:r>
              <a:rPr lang="en-US" sz="1000" dirty="0">
                <a:solidFill>
                  <a:srgbClr val="313131"/>
                </a:solidFill>
              </a:rPr>
              <a:t>2</a:t>
            </a:r>
          </a:p>
        </p:txBody>
      </p:sp>
      <p:sp>
        <p:nvSpPr>
          <p:cNvPr id="525" name="TextBox 524"/>
          <p:cNvSpPr txBox="1"/>
          <p:nvPr/>
        </p:nvSpPr>
        <p:spPr>
          <a:xfrm>
            <a:off x="3747739"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ech</a:t>
            </a:r>
          </a:p>
        </p:txBody>
      </p:sp>
      <p:sp>
        <p:nvSpPr>
          <p:cNvPr id="526" name="TextBox 525"/>
          <p:cNvSpPr txBox="1"/>
          <p:nvPr/>
        </p:nvSpPr>
        <p:spPr>
          <a:xfrm>
            <a:off x="4590507"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ech 1</a:t>
            </a:r>
          </a:p>
        </p:txBody>
      </p:sp>
      <p:sp>
        <p:nvSpPr>
          <p:cNvPr id="527" name="TextBox 526"/>
          <p:cNvSpPr txBox="1"/>
          <p:nvPr/>
        </p:nvSpPr>
        <p:spPr>
          <a:xfrm>
            <a:off x="2904971"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are</a:t>
            </a:r>
          </a:p>
        </p:txBody>
      </p:sp>
      <p:sp>
        <p:nvSpPr>
          <p:cNvPr id="528" name="TextBox 527"/>
          <p:cNvSpPr txBox="1"/>
          <p:nvPr/>
        </p:nvSpPr>
        <p:spPr>
          <a:xfrm>
            <a:off x="5456154"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lobal</a:t>
            </a:r>
          </a:p>
        </p:txBody>
      </p:sp>
      <p:sp>
        <p:nvSpPr>
          <p:cNvPr id="529" name="TextBox 528"/>
          <p:cNvSpPr txBox="1"/>
          <p:nvPr/>
        </p:nvSpPr>
        <p:spPr>
          <a:xfrm>
            <a:off x="7118809"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vide</a:t>
            </a:r>
          </a:p>
        </p:txBody>
      </p:sp>
      <p:sp>
        <p:nvSpPr>
          <p:cNvPr id="530" name="TextBox 529"/>
          <p:cNvSpPr txBox="1"/>
          <p:nvPr/>
        </p:nvSpPr>
        <p:spPr>
          <a:xfrm>
            <a:off x="7161341"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splay</a:t>
            </a:r>
          </a:p>
        </p:txBody>
      </p:sp>
      <p:sp>
        <p:nvSpPr>
          <p:cNvPr id="531" name="TextBox 530"/>
          <p:cNvSpPr txBox="1"/>
          <p:nvPr/>
        </p:nvSpPr>
        <p:spPr>
          <a:xfrm>
            <a:off x="6308749"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opwatch</a:t>
            </a:r>
          </a:p>
        </p:txBody>
      </p:sp>
      <p:sp>
        <p:nvSpPr>
          <p:cNvPr id="629" name="TextBox 628"/>
          <p:cNvSpPr txBox="1"/>
          <p:nvPr/>
        </p:nvSpPr>
        <p:spPr>
          <a:xfrm>
            <a:off x="6276043"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ce 2</a:t>
            </a:r>
          </a:p>
        </p:txBody>
      </p:sp>
      <p:sp>
        <p:nvSpPr>
          <p:cNvPr id="630" name="TextBox 629"/>
          <p:cNvSpPr txBox="1"/>
          <p:nvPr/>
        </p:nvSpPr>
        <p:spPr>
          <a:xfrm>
            <a:off x="5433275" y="37851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art</a:t>
            </a:r>
          </a:p>
        </p:txBody>
      </p:sp>
      <p:sp>
        <p:nvSpPr>
          <p:cNvPr id="672" name="TextBox 671"/>
          <p:cNvSpPr txBox="1"/>
          <p:nvPr/>
        </p:nvSpPr>
        <p:spPr>
          <a:xfrm>
            <a:off x="376568" y="4581139"/>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quals</a:t>
            </a:r>
          </a:p>
        </p:txBody>
      </p:sp>
      <p:sp>
        <p:nvSpPr>
          <p:cNvPr id="673" name="TextBox 672"/>
          <p:cNvSpPr txBox="1"/>
          <p:nvPr/>
        </p:nvSpPr>
        <p:spPr>
          <a:xfrm>
            <a:off x="1207972" y="4581139"/>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raser</a:t>
            </a:r>
          </a:p>
        </p:txBody>
      </p:sp>
      <p:sp>
        <p:nvSpPr>
          <p:cNvPr id="674" name="TextBox 673"/>
          <p:cNvSpPr txBox="1"/>
          <p:nvPr/>
        </p:nvSpPr>
        <p:spPr>
          <a:xfrm>
            <a:off x="2054193" y="45811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lert error</a:t>
            </a:r>
          </a:p>
        </p:txBody>
      </p:sp>
      <p:sp>
        <p:nvSpPr>
          <p:cNvPr id="675" name="TextBox 674"/>
          <p:cNvSpPr txBox="1"/>
          <p:nvPr/>
        </p:nvSpPr>
        <p:spPr>
          <a:xfrm>
            <a:off x="3740285" y="45811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xclamation</a:t>
            </a:r>
          </a:p>
        </p:txBody>
      </p:sp>
      <p:sp>
        <p:nvSpPr>
          <p:cNvPr id="677" name="TextBox 676"/>
          <p:cNvSpPr txBox="1"/>
          <p:nvPr/>
        </p:nvSpPr>
        <p:spPr>
          <a:xfrm>
            <a:off x="2897239" y="45811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mmenting</a:t>
            </a:r>
          </a:p>
        </p:txBody>
      </p:sp>
      <p:sp>
        <p:nvSpPr>
          <p:cNvPr id="679" name="TextBox 678"/>
          <p:cNvSpPr txBox="1"/>
          <p:nvPr/>
        </p:nvSpPr>
        <p:spPr>
          <a:xfrm>
            <a:off x="5426377" y="4581139"/>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quote marks</a:t>
            </a:r>
          </a:p>
        </p:txBody>
      </p:sp>
      <p:sp>
        <p:nvSpPr>
          <p:cNvPr id="680" name="TextBox 679"/>
          <p:cNvSpPr txBox="1"/>
          <p:nvPr/>
        </p:nvSpPr>
        <p:spPr>
          <a:xfrm>
            <a:off x="4583331" y="45811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yedropper</a:t>
            </a:r>
          </a:p>
        </p:txBody>
      </p:sp>
      <p:grpSp>
        <p:nvGrpSpPr>
          <p:cNvPr id="683" name="Group 444"/>
          <p:cNvGrpSpPr>
            <a:grpSpLocks noChangeAspect="1"/>
          </p:cNvGrpSpPr>
          <p:nvPr/>
        </p:nvGrpSpPr>
        <p:grpSpPr bwMode="auto">
          <a:xfrm>
            <a:off x="820262" y="1687513"/>
            <a:ext cx="369021" cy="369021"/>
            <a:chOff x="2630" y="1597"/>
            <a:chExt cx="340" cy="340"/>
          </a:xfrm>
          <a:solidFill>
            <a:schemeClr val="accent5"/>
          </a:solidFill>
        </p:grpSpPr>
        <p:sp>
          <p:nvSpPr>
            <p:cNvPr id="684" name="Freeform 445"/>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5" name="Freeform 446"/>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6" name="Group 449"/>
          <p:cNvGrpSpPr>
            <a:grpSpLocks noChangeAspect="1"/>
          </p:cNvGrpSpPr>
          <p:nvPr/>
        </p:nvGrpSpPr>
        <p:grpSpPr bwMode="auto">
          <a:xfrm>
            <a:off x="398317" y="1687513"/>
            <a:ext cx="369021" cy="369021"/>
            <a:chOff x="2276" y="1587"/>
            <a:chExt cx="340" cy="340"/>
          </a:xfrm>
          <a:solidFill>
            <a:schemeClr val="accent5"/>
          </a:solidFill>
        </p:grpSpPr>
        <p:sp>
          <p:nvSpPr>
            <p:cNvPr id="687" name="Freeform 450"/>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8" name="Freeform 451"/>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9" name="Group 878"/>
          <p:cNvGrpSpPr>
            <a:grpSpLocks noChangeAspect="1"/>
          </p:cNvGrpSpPr>
          <p:nvPr/>
        </p:nvGrpSpPr>
        <p:grpSpPr bwMode="auto">
          <a:xfrm>
            <a:off x="1662172" y="1687513"/>
            <a:ext cx="367041" cy="367041"/>
            <a:chOff x="2950" y="3735"/>
            <a:chExt cx="340" cy="340"/>
          </a:xfrm>
          <a:solidFill>
            <a:schemeClr val="accent4"/>
          </a:solidFill>
        </p:grpSpPr>
        <p:sp>
          <p:nvSpPr>
            <p:cNvPr id="690" name="Freeform 879"/>
            <p:cNvSpPr>
              <a:spLocks/>
            </p:cNvSpPr>
            <p:nvPr/>
          </p:nvSpPr>
          <p:spPr bwMode="auto">
            <a:xfrm>
              <a:off x="3014" y="3898"/>
              <a:ext cx="212" cy="14"/>
            </a:xfrm>
            <a:custGeom>
              <a:avLst/>
              <a:gdLst>
                <a:gd name="T0" fmla="*/ 309 w 320"/>
                <a:gd name="T1" fmla="*/ 21 h 21"/>
                <a:gd name="T2" fmla="*/ 10 w 320"/>
                <a:gd name="T3" fmla="*/ 21 h 21"/>
                <a:gd name="T4" fmla="*/ 0 w 320"/>
                <a:gd name="T5" fmla="*/ 11 h 21"/>
                <a:gd name="T6" fmla="*/ 10 w 320"/>
                <a:gd name="T7" fmla="*/ 0 h 21"/>
                <a:gd name="T8" fmla="*/ 309 w 320"/>
                <a:gd name="T9" fmla="*/ 0 h 21"/>
                <a:gd name="T10" fmla="*/ 320 w 320"/>
                <a:gd name="T11" fmla="*/ 11 h 21"/>
                <a:gd name="T12" fmla="*/ 309 w 3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21"/>
                  </a:moveTo>
                  <a:cubicBezTo>
                    <a:pt x="10" y="21"/>
                    <a:pt x="10" y="21"/>
                    <a:pt x="10" y="21"/>
                  </a:cubicBezTo>
                  <a:cubicBezTo>
                    <a:pt x="4" y="21"/>
                    <a:pt x="0" y="17"/>
                    <a:pt x="0" y="11"/>
                  </a:cubicBezTo>
                  <a:cubicBezTo>
                    <a:pt x="0" y="5"/>
                    <a:pt x="4" y="0"/>
                    <a:pt x="10" y="0"/>
                  </a:cubicBezTo>
                  <a:cubicBezTo>
                    <a:pt x="309" y="0"/>
                    <a:pt x="309" y="0"/>
                    <a:pt x="309" y="0"/>
                  </a:cubicBezTo>
                  <a:cubicBezTo>
                    <a:pt x="315" y="0"/>
                    <a:pt x="320" y="5"/>
                    <a:pt x="320" y="11"/>
                  </a:cubicBezTo>
                  <a:cubicBezTo>
                    <a:pt x="320" y="17"/>
                    <a:pt x="315" y="21"/>
                    <a:pt x="309"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1" name="Freeform 880"/>
            <p:cNvSpPr>
              <a:spLocks noEditPoints="1"/>
            </p:cNvSpPr>
            <p:nvPr/>
          </p:nvSpPr>
          <p:spPr bwMode="auto">
            <a:xfrm>
              <a:off x="2950" y="37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2" name="Freeform 884"/>
          <p:cNvSpPr>
            <a:spLocks noChangeAspect="1" noEditPoints="1"/>
          </p:cNvSpPr>
          <p:nvPr/>
        </p:nvSpPr>
        <p:spPr bwMode="auto">
          <a:xfrm>
            <a:off x="1242207" y="16875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93" name="Group 592"/>
          <p:cNvGrpSpPr>
            <a:grpSpLocks noChangeAspect="1"/>
          </p:cNvGrpSpPr>
          <p:nvPr/>
        </p:nvGrpSpPr>
        <p:grpSpPr bwMode="auto">
          <a:xfrm>
            <a:off x="2504737" y="1687513"/>
            <a:ext cx="370763" cy="369676"/>
            <a:chOff x="373" y="1933"/>
            <a:chExt cx="341" cy="340"/>
          </a:xfrm>
          <a:solidFill>
            <a:schemeClr val="accent6"/>
          </a:solidFill>
        </p:grpSpPr>
        <p:sp>
          <p:nvSpPr>
            <p:cNvPr id="694" name="Freeform 693"/>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5" name="Freeform 694"/>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6" name="Freeform 598"/>
          <p:cNvSpPr>
            <a:spLocks noChangeAspect="1" noEditPoints="1"/>
          </p:cNvSpPr>
          <p:nvPr/>
        </p:nvSpPr>
        <p:spPr bwMode="auto">
          <a:xfrm>
            <a:off x="2082137" y="16875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97" name="Freeform 132"/>
          <p:cNvSpPr>
            <a:spLocks noChangeAspect="1" noEditPoints="1"/>
          </p:cNvSpPr>
          <p:nvPr/>
        </p:nvSpPr>
        <p:spPr bwMode="auto">
          <a:xfrm>
            <a:off x="2928424" y="16875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98" name="Group 135"/>
          <p:cNvGrpSpPr>
            <a:grpSpLocks noChangeAspect="1"/>
          </p:cNvGrpSpPr>
          <p:nvPr/>
        </p:nvGrpSpPr>
        <p:grpSpPr bwMode="auto">
          <a:xfrm>
            <a:off x="3348979" y="1687513"/>
            <a:ext cx="367631" cy="367631"/>
            <a:chOff x="3038" y="915"/>
            <a:chExt cx="340" cy="340"/>
          </a:xfrm>
          <a:solidFill>
            <a:schemeClr val="accent2"/>
          </a:solidFill>
        </p:grpSpPr>
        <p:sp>
          <p:nvSpPr>
            <p:cNvPr id="699" name="Freeform 136"/>
            <p:cNvSpPr>
              <a:spLocks/>
            </p:cNvSpPr>
            <p:nvPr/>
          </p:nvSpPr>
          <p:spPr bwMode="auto">
            <a:xfrm>
              <a:off x="3122" y="999"/>
              <a:ext cx="172" cy="171"/>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0" name="Freeform 137"/>
            <p:cNvSpPr>
              <a:spLocks noEditPoints="1"/>
            </p:cNvSpPr>
            <p:nvPr/>
          </p:nvSpPr>
          <p:spPr bwMode="auto">
            <a:xfrm>
              <a:off x="3038" y="9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17" name="Freeform 974"/>
          <p:cNvSpPr>
            <a:spLocks noChangeAspect="1" noEditPoints="1"/>
          </p:cNvSpPr>
          <p:nvPr/>
        </p:nvSpPr>
        <p:spPr bwMode="auto">
          <a:xfrm>
            <a:off x="3769534" y="1687513"/>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18" name="Group 977"/>
          <p:cNvGrpSpPr>
            <a:grpSpLocks noChangeAspect="1"/>
          </p:cNvGrpSpPr>
          <p:nvPr/>
        </p:nvGrpSpPr>
        <p:grpSpPr bwMode="auto">
          <a:xfrm>
            <a:off x="4189499" y="1687513"/>
            <a:ext cx="367041" cy="367041"/>
            <a:chOff x="1925" y="3985"/>
            <a:chExt cx="340" cy="340"/>
          </a:xfrm>
          <a:solidFill>
            <a:schemeClr val="accent5"/>
          </a:solidFill>
        </p:grpSpPr>
        <p:sp>
          <p:nvSpPr>
            <p:cNvPr id="71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2" name="Freeform 603"/>
          <p:cNvSpPr>
            <a:spLocks noChangeAspect="1" noEditPoints="1"/>
          </p:cNvSpPr>
          <p:nvPr/>
        </p:nvSpPr>
        <p:spPr bwMode="auto">
          <a:xfrm>
            <a:off x="4609464" y="16875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3" name="Freeform 607"/>
          <p:cNvSpPr>
            <a:spLocks noChangeAspect="1" noEditPoints="1"/>
          </p:cNvSpPr>
          <p:nvPr/>
        </p:nvSpPr>
        <p:spPr bwMode="auto">
          <a:xfrm>
            <a:off x="5029429" y="1687513"/>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6" name="Freeform 611"/>
          <p:cNvSpPr>
            <a:spLocks noChangeAspect="1" noEditPoints="1"/>
          </p:cNvSpPr>
          <p:nvPr/>
        </p:nvSpPr>
        <p:spPr bwMode="auto">
          <a:xfrm>
            <a:off x="400297" y="252761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27" name="Group 614"/>
          <p:cNvGrpSpPr>
            <a:grpSpLocks noChangeAspect="1"/>
          </p:cNvGrpSpPr>
          <p:nvPr/>
        </p:nvGrpSpPr>
        <p:grpSpPr bwMode="auto">
          <a:xfrm>
            <a:off x="819805" y="2527619"/>
            <a:ext cx="367041" cy="367041"/>
            <a:chOff x="3780" y="2658"/>
            <a:chExt cx="340" cy="340"/>
          </a:xfrm>
          <a:solidFill>
            <a:schemeClr val="accent1"/>
          </a:solidFill>
        </p:grpSpPr>
        <p:sp>
          <p:nvSpPr>
            <p:cNvPr id="728"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9"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0"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1"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2"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3"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4"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5"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6"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9" name="Freeform 858"/>
          <p:cNvSpPr>
            <a:spLocks noChangeAspect="1" noEditPoints="1"/>
          </p:cNvSpPr>
          <p:nvPr/>
        </p:nvSpPr>
        <p:spPr bwMode="auto">
          <a:xfrm>
            <a:off x="5449394" y="1687513"/>
            <a:ext cx="367631" cy="36763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0" name="Group 861"/>
          <p:cNvGrpSpPr>
            <a:grpSpLocks noChangeAspect="1"/>
          </p:cNvGrpSpPr>
          <p:nvPr/>
        </p:nvGrpSpPr>
        <p:grpSpPr bwMode="auto">
          <a:xfrm>
            <a:off x="5869949" y="1687513"/>
            <a:ext cx="367631" cy="367631"/>
            <a:chOff x="5813" y="3162"/>
            <a:chExt cx="340" cy="340"/>
          </a:xfrm>
          <a:solidFill>
            <a:schemeClr val="accent3"/>
          </a:solidFill>
        </p:grpSpPr>
        <p:sp>
          <p:nvSpPr>
            <p:cNvPr id="741" name="Freeform 862"/>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2" name="Freeform 863"/>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3" name="Group 360"/>
          <p:cNvGrpSpPr>
            <a:grpSpLocks noChangeAspect="1"/>
          </p:cNvGrpSpPr>
          <p:nvPr/>
        </p:nvGrpSpPr>
        <p:grpSpPr bwMode="auto">
          <a:xfrm>
            <a:off x="3345938" y="2527619"/>
            <a:ext cx="370763" cy="369676"/>
            <a:chOff x="1935" y="1199"/>
            <a:chExt cx="341" cy="340"/>
          </a:xfrm>
          <a:solidFill>
            <a:schemeClr val="accent4"/>
          </a:solidFill>
        </p:grpSpPr>
        <p:sp>
          <p:nvSpPr>
            <p:cNvPr id="744"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5"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6" name="Freeform 375"/>
          <p:cNvSpPr>
            <a:spLocks noChangeAspect="1" noEditPoints="1"/>
          </p:cNvSpPr>
          <p:nvPr/>
        </p:nvSpPr>
        <p:spPr bwMode="auto">
          <a:xfrm>
            <a:off x="2923795" y="2527619"/>
            <a:ext cx="369676"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7" name="Group 601"/>
          <p:cNvGrpSpPr>
            <a:grpSpLocks noChangeAspect="1"/>
          </p:cNvGrpSpPr>
          <p:nvPr/>
        </p:nvGrpSpPr>
        <p:grpSpPr bwMode="auto">
          <a:xfrm>
            <a:off x="5030327" y="2527619"/>
            <a:ext cx="370763" cy="369676"/>
            <a:chOff x="7347" y="2263"/>
            <a:chExt cx="341" cy="340"/>
          </a:xfrm>
          <a:solidFill>
            <a:schemeClr val="accent1"/>
          </a:solidFill>
        </p:grpSpPr>
        <p:sp>
          <p:nvSpPr>
            <p:cNvPr id="748" name="Freeform 602"/>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9" name="Freeform 603"/>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0" name="Group 606"/>
          <p:cNvGrpSpPr>
            <a:grpSpLocks noChangeAspect="1"/>
          </p:cNvGrpSpPr>
          <p:nvPr/>
        </p:nvGrpSpPr>
        <p:grpSpPr bwMode="auto">
          <a:xfrm>
            <a:off x="4608184" y="2527619"/>
            <a:ext cx="369676" cy="369676"/>
            <a:chOff x="6986" y="2266"/>
            <a:chExt cx="340" cy="340"/>
          </a:xfrm>
          <a:solidFill>
            <a:schemeClr val="accent1"/>
          </a:solidFill>
        </p:grpSpPr>
        <p:sp>
          <p:nvSpPr>
            <p:cNvPr id="751" name="Freeform 607"/>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2" name="Rectangle 608"/>
            <p:cNvSpPr>
              <a:spLocks noChangeArrowheads="1"/>
            </p:cNvSpPr>
            <p:nvPr/>
          </p:nvSpPr>
          <p:spPr bwMode="auto">
            <a:xfrm>
              <a:off x="7092" y="2443"/>
              <a:ext cx="128" cy="8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53" name="Freeform 627"/>
          <p:cNvSpPr>
            <a:spLocks noChangeAspect="1" noEditPoints="1"/>
          </p:cNvSpPr>
          <p:nvPr/>
        </p:nvSpPr>
        <p:spPr bwMode="auto">
          <a:xfrm>
            <a:off x="3769168" y="2527619"/>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54" name="Group 630"/>
          <p:cNvGrpSpPr>
            <a:grpSpLocks noChangeAspect="1"/>
          </p:cNvGrpSpPr>
          <p:nvPr/>
        </p:nvGrpSpPr>
        <p:grpSpPr bwMode="auto">
          <a:xfrm>
            <a:off x="4188676" y="2527619"/>
            <a:ext cx="367041" cy="367041"/>
            <a:chOff x="4593" y="2664"/>
            <a:chExt cx="340" cy="340"/>
          </a:xfrm>
          <a:solidFill>
            <a:schemeClr val="accent1"/>
          </a:solidFill>
        </p:grpSpPr>
        <p:sp>
          <p:nvSpPr>
            <p:cNvPr id="755"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6"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6" name="Group 432"/>
          <p:cNvGrpSpPr>
            <a:grpSpLocks noChangeAspect="1"/>
          </p:cNvGrpSpPr>
          <p:nvPr/>
        </p:nvGrpSpPr>
        <p:grpSpPr bwMode="auto">
          <a:xfrm>
            <a:off x="6713104" y="1687513"/>
            <a:ext cx="369676" cy="370763"/>
            <a:chOff x="3505" y="1546"/>
            <a:chExt cx="340" cy="341"/>
          </a:xfrm>
          <a:solidFill>
            <a:schemeClr val="accent5"/>
          </a:solidFill>
        </p:grpSpPr>
        <p:sp>
          <p:nvSpPr>
            <p:cNvPr id="76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9" name="Group 437"/>
          <p:cNvGrpSpPr>
            <a:grpSpLocks noChangeAspect="1"/>
          </p:cNvGrpSpPr>
          <p:nvPr/>
        </p:nvGrpSpPr>
        <p:grpSpPr bwMode="auto">
          <a:xfrm>
            <a:off x="6290504" y="1687513"/>
            <a:ext cx="369676" cy="369676"/>
            <a:chOff x="3130" y="1561"/>
            <a:chExt cx="340" cy="340"/>
          </a:xfrm>
          <a:solidFill>
            <a:schemeClr val="accent5"/>
          </a:solidFill>
        </p:grpSpPr>
        <p:sp>
          <p:nvSpPr>
            <p:cNvPr id="770"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5"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8"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9" name="Freeform 507"/>
          <p:cNvSpPr>
            <a:spLocks noChangeAspect="1" noEditPoints="1"/>
          </p:cNvSpPr>
          <p:nvPr/>
        </p:nvSpPr>
        <p:spPr bwMode="auto">
          <a:xfrm>
            <a:off x="7135704" y="1687513"/>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0" name="Group 510"/>
          <p:cNvGrpSpPr>
            <a:grpSpLocks noChangeAspect="1"/>
          </p:cNvGrpSpPr>
          <p:nvPr/>
        </p:nvGrpSpPr>
        <p:grpSpPr bwMode="auto">
          <a:xfrm>
            <a:off x="7556610" y="1687513"/>
            <a:ext cx="369064" cy="367982"/>
            <a:chOff x="4155" y="3088"/>
            <a:chExt cx="341" cy="340"/>
          </a:xfrm>
          <a:solidFill>
            <a:schemeClr val="accent6"/>
          </a:solidFill>
        </p:grpSpPr>
        <p:sp>
          <p:nvSpPr>
            <p:cNvPr id="781"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2"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3" name="Freeform 528"/>
          <p:cNvSpPr>
            <a:spLocks noChangeAspect="1" noEditPoints="1"/>
          </p:cNvSpPr>
          <p:nvPr/>
        </p:nvSpPr>
        <p:spPr bwMode="auto">
          <a:xfrm>
            <a:off x="399707" y="336096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4" name="Group 531"/>
          <p:cNvGrpSpPr>
            <a:grpSpLocks noChangeAspect="1"/>
          </p:cNvGrpSpPr>
          <p:nvPr/>
        </p:nvGrpSpPr>
        <p:grpSpPr bwMode="auto">
          <a:xfrm>
            <a:off x="820025" y="3360962"/>
            <a:ext cx="367631" cy="367631"/>
            <a:chOff x="4216" y="2000"/>
            <a:chExt cx="340" cy="340"/>
          </a:xfrm>
          <a:solidFill>
            <a:schemeClr val="accent6"/>
          </a:solidFill>
        </p:grpSpPr>
        <p:sp>
          <p:nvSpPr>
            <p:cNvPr id="785"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6"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7" name="Freeform 472"/>
          <p:cNvSpPr>
            <a:spLocks noChangeAspect="1" noEditPoints="1"/>
          </p:cNvSpPr>
          <p:nvPr/>
        </p:nvSpPr>
        <p:spPr bwMode="auto">
          <a:xfrm>
            <a:off x="1240343" y="336096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8" name="Group 475"/>
          <p:cNvGrpSpPr>
            <a:grpSpLocks noChangeAspect="1"/>
          </p:cNvGrpSpPr>
          <p:nvPr/>
        </p:nvGrpSpPr>
        <p:grpSpPr bwMode="auto">
          <a:xfrm>
            <a:off x="1660661" y="3360962"/>
            <a:ext cx="367631" cy="368713"/>
            <a:chOff x="5414" y="3704"/>
            <a:chExt cx="340" cy="341"/>
          </a:xfrm>
          <a:solidFill>
            <a:schemeClr val="accent5"/>
          </a:solidFill>
        </p:grpSpPr>
        <p:sp>
          <p:nvSpPr>
            <p:cNvPr id="789" name="Freeform 476"/>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0" name="Freeform 477"/>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1" name="Freeform 984"/>
          <p:cNvSpPr>
            <a:spLocks noChangeAspect="1" noEditPoints="1"/>
          </p:cNvSpPr>
          <p:nvPr/>
        </p:nvSpPr>
        <p:spPr bwMode="auto">
          <a:xfrm>
            <a:off x="2080979" y="3360962"/>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92" name="Group 987"/>
          <p:cNvGrpSpPr>
            <a:grpSpLocks noChangeAspect="1"/>
          </p:cNvGrpSpPr>
          <p:nvPr/>
        </p:nvGrpSpPr>
        <p:grpSpPr bwMode="auto">
          <a:xfrm>
            <a:off x="2501786" y="3360962"/>
            <a:ext cx="367041" cy="367041"/>
            <a:chOff x="2699" y="3996"/>
            <a:chExt cx="340" cy="340"/>
          </a:xfrm>
          <a:solidFill>
            <a:schemeClr val="accent5"/>
          </a:solidFill>
        </p:grpSpPr>
        <p:sp>
          <p:nvSpPr>
            <p:cNvPr id="793"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4"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95" name="Group 862"/>
          <p:cNvGrpSpPr>
            <a:grpSpLocks noChangeAspect="1"/>
          </p:cNvGrpSpPr>
          <p:nvPr/>
        </p:nvGrpSpPr>
        <p:grpSpPr bwMode="auto">
          <a:xfrm>
            <a:off x="3343222" y="3360962"/>
            <a:ext cx="369021" cy="370106"/>
            <a:chOff x="6607" y="3441"/>
            <a:chExt cx="340" cy="341"/>
          </a:xfrm>
          <a:solidFill>
            <a:schemeClr val="accent4"/>
          </a:solidFill>
        </p:grpSpPr>
        <p:sp>
          <p:nvSpPr>
            <p:cNvPr id="796"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7"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98" name="Group 867"/>
          <p:cNvGrpSpPr>
            <a:grpSpLocks noChangeAspect="1"/>
          </p:cNvGrpSpPr>
          <p:nvPr/>
        </p:nvGrpSpPr>
        <p:grpSpPr bwMode="auto">
          <a:xfrm>
            <a:off x="2921514" y="3360962"/>
            <a:ext cx="369021" cy="369021"/>
            <a:chOff x="6248" y="3438"/>
            <a:chExt cx="340" cy="340"/>
          </a:xfrm>
          <a:solidFill>
            <a:schemeClr val="accent4"/>
          </a:solidFill>
        </p:grpSpPr>
        <p:sp>
          <p:nvSpPr>
            <p:cNvPr id="799" name="Oval 868"/>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0" name="Oval 869"/>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1" name="Oval 870"/>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2" name="Freeform 871"/>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3" name="Group 257"/>
          <p:cNvGrpSpPr>
            <a:grpSpLocks noChangeAspect="1"/>
          </p:cNvGrpSpPr>
          <p:nvPr/>
        </p:nvGrpSpPr>
        <p:grpSpPr bwMode="auto">
          <a:xfrm>
            <a:off x="5033106" y="3360962"/>
            <a:ext cx="369676" cy="369676"/>
            <a:chOff x="2724" y="770"/>
            <a:chExt cx="340" cy="340"/>
          </a:xfrm>
          <a:solidFill>
            <a:schemeClr val="accent3"/>
          </a:solidFill>
        </p:grpSpPr>
        <p:sp>
          <p:nvSpPr>
            <p:cNvPr id="804" name="Freeform 258"/>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5" name="Freeform 259"/>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06" name="Freeform 263"/>
          <p:cNvSpPr>
            <a:spLocks noChangeAspect="1" noEditPoints="1"/>
          </p:cNvSpPr>
          <p:nvPr/>
        </p:nvSpPr>
        <p:spPr bwMode="auto">
          <a:xfrm>
            <a:off x="4610743" y="3360962"/>
            <a:ext cx="369676" cy="369676"/>
          </a:xfrm>
          <a:custGeom>
            <a:avLst/>
            <a:gdLst>
              <a:gd name="T0" fmla="*/ 117 w 512"/>
              <a:gd name="T1" fmla="*/ 160 h 512"/>
              <a:gd name="T2" fmla="*/ 394 w 512"/>
              <a:gd name="T3" fmla="*/ 160 h 512"/>
              <a:gd name="T4" fmla="*/ 394 w 512"/>
              <a:gd name="T5" fmla="*/ 330 h 512"/>
              <a:gd name="T6" fmla="*/ 213 w 512"/>
              <a:gd name="T7" fmla="*/ 330 h 512"/>
              <a:gd name="T8" fmla="*/ 205 w 512"/>
              <a:gd name="T9" fmla="*/ 334 h 512"/>
              <a:gd name="T10" fmla="*/ 170 w 512"/>
              <a:gd name="T11" fmla="*/ 376 h 512"/>
              <a:gd name="T12" fmla="*/ 170 w 512"/>
              <a:gd name="T13" fmla="*/ 341 h 512"/>
              <a:gd name="T14" fmla="*/ 160 w 512"/>
              <a:gd name="T15" fmla="*/ 330 h 512"/>
              <a:gd name="T16" fmla="*/ 117 w 512"/>
              <a:gd name="T17" fmla="*/ 330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49 h 512"/>
              <a:gd name="T32" fmla="*/ 405 w 512"/>
              <a:gd name="T33" fmla="*/ 138 h 512"/>
              <a:gd name="T34" fmla="*/ 106 w 512"/>
              <a:gd name="T35" fmla="*/ 138 h 512"/>
              <a:gd name="T36" fmla="*/ 96 w 512"/>
              <a:gd name="T37" fmla="*/ 149 h 512"/>
              <a:gd name="T38" fmla="*/ 96 w 512"/>
              <a:gd name="T39" fmla="*/ 341 h 512"/>
              <a:gd name="T40" fmla="*/ 106 w 512"/>
              <a:gd name="T41" fmla="*/ 352 h 512"/>
              <a:gd name="T42" fmla="*/ 149 w 512"/>
              <a:gd name="T43" fmla="*/ 352 h 512"/>
              <a:gd name="T44" fmla="*/ 149 w 512"/>
              <a:gd name="T45" fmla="*/ 405 h 512"/>
              <a:gd name="T46" fmla="*/ 156 w 512"/>
              <a:gd name="T47" fmla="*/ 415 h 512"/>
              <a:gd name="T48" fmla="*/ 160 w 512"/>
              <a:gd name="T49" fmla="*/ 416 h 512"/>
              <a:gd name="T50" fmla="*/ 168 w 512"/>
              <a:gd name="T51" fmla="*/ 412 h 512"/>
              <a:gd name="T52" fmla="*/ 218 w 512"/>
              <a:gd name="T53" fmla="*/ 352 h 512"/>
              <a:gd name="T54" fmla="*/ 405 w 512"/>
              <a:gd name="T55" fmla="*/ 352 h 512"/>
              <a:gd name="T56" fmla="*/ 416 w 512"/>
              <a:gd name="T57" fmla="*/ 341 h 512"/>
              <a:gd name="T58" fmla="*/ 416 w 512"/>
              <a:gd name="T5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17" y="160"/>
                </a:moveTo>
                <a:cubicBezTo>
                  <a:pt x="394" y="160"/>
                  <a:pt x="394" y="160"/>
                  <a:pt x="394" y="160"/>
                </a:cubicBezTo>
                <a:cubicBezTo>
                  <a:pt x="394" y="330"/>
                  <a:pt x="394" y="330"/>
                  <a:pt x="394" y="330"/>
                </a:cubicBezTo>
                <a:cubicBezTo>
                  <a:pt x="213" y="330"/>
                  <a:pt x="213" y="330"/>
                  <a:pt x="213" y="330"/>
                </a:cubicBezTo>
                <a:cubicBezTo>
                  <a:pt x="210" y="330"/>
                  <a:pt x="207" y="332"/>
                  <a:pt x="205" y="334"/>
                </a:cubicBezTo>
                <a:cubicBezTo>
                  <a:pt x="170" y="376"/>
                  <a:pt x="170" y="376"/>
                  <a:pt x="170" y="376"/>
                </a:cubicBezTo>
                <a:cubicBezTo>
                  <a:pt x="170" y="341"/>
                  <a:pt x="170" y="341"/>
                  <a:pt x="170" y="341"/>
                </a:cubicBezTo>
                <a:cubicBezTo>
                  <a:pt x="170" y="335"/>
                  <a:pt x="166" y="330"/>
                  <a:pt x="160" y="330"/>
                </a:cubicBezTo>
                <a:cubicBezTo>
                  <a:pt x="117" y="330"/>
                  <a:pt x="117" y="330"/>
                  <a:pt x="117" y="330"/>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41"/>
                  <a:pt x="96" y="341"/>
                  <a:pt x="96" y="341"/>
                </a:cubicBezTo>
                <a:cubicBezTo>
                  <a:pt x="96" y="347"/>
                  <a:pt x="100" y="352"/>
                  <a:pt x="106" y="352"/>
                </a:cubicBezTo>
                <a:cubicBezTo>
                  <a:pt x="149" y="352"/>
                  <a:pt x="149" y="352"/>
                  <a:pt x="149" y="352"/>
                </a:cubicBezTo>
                <a:cubicBezTo>
                  <a:pt x="149" y="405"/>
                  <a:pt x="149" y="405"/>
                  <a:pt x="149" y="405"/>
                </a:cubicBezTo>
                <a:cubicBezTo>
                  <a:pt x="149" y="409"/>
                  <a:pt x="152" y="414"/>
                  <a:pt x="156" y="415"/>
                </a:cubicBezTo>
                <a:cubicBezTo>
                  <a:pt x="157" y="415"/>
                  <a:pt x="158" y="416"/>
                  <a:pt x="160" y="416"/>
                </a:cubicBezTo>
                <a:cubicBezTo>
                  <a:pt x="163" y="416"/>
                  <a:pt x="166" y="414"/>
                  <a:pt x="168" y="412"/>
                </a:cubicBezTo>
                <a:cubicBezTo>
                  <a:pt x="218" y="352"/>
                  <a:pt x="218" y="352"/>
                  <a:pt x="218" y="352"/>
                </a:cubicBezTo>
                <a:cubicBezTo>
                  <a:pt x="405" y="352"/>
                  <a:pt x="405" y="352"/>
                  <a:pt x="405" y="352"/>
                </a:cubicBezTo>
                <a:cubicBezTo>
                  <a:pt x="411" y="352"/>
                  <a:pt x="416" y="347"/>
                  <a:pt x="416" y="341"/>
                </a:cubicBezTo>
                <a:lnTo>
                  <a:pt x="416" y="149"/>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07" name="Group 245"/>
          <p:cNvGrpSpPr>
            <a:grpSpLocks noChangeAspect="1"/>
          </p:cNvGrpSpPr>
          <p:nvPr/>
        </p:nvGrpSpPr>
        <p:grpSpPr bwMode="auto">
          <a:xfrm>
            <a:off x="4188380" y="3360962"/>
            <a:ext cx="369676" cy="369676"/>
            <a:chOff x="3480" y="792"/>
            <a:chExt cx="340" cy="340"/>
          </a:xfrm>
          <a:solidFill>
            <a:schemeClr val="accent3"/>
          </a:solidFill>
        </p:grpSpPr>
        <p:sp>
          <p:nvSpPr>
            <p:cNvPr id="808"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9"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0"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1"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2"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3" name="Freeform 254"/>
          <p:cNvSpPr>
            <a:spLocks noChangeAspect="1" noEditPoints="1"/>
          </p:cNvSpPr>
          <p:nvPr/>
        </p:nvSpPr>
        <p:spPr bwMode="auto">
          <a:xfrm>
            <a:off x="3764930" y="3360962"/>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14" name="Group 53"/>
          <p:cNvGrpSpPr>
            <a:grpSpLocks noChangeAspect="1"/>
          </p:cNvGrpSpPr>
          <p:nvPr/>
        </p:nvGrpSpPr>
        <p:grpSpPr bwMode="auto">
          <a:xfrm>
            <a:off x="5873065" y="2527619"/>
            <a:ext cx="367041" cy="368121"/>
            <a:chOff x="5183" y="1046"/>
            <a:chExt cx="340" cy="341"/>
          </a:xfrm>
          <a:solidFill>
            <a:schemeClr val="accent1"/>
          </a:solidFill>
        </p:grpSpPr>
        <p:sp>
          <p:nvSpPr>
            <p:cNvPr id="815"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6"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7" name="Freeform 59"/>
          <p:cNvSpPr>
            <a:spLocks noChangeAspect="1" noEditPoints="1"/>
          </p:cNvSpPr>
          <p:nvPr/>
        </p:nvSpPr>
        <p:spPr bwMode="auto">
          <a:xfrm>
            <a:off x="5453557" y="2527619"/>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18" name="Group 325"/>
          <p:cNvGrpSpPr>
            <a:grpSpLocks noChangeAspect="1"/>
          </p:cNvGrpSpPr>
          <p:nvPr/>
        </p:nvGrpSpPr>
        <p:grpSpPr bwMode="auto">
          <a:xfrm>
            <a:off x="6714716" y="2527619"/>
            <a:ext cx="369676" cy="370763"/>
            <a:chOff x="5044" y="1157"/>
            <a:chExt cx="340" cy="341"/>
          </a:xfrm>
          <a:solidFill>
            <a:schemeClr val="accent4"/>
          </a:solidFill>
        </p:grpSpPr>
        <p:sp>
          <p:nvSpPr>
            <p:cNvPr id="81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1" name="Freeform 331"/>
          <p:cNvSpPr>
            <a:spLocks noChangeAspect="1" noEditPoints="1"/>
          </p:cNvSpPr>
          <p:nvPr/>
        </p:nvSpPr>
        <p:spPr bwMode="auto">
          <a:xfrm>
            <a:off x="6292573" y="2527619"/>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73" name="Group 238"/>
          <p:cNvGrpSpPr>
            <a:grpSpLocks noChangeAspect="1"/>
          </p:cNvGrpSpPr>
          <p:nvPr/>
        </p:nvGrpSpPr>
        <p:grpSpPr bwMode="auto">
          <a:xfrm>
            <a:off x="5455469" y="3360962"/>
            <a:ext cx="368120" cy="367041"/>
            <a:chOff x="3875" y="720"/>
            <a:chExt cx="341" cy="340"/>
          </a:xfrm>
          <a:solidFill>
            <a:schemeClr val="accent3"/>
          </a:solidFill>
        </p:grpSpPr>
        <p:sp>
          <p:nvSpPr>
            <p:cNvPr id="874"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5"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6" name="Group 243"/>
          <p:cNvGrpSpPr>
            <a:grpSpLocks noChangeAspect="1"/>
          </p:cNvGrpSpPr>
          <p:nvPr/>
        </p:nvGrpSpPr>
        <p:grpSpPr bwMode="auto">
          <a:xfrm>
            <a:off x="5876276" y="3360962"/>
            <a:ext cx="367041" cy="367041"/>
            <a:chOff x="4256" y="720"/>
            <a:chExt cx="340" cy="340"/>
          </a:xfrm>
          <a:solidFill>
            <a:schemeClr val="accent3"/>
          </a:solidFill>
        </p:grpSpPr>
        <p:sp>
          <p:nvSpPr>
            <p:cNvPr id="877"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7" name="TextBox 226"/>
          <p:cNvSpPr txBox="1"/>
          <p:nvPr/>
        </p:nvSpPr>
        <p:spPr>
          <a:xfrm>
            <a:off x="1204821" y="294446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e truck</a:t>
            </a:r>
          </a:p>
        </p:txBody>
      </p:sp>
      <p:sp>
        <p:nvSpPr>
          <p:cNvPr id="228" name="Freeform 819"/>
          <p:cNvSpPr>
            <a:spLocks noChangeAspect="1" noEditPoints="1"/>
          </p:cNvSpPr>
          <p:nvPr/>
        </p:nvSpPr>
        <p:spPr bwMode="auto">
          <a:xfrm>
            <a:off x="1239313" y="2527619"/>
            <a:ext cx="367631" cy="36763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29" name="Group 822"/>
          <p:cNvGrpSpPr>
            <a:grpSpLocks noChangeAspect="1"/>
          </p:cNvGrpSpPr>
          <p:nvPr/>
        </p:nvGrpSpPr>
        <p:grpSpPr bwMode="auto">
          <a:xfrm>
            <a:off x="1659411" y="2527619"/>
            <a:ext cx="367631" cy="367631"/>
            <a:chOff x="2732" y="3195"/>
            <a:chExt cx="340" cy="340"/>
          </a:xfrm>
          <a:solidFill>
            <a:schemeClr val="accent3"/>
          </a:solidFill>
        </p:grpSpPr>
        <p:sp>
          <p:nvSpPr>
            <p:cNvPr id="230" name="Freeform 823"/>
            <p:cNvSpPr>
              <a:spLocks noEditPoints="1"/>
            </p:cNvSpPr>
            <p:nvPr/>
          </p:nvSpPr>
          <p:spPr bwMode="auto">
            <a:xfrm>
              <a:off x="2732" y="31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824"/>
            <p:cNvSpPr>
              <a:spLocks noEditPoints="1"/>
            </p:cNvSpPr>
            <p:nvPr/>
          </p:nvSpPr>
          <p:spPr bwMode="auto">
            <a:xfrm>
              <a:off x="2781" y="3280"/>
              <a:ext cx="227" cy="163"/>
            </a:xfrm>
            <a:custGeom>
              <a:avLst/>
              <a:gdLst>
                <a:gd name="T0" fmla="*/ 256 w 342"/>
                <a:gd name="T1" fmla="*/ 96 h 245"/>
                <a:gd name="T2" fmla="*/ 246 w 342"/>
                <a:gd name="T3" fmla="*/ 32 h 245"/>
                <a:gd name="T4" fmla="*/ 203 w 342"/>
                <a:gd name="T5" fmla="*/ 0 h 245"/>
                <a:gd name="T6" fmla="*/ 32 w 342"/>
                <a:gd name="T7" fmla="*/ 32 h 245"/>
                <a:gd name="T8" fmla="*/ 22 w 342"/>
                <a:gd name="T9" fmla="*/ 74 h 245"/>
                <a:gd name="T10" fmla="*/ 0 w 342"/>
                <a:gd name="T11" fmla="*/ 85 h 245"/>
                <a:gd name="T12" fmla="*/ 22 w 342"/>
                <a:gd name="T13" fmla="*/ 96 h 245"/>
                <a:gd name="T14" fmla="*/ 11 w 342"/>
                <a:gd name="T15" fmla="*/ 117 h 245"/>
                <a:gd name="T16" fmla="*/ 11 w 342"/>
                <a:gd name="T17" fmla="*/ 138 h 245"/>
                <a:gd name="T18" fmla="*/ 22 w 342"/>
                <a:gd name="T19" fmla="*/ 213 h 245"/>
                <a:gd name="T20" fmla="*/ 56 w 342"/>
                <a:gd name="T21" fmla="*/ 224 h 245"/>
                <a:gd name="T22" fmla="*/ 116 w 342"/>
                <a:gd name="T23" fmla="*/ 224 h 245"/>
                <a:gd name="T24" fmla="*/ 267 w 342"/>
                <a:gd name="T25" fmla="*/ 245 h 245"/>
                <a:gd name="T26" fmla="*/ 331 w 342"/>
                <a:gd name="T27" fmla="*/ 224 h 245"/>
                <a:gd name="T28" fmla="*/ 342 w 342"/>
                <a:gd name="T29" fmla="*/ 128 h 245"/>
                <a:gd name="T30" fmla="*/ 203 w 342"/>
                <a:gd name="T31" fmla="*/ 21 h 245"/>
                <a:gd name="T32" fmla="*/ 192 w 342"/>
                <a:gd name="T33" fmla="*/ 32 h 245"/>
                <a:gd name="T34" fmla="*/ 43 w 342"/>
                <a:gd name="T35" fmla="*/ 96 h 245"/>
                <a:gd name="T36" fmla="*/ 64 w 342"/>
                <a:gd name="T37" fmla="*/ 117 h 245"/>
                <a:gd name="T38" fmla="*/ 43 w 342"/>
                <a:gd name="T39" fmla="*/ 96 h 245"/>
                <a:gd name="T40" fmla="*/ 107 w 342"/>
                <a:gd name="T41" fmla="*/ 117 h 245"/>
                <a:gd name="T42" fmla="*/ 86 w 342"/>
                <a:gd name="T43" fmla="*/ 96 h 245"/>
                <a:gd name="T44" fmla="*/ 150 w 342"/>
                <a:gd name="T45" fmla="*/ 96 h 245"/>
                <a:gd name="T46" fmla="*/ 128 w 342"/>
                <a:gd name="T47" fmla="*/ 117 h 245"/>
                <a:gd name="T48" fmla="*/ 150 w 342"/>
                <a:gd name="T49" fmla="*/ 96 h 245"/>
                <a:gd name="T50" fmla="*/ 192 w 342"/>
                <a:gd name="T51" fmla="*/ 117 h 245"/>
                <a:gd name="T52" fmla="*/ 171 w 342"/>
                <a:gd name="T53" fmla="*/ 96 h 245"/>
                <a:gd name="T54" fmla="*/ 43 w 342"/>
                <a:gd name="T55" fmla="*/ 138 h 245"/>
                <a:gd name="T56" fmla="*/ 224 w 342"/>
                <a:gd name="T57" fmla="*/ 128 h 245"/>
                <a:gd name="T58" fmla="*/ 214 w 342"/>
                <a:gd name="T59" fmla="*/ 96 h 245"/>
                <a:gd name="T60" fmla="*/ 214 w 342"/>
                <a:gd name="T61" fmla="*/ 74 h 245"/>
                <a:gd name="T62" fmla="*/ 43 w 342"/>
                <a:gd name="T63" fmla="*/ 53 h 245"/>
                <a:gd name="T64" fmla="*/ 235 w 342"/>
                <a:gd name="T65" fmla="*/ 202 h 245"/>
                <a:gd name="T66" fmla="*/ 86 w 342"/>
                <a:gd name="T67" fmla="*/ 181 h 245"/>
                <a:gd name="T68" fmla="*/ 43 w 342"/>
                <a:gd name="T69" fmla="*/ 202 h 245"/>
                <a:gd name="T70" fmla="*/ 86 w 342"/>
                <a:gd name="T71" fmla="*/ 224 h 245"/>
                <a:gd name="T72" fmla="*/ 86 w 342"/>
                <a:gd name="T73" fmla="*/ 202 h 245"/>
                <a:gd name="T74" fmla="*/ 86 w 342"/>
                <a:gd name="T75" fmla="*/ 224 h 245"/>
                <a:gd name="T76" fmla="*/ 256 w 342"/>
                <a:gd name="T77" fmla="*/ 213 h 245"/>
                <a:gd name="T78" fmla="*/ 278 w 342"/>
                <a:gd name="T79" fmla="*/ 213 h 245"/>
                <a:gd name="T80" fmla="*/ 320 w 342"/>
                <a:gd name="T81" fmla="*/ 202 h 245"/>
                <a:gd name="T82" fmla="*/ 267 w 342"/>
                <a:gd name="T83" fmla="*/ 181 h 245"/>
                <a:gd name="T84" fmla="*/ 256 w 342"/>
                <a:gd name="T85" fmla="*/ 117 h 245"/>
                <a:gd name="T86" fmla="*/ 320 w 342"/>
                <a:gd name="T87" fmla="*/ 12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2" h="245">
                  <a:moveTo>
                    <a:pt x="310" y="96"/>
                  </a:moveTo>
                  <a:cubicBezTo>
                    <a:pt x="256" y="96"/>
                    <a:pt x="256" y="96"/>
                    <a:pt x="256" y="96"/>
                  </a:cubicBezTo>
                  <a:cubicBezTo>
                    <a:pt x="256" y="42"/>
                    <a:pt x="256" y="42"/>
                    <a:pt x="256" y="42"/>
                  </a:cubicBezTo>
                  <a:cubicBezTo>
                    <a:pt x="256" y="36"/>
                    <a:pt x="252" y="32"/>
                    <a:pt x="246" y="32"/>
                  </a:cubicBezTo>
                  <a:cubicBezTo>
                    <a:pt x="235" y="32"/>
                    <a:pt x="235" y="32"/>
                    <a:pt x="235" y="32"/>
                  </a:cubicBezTo>
                  <a:cubicBezTo>
                    <a:pt x="235" y="14"/>
                    <a:pt x="221" y="0"/>
                    <a:pt x="203" y="0"/>
                  </a:cubicBezTo>
                  <a:cubicBezTo>
                    <a:pt x="185" y="0"/>
                    <a:pt x="171" y="14"/>
                    <a:pt x="171" y="32"/>
                  </a:cubicBezTo>
                  <a:cubicBezTo>
                    <a:pt x="32" y="32"/>
                    <a:pt x="32" y="32"/>
                    <a:pt x="32" y="32"/>
                  </a:cubicBezTo>
                  <a:cubicBezTo>
                    <a:pt x="26" y="32"/>
                    <a:pt x="22" y="36"/>
                    <a:pt x="22" y="42"/>
                  </a:cubicBezTo>
                  <a:cubicBezTo>
                    <a:pt x="22" y="74"/>
                    <a:pt x="22" y="74"/>
                    <a:pt x="22" y="74"/>
                  </a:cubicBezTo>
                  <a:cubicBezTo>
                    <a:pt x="11" y="74"/>
                    <a:pt x="11" y="74"/>
                    <a:pt x="11" y="74"/>
                  </a:cubicBezTo>
                  <a:cubicBezTo>
                    <a:pt x="5" y="74"/>
                    <a:pt x="0" y="79"/>
                    <a:pt x="0" y="85"/>
                  </a:cubicBezTo>
                  <a:cubicBezTo>
                    <a:pt x="0" y="91"/>
                    <a:pt x="5" y="96"/>
                    <a:pt x="11" y="96"/>
                  </a:cubicBezTo>
                  <a:cubicBezTo>
                    <a:pt x="22" y="96"/>
                    <a:pt x="22" y="96"/>
                    <a:pt x="22" y="96"/>
                  </a:cubicBezTo>
                  <a:cubicBezTo>
                    <a:pt x="22" y="117"/>
                    <a:pt x="22" y="117"/>
                    <a:pt x="22" y="117"/>
                  </a:cubicBezTo>
                  <a:cubicBezTo>
                    <a:pt x="11" y="117"/>
                    <a:pt x="11" y="117"/>
                    <a:pt x="11" y="117"/>
                  </a:cubicBezTo>
                  <a:cubicBezTo>
                    <a:pt x="5" y="117"/>
                    <a:pt x="0" y="122"/>
                    <a:pt x="0" y="128"/>
                  </a:cubicBezTo>
                  <a:cubicBezTo>
                    <a:pt x="0" y="134"/>
                    <a:pt x="5" y="138"/>
                    <a:pt x="11" y="138"/>
                  </a:cubicBezTo>
                  <a:cubicBezTo>
                    <a:pt x="22" y="138"/>
                    <a:pt x="22" y="138"/>
                    <a:pt x="22" y="138"/>
                  </a:cubicBezTo>
                  <a:cubicBezTo>
                    <a:pt x="22" y="213"/>
                    <a:pt x="22" y="213"/>
                    <a:pt x="22" y="213"/>
                  </a:cubicBezTo>
                  <a:cubicBezTo>
                    <a:pt x="22" y="219"/>
                    <a:pt x="26" y="224"/>
                    <a:pt x="32" y="224"/>
                  </a:cubicBezTo>
                  <a:cubicBezTo>
                    <a:pt x="56" y="224"/>
                    <a:pt x="56" y="224"/>
                    <a:pt x="56" y="224"/>
                  </a:cubicBezTo>
                  <a:cubicBezTo>
                    <a:pt x="60" y="236"/>
                    <a:pt x="72" y="245"/>
                    <a:pt x="86" y="245"/>
                  </a:cubicBezTo>
                  <a:cubicBezTo>
                    <a:pt x="100" y="245"/>
                    <a:pt x="111" y="236"/>
                    <a:pt x="116" y="224"/>
                  </a:cubicBezTo>
                  <a:cubicBezTo>
                    <a:pt x="237" y="224"/>
                    <a:pt x="237" y="224"/>
                    <a:pt x="237" y="224"/>
                  </a:cubicBezTo>
                  <a:cubicBezTo>
                    <a:pt x="241" y="236"/>
                    <a:pt x="253" y="245"/>
                    <a:pt x="267" y="245"/>
                  </a:cubicBezTo>
                  <a:cubicBezTo>
                    <a:pt x="281" y="245"/>
                    <a:pt x="293" y="236"/>
                    <a:pt x="297" y="224"/>
                  </a:cubicBezTo>
                  <a:cubicBezTo>
                    <a:pt x="331" y="224"/>
                    <a:pt x="331" y="224"/>
                    <a:pt x="331" y="224"/>
                  </a:cubicBezTo>
                  <a:cubicBezTo>
                    <a:pt x="337" y="224"/>
                    <a:pt x="342" y="219"/>
                    <a:pt x="342" y="213"/>
                  </a:cubicBezTo>
                  <a:cubicBezTo>
                    <a:pt x="342" y="128"/>
                    <a:pt x="342" y="128"/>
                    <a:pt x="342" y="128"/>
                  </a:cubicBezTo>
                  <a:cubicBezTo>
                    <a:pt x="342" y="110"/>
                    <a:pt x="327" y="96"/>
                    <a:pt x="310" y="96"/>
                  </a:cubicBezTo>
                  <a:close/>
                  <a:moveTo>
                    <a:pt x="203" y="21"/>
                  </a:moveTo>
                  <a:cubicBezTo>
                    <a:pt x="209" y="21"/>
                    <a:pt x="214" y="26"/>
                    <a:pt x="214" y="32"/>
                  </a:cubicBezTo>
                  <a:cubicBezTo>
                    <a:pt x="192" y="32"/>
                    <a:pt x="192" y="32"/>
                    <a:pt x="192" y="32"/>
                  </a:cubicBezTo>
                  <a:cubicBezTo>
                    <a:pt x="192" y="26"/>
                    <a:pt x="197" y="21"/>
                    <a:pt x="203" y="21"/>
                  </a:cubicBezTo>
                  <a:close/>
                  <a:moveTo>
                    <a:pt x="43" y="96"/>
                  </a:moveTo>
                  <a:cubicBezTo>
                    <a:pt x="64" y="96"/>
                    <a:pt x="64" y="96"/>
                    <a:pt x="64" y="96"/>
                  </a:cubicBezTo>
                  <a:cubicBezTo>
                    <a:pt x="64" y="117"/>
                    <a:pt x="64" y="117"/>
                    <a:pt x="64" y="117"/>
                  </a:cubicBezTo>
                  <a:cubicBezTo>
                    <a:pt x="43" y="117"/>
                    <a:pt x="43" y="117"/>
                    <a:pt x="43" y="117"/>
                  </a:cubicBezTo>
                  <a:lnTo>
                    <a:pt x="43" y="96"/>
                  </a:lnTo>
                  <a:close/>
                  <a:moveTo>
                    <a:pt x="107" y="96"/>
                  </a:moveTo>
                  <a:cubicBezTo>
                    <a:pt x="107" y="117"/>
                    <a:pt x="107" y="117"/>
                    <a:pt x="107" y="117"/>
                  </a:cubicBezTo>
                  <a:cubicBezTo>
                    <a:pt x="86" y="117"/>
                    <a:pt x="86" y="117"/>
                    <a:pt x="86" y="117"/>
                  </a:cubicBezTo>
                  <a:cubicBezTo>
                    <a:pt x="86" y="96"/>
                    <a:pt x="86" y="96"/>
                    <a:pt x="86" y="96"/>
                  </a:cubicBezTo>
                  <a:lnTo>
                    <a:pt x="107" y="96"/>
                  </a:lnTo>
                  <a:close/>
                  <a:moveTo>
                    <a:pt x="150" y="96"/>
                  </a:moveTo>
                  <a:cubicBezTo>
                    <a:pt x="150" y="117"/>
                    <a:pt x="150" y="117"/>
                    <a:pt x="150" y="117"/>
                  </a:cubicBezTo>
                  <a:cubicBezTo>
                    <a:pt x="128" y="117"/>
                    <a:pt x="128" y="117"/>
                    <a:pt x="128" y="117"/>
                  </a:cubicBezTo>
                  <a:cubicBezTo>
                    <a:pt x="128" y="96"/>
                    <a:pt x="128" y="96"/>
                    <a:pt x="128" y="96"/>
                  </a:cubicBezTo>
                  <a:lnTo>
                    <a:pt x="150" y="96"/>
                  </a:lnTo>
                  <a:close/>
                  <a:moveTo>
                    <a:pt x="192" y="96"/>
                  </a:moveTo>
                  <a:cubicBezTo>
                    <a:pt x="192" y="117"/>
                    <a:pt x="192" y="117"/>
                    <a:pt x="192" y="117"/>
                  </a:cubicBezTo>
                  <a:cubicBezTo>
                    <a:pt x="171" y="117"/>
                    <a:pt x="171" y="117"/>
                    <a:pt x="171" y="117"/>
                  </a:cubicBezTo>
                  <a:cubicBezTo>
                    <a:pt x="171" y="96"/>
                    <a:pt x="171" y="96"/>
                    <a:pt x="171" y="96"/>
                  </a:cubicBezTo>
                  <a:lnTo>
                    <a:pt x="192" y="96"/>
                  </a:lnTo>
                  <a:close/>
                  <a:moveTo>
                    <a:pt x="43" y="138"/>
                  </a:moveTo>
                  <a:cubicBezTo>
                    <a:pt x="214" y="138"/>
                    <a:pt x="214" y="138"/>
                    <a:pt x="214" y="138"/>
                  </a:cubicBezTo>
                  <a:cubicBezTo>
                    <a:pt x="220" y="138"/>
                    <a:pt x="224" y="134"/>
                    <a:pt x="224" y="128"/>
                  </a:cubicBezTo>
                  <a:cubicBezTo>
                    <a:pt x="224" y="122"/>
                    <a:pt x="219" y="117"/>
                    <a:pt x="214" y="117"/>
                  </a:cubicBezTo>
                  <a:cubicBezTo>
                    <a:pt x="214" y="96"/>
                    <a:pt x="214" y="96"/>
                    <a:pt x="214" y="96"/>
                  </a:cubicBezTo>
                  <a:cubicBezTo>
                    <a:pt x="219" y="96"/>
                    <a:pt x="224" y="91"/>
                    <a:pt x="224" y="85"/>
                  </a:cubicBezTo>
                  <a:cubicBezTo>
                    <a:pt x="224" y="79"/>
                    <a:pt x="220" y="74"/>
                    <a:pt x="214" y="74"/>
                  </a:cubicBezTo>
                  <a:cubicBezTo>
                    <a:pt x="43" y="74"/>
                    <a:pt x="43" y="74"/>
                    <a:pt x="43" y="74"/>
                  </a:cubicBezTo>
                  <a:cubicBezTo>
                    <a:pt x="43" y="53"/>
                    <a:pt x="43" y="53"/>
                    <a:pt x="43" y="53"/>
                  </a:cubicBezTo>
                  <a:cubicBezTo>
                    <a:pt x="235" y="53"/>
                    <a:pt x="235" y="53"/>
                    <a:pt x="235" y="53"/>
                  </a:cubicBezTo>
                  <a:cubicBezTo>
                    <a:pt x="235" y="202"/>
                    <a:pt x="235" y="202"/>
                    <a:pt x="235" y="202"/>
                  </a:cubicBezTo>
                  <a:cubicBezTo>
                    <a:pt x="116" y="202"/>
                    <a:pt x="116" y="202"/>
                    <a:pt x="116" y="202"/>
                  </a:cubicBezTo>
                  <a:cubicBezTo>
                    <a:pt x="111" y="190"/>
                    <a:pt x="100" y="181"/>
                    <a:pt x="86" y="181"/>
                  </a:cubicBezTo>
                  <a:cubicBezTo>
                    <a:pt x="72" y="181"/>
                    <a:pt x="60" y="190"/>
                    <a:pt x="56" y="202"/>
                  </a:cubicBezTo>
                  <a:cubicBezTo>
                    <a:pt x="43" y="202"/>
                    <a:pt x="43" y="202"/>
                    <a:pt x="43" y="202"/>
                  </a:cubicBezTo>
                  <a:lnTo>
                    <a:pt x="43" y="138"/>
                  </a:lnTo>
                  <a:close/>
                  <a:moveTo>
                    <a:pt x="86" y="224"/>
                  </a:moveTo>
                  <a:cubicBezTo>
                    <a:pt x="80" y="224"/>
                    <a:pt x="75" y="219"/>
                    <a:pt x="75" y="213"/>
                  </a:cubicBezTo>
                  <a:cubicBezTo>
                    <a:pt x="75" y="207"/>
                    <a:pt x="80" y="202"/>
                    <a:pt x="86" y="202"/>
                  </a:cubicBezTo>
                  <a:cubicBezTo>
                    <a:pt x="92" y="202"/>
                    <a:pt x="96" y="207"/>
                    <a:pt x="96" y="213"/>
                  </a:cubicBezTo>
                  <a:cubicBezTo>
                    <a:pt x="96" y="219"/>
                    <a:pt x="92" y="224"/>
                    <a:pt x="86" y="224"/>
                  </a:cubicBezTo>
                  <a:close/>
                  <a:moveTo>
                    <a:pt x="267" y="224"/>
                  </a:moveTo>
                  <a:cubicBezTo>
                    <a:pt x="261" y="224"/>
                    <a:pt x="256" y="219"/>
                    <a:pt x="256" y="213"/>
                  </a:cubicBezTo>
                  <a:cubicBezTo>
                    <a:pt x="256" y="207"/>
                    <a:pt x="261" y="202"/>
                    <a:pt x="267" y="202"/>
                  </a:cubicBezTo>
                  <a:cubicBezTo>
                    <a:pt x="273" y="202"/>
                    <a:pt x="278" y="207"/>
                    <a:pt x="278" y="213"/>
                  </a:cubicBezTo>
                  <a:cubicBezTo>
                    <a:pt x="278" y="219"/>
                    <a:pt x="273" y="224"/>
                    <a:pt x="267" y="224"/>
                  </a:cubicBezTo>
                  <a:close/>
                  <a:moveTo>
                    <a:pt x="320" y="202"/>
                  </a:moveTo>
                  <a:cubicBezTo>
                    <a:pt x="297" y="202"/>
                    <a:pt x="297" y="202"/>
                    <a:pt x="297" y="202"/>
                  </a:cubicBezTo>
                  <a:cubicBezTo>
                    <a:pt x="293" y="190"/>
                    <a:pt x="281" y="181"/>
                    <a:pt x="267" y="181"/>
                  </a:cubicBezTo>
                  <a:cubicBezTo>
                    <a:pt x="263" y="181"/>
                    <a:pt x="260" y="182"/>
                    <a:pt x="256" y="183"/>
                  </a:cubicBezTo>
                  <a:cubicBezTo>
                    <a:pt x="256" y="117"/>
                    <a:pt x="256" y="117"/>
                    <a:pt x="256" y="117"/>
                  </a:cubicBezTo>
                  <a:cubicBezTo>
                    <a:pt x="310" y="117"/>
                    <a:pt x="310" y="117"/>
                    <a:pt x="310" y="117"/>
                  </a:cubicBezTo>
                  <a:cubicBezTo>
                    <a:pt x="316" y="117"/>
                    <a:pt x="320" y="122"/>
                    <a:pt x="320" y="128"/>
                  </a:cubicBezTo>
                  <a:lnTo>
                    <a:pt x="320"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2" name="TextBox 231"/>
          <p:cNvSpPr txBox="1"/>
          <p:nvPr/>
        </p:nvSpPr>
        <p:spPr>
          <a:xfrm>
            <a:off x="2057416" y="2944463"/>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elescope</a:t>
            </a:r>
          </a:p>
        </p:txBody>
      </p:sp>
      <p:grpSp>
        <p:nvGrpSpPr>
          <p:cNvPr id="233" name="Group 423"/>
          <p:cNvGrpSpPr>
            <a:grpSpLocks noChangeAspect="1"/>
          </p:cNvGrpSpPr>
          <p:nvPr/>
        </p:nvGrpSpPr>
        <p:grpSpPr bwMode="auto">
          <a:xfrm>
            <a:off x="2501652" y="2527619"/>
            <a:ext cx="369676" cy="369676"/>
            <a:chOff x="4285" y="1550"/>
            <a:chExt cx="340" cy="340"/>
          </a:xfrm>
          <a:solidFill>
            <a:schemeClr val="accent5"/>
          </a:solidFill>
        </p:grpSpPr>
        <p:sp>
          <p:nvSpPr>
            <p:cNvPr id="234"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6" name="Freeform 429"/>
          <p:cNvSpPr>
            <a:spLocks noChangeAspect="1" noEditPoints="1"/>
          </p:cNvSpPr>
          <p:nvPr/>
        </p:nvSpPr>
        <p:spPr bwMode="auto">
          <a:xfrm>
            <a:off x="2079509" y="2527619"/>
            <a:ext cx="369676" cy="369676"/>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7" name="Freeform 481"/>
          <p:cNvSpPr>
            <a:spLocks noChangeAspect="1" noEditPoints="1"/>
          </p:cNvSpPr>
          <p:nvPr/>
        </p:nvSpPr>
        <p:spPr bwMode="auto">
          <a:xfrm>
            <a:off x="399707" y="419430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38" name="Group 484"/>
          <p:cNvGrpSpPr>
            <a:grpSpLocks noChangeAspect="1"/>
          </p:cNvGrpSpPr>
          <p:nvPr/>
        </p:nvGrpSpPr>
        <p:grpSpPr bwMode="auto">
          <a:xfrm>
            <a:off x="820722" y="4194305"/>
            <a:ext cx="367631" cy="367631"/>
            <a:chOff x="399" y="1990"/>
            <a:chExt cx="340" cy="340"/>
          </a:xfrm>
          <a:solidFill>
            <a:schemeClr val="accent6"/>
          </a:solidFill>
        </p:grpSpPr>
        <p:sp>
          <p:nvSpPr>
            <p:cNvPr id="239" name="Freeform 485"/>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486"/>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1" name="Freeform 490"/>
          <p:cNvSpPr>
            <a:spLocks noChangeAspect="1" noEditPoints="1"/>
          </p:cNvSpPr>
          <p:nvPr/>
        </p:nvSpPr>
        <p:spPr bwMode="auto">
          <a:xfrm>
            <a:off x="1241737" y="4194305"/>
            <a:ext cx="367631" cy="368712"/>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42" name="Group 493"/>
          <p:cNvGrpSpPr>
            <a:grpSpLocks noChangeAspect="1"/>
          </p:cNvGrpSpPr>
          <p:nvPr/>
        </p:nvGrpSpPr>
        <p:grpSpPr bwMode="auto">
          <a:xfrm>
            <a:off x="1662752" y="4194305"/>
            <a:ext cx="367631" cy="367631"/>
            <a:chOff x="1195" y="2027"/>
            <a:chExt cx="340" cy="340"/>
          </a:xfrm>
          <a:solidFill>
            <a:schemeClr val="accent6"/>
          </a:solidFill>
        </p:grpSpPr>
        <p:sp>
          <p:nvSpPr>
            <p:cNvPr id="243" name="Freeform 494"/>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4" name="Freeform 495"/>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5" name="Group 498"/>
          <p:cNvGrpSpPr>
            <a:grpSpLocks noChangeAspect="1"/>
          </p:cNvGrpSpPr>
          <p:nvPr/>
        </p:nvGrpSpPr>
        <p:grpSpPr bwMode="auto">
          <a:xfrm>
            <a:off x="2083767" y="4194305"/>
            <a:ext cx="367631" cy="367631"/>
            <a:chOff x="1543" y="2005"/>
            <a:chExt cx="340" cy="340"/>
          </a:xfrm>
          <a:solidFill>
            <a:schemeClr val="accent6"/>
          </a:solidFill>
        </p:grpSpPr>
        <p:sp>
          <p:nvSpPr>
            <p:cNvPr id="246"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8" name="Group 503"/>
          <p:cNvGrpSpPr>
            <a:grpSpLocks noChangeAspect="1"/>
          </p:cNvGrpSpPr>
          <p:nvPr/>
        </p:nvGrpSpPr>
        <p:grpSpPr bwMode="auto">
          <a:xfrm>
            <a:off x="2504782" y="4194305"/>
            <a:ext cx="367631" cy="367631"/>
            <a:chOff x="1920" y="2027"/>
            <a:chExt cx="340" cy="340"/>
          </a:xfrm>
          <a:solidFill>
            <a:schemeClr val="accent6"/>
          </a:solidFill>
        </p:grpSpPr>
        <p:sp>
          <p:nvSpPr>
            <p:cNvPr id="249"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1" name="Freeform 518"/>
          <p:cNvSpPr>
            <a:spLocks noChangeAspect="1" noEditPoints="1"/>
          </p:cNvSpPr>
          <p:nvPr/>
        </p:nvSpPr>
        <p:spPr bwMode="auto">
          <a:xfrm>
            <a:off x="3767827" y="4194305"/>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2" name="Group 521"/>
          <p:cNvGrpSpPr>
            <a:grpSpLocks noChangeAspect="1"/>
          </p:cNvGrpSpPr>
          <p:nvPr/>
        </p:nvGrpSpPr>
        <p:grpSpPr bwMode="auto">
          <a:xfrm>
            <a:off x="4188842" y="4194305"/>
            <a:ext cx="367631" cy="367631"/>
            <a:chOff x="3476" y="2032"/>
            <a:chExt cx="340" cy="340"/>
          </a:xfrm>
          <a:solidFill>
            <a:schemeClr val="accent6"/>
          </a:solidFill>
        </p:grpSpPr>
        <p:sp>
          <p:nvSpPr>
            <p:cNvPr id="253" name="Freeform 522"/>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523"/>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524"/>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1" name="Freeform 557"/>
          <p:cNvSpPr>
            <a:spLocks noChangeAspect="1" noEditPoints="1"/>
          </p:cNvSpPr>
          <p:nvPr/>
        </p:nvSpPr>
        <p:spPr bwMode="auto">
          <a:xfrm>
            <a:off x="4609857" y="4194305"/>
            <a:ext cx="367631" cy="368712"/>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2" name="Group 560"/>
          <p:cNvGrpSpPr>
            <a:grpSpLocks noChangeAspect="1"/>
          </p:cNvGrpSpPr>
          <p:nvPr/>
        </p:nvGrpSpPr>
        <p:grpSpPr bwMode="auto">
          <a:xfrm>
            <a:off x="5030872" y="4194305"/>
            <a:ext cx="367631" cy="367631"/>
            <a:chOff x="6559" y="2000"/>
            <a:chExt cx="340" cy="340"/>
          </a:xfrm>
          <a:solidFill>
            <a:schemeClr val="accent6"/>
          </a:solidFill>
        </p:grpSpPr>
        <p:sp>
          <p:nvSpPr>
            <p:cNvPr id="263" name="Freeform 561"/>
            <p:cNvSpPr>
              <a:spLocks noEditPoints="1"/>
            </p:cNvSpPr>
            <p:nvPr/>
          </p:nvSpPr>
          <p:spPr bwMode="auto">
            <a:xfrm>
              <a:off x="6559"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562"/>
            <p:cNvSpPr>
              <a:spLocks noEditPoints="1"/>
            </p:cNvSpPr>
            <p:nvPr/>
          </p:nvSpPr>
          <p:spPr bwMode="auto">
            <a:xfrm>
              <a:off x="6643" y="2082"/>
              <a:ext cx="174" cy="172"/>
            </a:xfrm>
            <a:custGeom>
              <a:avLst/>
              <a:gdLst>
                <a:gd name="T0" fmla="*/ 245 w 262"/>
                <a:gd name="T1" fmla="*/ 17 h 259"/>
                <a:gd name="T2" fmla="*/ 209 w 262"/>
                <a:gd name="T3" fmla="*/ 1 h 259"/>
                <a:gd name="T4" fmla="*/ 187 w 262"/>
                <a:gd name="T5" fmla="*/ 15 h 259"/>
                <a:gd name="T6" fmla="*/ 178 w 262"/>
                <a:gd name="T7" fmla="*/ 30 h 259"/>
                <a:gd name="T8" fmla="*/ 117 w 262"/>
                <a:gd name="T9" fmla="*/ 86 h 259"/>
                <a:gd name="T10" fmla="*/ 116 w 262"/>
                <a:gd name="T11" fmla="*/ 87 h 259"/>
                <a:gd name="T12" fmla="*/ 96 w 262"/>
                <a:gd name="T13" fmla="*/ 93 h 259"/>
                <a:gd name="T14" fmla="*/ 88 w 262"/>
                <a:gd name="T15" fmla="*/ 101 h 259"/>
                <a:gd name="T16" fmla="*/ 91 w 262"/>
                <a:gd name="T17" fmla="*/ 111 h 259"/>
                <a:gd name="T18" fmla="*/ 98 w 262"/>
                <a:gd name="T19" fmla="*/ 118 h 259"/>
                <a:gd name="T20" fmla="*/ 13 w 262"/>
                <a:gd name="T21" fmla="*/ 203 h 259"/>
                <a:gd name="T22" fmla="*/ 5 w 262"/>
                <a:gd name="T23" fmla="*/ 232 h 259"/>
                <a:gd name="T24" fmla="*/ 4 w 262"/>
                <a:gd name="T25" fmla="*/ 235 h 259"/>
                <a:gd name="T26" fmla="*/ 6 w 262"/>
                <a:gd name="T27" fmla="*/ 255 h 259"/>
                <a:gd name="T28" fmla="*/ 16 w 262"/>
                <a:gd name="T29" fmla="*/ 259 h 259"/>
                <a:gd name="T30" fmla="*/ 26 w 262"/>
                <a:gd name="T31" fmla="*/ 257 h 259"/>
                <a:gd name="T32" fmla="*/ 29 w 262"/>
                <a:gd name="T33" fmla="*/ 257 h 259"/>
                <a:gd name="T34" fmla="*/ 59 w 262"/>
                <a:gd name="T35" fmla="*/ 248 h 259"/>
                <a:gd name="T36" fmla="*/ 143 w 262"/>
                <a:gd name="T37" fmla="*/ 163 h 259"/>
                <a:gd name="T38" fmla="*/ 151 w 262"/>
                <a:gd name="T39" fmla="*/ 171 h 259"/>
                <a:gd name="T40" fmla="*/ 159 w 262"/>
                <a:gd name="T41" fmla="*/ 174 h 259"/>
                <a:gd name="T42" fmla="*/ 162 w 262"/>
                <a:gd name="T43" fmla="*/ 174 h 259"/>
                <a:gd name="T44" fmla="*/ 169 w 262"/>
                <a:gd name="T45" fmla="*/ 164 h 259"/>
                <a:gd name="T46" fmla="*/ 175 w 262"/>
                <a:gd name="T47" fmla="*/ 142 h 259"/>
                <a:gd name="T48" fmla="*/ 175 w 262"/>
                <a:gd name="T49" fmla="*/ 142 h 259"/>
                <a:gd name="T50" fmla="*/ 176 w 262"/>
                <a:gd name="T51" fmla="*/ 143 h 259"/>
                <a:gd name="T52" fmla="*/ 231 w 262"/>
                <a:gd name="T53" fmla="*/ 84 h 259"/>
                <a:gd name="T54" fmla="*/ 247 w 262"/>
                <a:gd name="T55" fmla="*/ 74 h 259"/>
                <a:gd name="T56" fmla="*/ 261 w 262"/>
                <a:gd name="T57" fmla="*/ 53 h 259"/>
                <a:gd name="T58" fmla="*/ 245 w 262"/>
                <a:gd name="T59" fmla="*/ 17 h 259"/>
                <a:gd name="T60" fmla="*/ 44 w 262"/>
                <a:gd name="T61" fmla="*/ 233 h 259"/>
                <a:gd name="T62" fmla="*/ 33 w 262"/>
                <a:gd name="T63" fmla="*/ 236 h 259"/>
                <a:gd name="T64" fmla="*/ 26 w 262"/>
                <a:gd name="T65" fmla="*/ 236 h 259"/>
                <a:gd name="T66" fmla="*/ 26 w 262"/>
                <a:gd name="T67" fmla="*/ 228 h 259"/>
                <a:gd name="T68" fmla="*/ 28 w 262"/>
                <a:gd name="T69" fmla="*/ 218 h 259"/>
                <a:gd name="T70" fmla="*/ 113 w 262"/>
                <a:gd name="T71" fmla="*/ 133 h 259"/>
                <a:gd name="T72" fmla="*/ 121 w 262"/>
                <a:gd name="T73" fmla="*/ 141 h 259"/>
                <a:gd name="T74" fmla="*/ 128 w 262"/>
                <a:gd name="T75" fmla="*/ 148 h 259"/>
                <a:gd name="T76" fmla="*/ 44 w 262"/>
                <a:gd name="T77" fmla="*/ 233 h 259"/>
                <a:gd name="T78" fmla="*/ 236 w 262"/>
                <a:gd name="T79" fmla="*/ 57 h 259"/>
                <a:gd name="T80" fmla="*/ 220 w 262"/>
                <a:gd name="T81" fmla="*/ 67 h 259"/>
                <a:gd name="T82" fmla="*/ 157 w 262"/>
                <a:gd name="T83" fmla="*/ 136 h 259"/>
                <a:gd name="T84" fmla="*/ 154 w 262"/>
                <a:gd name="T85" fmla="*/ 144 h 259"/>
                <a:gd name="T86" fmla="*/ 136 w 262"/>
                <a:gd name="T87" fmla="*/ 126 h 259"/>
                <a:gd name="T88" fmla="*/ 119 w 262"/>
                <a:gd name="T89" fmla="*/ 108 h 259"/>
                <a:gd name="T90" fmla="*/ 126 w 262"/>
                <a:gd name="T91" fmla="*/ 105 h 259"/>
                <a:gd name="T92" fmla="*/ 196 w 262"/>
                <a:gd name="T93" fmla="*/ 42 h 259"/>
                <a:gd name="T94" fmla="*/ 205 w 262"/>
                <a:gd name="T95" fmla="*/ 27 h 259"/>
                <a:gd name="T96" fmla="*/ 211 w 262"/>
                <a:gd name="T97" fmla="*/ 22 h 259"/>
                <a:gd name="T98" fmla="*/ 230 w 262"/>
                <a:gd name="T99" fmla="*/ 32 h 259"/>
                <a:gd name="T100" fmla="*/ 240 w 262"/>
                <a:gd name="T101" fmla="*/ 51 h 259"/>
                <a:gd name="T102" fmla="*/ 236 w 262"/>
                <a:gd name="T103" fmla="*/ 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2" h="259">
                  <a:moveTo>
                    <a:pt x="245" y="17"/>
                  </a:moveTo>
                  <a:cubicBezTo>
                    <a:pt x="234" y="6"/>
                    <a:pt x="221" y="0"/>
                    <a:pt x="209" y="1"/>
                  </a:cubicBezTo>
                  <a:cubicBezTo>
                    <a:pt x="203" y="2"/>
                    <a:pt x="194" y="5"/>
                    <a:pt x="187" y="15"/>
                  </a:cubicBezTo>
                  <a:cubicBezTo>
                    <a:pt x="178" y="30"/>
                    <a:pt x="178" y="30"/>
                    <a:pt x="178" y="30"/>
                  </a:cubicBezTo>
                  <a:cubicBezTo>
                    <a:pt x="150" y="70"/>
                    <a:pt x="117" y="86"/>
                    <a:pt x="117" y="86"/>
                  </a:cubicBezTo>
                  <a:cubicBezTo>
                    <a:pt x="116" y="86"/>
                    <a:pt x="116" y="86"/>
                    <a:pt x="116" y="87"/>
                  </a:cubicBezTo>
                  <a:cubicBezTo>
                    <a:pt x="115" y="87"/>
                    <a:pt x="111" y="89"/>
                    <a:pt x="96" y="93"/>
                  </a:cubicBezTo>
                  <a:cubicBezTo>
                    <a:pt x="92" y="94"/>
                    <a:pt x="89" y="97"/>
                    <a:pt x="88" y="101"/>
                  </a:cubicBezTo>
                  <a:cubicBezTo>
                    <a:pt x="87" y="104"/>
                    <a:pt x="88" y="108"/>
                    <a:pt x="91" y="111"/>
                  </a:cubicBezTo>
                  <a:cubicBezTo>
                    <a:pt x="98" y="118"/>
                    <a:pt x="98" y="118"/>
                    <a:pt x="98" y="118"/>
                  </a:cubicBezTo>
                  <a:cubicBezTo>
                    <a:pt x="13" y="203"/>
                    <a:pt x="13" y="203"/>
                    <a:pt x="13" y="203"/>
                  </a:cubicBezTo>
                  <a:cubicBezTo>
                    <a:pt x="6" y="210"/>
                    <a:pt x="3" y="221"/>
                    <a:pt x="5" y="232"/>
                  </a:cubicBezTo>
                  <a:cubicBezTo>
                    <a:pt x="5" y="233"/>
                    <a:pt x="4" y="234"/>
                    <a:pt x="4" y="235"/>
                  </a:cubicBezTo>
                  <a:cubicBezTo>
                    <a:pt x="2" y="241"/>
                    <a:pt x="0" y="249"/>
                    <a:pt x="6" y="255"/>
                  </a:cubicBezTo>
                  <a:cubicBezTo>
                    <a:pt x="9" y="258"/>
                    <a:pt x="12" y="259"/>
                    <a:pt x="16" y="259"/>
                  </a:cubicBezTo>
                  <a:cubicBezTo>
                    <a:pt x="19" y="259"/>
                    <a:pt x="23" y="258"/>
                    <a:pt x="26" y="257"/>
                  </a:cubicBezTo>
                  <a:cubicBezTo>
                    <a:pt x="27" y="257"/>
                    <a:pt x="28" y="257"/>
                    <a:pt x="29" y="257"/>
                  </a:cubicBezTo>
                  <a:cubicBezTo>
                    <a:pt x="40" y="259"/>
                    <a:pt x="51" y="256"/>
                    <a:pt x="59" y="248"/>
                  </a:cubicBezTo>
                  <a:cubicBezTo>
                    <a:pt x="143" y="163"/>
                    <a:pt x="143" y="163"/>
                    <a:pt x="143" y="163"/>
                  </a:cubicBezTo>
                  <a:cubicBezTo>
                    <a:pt x="151" y="171"/>
                    <a:pt x="151" y="171"/>
                    <a:pt x="151" y="171"/>
                  </a:cubicBezTo>
                  <a:cubicBezTo>
                    <a:pt x="153" y="173"/>
                    <a:pt x="156" y="174"/>
                    <a:pt x="159" y="174"/>
                  </a:cubicBezTo>
                  <a:cubicBezTo>
                    <a:pt x="160" y="174"/>
                    <a:pt x="161" y="174"/>
                    <a:pt x="162" y="174"/>
                  </a:cubicBezTo>
                  <a:cubicBezTo>
                    <a:pt x="165" y="173"/>
                    <a:pt x="168" y="168"/>
                    <a:pt x="169" y="164"/>
                  </a:cubicBezTo>
                  <a:cubicBezTo>
                    <a:pt x="173" y="149"/>
                    <a:pt x="175" y="142"/>
                    <a:pt x="175" y="142"/>
                  </a:cubicBezTo>
                  <a:cubicBezTo>
                    <a:pt x="175" y="142"/>
                    <a:pt x="175" y="142"/>
                    <a:pt x="175" y="142"/>
                  </a:cubicBezTo>
                  <a:cubicBezTo>
                    <a:pt x="175" y="142"/>
                    <a:pt x="176" y="144"/>
                    <a:pt x="176" y="143"/>
                  </a:cubicBezTo>
                  <a:cubicBezTo>
                    <a:pt x="176" y="143"/>
                    <a:pt x="192" y="111"/>
                    <a:pt x="231" y="84"/>
                  </a:cubicBezTo>
                  <a:cubicBezTo>
                    <a:pt x="247" y="74"/>
                    <a:pt x="247" y="74"/>
                    <a:pt x="247" y="74"/>
                  </a:cubicBezTo>
                  <a:cubicBezTo>
                    <a:pt x="257" y="67"/>
                    <a:pt x="260" y="59"/>
                    <a:pt x="261" y="53"/>
                  </a:cubicBezTo>
                  <a:cubicBezTo>
                    <a:pt x="262" y="41"/>
                    <a:pt x="256" y="28"/>
                    <a:pt x="245" y="17"/>
                  </a:cubicBezTo>
                  <a:close/>
                  <a:moveTo>
                    <a:pt x="44" y="233"/>
                  </a:moveTo>
                  <a:cubicBezTo>
                    <a:pt x="41" y="236"/>
                    <a:pt x="37" y="237"/>
                    <a:pt x="33" y="236"/>
                  </a:cubicBezTo>
                  <a:cubicBezTo>
                    <a:pt x="31" y="235"/>
                    <a:pt x="28" y="235"/>
                    <a:pt x="26" y="236"/>
                  </a:cubicBezTo>
                  <a:cubicBezTo>
                    <a:pt x="26" y="233"/>
                    <a:pt x="26" y="231"/>
                    <a:pt x="26" y="228"/>
                  </a:cubicBezTo>
                  <a:cubicBezTo>
                    <a:pt x="25" y="224"/>
                    <a:pt x="26" y="220"/>
                    <a:pt x="28" y="218"/>
                  </a:cubicBezTo>
                  <a:cubicBezTo>
                    <a:pt x="113" y="133"/>
                    <a:pt x="113" y="133"/>
                    <a:pt x="113" y="133"/>
                  </a:cubicBezTo>
                  <a:cubicBezTo>
                    <a:pt x="121" y="141"/>
                    <a:pt x="121" y="141"/>
                    <a:pt x="121" y="141"/>
                  </a:cubicBezTo>
                  <a:cubicBezTo>
                    <a:pt x="128" y="148"/>
                    <a:pt x="128" y="148"/>
                    <a:pt x="128" y="148"/>
                  </a:cubicBezTo>
                  <a:lnTo>
                    <a:pt x="44" y="233"/>
                  </a:lnTo>
                  <a:close/>
                  <a:moveTo>
                    <a:pt x="236" y="57"/>
                  </a:moveTo>
                  <a:cubicBezTo>
                    <a:pt x="220" y="67"/>
                    <a:pt x="220" y="67"/>
                    <a:pt x="220" y="67"/>
                  </a:cubicBezTo>
                  <a:cubicBezTo>
                    <a:pt x="177" y="97"/>
                    <a:pt x="159" y="131"/>
                    <a:pt x="157" y="136"/>
                  </a:cubicBezTo>
                  <a:cubicBezTo>
                    <a:pt x="156" y="138"/>
                    <a:pt x="155" y="141"/>
                    <a:pt x="154" y="144"/>
                  </a:cubicBezTo>
                  <a:cubicBezTo>
                    <a:pt x="136" y="126"/>
                    <a:pt x="136" y="126"/>
                    <a:pt x="136" y="126"/>
                  </a:cubicBezTo>
                  <a:cubicBezTo>
                    <a:pt x="119" y="108"/>
                    <a:pt x="119" y="108"/>
                    <a:pt x="119" y="108"/>
                  </a:cubicBezTo>
                  <a:cubicBezTo>
                    <a:pt x="122" y="107"/>
                    <a:pt x="124" y="106"/>
                    <a:pt x="126" y="105"/>
                  </a:cubicBezTo>
                  <a:cubicBezTo>
                    <a:pt x="131" y="103"/>
                    <a:pt x="166" y="85"/>
                    <a:pt x="196" y="42"/>
                  </a:cubicBezTo>
                  <a:cubicBezTo>
                    <a:pt x="205" y="27"/>
                    <a:pt x="205" y="27"/>
                    <a:pt x="205" y="27"/>
                  </a:cubicBezTo>
                  <a:cubicBezTo>
                    <a:pt x="207" y="23"/>
                    <a:pt x="210" y="23"/>
                    <a:pt x="211" y="22"/>
                  </a:cubicBezTo>
                  <a:cubicBezTo>
                    <a:pt x="216" y="22"/>
                    <a:pt x="223" y="26"/>
                    <a:pt x="230" y="32"/>
                  </a:cubicBezTo>
                  <a:cubicBezTo>
                    <a:pt x="236" y="39"/>
                    <a:pt x="240" y="46"/>
                    <a:pt x="240" y="51"/>
                  </a:cubicBezTo>
                  <a:cubicBezTo>
                    <a:pt x="240" y="53"/>
                    <a:pt x="239" y="55"/>
                    <a:pt x="236" y="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5" name="Group 294"/>
          <p:cNvGrpSpPr>
            <a:grpSpLocks noChangeAspect="1"/>
          </p:cNvGrpSpPr>
          <p:nvPr/>
        </p:nvGrpSpPr>
        <p:grpSpPr bwMode="auto">
          <a:xfrm>
            <a:off x="7136859" y="2527619"/>
            <a:ext cx="367631" cy="367631"/>
            <a:chOff x="799" y="1118"/>
            <a:chExt cx="340" cy="340"/>
          </a:xfrm>
          <a:solidFill>
            <a:schemeClr val="accent4"/>
          </a:solidFill>
        </p:grpSpPr>
        <p:sp>
          <p:nvSpPr>
            <p:cNvPr id="266"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Rectangle 296"/>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8" name="Group 299"/>
          <p:cNvGrpSpPr>
            <a:grpSpLocks noChangeAspect="1"/>
          </p:cNvGrpSpPr>
          <p:nvPr/>
        </p:nvGrpSpPr>
        <p:grpSpPr bwMode="auto">
          <a:xfrm>
            <a:off x="7556961" y="2527619"/>
            <a:ext cx="368713" cy="367631"/>
            <a:chOff x="1166" y="1121"/>
            <a:chExt cx="341" cy="340"/>
          </a:xfrm>
          <a:solidFill>
            <a:schemeClr val="accent4"/>
          </a:solidFill>
        </p:grpSpPr>
        <p:sp>
          <p:nvSpPr>
            <p:cNvPr id="269"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1" name="Freeform 305"/>
          <p:cNvSpPr>
            <a:spLocks noChangeAspect="1" noEditPoints="1"/>
          </p:cNvSpPr>
          <p:nvPr/>
        </p:nvSpPr>
        <p:spPr bwMode="auto">
          <a:xfrm>
            <a:off x="7137721" y="336096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149 h 512"/>
              <a:gd name="T12" fmla="*/ 277 w 512"/>
              <a:gd name="T13" fmla="*/ 170 h 512"/>
              <a:gd name="T14" fmla="*/ 256 w 512"/>
              <a:gd name="T15" fmla="*/ 192 h 512"/>
              <a:gd name="T16" fmla="*/ 234 w 512"/>
              <a:gd name="T17" fmla="*/ 170 h 512"/>
              <a:gd name="T18" fmla="*/ 256 w 512"/>
              <a:gd name="T19" fmla="*/ 149 h 512"/>
              <a:gd name="T20" fmla="*/ 256 w 512"/>
              <a:gd name="T21" fmla="*/ 362 h 512"/>
              <a:gd name="T22" fmla="*/ 234 w 512"/>
              <a:gd name="T23" fmla="*/ 341 h 512"/>
              <a:gd name="T24" fmla="*/ 256 w 512"/>
              <a:gd name="T25" fmla="*/ 320 h 512"/>
              <a:gd name="T26" fmla="*/ 277 w 512"/>
              <a:gd name="T27" fmla="*/ 341 h 512"/>
              <a:gd name="T28" fmla="*/ 256 w 512"/>
              <a:gd name="T29" fmla="*/ 362 h 512"/>
              <a:gd name="T30" fmla="*/ 405 w 512"/>
              <a:gd name="T31" fmla="*/ 266 h 512"/>
              <a:gd name="T32" fmla="*/ 106 w 512"/>
              <a:gd name="T33" fmla="*/ 266 h 512"/>
              <a:gd name="T34" fmla="*/ 96 w 512"/>
              <a:gd name="T35" fmla="*/ 256 h 512"/>
              <a:gd name="T36" fmla="*/ 10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49"/>
                </a:moveTo>
                <a:cubicBezTo>
                  <a:pt x="267" y="149"/>
                  <a:pt x="277" y="159"/>
                  <a:pt x="277" y="170"/>
                </a:cubicBezTo>
                <a:cubicBezTo>
                  <a:pt x="277" y="182"/>
                  <a:pt x="267" y="192"/>
                  <a:pt x="256" y="192"/>
                </a:cubicBezTo>
                <a:cubicBezTo>
                  <a:pt x="244" y="192"/>
                  <a:pt x="234" y="182"/>
                  <a:pt x="234" y="170"/>
                </a:cubicBezTo>
                <a:cubicBezTo>
                  <a:pt x="234" y="159"/>
                  <a:pt x="244" y="149"/>
                  <a:pt x="256" y="149"/>
                </a:cubicBezTo>
                <a:close/>
                <a:moveTo>
                  <a:pt x="256" y="362"/>
                </a:moveTo>
                <a:cubicBezTo>
                  <a:pt x="244" y="362"/>
                  <a:pt x="234" y="353"/>
                  <a:pt x="234" y="341"/>
                </a:cubicBezTo>
                <a:cubicBezTo>
                  <a:pt x="234" y="329"/>
                  <a:pt x="244" y="320"/>
                  <a:pt x="256" y="320"/>
                </a:cubicBezTo>
                <a:cubicBezTo>
                  <a:pt x="267" y="320"/>
                  <a:pt x="277" y="329"/>
                  <a:pt x="277" y="341"/>
                </a:cubicBezTo>
                <a:cubicBezTo>
                  <a:pt x="277" y="353"/>
                  <a:pt x="267" y="362"/>
                  <a:pt x="256" y="362"/>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2" name="Group 308"/>
          <p:cNvGrpSpPr>
            <a:grpSpLocks noChangeAspect="1"/>
          </p:cNvGrpSpPr>
          <p:nvPr/>
        </p:nvGrpSpPr>
        <p:grpSpPr bwMode="auto">
          <a:xfrm>
            <a:off x="7558043" y="3360962"/>
            <a:ext cx="367631" cy="367631"/>
            <a:chOff x="1924" y="1137"/>
            <a:chExt cx="340" cy="340"/>
          </a:xfrm>
          <a:solidFill>
            <a:schemeClr val="accent4"/>
          </a:solidFill>
        </p:grpSpPr>
        <p:sp>
          <p:nvSpPr>
            <p:cNvPr id="273" name="Freeform 309"/>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310"/>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5" name="Freeform 54"/>
          <p:cNvSpPr>
            <a:spLocks noChangeAspect="1" noEditPoints="1"/>
          </p:cNvSpPr>
          <p:nvPr/>
        </p:nvSpPr>
        <p:spPr bwMode="auto">
          <a:xfrm>
            <a:off x="2925797" y="4194305"/>
            <a:ext cx="367631" cy="367631"/>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6" name="Group 57"/>
          <p:cNvGrpSpPr>
            <a:grpSpLocks noChangeAspect="1"/>
          </p:cNvGrpSpPr>
          <p:nvPr/>
        </p:nvGrpSpPr>
        <p:grpSpPr bwMode="auto">
          <a:xfrm>
            <a:off x="3346812" y="4194305"/>
            <a:ext cx="367631" cy="367631"/>
            <a:chOff x="3880" y="2160"/>
            <a:chExt cx="340" cy="340"/>
          </a:xfrm>
          <a:solidFill>
            <a:schemeClr val="accent1"/>
          </a:solidFill>
        </p:grpSpPr>
        <p:sp>
          <p:nvSpPr>
            <p:cNvPr id="277"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Oval 60"/>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Oval 61"/>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Oval 62"/>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0" name="Freeform 232"/>
          <p:cNvSpPr>
            <a:spLocks noChangeAspect="1" noEditPoints="1"/>
          </p:cNvSpPr>
          <p:nvPr/>
        </p:nvSpPr>
        <p:spPr bwMode="auto">
          <a:xfrm>
            <a:off x="6296004" y="336096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1" name="Group 235"/>
          <p:cNvGrpSpPr>
            <a:grpSpLocks noChangeAspect="1"/>
          </p:cNvGrpSpPr>
          <p:nvPr/>
        </p:nvGrpSpPr>
        <p:grpSpPr bwMode="auto">
          <a:xfrm>
            <a:off x="6716322" y="3360962"/>
            <a:ext cx="368712" cy="367631"/>
            <a:chOff x="3811" y="1259"/>
            <a:chExt cx="341" cy="340"/>
          </a:xfrm>
          <a:solidFill>
            <a:schemeClr val="accent3"/>
          </a:solidFill>
        </p:grpSpPr>
        <p:sp>
          <p:nvSpPr>
            <p:cNvPr id="292" name="Freeform 236"/>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237"/>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4" name="Freeform 395"/>
          <p:cNvSpPr>
            <a:spLocks noChangeAspect="1" noEditPoints="1"/>
          </p:cNvSpPr>
          <p:nvPr/>
        </p:nvSpPr>
        <p:spPr bwMode="auto">
          <a:xfrm>
            <a:off x="5451887" y="4194305"/>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5" name="Group 398"/>
          <p:cNvGrpSpPr>
            <a:grpSpLocks noChangeAspect="1"/>
          </p:cNvGrpSpPr>
          <p:nvPr/>
        </p:nvGrpSpPr>
        <p:grpSpPr bwMode="auto">
          <a:xfrm>
            <a:off x="5872902" y="4194305"/>
            <a:ext cx="367631" cy="367631"/>
            <a:chOff x="1172" y="1575"/>
            <a:chExt cx="340" cy="340"/>
          </a:xfrm>
          <a:solidFill>
            <a:schemeClr val="accent5"/>
          </a:solidFill>
        </p:grpSpPr>
        <p:sp>
          <p:nvSpPr>
            <p:cNvPr id="296" name="Freeform 399"/>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400"/>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8" name="TextBox 297"/>
          <p:cNvSpPr txBox="1"/>
          <p:nvPr/>
        </p:nvSpPr>
        <p:spPr>
          <a:xfrm>
            <a:off x="6269423" y="45811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gs</a:t>
            </a:r>
          </a:p>
        </p:txBody>
      </p:sp>
      <p:sp>
        <p:nvSpPr>
          <p:cNvPr id="299" name="Freeform 36"/>
          <p:cNvSpPr>
            <a:spLocks noChangeAspect="1" noEditPoints="1"/>
          </p:cNvSpPr>
          <p:nvPr/>
        </p:nvSpPr>
        <p:spPr bwMode="auto">
          <a:xfrm>
            <a:off x="6293917" y="4194305"/>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0" name="Group 39"/>
          <p:cNvGrpSpPr>
            <a:grpSpLocks noChangeAspect="1"/>
          </p:cNvGrpSpPr>
          <p:nvPr/>
        </p:nvGrpSpPr>
        <p:grpSpPr bwMode="auto">
          <a:xfrm>
            <a:off x="6714932" y="4194305"/>
            <a:ext cx="367631" cy="367631"/>
            <a:chOff x="3987" y="1509"/>
            <a:chExt cx="340" cy="340"/>
          </a:xfrm>
          <a:solidFill>
            <a:schemeClr val="accent1"/>
          </a:solidFill>
        </p:grpSpPr>
        <p:sp>
          <p:nvSpPr>
            <p:cNvPr id="301"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3" name="TextBox 302"/>
          <p:cNvSpPr txBox="1"/>
          <p:nvPr/>
        </p:nvSpPr>
        <p:spPr>
          <a:xfrm>
            <a:off x="392113" y="5459876"/>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 1</a:t>
            </a:r>
          </a:p>
        </p:txBody>
      </p:sp>
      <p:sp>
        <p:nvSpPr>
          <p:cNvPr id="304" name="TextBox 303"/>
          <p:cNvSpPr txBox="1"/>
          <p:nvPr/>
        </p:nvSpPr>
        <p:spPr>
          <a:xfrm>
            <a:off x="1222606" y="5459876"/>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 2</a:t>
            </a:r>
          </a:p>
        </p:txBody>
      </p:sp>
      <p:sp>
        <p:nvSpPr>
          <p:cNvPr id="305" name="TextBox 304"/>
          <p:cNvSpPr txBox="1"/>
          <p:nvPr/>
        </p:nvSpPr>
        <p:spPr>
          <a:xfrm>
            <a:off x="2067916" y="545987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lobe with stand</a:t>
            </a:r>
          </a:p>
        </p:txBody>
      </p:sp>
      <p:sp>
        <p:nvSpPr>
          <p:cNvPr id="306" name="TextBox 305"/>
          <p:cNvSpPr txBox="1"/>
          <p:nvPr/>
        </p:nvSpPr>
        <p:spPr>
          <a:xfrm>
            <a:off x="3752186"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rid</a:t>
            </a:r>
          </a:p>
        </p:txBody>
      </p:sp>
      <p:sp>
        <p:nvSpPr>
          <p:cNvPr id="307" name="TextBox 306"/>
          <p:cNvSpPr txBox="1"/>
          <p:nvPr/>
        </p:nvSpPr>
        <p:spPr>
          <a:xfrm>
            <a:off x="4594321"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shake</a:t>
            </a:r>
          </a:p>
        </p:txBody>
      </p:sp>
      <p:sp>
        <p:nvSpPr>
          <p:cNvPr id="308" name="TextBox 307"/>
          <p:cNvSpPr txBox="1"/>
          <p:nvPr/>
        </p:nvSpPr>
        <p:spPr>
          <a:xfrm>
            <a:off x="2910051"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overnment</a:t>
            </a:r>
          </a:p>
        </p:txBody>
      </p:sp>
      <p:grpSp>
        <p:nvGrpSpPr>
          <p:cNvPr id="309" name="Group 331"/>
          <p:cNvGrpSpPr>
            <a:grpSpLocks noChangeAspect="1"/>
          </p:cNvGrpSpPr>
          <p:nvPr/>
        </p:nvGrpSpPr>
        <p:grpSpPr bwMode="auto">
          <a:xfrm>
            <a:off x="399707" y="5013572"/>
            <a:ext cx="367631" cy="367631"/>
            <a:chOff x="3832" y="1197"/>
            <a:chExt cx="340" cy="340"/>
          </a:xfrm>
          <a:solidFill>
            <a:schemeClr val="accent4"/>
          </a:solidFill>
        </p:grpSpPr>
        <p:sp>
          <p:nvSpPr>
            <p:cNvPr id="31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2" name="Group 336"/>
          <p:cNvGrpSpPr>
            <a:grpSpLocks noChangeAspect="1"/>
          </p:cNvGrpSpPr>
          <p:nvPr/>
        </p:nvGrpSpPr>
        <p:grpSpPr bwMode="auto">
          <a:xfrm>
            <a:off x="820873" y="5013572"/>
            <a:ext cx="367631" cy="367631"/>
            <a:chOff x="4220" y="1197"/>
            <a:chExt cx="340" cy="340"/>
          </a:xfrm>
          <a:solidFill>
            <a:schemeClr val="accent4"/>
          </a:solidFill>
        </p:grpSpPr>
        <p:sp>
          <p:nvSpPr>
            <p:cNvPr id="313"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9" name="Freeform 346"/>
          <p:cNvSpPr>
            <a:spLocks noChangeAspect="1" noEditPoints="1"/>
          </p:cNvSpPr>
          <p:nvPr/>
        </p:nvSpPr>
        <p:spPr bwMode="auto">
          <a:xfrm>
            <a:off x="1242039" y="5013572"/>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0" name="Group 349"/>
          <p:cNvGrpSpPr>
            <a:grpSpLocks noChangeAspect="1"/>
          </p:cNvGrpSpPr>
          <p:nvPr/>
        </p:nvGrpSpPr>
        <p:grpSpPr bwMode="auto">
          <a:xfrm>
            <a:off x="1663205" y="5013572"/>
            <a:ext cx="367631" cy="367631"/>
            <a:chOff x="5018" y="1229"/>
            <a:chExt cx="340" cy="340"/>
          </a:xfrm>
          <a:solidFill>
            <a:schemeClr val="accent4"/>
          </a:solidFill>
        </p:grpSpPr>
        <p:sp>
          <p:nvSpPr>
            <p:cNvPr id="321"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3" name="Freeform 96"/>
          <p:cNvSpPr>
            <a:spLocks noChangeAspect="1" noEditPoints="1"/>
          </p:cNvSpPr>
          <p:nvPr/>
        </p:nvSpPr>
        <p:spPr bwMode="auto">
          <a:xfrm>
            <a:off x="2084371" y="5013572"/>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4" name="Group 99"/>
          <p:cNvGrpSpPr>
            <a:grpSpLocks noChangeAspect="1"/>
          </p:cNvGrpSpPr>
          <p:nvPr/>
        </p:nvGrpSpPr>
        <p:grpSpPr bwMode="auto">
          <a:xfrm>
            <a:off x="2504947" y="5013572"/>
            <a:ext cx="367041" cy="367041"/>
            <a:chOff x="390" y="346"/>
            <a:chExt cx="340" cy="340"/>
          </a:xfrm>
          <a:solidFill>
            <a:schemeClr val="accent2"/>
          </a:solidFill>
        </p:grpSpPr>
        <p:sp>
          <p:nvSpPr>
            <p:cNvPr id="325" name="Freeform 100"/>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Freeform 101"/>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102"/>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8" name="Freeform 106"/>
          <p:cNvSpPr>
            <a:spLocks noChangeAspect="1" noEditPoints="1"/>
          </p:cNvSpPr>
          <p:nvPr/>
        </p:nvSpPr>
        <p:spPr bwMode="auto">
          <a:xfrm>
            <a:off x="2925523" y="5013572"/>
            <a:ext cx="367041" cy="36812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9" name="Group 109"/>
          <p:cNvGrpSpPr>
            <a:grpSpLocks noChangeAspect="1"/>
          </p:cNvGrpSpPr>
          <p:nvPr/>
        </p:nvGrpSpPr>
        <p:grpSpPr bwMode="auto">
          <a:xfrm>
            <a:off x="3346099" y="5013572"/>
            <a:ext cx="367041" cy="367041"/>
            <a:chOff x="1129" y="363"/>
            <a:chExt cx="340" cy="340"/>
          </a:xfrm>
          <a:solidFill>
            <a:schemeClr val="accent2"/>
          </a:solidFill>
        </p:grpSpPr>
        <p:sp>
          <p:nvSpPr>
            <p:cNvPr id="330" name="Freeform 110"/>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111"/>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2" name="Freeform 115"/>
          <p:cNvSpPr>
            <a:spLocks noChangeAspect="1" noEditPoints="1"/>
          </p:cNvSpPr>
          <p:nvPr/>
        </p:nvSpPr>
        <p:spPr bwMode="auto">
          <a:xfrm>
            <a:off x="3766675" y="5013572"/>
            <a:ext cx="367041" cy="367041"/>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3" name="Group 118"/>
          <p:cNvGrpSpPr>
            <a:grpSpLocks noChangeAspect="1"/>
          </p:cNvGrpSpPr>
          <p:nvPr/>
        </p:nvGrpSpPr>
        <p:grpSpPr bwMode="auto">
          <a:xfrm>
            <a:off x="4187251" y="5013572"/>
            <a:ext cx="368121" cy="368120"/>
            <a:chOff x="1926" y="383"/>
            <a:chExt cx="341" cy="341"/>
          </a:xfrm>
          <a:solidFill>
            <a:schemeClr val="accent2"/>
          </a:solidFill>
        </p:grpSpPr>
        <p:sp>
          <p:nvSpPr>
            <p:cNvPr id="334"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6" name="Freeform 189"/>
          <p:cNvSpPr>
            <a:spLocks noChangeAspect="1" noEditPoints="1"/>
          </p:cNvSpPr>
          <p:nvPr/>
        </p:nvSpPr>
        <p:spPr bwMode="auto">
          <a:xfrm>
            <a:off x="4608907" y="5013572"/>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7" name="Group 192"/>
          <p:cNvGrpSpPr>
            <a:grpSpLocks noChangeAspect="1"/>
          </p:cNvGrpSpPr>
          <p:nvPr/>
        </p:nvGrpSpPr>
        <p:grpSpPr bwMode="auto">
          <a:xfrm>
            <a:off x="5029484" y="5013572"/>
            <a:ext cx="367041" cy="367041"/>
            <a:chOff x="378" y="713"/>
            <a:chExt cx="340" cy="340"/>
          </a:xfrm>
          <a:solidFill>
            <a:schemeClr val="accent3"/>
          </a:solidFill>
        </p:grpSpPr>
        <p:sp>
          <p:nvSpPr>
            <p:cNvPr id="338"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TextBox 339"/>
          <p:cNvSpPr txBox="1"/>
          <p:nvPr/>
        </p:nvSpPr>
        <p:spPr>
          <a:xfrm>
            <a:off x="6278591"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on-visible</a:t>
            </a:r>
          </a:p>
        </p:txBody>
      </p:sp>
      <p:sp>
        <p:nvSpPr>
          <p:cNvPr id="341" name="TextBox 340"/>
          <p:cNvSpPr txBox="1"/>
          <p:nvPr/>
        </p:nvSpPr>
        <p:spPr>
          <a:xfrm>
            <a:off x="5436456"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o entry</a:t>
            </a:r>
          </a:p>
        </p:txBody>
      </p:sp>
      <p:sp>
        <p:nvSpPr>
          <p:cNvPr id="342" name="Freeform 1002"/>
          <p:cNvSpPr>
            <a:spLocks noChangeAspect="1" noEditPoints="1"/>
          </p:cNvSpPr>
          <p:nvPr/>
        </p:nvSpPr>
        <p:spPr bwMode="auto">
          <a:xfrm>
            <a:off x="5450060" y="5013572"/>
            <a:ext cx="367041" cy="367041"/>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3" name="Group 1005"/>
          <p:cNvGrpSpPr>
            <a:grpSpLocks noChangeAspect="1"/>
          </p:cNvGrpSpPr>
          <p:nvPr/>
        </p:nvGrpSpPr>
        <p:grpSpPr bwMode="auto">
          <a:xfrm>
            <a:off x="5870636" y="5013572"/>
            <a:ext cx="367041" cy="367041"/>
            <a:chOff x="4268" y="3995"/>
            <a:chExt cx="340" cy="340"/>
          </a:xfrm>
          <a:solidFill>
            <a:schemeClr val="accent5"/>
          </a:solidFill>
        </p:grpSpPr>
        <p:sp>
          <p:nvSpPr>
            <p:cNvPr id="344" name="Freeform 1006"/>
            <p:cNvSpPr>
              <a:spLocks noEditPoints="1"/>
            </p:cNvSpPr>
            <p:nvPr/>
          </p:nvSpPr>
          <p:spPr bwMode="auto">
            <a:xfrm>
              <a:off x="4332" y="4059"/>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9 w 320"/>
                <a:gd name="T11" fmla="*/ 160 h 320"/>
                <a:gd name="T12" fmla="*/ 265 w 320"/>
                <a:gd name="T13" fmla="*/ 250 h 320"/>
                <a:gd name="T14" fmla="*/ 70 w 320"/>
                <a:gd name="T15" fmla="*/ 55 h 320"/>
                <a:gd name="T16" fmla="*/ 160 w 320"/>
                <a:gd name="T17" fmla="*/ 22 h 320"/>
                <a:gd name="T18" fmla="*/ 299 w 320"/>
                <a:gd name="T19" fmla="*/ 160 h 320"/>
                <a:gd name="T20" fmla="*/ 21 w 320"/>
                <a:gd name="T21" fmla="*/ 160 h 320"/>
                <a:gd name="T22" fmla="*/ 55 w 320"/>
                <a:gd name="T23" fmla="*/ 70 h 320"/>
                <a:gd name="T24" fmla="*/ 250 w 320"/>
                <a:gd name="T25" fmla="*/ 266 h 320"/>
                <a:gd name="T26" fmla="*/ 160 w 320"/>
                <a:gd name="T27" fmla="*/ 299 h 320"/>
                <a:gd name="T28" fmla="*/ 21 w 320"/>
                <a:gd name="T2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299" y="160"/>
                  </a:moveTo>
                  <a:cubicBezTo>
                    <a:pt x="299" y="195"/>
                    <a:pt x="286" y="226"/>
                    <a:pt x="265" y="250"/>
                  </a:cubicBezTo>
                  <a:cubicBezTo>
                    <a:pt x="70" y="55"/>
                    <a:pt x="70" y="55"/>
                    <a:pt x="70" y="55"/>
                  </a:cubicBezTo>
                  <a:cubicBezTo>
                    <a:pt x="94" y="34"/>
                    <a:pt x="126" y="22"/>
                    <a:pt x="160" y="22"/>
                  </a:cubicBezTo>
                  <a:cubicBezTo>
                    <a:pt x="236" y="22"/>
                    <a:pt x="299" y="84"/>
                    <a:pt x="299" y="160"/>
                  </a:cubicBezTo>
                  <a:close/>
                  <a:moveTo>
                    <a:pt x="21" y="160"/>
                  </a:moveTo>
                  <a:cubicBezTo>
                    <a:pt x="21" y="126"/>
                    <a:pt x="34" y="94"/>
                    <a:pt x="55" y="70"/>
                  </a:cubicBezTo>
                  <a:cubicBezTo>
                    <a:pt x="250" y="266"/>
                    <a:pt x="250" y="266"/>
                    <a:pt x="250" y="266"/>
                  </a:cubicBezTo>
                  <a:cubicBezTo>
                    <a:pt x="226" y="286"/>
                    <a:pt x="194" y="299"/>
                    <a:pt x="160" y="299"/>
                  </a:cubicBezTo>
                  <a:cubicBezTo>
                    <a:pt x="84" y="299"/>
                    <a:pt x="21" y="237"/>
                    <a:pt x="21"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1007"/>
            <p:cNvSpPr>
              <a:spLocks noEditPoints="1"/>
            </p:cNvSpPr>
            <p:nvPr/>
          </p:nvSpPr>
          <p:spPr bwMode="auto">
            <a:xfrm>
              <a:off x="4268" y="399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6" name="Freeform 1011"/>
          <p:cNvSpPr>
            <a:spLocks noChangeAspect="1" noEditPoints="1"/>
          </p:cNvSpPr>
          <p:nvPr/>
        </p:nvSpPr>
        <p:spPr bwMode="auto">
          <a:xfrm>
            <a:off x="6291212" y="5013572"/>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7" name="Group 1014"/>
          <p:cNvGrpSpPr>
            <a:grpSpLocks noChangeAspect="1"/>
          </p:cNvGrpSpPr>
          <p:nvPr/>
        </p:nvGrpSpPr>
        <p:grpSpPr bwMode="auto">
          <a:xfrm>
            <a:off x="6711788" y="5013572"/>
            <a:ext cx="367041" cy="367041"/>
            <a:chOff x="5069" y="3987"/>
            <a:chExt cx="340" cy="340"/>
          </a:xfrm>
          <a:solidFill>
            <a:schemeClr val="accent5"/>
          </a:solidFill>
        </p:grpSpPr>
        <p:sp>
          <p:nvSpPr>
            <p:cNvPr id="348" name="Freeform 1015"/>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1016"/>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0" name="TextBox 349"/>
          <p:cNvSpPr txBox="1"/>
          <p:nvPr/>
        </p:nvSpPr>
        <p:spPr>
          <a:xfrm>
            <a:off x="7112467" y="4581139"/>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e extinguisher</a:t>
            </a:r>
          </a:p>
        </p:txBody>
      </p:sp>
      <p:sp>
        <p:nvSpPr>
          <p:cNvPr id="351" name="Freeform 801"/>
          <p:cNvSpPr>
            <a:spLocks noChangeAspect="1" noEditPoints="1"/>
          </p:cNvSpPr>
          <p:nvPr/>
        </p:nvSpPr>
        <p:spPr bwMode="auto">
          <a:xfrm>
            <a:off x="7135947" y="4194305"/>
            <a:ext cx="367631" cy="367631"/>
          </a:xfrm>
          <a:custGeom>
            <a:avLst/>
            <a:gdLst>
              <a:gd name="T0" fmla="*/ 266 w 512"/>
              <a:gd name="T1" fmla="*/ 277 h 512"/>
              <a:gd name="T2" fmla="*/ 288 w 512"/>
              <a:gd name="T3" fmla="*/ 277 h 512"/>
              <a:gd name="T4" fmla="*/ 288 w 512"/>
              <a:gd name="T5" fmla="*/ 341 h 512"/>
              <a:gd name="T6" fmla="*/ 266 w 512"/>
              <a:gd name="T7" fmla="*/ 341 h 512"/>
              <a:gd name="T8" fmla="*/ 266 w 512"/>
              <a:gd name="T9" fmla="*/ 277 h 512"/>
              <a:gd name="T10" fmla="*/ 224 w 512"/>
              <a:gd name="T11" fmla="*/ 213 h 512"/>
              <a:gd name="T12" fmla="*/ 224 w 512"/>
              <a:gd name="T13" fmla="*/ 394 h 512"/>
              <a:gd name="T14" fmla="*/ 288 w 512"/>
              <a:gd name="T15" fmla="*/ 394 h 512"/>
              <a:gd name="T16" fmla="*/ 288 w 512"/>
              <a:gd name="T17" fmla="*/ 362 h 512"/>
              <a:gd name="T18" fmla="*/ 256 w 512"/>
              <a:gd name="T19" fmla="*/ 362 h 512"/>
              <a:gd name="T20" fmla="*/ 245 w 512"/>
              <a:gd name="T21" fmla="*/ 352 h 512"/>
              <a:gd name="T22" fmla="*/ 245 w 512"/>
              <a:gd name="T23" fmla="*/ 266 h 512"/>
              <a:gd name="T24" fmla="*/ 256 w 512"/>
              <a:gd name="T25" fmla="*/ 256 h 512"/>
              <a:gd name="T26" fmla="*/ 288 w 512"/>
              <a:gd name="T27" fmla="*/ 256 h 512"/>
              <a:gd name="T28" fmla="*/ 288 w 512"/>
              <a:gd name="T29" fmla="*/ 213 h 512"/>
              <a:gd name="T30" fmla="*/ 256 w 512"/>
              <a:gd name="T31" fmla="*/ 181 h 512"/>
              <a:gd name="T32" fmla="*/ 224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00 w 512"/>
              <a:gd name="T45" fmla="*/ 117 h 512"/>
              <a:gd name="T46" fmla="*/ 330 w 512"/>
              <a:gd name="T47" fmla="*/ 117 h 512"/>
              <a:gd name="T48" fmla="*/ 341 w 512"/>
              <a:gd name="T49" fmla="*/ 106 h 512"/>
              <a:gd name="T50" fmla="*/ 330 w 512"/>
              <a:gd name="T51" fmla="*/ 96 h 512"/>
              <a:gd name="T52" fmla="*/ 256 w 512"/>
              <a:gd name="T53" fmla="*/ 96 h 512"/>
              <a:gd name="T54" fmla="*/ 245 w 512"/>
              <a:gd name="T55" fmla="*/ 106 h 512"/>
              <a:gd name="T56" fmla="*/ 245 w 512"/>
              <a:gd name="T57" fmla="*/ 117 h 512"/>
              <a:gd name="T58" fmla="*/ 213 w 512"/>
              <a:gd name="T59" fmla="*/ 117 h 512"/>
              <a:gd name="T60" fmla="*/ 160 w 512"/>
              <a:gd name="T61" fmla="*/ 170 h 512"/>
              <a:gd name="T62" fmla="*/ 160 w 512"/>
              <a:gd name="T63" fmla="*/ 362 h 512"/>
              <a:gd name="T64" fmla="*/ 170 w 512"/>
              <a:gd name="T65" fmla="*/ 373 h 512"/>
              <a:gd name="T66" fmla="*/ 181 w 512"/>
              <a:gd name="T67" fmla="*/ 362 h 512"/>
              <a:gd name="T68" fmla="*/ 181 w 512"/>
              <a:gd name="T69" fmla="*/ 170 h 512"/>
              <a:gd name="T70" fmla="*/ 213 w 512"/>
              <a:gd name="T71" fmla="*/ 138 h 512"/>
              <a:gd name="T72" fmla="*/ 245 w 512"/>
              <a:gd name="T73" fmla="*/ 138 h 512"/>
              <a:gd name="T74" fmla="*/ 245 w 512"/>
              <a:gd name="T75" fmla="*/ 161 h 512"/>
              <a:gd name="T76" fmla="*/ 202 w 512"/>
              <a:gd name="T77" fmla="*/ 213 h 512"/>
              <a:gd name="T78" fmla="*/ 202 w 512"/>
              <a:gd name="T79" fmla="*/ 405 h 512"/>
              <a:gd name="T80" fmla="*/ 213 w 512"/>
              <a:gd name="T81" fmla="*/ 416 h 512"/>
              <a:gd name="T82" fmla="*/ 298 w 512"/>
              <a:gd name="T83" fmla="*/ 416 h 512"/>
              <a:gd name="T84" fmla="*/ 309 w 512"/>
              <a:gd name="T85" fmla="*/ 405 h 512"/>
              <a:gd name="T86" fmla="*/ 309 w 512"/>
              <a:gd name="T87" fmla="*/ 213 h 512"/>
              <a:gd name="T88" fmla="*/ 266 w 512"/>
              <a:gd name="T89" fmla="*/ 161 h 512"/>
              <a:gd name="T90" fmla="*/ 266 w 512"/>
              <a:gd name="T91" fmla="*/ 129 h 512"/>
              <a:gd name="T92" fmla="*/ 327 w 512"/>
              <a:gd name="T93" fmla="*/ 147 h 512"/>
              <a:gd name="T94" fmla="*/ 330 w 512"/>
              <a:gd name="T95" fmla="*/ 148 h 512"/>
              <a:gd name="T96" fmla="*/ 341 w 512"/>
              <a:gd name="T97" fmla="*/ 140 h 512"/>
              <a:gd name="T98" fmla="*/ 333 w 512"/>
              <a:gd name="T99" fmla="*/ 127 h 512"/>
              <a:gd name="T100" fmla="*/ 300 w 512"/>
              <a:gd name="T10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6" y="277"/>
                </a:moveTo>
                <a:cubicBezTo>
                  <a:pt x="288" y="277"/>
                  <a:pt x="288" y="277"/>
                  <a:pt x="288" y="277"/>
                </a:cubicBezTo>
                <a:cubicBezTo>
                  <a:pt x="288" y="341"/>
                  <a:pt x="288" y="341"/>
                  <a:pt x="288" y="341"/>
                </a:cubicBezTo>
                <a:cubicBezTo>
                  <a:pt x="266" y="341"/>
                  <a:pt x="266" y="341"/>
                  <a:pt x="266" y="341"/>
                </a:cubicBezTo>
                <a:lnTo>
                  <a:pt x="266" y="277"/>
                </a:lnTo>
                <a:close/>
                <a:moveTo>
                  <a:pt x="224" y="213"/>
                </a:moveTo>
                <a:cubicBezTo>
                  <a:pt x="224" y="394"/>
                  <a:pt x="224" y="394"/>
                  <a:pt x="224" y="394"/>
                </a:cubicBezTo>
                <a:cubicBezTo>
                  <a:pt x="288" y="394"/>
                  <a:pt x="288" y="394"/>
                  <a:pt x="288" y="394"/>
                </a:cubicBezTo>
                <a:cubicBezTo>
                  <a:pt x="288" y="362"/>
                  <a:pt x="288" y="362"/>
                  <a:pt x="288" y="362"/>
                </a:cubicBezTo>
                <a:cubicBezTo>
                  <a:pt x="256" y="362"/>
                  <a:pt x="256" y="362"/>
                  <a:pt x="256" y="362"/>
                </a:cubicBezTo>
                <a:cubicBezTo>
                  <a:pt x="250" y="362"/>
                  <a:pt x="245" y="358"/>
                  <a:pt x="245" y="352"/>
                </a:cubicBezTo>
                <a:cubicBezTo>
                  <a:pt x="245" y="266"/>
                  <a:pt x="245" y="266"/>
                  <a:pt x="245" y="266"/>
                </a:cubicBezTo>
                <a:cubicBezTo>
                  <a:pt x="245" y="260"/>
                  <a:pt x="250" y="256"/>
                  <a:pt x="256" y="256"/>
                </a:cubicBezTo>
                <a:cubicBezTo>
                  <a:pt x="288" y="256"/>
                  <a:pt x="288" y="256"/>
                  <a:pt x="288" y="256"/>
                </a:cubicBezTo>
                <a:cubicBezTo>
                  <a:pt x="288" y="213"/>
                  <a:pt x="288" y="213"/>
                  <a:pt x="288" y="213"/>
                </a:cubicBezTo>
                <a:cubicBezTo>
                  <a:pt x="288" y="195"/>
                  <a:pt x="273" y="181"/>
                  <a:pt x="256" y="181"/>
                </a:cubicBezTo>
                <a:cubicBezTo>
                  <a:pt x="238" y="181"/>
                  <a:pt x="224" y="195"/>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0" y="117"/>
                </a:moveTo>
                <a:cubicBezTo>
                  <a:pt x="330" y="117"/>
                  <a:pt x="330" y="117"/>
                  <a:pt x="330" y="117"/>
                </a:cubicBezTo>
                <a:cubicBezTo>
                  <a:pt x="336" y="117"/>
                  <a:pt x="341" y="112"/>
                  <a:pt x="341" y="106"/>
                </a:cubicBezTo>
                <a:cubicBezTo>
                  <a:pt x="341" y="100"/>
                  <a:pt x="336" y="96"/>
                  <a:pt x="330" y="96"/>
                </a:cubicBezTo>
                <a:cubicBezTo>
                  <a:pt x="256" y="96"/>
                  <a:pt x="256" y="96"/>
                  <a:pt x="256" y="96"/>
                </a:cubicBezTo>
                <a:cubicBezTo>
                  <a:pt x="250" y="96"/>
                  <a:pt x="245" y="100"/>
                  <a:pt x="245" y="106"/>
                </a:cubicBezTo>
                <a:cubicBezTo>
                  <a:pt x="245" y="117"/>
                  <a:pt x="245" y="117"/>
                  <a:pt x="245" y="117"/>
                </a:cubicBezTo>
                <a:cubicBezTo>
                  <a:pt x="213" y="117"/>
                  <a:pt x="213" y="117"/>
                  <a:pt x="213" y="117"/>
                </a:cubicBezTo>
                <a:cubicBezTo>
                  <a:pt x="184" y="117"/>
                  <a:pt x="160" y="141"/>
                  <a:pt x="160" y="170"/>
                </a:cubicBezTo>
                <a:cubicBezTo>
                  <a:pt x="160" y="362"/>
                  <a:pt x="160" y="362"/>
                  <a:pt x="160" y="362"/>
                </a:cubicBezTo>
                <a:cubicBezTo>
                  <a:pt x="160" y="368"/>
                  <a:pt x="164" y="373"/>
                  <a:pt x="170" y="373"/>
                </a:cubicBezTo>
                <a:cubicBezTo>
                  <a:pt x="176" y="373"/>
                  <a:pt x="181" y="368"/>
                  <a:pt x="181" y="362"/>
                </a:cubicBezTo>
                <a:cubicBezTo>
                  <a:pt x="181" y="170"/>
                  <a:pt x="181" y="170"/>
                  <a:pt x="181" y="170"/>
                </a:cubicBezTo>
                <a:cubicBezTo>
                  <a:pt x="181" y="153"/>
                  <a:pt x="195" y="138"/>
                  <a:pt x="213" y="138"/>
                </a:cubicBezTo>
                <a:cubicBezTo>
                  <a:pt x="245" y="138"/>
                  <a:pt x="245" y="138"/>
                  <a:pt x="245" y="138"/>
                </a:cubicBezTo>
                <a:cubicBezTo>
                  <a:pt x="245" y="161"/>
                  <a:pt x="245" y="161"/>
                  <a:pt x="245" y="161"/>
                </a:cubicBezTo>
                <a:cubicBezTo>
                  <a:pt x="221" y="166"/>
                  <a:pt x="202" y="187"/>
                  <a:pt x="202" y="213"/>
                </a:cubicBezTo>
                <a:cubicBezTo>
                  <a:pt x="202" y="405"/>
                  <a:pt x="202" y="405"/>
                  <a:pt x="202" y="405"/>
                </a:cubicBezTo>
                <a:cubicBezTo>
                  <a:pt x="202" y="411"/>
                  <a:pt x="207" y="416"/>
                  <a:pt x="213" y="416"/>
                </a:cubicBezTo>
                <a:cubicBezTo>
                  <a:pt x="298" y="416"/>
                  <a:pt x="298" y="416"/>
                  <a:pt x="298" y="416"/>
                </a:cubicBezTo>
                <a:cubicBezTo>
                  <a:pt x="304" y="416"/>
                  <a:pt x="309" y="411"/>
                  <a:pt x="309" y="405"/>
                </a:cubicBezTo>
                <a:cubicBezTo>
                  <a:pt x="309" y="213"/>
                  <a:pt x="309" y="213"/>
                  <a:pt x="309" y="213"/>
                </a:cubicBezTo>
                <a:cubicBezTo>
                  <a:pt x="309" y="187"/>
                  <a:pt x="291" y="166"/>
                  <a:pt x="266" y="161"/>
                </a:cubicBezTo>
                <a:cubicBezTo>
                  <a:pt x="266" y="129"/>
                  <a:pt x="266" y="129"/>
                  <a:pt x="266" y="129"/>
                </a:cubicBezTo>
                <a:cubicBezTo>
                  <a:pt x="327" y="147"/>
                  <a:pt x="327" y="147"/>
                  <a:pt x="327" y="147"/>
                </a:cubicBezTo>
                <a:cubicBezTo>
                  <a:pt x="328" y="148"/>
                  <a:pt x="329" y="148"/>
                  <a:pt x="330" y="148"/>
                </a:cubicBezTo>
                <a:cubicBezTo>
                  <a:pt x="335" y="148"/>
                  <a:pt x="339" y="145"/>
                  <a:pt x="341" y="140"/>
                </a:cubicBezTo>
                <a:cubicBezTo>
                  <a:pt x="342" y="134"/>
                  <a:pt x="339" y="128"/>
                  <a:pt x="333" y="127"/>
                </a:cubicBezTo>
                <a:lnTo>
                  <a:pt x="300" y="117"/>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2" name="Group 804"/>
          <p:cNvGrpSpPr>
            <a:grpSpLocks noChangeAspect="1"/>
          </p:cNvGrpSpPr>
          <p:nvPr/>
        </p:nvGrpSpPr>
        <p:grpSpPr bwMode="auto">
          <a:xfrm>
            <a:off x="7556961" y="4194305"/>
            <a:ext cx="368713" cy="367631"/>
            <a:chOff x="1182" y="3195"/>
            <a:chExt cx="341" cy="340"/>
          </a:xfrm>
          <a:solidFill>
            <a:schemeClr val="accent3"/>
          </a:solidFill>
        </p:grpSpPr>
        <p:sp>
          <p:nvSpPr>
            <p:cNvPr id="353" name="Freeform 805"/>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4" name="Freeform 806"/>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5" name="TextBox 354"/>
          <p:cNvSpPr txBox="1"/>
          <p:nvPr/>
        </p:nvSpPr>
        <p:spPr>
          <a:xfrm>
            <a:off x="7120729" y="545987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pen box</a:t>
            </a:r>
          </a:p>
        </p:txBody>
      </p:sp>
      <p:grpSp>
        <p:nvGrpSpPr>
          <p:cNvPr id="356" name="Group 4"/>
          <p:cNvGrpSpPr>
            <a:grpSpLocks noChangeAspect="1"/>
          </p:cNvGrpSpPr>
          <p:nvPr/>
        </p:nvGrpSpPr>
        <p:grpSpPr bwMode="auto">
          <a:xfrm>
            <a:off x="7132364" y="5013572"/>
            <a:ext cx="369887" cy="371475"/>
            <a:chOff x="5057" y="739"/>
            <a:chExt cx="233" cy="234"/>
          </a:xfrm>
          <a:solidFill>
            <a:schemeClr val="accent1"/>
          </a:solidFill>
        </p:grpSpPr>
        <p:sp>
          <p:nvSpPr>
            <p:cNvPr id="357"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5" name="Group 20"/>
          <p:cNvGrpSpPr>
            <a:grpSpLocks noChangeAspect="1"/>
          </p:cNvGrpSpPr>
          <p:nvPr/>
        </p:nvGrpSpPr>
        <p:grpSpPr bwMode="auto">
          <a:xfrm>
            <a:off x="7555787" y="5013572"/>
            <a:ext cx="369887" cy="371475"/>
            <a:chOff x="3885" y="823"/>
            <a:chExt cx="233" cy="234"/>
          </a:xfrm>
          <a:solidFill>
            <a:schemeClr val="accent1"/>
          </a:solidFill>
        </p:grpSpPr>
        <p:sp>
          <p:nvSpPr>
            <p:cNvPr id="366"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10793476"/>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A71CA-269A-469D-A39C-54F2E5C7A5B7}"/>
              </a:ext>
            </a:extLst>
          </p:cNvPr>
          <p:cNvPicPr>
            <a:picLocks noChangeAspect="1"/>
          </p:cNvPicPr>
          <p:nvPr/>
        </p:nvPicPr>
        <p:blipFill>
          <a:blip r:embed="rId2"/>
          <a:stretch>
            <a:fillRect/>
          </a:stretch>
        </p:blipFill>
        <p:spPr>
          <a:xfrm>
            <a:off x="6173162" y="4097833"/>
            <a:ext cx="540828" cy="540828"/>
          </a:xfrm>
          <a:prstGeom prst="rect">
            <a:avLst/>
          </a:prstGeom>
        </p:spPr>
      </p:pic>
      <p:pic>
        <p:nvPicPr>
          <p:cNvPr id="6" name="Picture 5">
            <a:extLst>
              <a:ext uri="{FF2B5EF4-FFF2-40B4-BE49-F238E27FC236}">
                <a16:creationId xmlns:a16="http://schemas.microsoft.com/office/drawing/2014/main" id="{3AA51862-520E-43D6-A1A6-9DDF93C202F8}"/>
              </a:ext>
            </a:extLst>
          </p:cNvPr>
          <p:cNvPicPr>
            <a:picLocks noChangeAspect="1"/>
          </p:cNvPicPr>
          <p:nvPr/>
        </p:nvPicPr>
        <p:blipFill>
          <a:blip r:embed="rId3"/>
          <a:stretch>
            <a:fillRect/>
          </a:stretch>
        </p:blipFill>
        <p:spPr>
          <a:xfrm>
            <a:off x="6633601" y="4088493"/>
            <a:ext cx="535313" cy="535313"/>
          </a:xfrm>
          <a:prstGeom prst="rect">
            <a:avLst/>
          </a:prstGeom>
        </p:spPr>
      </p:pic>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423" name="TextBox 422"/>
          <p:cNvSpPr txBox="1"/>
          <p:nvPr/>
        </p:nvSpPr>
        <p:spPr>
          <a:xfrm>
            <a:off x="1181769" y="212197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3D</a:t>
            </a:r>
          </a:p>
        </p:txBody>
      </p:sp>
      <p:sp>
        <p:nvSpPr>
          <p:cNvPr id="424" name="TextBox 423"/>
          <p:cNvSpPr txBox="1"/>
          <p:nvPr/>
        </p:nvSpPr>
        <p:spPr>
          <a:xfrm>
            <a:off x="2035457"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larm clock</a:t>
            </a:r>
          </a:p>
        </p:txBody>
      </p:sp>
      <p:sp>
        <p:nvSpPr>
          <p:cNvPr id="425" name="TextBox 424"/>
          <p:cNvSpPr txBox="1"/>
          <p:nvPr/>
        </p:nvSpPr>
        <p:spPr>
          <a:xfrm>
            <a:off x="3736483"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sterisk</a:t>
            </a:r>
          </a:p>
        </p:txBody>
      </p:sp>
      <p:sp>
        <p:nvSpPr>
          <p:cNvPr id="426" name="TextBox 425"/>
          <p:cNvSpPr txBox="1"/>
          <p:nvPr/>
        </p:nvSpPr>
        <p:spPr>
          <a:xfrm>
            <a:off x="4586996"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sketball</a:t>
            </a:r>
          </a:p>
        </p:txBody>
      </p:sp>
      <p:sp>
        <p:nvSpPr>
          <p:cNvPr id="427" name="TextBox 426"/>
          <p:cNvSpPr txBox="1"/>
          <p:nvPr/>
        </p:nvSpPr>
        <p:spPr>
          <a:xfrm>
            <a:off x="2885970"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xe</a:t>
            </a:r>
          </a:p>
        </p:txBody>
      </p:sp>
      <p:sp>
        <p:nvSpPr>
          <p:cNvPr id="428" name="TextBox 427"/>
          <p:cNvSpPr txBox="1"/>
          <p:nvPr/>
        </p:nvSpPr>
        <p:spPr>
          <a:xfrm>
            <a:off x="5437509"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ell</a:t>
            </a:r>
          </a:p>
        </p:txBody>
      </p:sp>
      <p:sp>
        <p:nvSpPr>
          <p:cNvPr id="429" name="TextBox 428"/>
          <p:cNvSpPr txBox="1"/>
          <p:nvPr/>
        </p:nvSpPr>
        <p:spPr>
          <a:xfrm>
            <a:off x="7138536" y="21052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okmark 2</a:t>
            </a:r>
          </a:p>
        </p:txBody>
      </p:sp>
      <p:sp>
        <p:nvSpPr>
          <p:cNvPr id="430" name="TextBox 429"/>
          <p:cNvSpPr txBox="1"/>
          <p:nvPr/>
        </p:nvSpPr>
        <p:spPr>
          <a:xfrm>
            <a:off x="6288022" y="21060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okmark 1</a:t>
            </a:r>
          </a:p>
        </p:txBody>
      </p:sp>
      <p:sp>
        <p:nvSpPr>
          <p:cNvPr id="474" name="TextBox 473"/>
          <p:cNvSpPr txBox="1"/>
          <p:nvPr/>
        </p:nvSpPr>
        <p:spPr>
          <a:xfrm>
            <a:off x="2036232" y="2965026"/>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Bullseye</a:t>
            </a:r>
            <a:endParaRPr lang="en-US" sz="1000" dirty="0">
              <a:solidFill>
                <a:srgbClr val="313131"/>
              </a:solidFill>
            </a:endParaRPr>
          </a:p>
        </p:txBody>
      </p:sp>
      <p:sp>
        <p:nvSpPr>
          <p:cNvPr id="475" name="TextBox 474"/>
          <p:cNvSpPr txBox="1"/>
          <p:nvPr/>
        </p:nvSpPr>
        <p:spPr>
          <a:xfrm>
            <a:off x="3712632"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ctus</a:t>
            </a:r>
          </a:p>
        </p:txBody>
      </p:sp>
      <p:sp>
        <p:nvSpPr>
          <p:cNvPr id="476" name="TextBox 475"/>
          <p:cNvSpPr txBox="1"/>
          <p:nvPr/>
        </p:nvSpPr>
        <p:spPr>
          <a:xfrm>
            <a:off x="4554007" y="296502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endar minus</a:t>
            </a:r>
          </a:p>
        </p:txBody>
      </p:sp>
      <p:sp>
        <p:nvSpPr>
          <p:cNvPr id="477" name="TextBox 476"/>
          <p:cNvSpPr txBox="1"/>
          <p:nvPr/>
        </p:nvSpPr>
        <p:spPr>
          <a:xfrm>
            <a:off x="2874432"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st</a:t>
            </a:r>
          </a:p>
        </p:txBody>
      </p:sp>
      <p:sp>
        <p:nvSpPr>
          <p:cNvPr id="478" name="TextBox 477"/>
          <p:cNvSpPr txBox="1"/>
          <p:nvPr/>
        </p:nvSpPr>
        <p:spPr>
          <a:xfrm>
            <a:off x="5392207" y="296502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endar multiply</a:t>
            </a:r>
          </a:p>
        </p:txBody>
      </p:sp>
      <p:sp>
        <p:nvSpPr>
          <p:cNvPr id="479" name="TextBox 478"/>
          <p:cNvSpPr txBox="1"/>
          <p:nvPr/>
        </p:nvSpPr>
        <p:spPr>
          <a:xfrm>
            <a:off x="7920665"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endar</a:t>
            </a:r>
          </a:p>
        </p:txBody>
      </p:sp>
      <p:sp>
        <p:nvSpPr>
          <p:cNvPr id="480" name="TextBox 479"/>
          <p:cNvSpPr txBox="1"/>
          <p:nvPr/>
        </p:nvSpPr>
        <p:spPr>
          <a:xfrm>
            <a:off x="7068607"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endar tick</a:t>
            </a:r>
          </a:p>
        </p:txBody>
      </p:sp>
      <p:sp>
        <p:nvSpPr>
          <p:cNvPr id="481" name="TextBox 480"/>
          <p:cNvSpPr txBox="1"/>
          <p:nvPr/>
        </p:nvSpPr>
        <p:spPr>
          <a:xfrm>
            <a:off x="6233582" y="296502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endar plus</a:t>
            </a:r>
          </a:p>
        </p:txBody>
      </p:sp>
      <p:sp>
        <p:nvSpPr>
          <p:cNvPr id="522" name="TextBox 521"/>
          <p:cNvSpPr txBox="1"/>
          <p:nvPr/>
        </p:nvSpPr>
        <p:spPr>
          <a:xfrm>
            <a:off x="341843" y="3818780"/>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ndle</a:t>
            </a:r>
          </a:p>
        </p:txBody>
      </p:sp>
      <p:sp>
        <p:nvSpPr>
          <p:cNvPr id="523" name="TextBox 522"/>
          <p:cNvSpPr txBox="1"/>
          <p:nvPr/>
        </p:nvSpPr>
        <p:spPr>
          <a:xfrm>
            <a:off x="1171475" y="3818780"/>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king</a:t>
            </a:r>
          </a:p>
        </p:txBody>
      </p:sp>
      <p:sp>
        <p:nvSpPr>
          <p:cNvPr id="524" name="TextBox 523"/>
          <p:cNvSpPr txBox="1"/>
          <p:nvPr/>
        </p:nvSpPr>
        <p:spPr>
          <a:xfrm>
            <a:off x="2015924"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knight</a:t>
            </a:r>
          </a:p>
        </p:txBody>
      </p:sp>
      <p:sp>
        <p:nvSpPr>
          <p:cNvPr id="525" name="TextBox 524"/>
          <p:cNvSpPr txBox="1"/>
          <p:nvPr/>
        </p:nvSpPr>
        <p:spPr>
          <a:xfrm>
            <a:off x="3698472"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queen</a:t>
            </a:r>
          </a:p>
        </p:txBody>
      </p:sp>
      <p:sp>
        <p:nvSpPr>
          <p:cNvPr id="526" name="TextBox 525"/>
          <p:cNvSpPr txBox="1"/>
          <p:nvPr/>
        </p:nvSpPr>
        <p:spPr>
          <a:xfrm>
            <a:off x="6222294"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ck</a:t>
            </a:r>
          </a:p>
        </p:txBody>
      </p:sp>
      <p:sp>
        <p:nvSpPr>
          <p:cNvPr id="527" name="TextBox 526"/>
          <p:cNvSpPr txBox="1"/>
          <p:nvPr/>
        </p:nvSpPr>
        <p:spPr>
          <a:xfrm>
            <a:off x="2857198"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pawn</a:t>
            </a:r>
          </a:p>
        </p:txBody>
      </p:sp>
      <p:sp>
        <p:nvSpPr>
          <p:cNvPr id="528" name="TextBox 527"/>
          <p:cNvSpPr txBox="1"/>
          <p:nvPr/>
        </p:nvSpPr>
        <p:spPr>
          <a:xfrm>
            <a:off x="4539746" y="3818780"/>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bishop</a:t>
            </a:r>
          </a:p>
        </p:txBody>
      </p:sp>
      <p:sp>
        <p:nvSpPr>
          <p:cNvPr id="529" name="TextBox 528"/>
          <p:cNvSpPr txBox="1"/>
          <p:nvPr/>
        </p:nvSpPr>
        <p:spPr>
          <a:xfrm>
            <a:off x="7904842"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lock</a:t>
            </a:r>
          </a:p>
        </p:txBody>
      </p:sp>
      <p:sp>
        <p:nvSpPr>
          <p:cNvPr id="530" name="TextBox 529"/>
          <p:cNvSpPr txBox="1"/>
          <p:nvPr/>
        </p:nvSpPr>
        <p:spPr>
          <a:xfrm>
            <a:off x="7063568"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lipboard</a:t>
            </a:r>
          </a:p>
        </p:txBody>
      </p:sp>
      <p:sp>
        <p:nvSpPr>
          <p:cNvPr id="531" name="TextBox 530"/>
          <p:cNvSpPr txBox="1"/>
          <p:nvPr/>
        </p:nvSpPr>
        <p:spPr>
          <a:xfrm>
            <a:off x="5381020" y="381878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hess castle</a:t>
            </a:r>
          </a:p>
        </p:txBody>
      </p:sp>
      <p:sp>
        <p:nvSpPr>
          <p:cNvPr id="630" name="TextBox 629"/>
          <p:cNvSpPr txBox="1"/>
          <p:nvPr/>
        </p:nvSpPr>
        <p:spPr>
          <a:xfrm>
            <a:off x="1198032"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ter</a:t>
            </a:r>
          </a:p>
        </p:txBody>
      </p:sp>
      <p:sp>
        <p:nvSpPr>
          <p:cNvPr id="673" name="TextBox 672"/>
          <p:cNvSpPr txBox="1"/>
          <p:nvPr/>
        </p:nvSpPr>
        <p:spPr>
          <a:xfrm>
            <a:off x="328081" y="20797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ucet</a:t>
            </a:r>
          </a:p>
        </p:txBody>
      </p:sp>
      <p:sp>
        <p:nvSpPr>
          <p:cNvPr id="677" name="TextBox 676"/>
          <p:cNvSpPr txBox="1"/>
          <p:nvPr/>
        </p:nvSpPr>
        <p:spPr>
          <a:xfrm>
            <a:off x="368299" y="296502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eather</a:t>
            </a:r>
          </a:p>
        </p:txBody>
      </p:sp>
      <p:sp>
        <p:nvSpPr>
          <p:cNvPr id="257" name="Freeform 19"/>
          <p:cNvSpPr>
            <a:spLocks noChangeAspect="1" noEditPoints="1"/>
          </p:cNvSpPr>
          <p:nvPr/>
        </p:nvSpPr>
        <p:spPr bwMode="auto">
          <a:xfrm>
            <a:off x="1206353" y="1705051"/>
            <a:ext cx="368152" cy="36815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260"/>
          <p:cNvGrpSpPr>
            <a:grpSpLocks noChangeAspect="1"/>
          </p:cNvGrpSpPr>
          <p:nvPr/>
        </p:nvGrpSpPr>
        <p:grpSpPr bwMode="auto">
          <a:xfrm>
            <a:off x="1626349" y="1705051"/>
            <a:ext cx="368152" cy="368152"/>
            <a:chOff x="3219" y="626"/>
            <a:chExt cx="3635" cy="3635"/>
          </a:xfrm>
          <a:solidFill>
            <a:schemeClr val="accent3"/>
          </a:solidFill>
        </p:grpSpPr>
        <p:sp>
          <p:nvSpPr>
            <p:cNvPr id="262" name="Freeform 28"/>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29"/>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37"/>
          <p:cNvSpPr>
            <a:spLocks noChangeAspect="1" noEditPoints="1"/>
          </p:cNvSpPr>
          <p:nvPr/>
        </p:nvSpPr>
        <p:spPr bwMode="auto">
          <a:xfrm>
            <a:off x="2046345" y="1705051"/>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40"/>
          <p:cNvGrpSpPr>
            <a:grpSpLocks noChangeAspect="1"/>
          </p:cNvGrpSpPr>
          <p:nvPr/>
        </p:nvGrpSpPr>
        <p:grpSpPr bwMode="auto">
          <a:xfrm>
            <a:off x="2466240" y="1705051"/>
            <a:ext cx="368152" cy="368152"/>
            <a:chOff x="880" y="418"/>
            <a:chExt cx="3635" cy="3635"/>
          </a:xfrm>
          <a:solidFill>
            <a:schemeClr val="accent1"/>
          </a:solidFill>
        </p:grpSpPr>
        <p:sp>
          <p:nvSpPr>
            <p:cNvPr id="266" name="Freeform 41"/>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42"/>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274"/>
          <p:cNvSpPr>
            <a:spLocks noChangeAspect="1" noEditPoints="1"/>
          </p:cNvSpPr>
          <p:nvPr/>
        </p:nvSpPr>
        <p:spPr bwMode="auto">
          <a:xfrm>
            <a:off x="3725888" y="1705051"/>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277"/>
          <p:cNvGrpSpPr>
            <a:grpSpLocks noChangeAspect="1"/>
          </p:cNvGrpSpPr>
          <p:nvPr/>
        </p:nvGrpSpPr>
        <p:grpSpPr bwMode="auto">
          <a:xfrm>
            <a:off x="4146796" y="1705051"/>
            <a:ext cx="369064" cy="367982"/>
            <a:chOff x="2910" y="2160"/>
            <a:chExt cx="341" cy="340"/>
          </a:xfrm>
          <a:solidFill>
            <a:schemeClr val="accent3"/>
          </a:solidFill>
        </p:grpSpPr>
        <p:sp>
          <p:nvSpPr>
            <p:cNvPr id="270" name="Freeform 278"/>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279"/>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301"/>
          <p:cNvSpPr>
            <a:spLocks noChangeAspect="1" noEditPoints="1"/>
          </p:cNvSpPr>
          <p:nvPr/>
        </p:nvSpPr>
        <p:spPr bwMode="auto">
          <a:xfrm>
            <a:off x="2886236" y="1705051"/>
            <a:ext cx="367982" cy="367982"/>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272"/>
          <p:cNvGrpSpPr>
            <a:grpSpLocks noChangeAspect="1"/>
          </p:cNvGrpSpPr>
          <p:nvPr/>
        </p:nvGrpSpPr>
        <p:grpSpPr bwMode="auto">
          <a:xfrm>
            <a:off x="3306062" y="1705051"/>
            <a:ext cx="367982" cy="367982"/>
            <a:chOff x="3136" y="1779"/>
            <a:chExt cx="340" cy="340"/>
          </a:xfrm>
          <a:solidFill>
            <a:schemeClr val="accent4"/>
          </a:solidFill>
        </p:grpSpPr>
        <p:sp>
          <p:nvSpPr>
            <p:cNvPr id="274" name="Freeform 305"/>
            <p:cNvSpPr>
              <a:spLocks noEditPoints="1"/>
            </p:cNvSpPr>
            <p:nvPr/>
          </p:nvSpPr>
          <p:spPr bwMode="auto">
            <a:xfrm>
              <a:off x="3136" y="1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306"/>
            <p:cNvSpPr>
              <a:spLocks noEditPoints="1"/>
            </p:cNvSpPr>
            <p:nvPr/>
          </p:nvSpPr>
          <p:spPr bwMode="auto">
            <a:xfrm>
              <a:off x="3200" y="1843"/>
              <a:ext cx="170" cy="212"/>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Freeform 382"/>
          <p:cNvSpPr>
            <a:spLocks noChangeAspect="1" noEditPoints="1"/>
          </p:cNvSpPr>
          <p:nvPr/>
        </p:nvSpPr>
        <p:spPr bwMode="auto">
          <a:xfrm>
            <a:off x="4567704" y="1705051"/>
            <a:ext cx="369064" cy="367982"/>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7" name="Freeform 386"/>
          <p:cNvSpPr>
            <a:spLocks noChangeAspect="1" noEditPoints="1"/>
          </p:cNvSpPr>
          <p:nvPr/>
        </p:nvSpPr>
        <p:spPr bwMode="auto">
          <a:xfrm>
            <a:off x="4988612" y="1705051"/>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9 w 512"/>
              <a:gd name="T21" fmla="*/ 143 h 512"/>
              <a:gd name="T22" fmla="*/ 256 w 512"/>
              <a:gd name="T23" fmla="*/ 96 h 512"/>
              <a:gd name="T24" fmla="*/ 143 w 512"/>
              <a:gd name="T25" fmla="*/ 143 h 512"/>
              <a:gd name="T26" fmla="*/ 96 w 512"/>
              <a:gd name="T27" fmla="*/ 256 h 512"/>
              <a:gd name="T28" fmla="*/ 143 w 512"/>
              <a:gd name="T29" fmla="*/ 369 h 512"/>
              <a:gd name="T30" fmla="*/ 256 w 512"/>
              <a:gd name="T31" fmla="*/ 416 h 512"/>
              <a:gd name="T32" fmla="*/ 369 w 512"/>
              <a:gd name="T33" fmla="*/ 369 h 512"/>
              <a:gd name="T34" fmla="*/ 416 w 512"/>
              <a:gd name="T35" fmla="*/ 256 h 512"/>
              <a:gd name="T36" fmla="*/ 369 w 512"/>
              <a:gd name="T37" fmla="*/ 143 h 512"/>
              <a:gd name="T38" fmla="*/ 255 w 512"/>
              <a:gd name="T39" fmla="*/ 394 h 512"/>
              <a:gd name="T40" fmla="*/ 166 w 512"/>
              <a:gd name="T41" fmla="*/ 361 h 512"/>
              <a:gd name="T42" fmla="*/ 361 w 512"/>
              <a:gd name="T43" fmla="*/ 166 h 512"/>
              <a:gd name="T44" fmla="*/ 394 w 512"/>
              <a:gd name="T45" fmla="*/ 255 h 512"/>
              <a:gd name="T46" fmla="*/ 301 w 512"/>
              <a:gd name="T47" fmla="*/ 301 h 512"/>
              <a:gd name="T48" fmla="*/ 255 w 512"/>
              <a:gd name="T49" fmla="*/ 394 h 512"/>
              <a:gd name="T50" fmla="*/ 117 w 512"/>
              <a:gd name="T51" fmla="*/ 256 h 512"/>
              <a:gd name="T52" fmla="*/ 210 w 512"/>
              <a:gd name="T53" fmla="*/ 210 h 512"/>
              <a:gd name="T54" fmla="*/ 256 w 512"/>
              <a:gd name="T55" fmla="*/ 118 h 512"/>
              <a:gd name="T56" fmla="*/ 256 w 512"/>
              <a:gd name="T57" fmla="*/ 117 h 512"/>
              <a:gd name="T58" fmla="*/ 346 w 512"/>
              <a:gd name="T59" fmla="*/ 150 h 512"/>
              <a:gd name="T60" fmla="*/ 150 w 512"/>
              <a:gd name="T61" fmla="*/ 346 h 512"/>
              <a:gd name="T62" fmla="*/ 117 w 512"/>
              <a:gd name="T63" fmla="*/ 256 h 512"/>
              <a:gd name="T64" fmla="*/ 158 w 512"/>
              <a:gd name="T65" fmla="*/ 158 h 512"/>
              <a:gd name="T66" fmla="*/ 234 w 512"/>
              <a:gd name="T67" fmla="*/ 119 h 512"/>
              <a:gd name="T68" fmla="*/ 195 w 512"/>
              <a:gd name="T69" fmla="*/ 195 h 512"/>
              <a:gd name="T70" fmla="*/ 119 w 512"/>
              <a:gd name="T71" fmla="*/ 234 h 512"/>
              <a:gd name="T72" fmla="*/ 158 w 512"/>
              <a:gd name="T73" fmla="*/ 158 h 512"/>
              <a:gd name="T74" fmla="*/ 354 w 512"/>
              <a:gd name="T75" fmla="*/ 354 h 512"/>
              <a:gd name="T76" fmla="*/ 277 w 512"/>
              <a:gd name="T77" fmla="*/ 393 h 512"/>
              <a:gd name="T78" fmla="*/ 316 w 512"/>
              <a:gd name="T79" fmla="*/ 316 h 512"/>
              <a:gd name="T80" fmla="*/ 393 w 512"/>
              <a:gd name="T81" fmla="*/ 277 h 512"/>
              <a:gd name="T82" fmla="*/ 354 w 512"/>
              <a:gd name="T83"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143"/>
                </a:move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ubicBezTo>
                  <a:pt x="416" y="213"/>
                  <a:pt x="399" y="173"/>
                  <a:pt x="369" y="143"/>
                </a:cubicBezTo>
                <a:close/>
                <a:moveTo>
                  <a:pt x="255" y="394"/>
                </a:moveTo>
                <a:cubicBezTo>
                  <a:pt x="222" y="394"/>
                  <a:pt x="191" y="382"/>
                  <a:pt x="166" y="361"/>
                </a:cubicBezTo>
                <a:cubicBezTo>
                  <a:pt x="361" y="166"/>
                  <a:pt x="361" y="166"/>
                  <a:pt x="361" y="166"/>
                </a:cubicBezTo>
                <a:cubicBezTo>
                  <a:pt x="382" y="191"/>
                  <a:pt x="394" y="222"/>
                  <a:pt x="394" y="255"/>
                </a:cubicBezTo>
                <a:cubicBezTo>
                  <a:pt x="359" y="260"/>
                  <a:pt x="326" y="276"/>
                  <a:pt x="301" y="301"/>
                </a:cubicBezTo>
                <a:cubicBezTo>
                  <a:pt x="276" y="326"/>
                  <a:pt x="260" y="359"/>
                  <a:pt x="255" y="394"/>
                </a:cubicBezTo>
                <a:close/>
                <a:moveTo>
                  <a:pt x="117" y="256"/>
                </a:moveTo>
                <a:cubicBezTo>
                  <a:pt x="152" y="252"/>
                  <a:pt x="185" y="236"/>
                  <a:pt x="210" y="210"/>
                </a:cubicBezTo>
                <a:cubicBezTo>
                  <a:pt x="236" y="185"/>
                  <a:pt x="251" y="153"/>
                  <a:pt x="256" y="118"/>
                </a:cubicBezTo>
                <a:cubicBezTo>
                  <a:pt x="256" y="118"/>
                  <a:pt x="256" y="117"/>
                  <a:pt x="256" y="117"/>
                </a:cubicBezTo>
                <a:cubicBezTo>
                  <a:pt x="289" y="117"/>
                  <a:pt x="321" y="129"/>
                  <a:pt x="346" y="150"/>
                </a:cubicBezTo>
                <a:cubicBezTo>
                  <a:pt x="150" y="346"/>
                  <a:pt x="150" y="346"/>
                  <a:pt x="150" y="346"/>
                </a:cubicBezTo>
                <a:cubicBezTo>
                  <a:pt x="129" y="321"/>
                  <a:pt x="117" y="289"/>
                  <a:pt x="117" y="256"/>
                </a:cubicBezTo>
                <a:close/>
                <a:moveTo>
                  <a:pt x="158" y="158"/>
                </a:moveTo>
                <a:cubicBezTo>
                  <a:pt x="179" y="137"/>
                  <a:pt x="205" y="123"/>
                  <a:pt x="234" y="119"/>
                </a:cubicBezTo>
                <a:cubicBezTo>
                  <a:pt x="230" y="148"/>
                  <a:pt x="216" y="174"/>
                  <a:pt x="195" y="195"/>
                </a:cubicBezTo>
                <a:cubicBezTo>
                  <a:pt x="174" y="216"/>
                  <a:pt x="148" y="230"/>
                  <a:pt x="119" y="234"/>
                </a:cubicBezTo>
                <a:cubicBezTo>
                  <a:pt x="123" y="205"/>
                  <a:pt x="137" y="179"/>
                  <a:pt x="158" y="158"/>
                </a:cubicBezTo>
                <a:close/>
                <a:moveTo>
                  <a:pt x="354" y="354"/>
                </a:moveTo>
                <a:cubicBezTo>
                  <a:pt x="333" y="375"/>
                  <a:pt x="306" y="388"/>
                  <a:pt x="277" y="393"/>
                </a:cubicBezTo>
                <a:cubicBezTo>
                  <a:pt x="282" y="364"/>
                  <a:pt x="295" y="337"/>
                  <a:pt x="316" y="316"/>
                </a:cubicBezTo>
                <a:cubicBezTo>
                  <a:pt x="337" y="295"/>
                  <a:pt x="364" y="282"/>
                  <a:pt x="393" y="277"/>
                </a:cubicBezTo>
                <a:cubicBezTo>
                  <a:pt x="388" y="306"/>
                  <a:pt x="375" y="333"/>
                  <a:pt x="354" y="35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8" name="Freeform 489"/>
          <p:cNvSpPr>
            <a:spLocks noChangeAspect="1" noEditPoints="1"/>
          </p:cNvSpPr>
          <p:nvPr/>
        </p:nvSpPr>
        <p:spPr bwMode="auto">
          <a:xfrm>
            <a:off x="5408438" y="1705051"/>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9" name="Group 492"/>
          <p:cNvGrpSpPr>
            <a:grpSpLocks noChangeAspect="1"/>
          </p:cNvGrpSpPr>
          <p:nvPr/>
        </p:nvGrpSpPr>
        <p:grpSpPr bwMode="auto">
          <a:xfrm>
            <a:off x="5828264" y="1705051"/>
            <a:ext cx="367982" cy="367982"/>
            <a:chOff x="4513" y="3037"/>
            <a:chExt cx="340" cy="340"/>
          </a:xfrm>
          <a:solidFill>
            <a:schemeClr val="accent6"/>
          </a:solidFill>
        </p:grpSpPr>
        <p:sp>
          <p:nvSpPr>
            <p:cNvPr id="280" name="Freeform 493"/>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494"/>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6" name="Freeform 598"/>
          <p:cNvSpPr>
            <a:spLocks noChangeAspect="1" noEditPoints="1"/>
          </p:cNvSpPr>
          <p:nvPr/>
        </p:nvSpPr>
        <p:spPr bwMode="auto">
          <a:xfrm>
            <a:off x="6248090" y="1705051"/>
            <a:ext cx="367982" cy="367982"/>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7" name="Freeform 602"/>
          <p:cNvSpPr>
            <a:spLocks noChangeAspect="1" noEditPoints="1"/>
          </p:cNvSpPr>
          <p:nvPr/>
        </p:nvSpPr>
        <p:spPr bwMode="auto">
          <a:xfrm>
            <a:off x="6667916" y="1705051"/>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8" name="Freeform 606"/>
          <p:cNvSpPr>
            <a:spLocks noChangeAspect="1" noEditPoints="1"/>
          </p:cNvSpPr>
          <p:nvPr/>
        </p:nvSpPr>
        <p:spPr bwMode="auto">
          <a:xfrm>
            <a:off x="7087742" y="1705051"/>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9" name="Group 609"/>
          <p:cNvGrpSpPr>
            <a:grpSpLocks noChangeAspect="1"/>
          </p:cNvGrpSpPr>
          <p:nvPr/>
        </p:nvGrpSpPr>
        <p:grpSpPr bwMode="auto">
          <a:xfrm>
            <a:off x="7507573" y="1705051"/>
            <a:ext cx="367982" cy="367982"/>
            <a:chOff x="3724" y="2689"/>
            <a:chExt cx="340" cy="340"/>
          </a:xfrm>
          <a:solidFill>
            <a:schemeClr val="accent1"/>
          </a:solidFill>
        </p:grpSpPr>
        <p:sp>
          <p:nvSpPr>
            <p:cNvPr id="290" name="Freeform 289"/>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290"/>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0" name="Freeform 723"/>
          <p:cNvSpPr>
            <a:spLocks noChangeAspect="1" noEditPoints="1"/>
          </p:cNvSpPr>
          <p:nvPr/>
        </p:nvSpPr>
        <p:spPr bwMode="auto">
          <a:xfrm>
            <a:off x="2048086" y="2533832"/>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1" name="Group 726"/>
          <p:cNvGrpSpPr>
            <a:grpSpLocks noChangeAspect="1"/>
          </p:cNvGrpSpPr>
          <p:nvPr/>
        </p:nvGrpSpPr>
        <p:grpSpPr bwMode="auto">
          <a:xfrm>
            <a:off x="2468067" y="2533832"/>
            <a:ext cx="367982" cy="367982"/>
            <a:chOff x="5022" y="3403"/>
            <a:chExt cx="340" cy="340"/>
          </a:xfrm>
          <a:solidFill>
            <a:schemeClr val="accent2"/>
          </a:solidFill>
        </p:grpSpPr>
        <p:sp>
          <p:nvSpPr>
            <p:cNvPr id="302" name="Freeform 727"/>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728"/>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4" name="Freeform 732"/>
          <p:cNvSpPr>
            <a:spLocks noChangeAspect="1" noEditPoints="1"/>
          </p:cNvSpPr>
          <p:nvPr/>
        </p:nvSpPr>
        <p:spPr bwMode="auto">
          <a:xfrm>
            <a:off x="2888048" y="2533832"/>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5" name="Group 735"/>
          <p:cNvGrpSpPr>
            <a:grpSpLocks noChangeAspect="1"/>
          </p:cNvGrpSpPr>
          <p:nvPr/>
        </p:nvGrpSpPr>
        <p:grpSpPr bwMode="auto">
          <a:xfrm>
            <a:off x="3308029" y="2533832"/>
            <a:ext cx="367982" cy="369064"/>
            <a:chOff x="5238" y="3487"/>
            <a:chExt cx="340" cy="341"/>
          </a:xfrm>
          <a:solidFill>
            <a:schemeClr val="accent2"/>
          </a:solidFill>
        </p:grpSpPr>
        <p:sp>
          <p:nvSpPr>
            <p:cNvPr id="306" name="Freeform 736"/>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737"/>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738"/>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739"/>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0" name="Freeform 743"/>
          <p:cNvSpPr>
            <a:spLocks noChangeAspect="1" noEditPoints="1"/>
          </p:cNvSpPr>
          <p:nvPr/>
        </p:nvSpPr>
        <p:spPr bwMode="auto">
          <a:xfrm>
            <a:off x="3728010" y="2533832"/>
            <a:ext cx="367982" cy="367982"/>
          </a:xfrm>
          <a:custGeom>
            <a:avLst/>
            <a:gdLst>
              <a:gd name="T0" fmla="*/ 277 w 512"/>
              <a:gd name="T1" fmla="*/ 234 h 512"/>
              <a:gd name="T2" fmla="*/ 277 w 512"/>
              <a:gd name="T3" fmla="*/ 394 h 512"/>
              <a:gd name="T4" fmla="*/ 234 w 512"/>
              <a:gd name="T5" fmla="*/ 320 h 512"/>
              <a:gd name="T6" fmla="*/ 234 w 512"/>
              <a:gd name="T7" fmla="*/ 138 h 512"/>
              <a:gd name="T8" fmla="*/ 277 w 512"/>
              <a:gd name="T9" fmla="*/ 138 h 512"/>
              <a:gd name="T10" fmla="*/ 341 w 512"/>
              <a:gd name="T11" fmla="*/ 181 h 512"/>
              <a:gd name="T12" fmla="*/ 330 w 512"/>
              <a:gd name="T13" fmla="*/ 245 h 512"/>
              <a:gd name="T14" fmla="*/ 298 w 512"/>
              <a:gd name="T15" fmla="*/ 266 h 512"/>
              <a:gd name="T16" fmla="*/ 362 w 512"/>
              <a:gd name="T17" fmla="*/ 256 h 512"/>
              <a:gd name="T18" fmla="*/ 352 w 512"/>
              <a:gd name="T19" fmla="*/ 170 h 512"/>
              <a:gd name="T20" fmla="*/ 170 w 512"/>
              <a:gd name="T21" fmla="*/ 277 h 512"/>
              <a:gd name="T22" fmla="*/ 160 w 512"/>
              <a:gd name="T23" fmla="*/ 181 h 512"/>
              <a:gd name="T24" fmla="*/ 149 w 512"/>
              <a:gd name="T25" fmla="*/ 298 h 512"/>
              <a:gd name="T26" fmla="*/ 213 w 512"/>
              <a:gd name="T27" fmla="*/ 309 h 512"/>
              <a:gd name="T28" fmla="*/ 181 w 512"/>
              <a:gd name="T29" fmla="*/ 288 h 512"/>
              <a:gd name="T30" fmla="*/ 256 w 512"/>
              <a:gd name="T31" fmla="*/ 512 h 512"/>
              <a:gd name="T32" fmla="*/ 256 w 512"/>
              <a:gd name="T33" fmla="*/ 0 h 512"/>
              <a:gd name="T34" fmla="*/ 384 w 512"/>
              <a:gd name="T35" fmla="*/ 181 h 512"/>
              <a:gd name="T36" fmla="*/ 320 w 512"/>
              <a:gd name="T37" fmla="*/ 181 h 512"/>
              <a:gd name="T38" fmla="*/ 298 w 512"/>
              <a:gd name="T39" fmla="*/ 224 h 512"/>
              <a:gd name="T40" fmla="*/ 256 w 512"/>
              <a:gd name="T41" fmla="*/ 96 h 512"/>
              <a:gd name="T42" fmla="*/ 213 w 512"/>
              <a:gd name="T43" fmla="*/ 266 h 512"/>
              <a:gd name="T44" fmla="*/ 192 w 512"/>
              <a:gd name="T45" fmla="*/ 192 h 512"/>
              <a:gd name="T46" fmla="*/ 128 w 512"/>
              <a:gd name="T47" fmla="*/ 192 h 512"/>
              <a:gd name="T48" fmla="*/ 160 w 512"/>
              <a:gd name="T49" fmla="*/ 330 h 512"/>
              <a:gd name="T50" fmla="*/ 213 w 512"/>
              <a:gd name="T51" fmla="*/ 394 h 512"/>
              <a:gd name="T52" fmla="*/ 192 w 512"/>
              <a:gd name="T53" fmla="*/ 405 h 512"/>
              <a:gd name="T54" fmla="*/ 224 w 512"/>
              <a:gd name="T55" fmla="*/ 416 h 512"/>
              <a:gd name="T56" fmla="*/ 309 w 512"/>
              <a:gd name="T57" fmla="*/ 416 h 512"/>
              <a:gd name="T58" fmla="*/ 309 w 512"/>
              <a:gd name="T59" fmla="*/ 394 h 512"/>
              <a:gd name="T60" fmla="*/ 298 w 512"/>
              <a:gd name="T61" fmla="*/ 288 h 512"/>
              <a:gd name="T62" fmla="*/ 384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77" y="138"/>
                </a:moveTo>
                <a:cubicBezTo>
                  <a:pt x="277" y="234"/>
                  <a:pt x="277" y="234"/>
                  <a:pt x="277" y="234"/>
                </a:cubicBez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close/>
                <a:moveTo>
                  <a:pt x="352" y="170"/>
                </a:moveTo>
                <a:cubicBezTo>
                  <a:pt x="346" y="170"/>
                  <a:pt x="341" y="175"/>
                  <a:pt x="341" y="181"/>
                </a:cubicBezTo>
                <a:cubicBezTo>
                  <a:pt x="341" y="234"/>
                  <a:pt x="341" y="234"/>
                  <a:pt x="341" y="234"/>
                </a:cubicBezTo>
                <a:cubicBezTo>
                  <a:pt x="341" y="240"/>
                  <a:pt x="336" y="245"/>
                  <a:pt x="330" y="245"/>
                </a:cubicBezTo>
                <a:cubicBezTo>
                  <a:pt x="298" y="245"/>
                  <a:pt x="298" y="245"/>
                  <a:pt x="298" y="245"/>
                </a:cubicBezTo>
                <a:cubicBezTo>
                  <a:pt x="298" y="266"/>
                  <a:pt x="298" y="266"/>
                  <a:pt x="298" y="266"/>
                </a:cubicBezTo>
                <a:cubicBezTo>
                  <a:pt x="352" y="266"/>
                  <a:pt x="352" y="266"/>
                  <a:pt x="352" y="266"/>
                </a:cubicBezTo>
                <a:cubicBezTo>
                  <a:pt x="358" y="266"/>
                  <a:pt x="362" y="262"/>
                  <a:pt x="362" y="256"/>
                </a:cubicBezTo>
                <a:cubicBezTo>
                  <a:pt x="362" y="181"/>
                  <a:pt x="362" y="181"/>
                  <a:pt x="362" y="181"/>
                </a:cubicBezTo>
                <a:cubicBezTo>
                  <a:pt x="362" y="175"/>
                  <a:pt x="358" y="170"/>
                  <a:pt x="352" y="170"/>
                </a:cubicBezTo>
                <a:close/>
                <a:moveTo>
                  <a:pt x="181" y="288"/>
                </a:moveTo>
                <a:cubicBezTo>
                  <a:pt x="175" y="288"/>
                  <a:pt x="170" y="283"/>
                  <a:pt x="170" y="277"/>
                </a:cubicBezTo>
                <a:cubicBezTo>
                  <a:pt x="170" y="192"/>
                  <a:pt x="170" y="192"/>
                  <a:pt x="170" y="192"/>
                </a:cubicBezTo>
                <a:cubicBezTo>
                  <a:pt x="170" y="186"/>
                  <a:pt x="166" y="181"/>
                  <a:pt x="160" y="181"/>
                </a:cubicBezTo>
                <a:cubicBezTo>
                  <a:pt x="154" y="181"/>
                  <a:pt x="149" y="186"/>
                  <a:pt x="149" y="192"/>
                </a:cubicBezTo>
                <a:cubicBezTo>
                  <a:pt x="149" y="298"/>
                  <a:pt x="149" y="298"/>
                  <a:pt x="149" y="298"/>
                </a:cubicBezTo>
                <a:cubicBezTo>
                  <a:pt x="149" y="304"/>
                  <a:pt x="154" y="309"/>
                  <a:pt x="160" y="309"/>
                </a:cubicBezTo>
                <a:cubicBezTo>
                  <a:pt x="213" y="309"/>
                  <a:pt x="213" y="309"/>
                  <a:pt x="213" y="309"/>
                </a:cubicBezTo>
                <a:cubicBezTo>
                  <a:pt x="213" y="288"/>
                  <a:pt x="213" y="288"/>
                  <a:pt x="213" y="288"/>
                </a:cubicBezTo>
                <a:lnTo>
                  <a:pt x="181"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81"/>
                </a:moveTo>
                <a:cubicBezTo>
                  <a:pt x="384" y="163"/>
                  <a:pt x="369" y="149"/>
                  <a:pt x="352" y="149"/>
                </a:cubicBez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lnTo>
                  <a:pt x="384" y="18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1" name="Freeform 310"/>
          <p:cNvSpPr>
            <a:spLocks noChangeAspect="1" noEditPoints="1"/>
          </p:cNvSpPr>
          <p:nvPr/>
        </p:nvSpPr>
        <p:spPr bwMode="auto">
          <a:xfrm>
            <a:off x="4147991" y="2533832"/>
            <a:ext cx="367982" cy="367982"/>
          </a:xfrm>
          <a:custGeom>
            <a:avLst/>
            <a:gdLst>
              <a:gd name="T0" fmla="*/ 0 w 512"/>
              <a:gd name="T1" fmla="*/ 256 h 512"/>
              <a:gd name="T2" fmla="*/ 512 w 512"/>
              <a:gd name="T3" fmla="*/ 256 h 512"/>
              <a:gd name="T4" fmla="*/ 256 w 512"/>
              <a:gd name="T5" fmla="*/ 490 h 512"/>
              <a:gd name="T6" fmla="*/ 256 w 512"/>
              <a:gd name="T7" fmla="*/ 21 h 512"/>
              <a:gd name="T8" fmla="*/ 256 w 512"/>
              <a:gd name="T9" fmla="*/ 490 h 512"/>
              <a:gd name="T10" fmla="*/ 320 w 512"/>
              <a:gd name="T11" fmla="*/ 181 h 512"/>
              <a:gd name="T12" fmla="*/ 298 w 512"/>
              <a:gd name="T13" fmla="*/ 224 h 512"/>
              <a:gd name="T14" fmla="*/ 256 w 512"/>
              <a:gd name="T15" fmla="*/ 96 h 512"/>
              <a:gd name="T16" fmla="*/ 213 w 512"/>
              <a:gd name="T17" fmla="*/ 266 h 512"/>
              <a:gd name="T18" fmla="*/ 192 w 512"/>
              <a:gd name="T19" fmla="*/ 192 h 512"/>
              <a:gd name="T20" fmla="*/ 128 w 512"/>
              <a:gd name="T21" fmla="*/ 192 h 512"/>
              <a:gd name="T22" fmla="*/ 160 w 512"/>
              <a:gd name="T23" fmla="*/ 330 h 512"/>
              <a:gd name="T24" fmla="*/ 213 w 512"/>
              <a:gd name="T25" fmla="*/ 394 h 512"/>
              <a:gd name="T26" fmla="*/ 192 w 512"/>
              <a:gd name="T27" fmla="*/ 405 h 512"/>
              <a:gd name="T28" fmla="*/ 224 w 512"/>
              <a:gd name="T29" fmla="*/ 416 h 512"/>
              <a:gd name="T30" fmla="*/ 309 w 512"/>
              <a:gd name="T31" fmla="*/ 416 h 512"/>
              <a:gd name="T32" fmla="*/ 309 w 512"/>
              <a:gd name="T33" fmla="*/ 394 h 512"/>
              <a:gd name="T34" fmla="*/ 298 w 512"/>
              <a:gd name="T35" fmla="*/ 288 h 512"/>
              <a:gd name="T36" fmla="*/ 384 w 512"/>
              <a:gd name="T37" fmla="*/ 256 h 512"/>
              <a:gd name="T38" fmla="*/ 352 w 512"/>
              <a:gd name="T39" fmla="*/ 149 h 512"/>
              <a:gd name="T40" fmla="*/ 160 w 512"/>
              <a:gd name="T41" fmla="*/ 309 h 512"/>
              <a:gd name="T42" fmla="*/ 149 w 512"/>
              <a:gd name="T43" fmla="*/ 192 h 512"/>
              <a:gd name="T44" fmla="*/ 170 w 512"/>
              <a:gd name="T45" fmla="*/ 192 h 512"/>
              <a:gd name="T46" fmla="*/ 181 w 512"/>
              <a:gd name="T47" fmla="*/ 288 h 512"/>
              <a:gd name="T48" fmla="*/ 213 w 512"/>
              <a:gd name="T49" fmla="*/ 309 h 512"/>
              <a:gd name="T50" fmla="*/ 277 w 512"/>
              <a:gd name="T51" fmla="*/ 277 h 512"/>
              <a:gd name="T52" fmla="*/ 234 w 512"/>
              <a:gd name="T53" fmla="*/ 394 h 512"/>
              <a:gd name="T54" fmla="*/ 234 w 512"/>
              <a:gd name="T55" fmla="*/ 277 h 512"/>
              <a:gd name="T56" fmla="*/ 256 w 512"/>
              <a:gd name="T57" fmla="*/ 117 h 512"/>
              <a:gd name="T58" fmla="*/ 277 w 512"/>
              <a:gd name="T59" fmla="*/ 234 h 512"/>
              <a:gd name="T60" fmla="*/ 352 w 512"/>
              <a:gd name="T61" fmla="*/ 266 h 512"/>
              <a:gd name="T62" fmla="*/ 298 w 512"/>
              <a:gd name="T63" fmla="*/ 245 h 512"/>
              <a:gd name="T64" fmla="*/ 341 w 512"/>
              <a:gd name="T65" fmla="*/ 234 h 512"/>
              <a:gd name="T66" fmla="*/ 352 w 512"/>
              <a:gd name="T67" fmla="*/ 170 h 512"/>
              <a:gd name="T68" fmla="*/ 362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52" y="149"/>
                </a:move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cubicBezTo>
                  <a:pt x="384" y="181"/>
                  <a:pt x="384" y="181"/>
                  <a:pt x="384" y="181"/>
                </a:cubicBezTo>
                <a:cubicBezTo>
                  <a:pt x="384" y="163"/>
                  <a:pt x="369" y="149"/>
                  <a:pt x="352" y="149"/>
                </a:cubicBezTo>
                <a:close/>
                <a:moveTo>
                  <a:pt x="213" y="309"/>
                </a:moveTo>
                <a:cubicBezTo>
                  <a:pt x="160" y="309"/>
                  <a:pt x="160" y="309"/>
                  <a:pt x="160" y="309"/>
                </a:cubicBezTo>
                <a:cubicBezTo>
                  <a:pt x="154" y="309"/>
                  <a:pt x="149" y="304"/>
                  <a:pt x="149" y="298"/>
                </a:cubicBezTo>
                <a:cubicBezTo>
                  <a:pt x="149" y="192"/>
                  <a:pt x="149" y="192"/>
                  <a:pt x="149" y="192"/>
                </a:cubicBezTo>
                <a:cubicBezTo>
                  <a:pt x="149" y="186"/>
                  <a:pt x="154" y="181"/>
                  <a:pt x="160" y="181"/>
                </a:cubicBezTo>
                <a:cubicBezTo>
                  <a:pt x="166" y="181"/>
                  <a:pt x="170" y="186"/>
                  <a:pt x="170" y="192"/>
                </a:cubicBezTo>
                <a:cubicBezTo>
                  <a:pt x="170" y="277"/>
                  <a:pt x="170" y="277"/>
                  <a:pt x="170" y="277"/>
                </a:cubicBezTo>
                <a:cubicBezTo>
                  <a:pt x="170" y="283"/>
                  <a:pt x="175" y="288"/>
                  <a:pt x="181" y="288"/>
                </a:cubicBezTo>
                <a:cubicBezTo>
                  <a:pt x="213" y="288"/>
                  <a:pt x="213" y="288"/>
                  <a:pt x="213" y="288"/>
                </a:cubicBezTo>
                <a:lnTo>
                  <a:pt x="213" y="309"/>
                </a:lnTo>
                <a:close/>
                <a:moveTo>
                  <a:pt x="277" y="234"/>
                </a:move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lnTo>
                  <a:pt x="277" y="234"/>
                </a:lnTo>
                <a:close/>
                <a:moveTo>
                  <a:pt x="362" y="256"/>
                </a:moveTo>
                <a:cubicBezTo>
                  <a:pt x="362" y="262"/>
                  <a:pt x="358" y="266"/>
                  <a:pt x="352" y="266"/>
                </a:cubicBezTo>
                <a:cubicBezTo>
                  <a:pt x="298" y="266"/>
                  <a:pt x="298" y="266"/>
                  <a:pt x="298" y="266"/>
                </a:cubicBezTo>
                <a:cubicBezTo>
                  <a:pt x="298" y="245"/>
                  <a:pt x="298" y="245"/>
                  <a:pt x="298" y="245"/>
                </a:cubicBezTo>
                <a:cubicBezTo>
                  <a:pt x="330" y="245"/>
                  <a:pt x="330" y="245"/>
                  <a:pt x="330" y="245"/>
                </a:cubicBezTo>
                <a:cubicBezTo>
                  <a:pt x="336" y="245"/>
                  <a:pt x="341" y="240"/>
                  <a:pt x="341" y="234"/>
                </a:cubicBezTo>
                <a:cubicBezTo>
                  <a:pt x="341" y="181"/>
                  <a:pt x="341" y="181"/>
                  <a:pt x="341" y="181"/>
                </a:cubicBezTo>
                <a:cubicBezTo>
                  <a:pt x="341" y="175"/>
                  <a:pt x="346" y="170"/>
                  <a:pt x="352" y="170"/>
                </a:cubicBezTo>
                <a:cubicBezTo>
                  <a:pt x="358" y="170"/>
                  <a:pt x="362" y="175"/>
                  <a:pt x="362" y="181"/>
                </a:cubicBezTo>
                <a:lnTo>
                  <a:pt x="362" y="25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2" name="Freeform 769"/>
          <p:cNvSpPr>
            <a:spLocks noChangeAspect="1" noEditPoints="1"/>
          </p:cNvSpPr>
          <p:nvPr/>
        </p:nvSpPr>
        <p:spPr bwMode="auto">
          <a:xfrm>
            <a:off x="4567972" y="253383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3" name="Group 772"/>
          <p:cNvGrpSpPr>
            <a:grpSpLocks noChangeAspect="1"/>
          </p:cNvGrpSpPr>
          <p:nvPr/>
        </p:nvGrpSpPr>
        <p:grpSpPr bwMode="auto">
          <a:xfrm>
            <a:off x="4989035" y="2533832"/>
            <a:ext cx="367982" cy="367982"/>
            <a:chOff x="3547" y="3177"/>
            <a:chExt cx="340" cy="340"/>
          </a:xfrm>
          <a:solidFill>
            <a:schemeClr val="accent3"/>
          </a:solidFill>
        </p:grpSpPr>
        <p:sp>
          <p:nvSpPr>
            <p:cNvPr id="314" name="Freeform 773"/>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774"/>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6" name="Freeform 778"/>
          <p:cNvSpPr>
            <a:spLocks noChangeAspect="1" noEditPoints="1"/>
          </p:cNvSpPr>
          <p:nvPr/>
        </p:nvSpPr>
        <p:spPr bwMode="auto">
          <a:xfrm>
            <a:off x="5409016" y="253383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7" name="Group 781"/>
          <p:cNvGrpSpPr>
            <a:grpSpLocks noChangeAspect="1"/>
          </p:cNvGrpSpPr>
          <p:nvPr/>
        </p:nvGrpSpPr>
        <p:grpSpPr bwMode="auto">
          <a:xfrm>
            <a:off x="5830079" y="2533832"/>
            <a:ext cx="367982" cy="367982"/>
            <a:chOff x="3805" y="3387"/>
            <a:chExt cx="340" cy="340"/>
          </a:xfrm>
          <a:solidFill>
            <a:schemeClr val="accent1"/>
          </a:solidFill>
        </p:grpSpPr>
        <p:sp>
          <p:nvSpPr>
            <p:cNvPr id="318" name="Freeform 782"/>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Freeform 783"/>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0" name="Freeform 787"/>
          <p:cNvSpPr>
            <a:spLocks noChangeAspect="1" noEditPoints="1"/>
          </p:cNvSpPr>
          <p:nvPr/>
        </p:nvSpPr>
        <p:spPr bwMode="auto">
          <a:xfrm>
            <a:off x="6250060" y="2533832"/>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1" name="Group 790"/>
          <p:cNvGrpSpPr>
            <a:grpSpLocks noChangeAspect="1"/>
          </p:cNvGrpSpPr>
          <p:nvPr/>
        </p:nvGrpSpPr>
        <p:grpSpPr bwMode="auto">
          <a:xfrm>
            <a:off x="6670041" y="2533832"/>
            <a:ext cx="367982" cy="367982"/>
            <a:chOff x="3489" y="3105"/>
            <a:chExt cx="340" cy="340"/>
          </a:xfrm>
          <a:solidFill>
            <a:schemeClr val="accent3"/>
          </a:solidFill>
        </p:grpSpPr>
        <p:sp>
          <p:nvSpPr>
            <p:cNvPr id="322" name="Freeform 321"/>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322"/>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4" name="Freeform 796"/>
          <p:cNvSpPr>
            <a:spLocks noChangeAspect="1" noEditPoints="1"/>
          </p:cNvSpPr>
          <p:nvPr/>
        </p:nvSpPr>
        <p:spPr bwMode="auto">
          <a:xfrm>
            <a:off x="7090022" y="2533832"/>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5" name="Group 799"/>
          <p:cNvGrpSpPr>
            <a:grpSpLocks noChangeAspect="1"/>
          </p:cNvGrpSpPr>
          <p:nvPr/>
        </p:nvGrpSpPr>
        <p:grpSpPr bwMode="auto">
          <a:xfrm>
            <a:off x="7507573" y="2533832"/>
            <a:ext cx="367982" cy="367982"/>
            <a:chOff x="5187" y="3469"/>
            <a:chExt cx="340" cy="340"/>
          </a:xfrm>
          <a:solidFill>
            <a:schemeClr val="accent4"/>
          </a:solidFill>
        </p:grpSpPr>
        <p:sp>
          <p:nvSpPr>
            <p:cNvPr id="326" name="Freeform 800"/>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01"/>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8" name="Freeform 805"/>
          <p:cNvSpPr>
            <a:spLocks noChangeAspect="1" noEditPoints="1"/>
          </p:cNvSpPr>
          <p:nvPr/>
        </p:nvSpPr>
        <p:spPr bwMode="auto">
          <a:xfrm>
            <a:off x="7929984" y="2533832"/>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9" name="Group 808"/>
          <p:cNvGrpSpPr>
            <a:grpSpLocks noChangeAspect="1"/>
          </p:cNvGrpSpPr>
          <p:nvPr/>
        </p:nvGrpSpPr>
        <p:grpSpPr bwMode="auto">
          <a:xfrm>
            <a:off x="8349963" y="2533832"/>
            <a:ext cx="367982" cy="369064"/>
            <a:chOff x="5376" y="3657"/>
            <a:chExt cx="340" cy="341"/>
          </a:xfrm>
          <a:solidFill>
            <a:schemeClr val="accent3"/>
          </a:solidFill>
        </p:grpSpPr>
        <p:sp>
          <p:nvSpPr>
            <p:cNvPr id="330" name="Freeform 809"/>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10"/>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2" name="Group 331"/>
          <p:cNvGrpSpPr>
            <a:grpSpLocks noChangeAspect="1"/>
          </p:cNvGrpSpPr>
          <p:nvPr/>
        </p:nvGrpSpPr>
        <p:grpSpPr bwMode="auto">
          <a:xfrm>
            <a:off x="792856" y="3361334"/>
            <a:ext cx="367982" cy="367982"/>
            <a:chOff x="6579" y="3604"/>
            <a:chExt cx="340" cy="340"/>
          </a:xfrm>
          <a:solidFill>
            <a:schemeClr val="accent3"/>
          </a:solidFill>
        </p:grpSpPr>
        <p:sp>
          <p:nvSpPr>
            <p:cNvPr id="333"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5" name="Freeform 334"/>
          <p:cNvSpPr>
            <a:spLocks noChangeAspect="1" noEditPoints="1"/>
          </p:cNvSpPr>
          <p:nvPr/>
        </p:nvSpPr>
        <p:spPr bwMode="auto">
          <a:xfrm>
            <a:off x="372846" y="3361334"/>
            <a:ext cx="367982" cy="367982"/>
          </a:xfrm>
          <a:custGeom>
            <a:avLst/>
            <a:gdLst>
              <a:gd name="T0" fmla="*/ 247 w 512"/>
              <a:gd name="T1" fmla="*/ 145 h 512"/>
              <a:gd name="T2" fmla="*/ 257 w 512"/>
              <a:gd name="T3" fmla="*/ 131 h 512"/>
              <a:gd name="T4" fmla="*/ 266 w 512"/>
              <a:gd name="T5" fmla="*/ 143 h 512"/>
              <a:gd name="T6" fmla="*/ 268 w 512"/>
              <a:gd name="T7" fmla="*/ 149 h 512"/>
              <a:gd name="T8" fmla="*/ 257 w 512"/>
              <a:gd name="T9" fmla="*/ 160 h 512"/>
              <a:gd name="T10" fmla="*/ 257 w 512"/>
              <a:gd name="T11" fmla="*/ 160 h 512"/>
              <a:gd name="T12" fmla="*/ 256 w 512"/>
              <a:gd name="T13" fmla="*/ 160 h 512"/>
              <a:gd name="T14" fmla="*/ 245 w 512"/>
              <a:gd name="T15" fmla="*/ 309 h 512"/>
              <a:gd name="T16" fmla="*/ 266 w 512"/>
              <a:gd name="T17" fmla="*/ 309 h 512"/>
              <a:gd name="T18" fmla="*/ 288 w 512"/>
              <a:gd name="T19" fmla="*/ 352 h 512"/>
              <a:gd name="T20" fmla="*/ 224 w 512"/>
              <a:gd name="T21" fmla="*/ 224 h 512"/>
              <a:gd name="T22" fmla="*/ 245 w 512"/>
              <a:gd name="T23" fmla="*/ 352 h 512"/>
              <a:gd name="T24" fmla="*/ 185 w 512"/>
              <a:gd name="T25" fmla="*/ 394 h 512"/>
              <a:gd name="T26" fmla="*/ 347 w 512"/>
              <a:gd name="T27" fmla="*/ 373 h 512"/>
              <a:gd name="T28" fmla="*/ 185 w 512"/>
              <a:gd name="T29" fmla="*/ 394 h 512"/>
              <a:gd name="T30" fmla="*/ 256 w 512"/>
              <a:gd name="T31" fmla="*/ 512 h 512"/>
              <a:gd name="T32" fmla="*/ 256 w 512"/>
              <a:gd name="T33" fmla="*/ 0 h 512"/>
              <a:gd name="T34" fmla="*/ 225 w 512"/>
              <a:gd name="T35" fmla="*/ 149 h 512"/>
              <a:gd name="T36" fmla="*/ 254 w 512"/>
              <a:gd name="T37" fmla="*/ 181 h 512"/>
              <a:gd name="T38" fmla="*/ 257 w 512"/>
              <a:gd name="T39" fmla="*/ 181 h 512"/>
              <a:gd name="T40" fmla="*/ 261 w 512"/>
              <a:gd name="T41" fmla="*/ 181 h 512"/>
              <a:gd name="T42" fmla="*/ 287 w 512"/>
              <a:gd name="T43" fmla="*/ 137 h 512"/>
              <a:gd name="T44" fmla="*/ 284 w 512"/>
              <a:gd name="T45" fmla="*/ 131 h 512"/>
              <a:gd name="T46" fmla="*/ 275 w 512"/>
              <a:gd name="T47" fmla="*/ 120 h 512"/>
              <a:gd name="T48" fmla="*/ 257 w 512"/>
              <a:gd name="T49" fmla="*/ 96 h 512"/>
              <a:gd name="T50" fmla="*/ 252 w 512"/>
              <a:gd name="T51" fmla="*/ 96 h 512"/>
              <a:gd name="T52" fmla="*/ 239 w 512"/>
              <a:gd name="T53" fmla="*/ 119 h 512"/>
              <a:gd name="T54" fmla="*/ 230 w 512"/>
              <a:gd name="T55" fmla="*/ 131 h 512"/>
              <a:gd name="T56" fmla="*/ 228 w 512"/>
              <a:gd name="T57" fmla="*/ 137 h 512"/>
              <a:gd name="T58" fmla="*/ 383 w 512"/>
              <a:gd name="T59" fmla="*/ 358 h 512"/>
              <a:gd name="T60" fmla="*/ 309 w 512"/>
              <a:gd name="T61" fmla="*/ 352 h 512"/>
              <a:gd name="T62" fmla="*/ 298 w 512"/>
              <a:gd name="T63" fmla="*/ 202 h 512"/>
              <a:gd name="T64" fmla="*/ 202 w 512"/>
              <a:gd name="T65" fmla="*/ 213 h 512"/>
              <a:gd name="T66" fmla="*/ 138 w 512"/>
              <a:gd name="T67" fmla="*/ 352 h 512"/>
              <a:gd name="T68" fmla="*/ 131 w 512"/>
              <a:gd name="T69" fmla="*/ 370 h 512"/>
              <a:gd name="T70" fmla="*/ 181 w 512"/>
              <a:gd name="T71" fmla="*/ 416 h 512"/>
              <a:gd name="T72" fmla="*/ 338 w 512"/>
              <a:gd name="T73" fmla="*/ 413 h 512"/>
              <a:gd name="T74" fmla="*/ 383 w 512"/>
              <a:gd name="T7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6" y="149"/>
                </a:moveTo>
                <a:cubicBezTo>
                  <a:pt x="246" y="148"/>
                  <a:pt x="247" y="147"/>
                  <a:pt x="247" y="145"/>
                </a:cubicBezTo>
                <a:cubicBezTo>
                  <a:pt x="249" y="143"/>
                  <a:pt x="249" y="143"/>
                  <a:pt x="249" y="143"/>
                </a:cubicBezTo>
                <a:cubicBezTo>
                  <a:pt x="250" y="141"/>
                  <a:pt x="254" y="136"/>
                  <a:pt x="257" y="131"/>
                </a:cubicBezTo>
                <a:cubicBezTo>
                  <a:pt x="257" y="131"/>
                  <a:pt x="257" y="131"/>
                  <a:pt x="257" y="132"/>
                </a:cubicBezTo>
                <a:cubicBezTo>
                  <a:pt x="261" y="136"/>
                  <a:pt x="265" y="141"/>
                  <a:pt x="266" y="143"/>
                </a:cubicBezTo>
                <a:cubicBezTo>
                  <a:pt x="268" y="146"/>
                  <a:pt x="268" y="146"/>
                  <a:pt x="268" y="146"/>
                </a:cubicBezTo>
                <a:cubicBezTo>
                  <a:pt x="268" y="147"/>
                  <a:pt x="268" y="148"/>
                  <a:pt x="268" y="149"/>
                </a:cubicBezTo>
                <a:cubicBezTo>
                  <a:pt x="268" y="154"/>
                  <a:pt x="264" y="159"/>
                  <a:pt x="258" y="160"/>
                </a:cubicBezTo>
                <a:cubicBezTo>
                  <a:pt x="258" y="160"/>
                  <a:pt x="258" y="160"/>
                  <a:pt x="257" y="160"/>
                </a:cubicBezTo>
                <a:cubicBezTo>
                  <a:pt x="257" y="160"/>
                  <a:pt x="257" y="160"/>
                  <a:pt x="257" y="160"/>
                </a:cubicBezTo>
                <a:cubicBezTo>
                  <a:pt x="257" y="160"/>
                  <a:pt x="257" y="160"/>
                  <a:pt x="257" y="160"/>
                </a:cubicBezTo>
                <a:cubicBezTo>
                  <a:pt x="257" y="160"/>
                  <a:pt x="256" y="160"/>
                  <a:pt x="256" y="160"/>
                </a:cubicBezTo>
                <a:cubicBezTo>
                  <a:pt x="256" y="160"/>
                  <a:pt x="256" y="160"/>
                  <a:pt x="256" y="160"/>
                </a:cubicBezTo>
                <a:cubicBezTo>
                  <a:pt x="251" y="159"/>
                  <a:pt x="246" y="154"/>
                  <a:pt x="246" y="149"/>
                </a:cubicBezTo>
                <a:close/>
                <a:moveTo>
                  <a:pt x="245" y="309"/>
                </a:moveTo>
                <a:cubicBezTo>
                  <a:pt x="245" y="303"/>
                  <a:pt x="250" y="298"/>
                  <a:pt x="256" y="298"/>
                </a:cubicBezTo>
                <a:cubicBezTo>
                  <a:pt x="262" y="298"/>
                  <a:pt x="266" y="303"/>
                  <a:pt x="266" y="309"/>
                </a:cubicBezTo>
                <a:cubicBezTo>
                  <a:pt x="266" y="352"/>
                  <a:pt x="266" y="352"/>
                  <a:pt x="266" y="352"/>
                </a:cubicBezTo>
                <a:cubicBezTo>
                  <a:pt x="288" y="352"/>
                  <a:pt x="288" y="352"/>
                  <a:pt x="288" y="352"/>
                </a:cubicBezTo>
                <a:cubicBezTo>
                  <a:pt x="288" y="224"/>
                  <a:pt x="288" y="224"/>
                  <a:pt x="288" y="224"/>
                </a:cubicBezTo>
                <a:cubicBezTo>
                  <a:pt x="224" y="224"/>
                  <a:pt x="224" y="224"/>
                  <a:pt x="224" y="224"/>
                </a:cubicBezTo>
                <a:cubicBezTo>
                  <a:pt x="224" y="352"/>
                  <a:pt x="224" y="352"/>
                  <a:pt x="224" y="352"/>
                </a:cubicBezTo>
                <a:cubicBezTo>
                  <a:pt x="245" y="352"/>
                  <a:pt x="245" y="352"/>
                  <a:pt x="245" y="352"/>
                </a:cubicBezTo>
                <a:lnTo>
                  <a:pt x="245" y="309"/>
                </a:lnTo>
                <a:close/>
                <a:moveTo>
                  <a:pt x="185" y="394"/>
                </a:moveTo>
                <a:cubicBezTo>
                  <a:pt x="326" y="394"/>
                  <a:pt x="326" y="394"/>
                  <a:pt x="326" y="394"/>
                </a:cubicBezTo>
                <a:cubicBezTo>
                  <a:pt x="347" y="373"/>
                  <a:pt x="347" y="373"/>
                  <a:pt x="347" y="373"/>
                </a:cubicBezTo>
                <a:cubicBezTo>
                  <a:pt x="164" y="373"/>
                  <a:pt x="164" y="373"/>
                  <a:pt x="164" y="373"/>
                </a:cubicBezTo>
                <a:lnTo>
                  <a:pt x="18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5" y="149"/>
                </a:moveTo>
                <a:cubicBezTo>
                  <a:pt x="225" y="165"/>
                  <a:pt x="237" y="179"/>
                  <a:pt x="253" y="181"/>
                </a:cubicBezTo>
                <a:cubicBezTo>
                  <a:pt x="254" y="181"/>
                  <a:pt x="254" y="181"/>
                  <a:pt x="254" y="181"/>
                </a:cubicBezTo>
                <a:cubicBezTo>
                  <a:pt x="255" y="181"/>
                  <a:pt x="255" y="181"/>
                  <a:pt x="256" y="181"/>
                </a:cubicBezTo>
                <a:cubicBezTo>
                  <a:pt x="257" y="181"/>
                  <a:pt x="257" y="181"/>
                  <a:pt x="257" y="181"/>
                </a:cubicBezTo>
                <a:cubicBezTo>
                  <a:pt x="257" y="181"/>
                  <a:pt x="257" y="181"/>
                  <a:pt x="257" y="181"/>
                </a:cubicBezTo>
                <a:cubicBezTo>
                  <a:pt x="259" y="181"/>
                  <a:pt x="260" y="181"/>
                  <a:pt x="261" y="181"/>
                </a:cubicBezTo>
                <a:cubicBezTo>
                  <a:pt x="277" y="179"/>
                  <a:pt x="290" y="165"/>
                  <a:pt x="290" y="149"/>
                </a:cubicBezTo>
                <a:cubicBezTo>
                  <a:pt x="290" y="145"/>
                  <a:pt x="289" y="141"/>
                  <a:pt x="287" y="137"/>
                </a:cubicBezTo>
                <a:cubicBezTo>
                  <a:pt x="287" y="136"/>
                  <a:pt x="287" y="136"/>
                  <a:pt x="287" y="135"/>
                </a:cubicBezTo>
                <a:cubicBezTo>
                  <a:pt x="284" y="131"/>
                  <a:pt x="284" y="131"/>
                  <a:pt x="284" y="131"/>
                </a:cubicBezTo>
                <a:cubicBezTo>
                  <a:pt x="284" y="131"/>
                  <a:pt x="284" y="130"/>
                  <a:pt x="283" y="130"/>
                </a:cubicBezTo>
                <a:cubicBezTo>
                  <a:pt x="283" y="130"/>
                  <a:pt x="278" y="124"/>
                  <a:pt x="275" y="120"/>
                </a:cubicBezTo>
                <a:cubicBezTo>
                  <a:pt x="272" y="115"/>
                  <a:pt x="270" y="111"/>
                  <a:pt x="270" y="108"/>
                </a:cubicBezTo>
                <a:cubicBezTo>
                  <a:pt x="269" y="101"/>
                  <a:pt x="264" y="96"/>
                  <a:pt x="257" y="96"/>
                </a:cubicBezTo>
                <a:cubicBezTo>
                  <a:pt x="257" y="96"/>
                  <a:pt x="257" y="96"/>
                  <a:pt x="256" y="96"/>
                </a:cubicBezTo>
                <a:cubicBezTo>
                  <a:pt x="255" y="96"/>
                  <a:pt x="254" y="96"/>
                  <a:pt x="252" y="96"/>
                </a:cubicBezTo>
                <a:cubicBezTo>
                  <a:pt x="248" y="98"/>
                  <a:pt x="244" y="102"/>
                  <a:pt x="244" y="108"/>
                </a:cubicBezTo>
                <a:cubicBezTo>
                  <a:pt x="244" y="111"/>
                  <a:pt x="242" y="115"/>
                  <a:pt x="239" y="119"/>
                </a:cubicBezTo>
                <a:cubicBezTo>
                  <a:pt x="236" y="124"/>
                  <a:pt x="231" y="130"/>
                  <a:pt x="231" y="130"/>
                </a:cubicBezTo>
                <a:cubicBezTo>
                  <a:pt x="231" y="130"/>
                  <a:pt x="231" y="131"/>
                  <a:pt x="230" y="131"/>
                </a:cubicBezTo>
                <a:cubicBezTo>
                  <a:pt x="228" y="136"/>
                  <a:pt x="228" y="136"/>
                  <a:pt x="228" y="136"/>
                </a:cubicBezTo>
                <a:cubicBezTo>
                  <a:pt x="228" y="136"/>
                  <a:pt x="228" y="136"/>
                  <a:pt x="228" y="137"/>
                </a:cubicBezTo>
                <a:cubicBezTo>
                  <a:pt x="226" y="141"/>
                  <a:pt x="225" y="145"/>
                  <a:pt x="225" y="149"/>
                </a:cubicBezTo>
                <a:close/>
                <a:moveTo>
                  <a:pt x="383" y="358"/>
                </a:moveTo>
                <a:cubicBezTo>
                  <a:pt x="381" y="354"/>
                  <a:pt x="377" y="352"/>
                  <a:pt x="373" y="352"/>
                </a:cubicBezTo>
                <a:cubicBezTo>
                  <a:pt x="309" y="352"/>
                  <a:pt x="309" y="352"/>
                  <a:pt x="309" y="352"/>
                </a:cubicBezTo>
                <a:cubicBezTo>
                  <a:pt x="309" y="213"/>
                  <a:pt x="309" y="213"/>
                  <a:pt x="309" y="213"/>
                </a:cubicBezTo>
                <a:cubicBezTo>
                  <a:pt x="309" y="207"/>
                  <a:pt x="304" y="202"/>
                  <a:pt x="298" y="202"/>
                </a:cubicBezTo>
                <a:cubicBezTo>
                  <a:pt x="213" y="202"/>
                  <a:pt x="213" y="202"/>
                  <a:pt x="213" y="202"/>
                </a:cubicBezTo>
                <a:cubicBezTo>
                  <a:pt x="207" y="202"/>
                  <a:pt x="202" y="207"/>
                  <a:pt x="202" y="213"/>
                </a:cubicBezTo>
                <a:cubicBezTo>
                  <a:pt x="202" y="352"/>
                  <a:pt x="202" y="352"/>
                  <a:pt x="202" y="352"/>
                </a:cubicBezTo>
                <a:cubicBezTo>
                  <a:pt x="138" y="352"/>
                  <a:pt x="138" y="352"/>
                  <a:pt x="138" y="352"/>
                </a:cubicBezTo>
                <a:cubicBezTo>
                  <a:pt x="134" y="352"/>
                  <a:pt x="130" y="354"/>
                  <a:pt x="128" y="358"/>
                </a:cubicBezTo>
                <a:cubicBezTo>
                  <a:pt x="127" y="362"/>
                  <a:pt x="128" y="367"/>
                  <a:pt x="131" y="370"/>
                </a:cubicBezTo>
                <a:cubicBezTo>
                  <a:pt x="173" y="413"/>
                  <a:pt x="173" y="413"/>
                  <a:pt x="173" y="413"/>
                </a:cubicBezTo>
                <a:cubicBezTo>
                  <a:pt x="175" y="415"/>
                  <a:pt x="178" y="416"/>
                  <a:pt x="181" y="416"/>
                </a:cubicBezTo>
                <a:cubicBezTo>
                  <a:pt x="330" y="416"/>
                  <a:pt x="330" y="416"/>
                  <a:pt x="330" y="416"/>
                </a:cubicBezTo>
                <a:cubicBezTo>
                  <a:pt x="333" y="416"/>
                  <a:pt x="336" y="415"/>
                  <a:pt x="338" y="413"/>
                </a:cubicBezTo>
                <a:cubicBezTo>
                  <a:pt x="381" y="370"/>
                  <a:pt x="381" y="370"/>
                  <a:pt x="381" y="370"/>
                </a:cubicBezTo>
                <a:cubicBezTo>
                  <a:pt x="384" y="367"/>
                  <a:pt x="385" y="362"/>
                  <a:pt x="383" y="35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6" name="Freeform 899"/>
          <p:cNvSpPr>
            <a:spLocks noChangeAspect="1" noEditPoints="1"/>
          </p:cNvSpPr>
          <p:nvPr/>
        </p:nvSpPr>
        <p:spPr bwMode="auto">
          <a:xfrm>
            <a:off x="6252986" y="3361334"/>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7" name="Group 902"/>
          <p:cNvGrpSpPr>
            <a:grpSpLocks noChangeAspect="1"/>
          </p:cNvGrpSpPr>
          <p:nvPr/>
        </p:nvGrpSpPr>
        <p:grpSpPr bwMode="auto">
          <a:xfrm>
            <a:off x="6672996" y="3361334"/>
            <a:ext cx="367982" cy="367982"/>
            <a:chOff x="4880" y="3759"/>
            <a:chExt cx="340" cy="340"/>
          </a:xfrm>
          <a:solidFill>
            <a:schemeClr val="accent4"/>
          </a:solidFill>
        </p:grpSpPr>
        <p:sp>
          <p:nvSpPr>
            <p:cNvPr id="338"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Freeform 917"/>
          <p:cNvSpPr>
            <a:spLocks noChangeAspect="1" noEditPoints="1"/>
          </p:cNvSpPr>
          <p:nvPr/>
        </p:nvSpPr>
        <p:spPr bwMode="auto">
          <a:xfrm>
            <a:off x="4572946" y="3361334"/>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1" name="Group 920"/>
          <p:cNvGrpSpPr>
            <a:grpSpLocks noChangeAspect="1"/>
          </p:cNvGrpSpPr>
          <p:nvPr/>
        </p:nvGrpSpPr>
        <p:grpSpPr bwMode="auto">
          <a:xfrm>
            <a:off x="4992956" y="3361334"/>
            <a:ext cx="367982" cy="367982"/>
            <a:chOff x="5645" y="4510"/>
            <a:chExt cx="340" cy="340"/>
          </a:xfrm>
          <a:solidFill>
            <a:schemeClr val="accent4"/>
          </a:solidFill>
        </p:grpSpPr>
        <p:sp>
          <p:nvSpPr>
            <p:cNvPr id="34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4" name="Freeform 926"/>
          <p:cNvSpPr>
            <a:spLocks noChangeAspect="1" noEditPoints="1"/>
          </p:cNvSpPr>
          <p:nvPr/>
        </p:nvSpPr>
        <p:spPr bwMode="auto">
          <a:xfrm>
            <a:off x="5412966" y="3361334"/>
            <a:ext cx="367982" cy="367982"/>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5" name="Group 929"/>
          <p:cNvGrpSpPr>
            <a:grpSpLocks noChangeAspect="1"/>
          </p:cNvGrpSpPr>
          <p:nvPr/>
        </p:nvGrpSpPr>
        <p:grpSpPr bwMode="auto">
          <a:xfrm>
            <a:off x="5832976" y="3361334"/>
            <a:ext cx="367982" cy="367982"/>
            <a:chOff x="5834" y="4699"/>
            <a:chExt cx="340" cy="340"/>
          </a:xfrm>
          <a:solidFill>
            <a:schemeClr val="accent6"/>
          </a:solidFill>
        </p:grpSpPr>
        <p:sp>
          <p:nvSpPr>
            <p:cNvPr id="346" name="Freeform 345"/>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Freeform 346"/>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8" name="Freeform 935"/>
          <p:cNvSpPr>
            <a:spLocks noChangeAspect="1" noEditPoints="1"/>
          </p:cNvSpPr>
          <p:nvPr/>
        </p:nvSpPr>
        <p:spPr bwMode="auto">
          <a:xfrm>
            <a:off x="1212866" y="3361334"/>
            <a:ext cx="367982" cy="36798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9" name="Group 938"/>
          <p:cNvGrpSpPr>
            <a:grpSpLocks noChangeAspect="1"/>
          </p:cNvGrpSpPr>
          <p:nvPr/>
        </p:nvGrpSpPr>
        <p:grpSpPr bwMode="auto">
          <a:xfrm>
            <a:off x="1632876" y="3361334"/>
            <a:ext cx="367982" cy="367982"/>
            <a:chOff x="942" y="3861"/>
            <a:chExt cx="340" cy="340"/>
          </a:xfrm>
          <a:solidFill>
            <a:schemeClr val="accent5"/>
          </a:solidFill>
        </p:grpSpPr>
        <p:sp>
          <p:nvSpPr>
            <p:cNvPr id="350"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2" name="Freeform 944"/>
          <p:cNvSpPr>
            <a:spLocks noChangeAspect="1" noEditPoints="1"/>
          </p:cNvSpPr>
          <p:nvPr/>
        </p:nvSpPr>
        <p:spPr bwMode="auto">
          <a:xfrm>
            <a:off x="2052886" y="3361334"/>
            <a:ext cx="367982"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3" name="Group 947"/>
          <p:cNvGrpSpPr>
            <a:grpSpLocks noChangeAspect="1"/>
          </p:cNvGrpSpPr>
          <p:nvPr/>
        </p:nvGrpSpPr>
        <p:grpSpPr bwMode="auto">
          <a:xfrm>
            <a:off x="2472896" y="3361334"/>
            <a:ext cx="367982" cy="367982"/>
            <a:chOff x="1851" y="3960"/>
            <a:chExt cx="340" cy="340"/>
          </a:xfrm>
          <a:solidFill>
            <a:schemeClr val="accent5"/>
          </a:solidFill>
        </p:grpSpPr>
        <p:sp>
          <p:nvSpPr>
            <p:cNvPr id="35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6" name="Freeform 953"/>
          <p:cNvSpPr>
            <a:spLocks noChangeAspect="1" noEditPoints="1"/>
          </p:cNvSpPr>
          <p:nvPr/>
        </p:nvSpPr>
        <p:spPr bwMode="auto">
          <a:xfrm>
            <a:off x="2892906" y="3361334"/>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7" name="Group 956"/>
          <p:cNvGrpSpPr>
            <a:grpSpLocks noChangeAspect="1"/>
          </p:cNvGrpSpPr>
          <p:nvPr/>
        </p:nvGrpSpPr>
        <p:grpSpPr bwMode="auto">
          <a:xfrm>
            <a:off x="3312916" y="3361334"/>
            <a:ext cx="367982" cy="367982"/>
            <a:chOff x="2474" y="4027"/>
            <a:chExt cx="340" cy="340"/>
          </a:xfrm>
          <a:solidFill>
            <a:schemeClr val="accent1"/>
          </a:solidFill>
        </p:grpSpPr>
        <p:sp>
          <p:nvSpPr>
            <p:cNvPr id="358"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0" name="Freeform 962"/>
          <p:cNvSpPr>
            <a:spLocks noChangeAspect="1" noEditPoints="1"/>
          </p:cNvSpPr>
          <p:nvPr/>
        </p:nvSpPr>
        <p:spPr bwMode="auto">
          <a:xfrm>
            <a:off x="3732926" y="3361334"/>
            <a:ext cx="367982" cy="367982"/>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1" name="Group 965"/>
          <p:cNvGrpSpPr>
            <a:grpSpLocks noChangeAspect="1"/>
          </p:cNvGrpSpPr>
          <p:nvPr/>
        </p:nvGrpSpPr>
        <p:grpSpPr bwMode="auto">
          <a:xfrm>
            <a:off x="4152936" y="3361334"/>
            <a:ext cx="367982" cy="369064"/>
            <a:chOff x="3319" y="4077"/>
            <a:chExt cx="340" cy="341"/>
          </a:xfrm>
          <a:solidFill>
            <a:schemeClr val="accent5"/>
          </a:solidFill>
        </p:grpSpPr>
        <p:sp>
          <p:nvSpPr>
            <p:cNvPr id="362"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4" name="Freeform 980"/>
          <p:cNvSpPr>
            <a:spLocks noChangeAspect="1" noEditPoints="1"/>
          </p:cNvSpPr>
          <p:nvPr/>
        </p:nvSpPr>
        <p:spPr bwMode="auto">
          <a:xfrm>
            <a:off x="7093006" y="3361334"/>
            <a:ext cx="367982" cy="367982"/>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5" name="Freeform 984"/>
          <p:cNvSpPr>
            <a:spLocks noChangeAspect="1" noEditPoints="1"/>
          </p:cNvSpPr>
          <p:nvPr/>
        </p:nvSpPr>
        <p:spPr bwMode="auto">
          <a:xfrm>
            <a:off x="7513016" y="3361334"/>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6" name="Freeform 988"/>
          <p:cNvSpPr>
            <a:spLocks noChangeAspect="1" noEditPoints="1"/>
          </p:cNvSpPr>
          <p:nvPr/>
        </p:nvSpPr>
        <p:spPr bwMode="auto">
          <a:xfrm>
            <a:off x="7933026" y="3361334"/>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7" name="Group 991"/>
          <p:cNvGrpSpPr>
            <a:grpSpLocks noChangeAspect="1"/>
          </p:cNvGrpSpPr>
          <p:nvPr/>
        </p:nvGrpSpPr>
        <p:grpSpPr bwMode="auto">
          <a:xfrm>
            <a:off x="8353041" y="3361334"/>
            <a:ext cx="369064" cy="367982"/>
            <a:chOff x="5285" y="4317"/>
            <a:chExt cx="341" cy="340"/>
          </a:xfrm>
          <a:solidFill>
            <a:schemeClr val="accent5"/>
          </a:solidFill>
        </p:grpSpPr>
        <p:sp>
          <p:nvSpPr>
            <p:cNvPr id="368" name="Freeform 992"/>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993"/>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6" name="Group 771"/>
          <p:cNvGrpSpPr>
            <a:grpSpLocks noChangeAspect="1"/>
          </p:cNvGrpSpPr>
          <p:nvPr/>
        </p:nvGrpSpPr>
        <p:grpSpPr bwMode="auto">
          <a:xfrm>
            <a:off x="1208826" y="2533832"/>
            <a:ext cx="367631" cy="367631"/>
            <a:chOff x="6303" y="3281"/>
            <a:chExt cx="340" cy="340"/>
          </a:xfrm>
          <a:solidFill>
            <a:schemeClr val="accent2"/>
          </a:solidFill>
        </p:grpSpPr>
        <p:sp>
          <p:nvSpPr>
            <p:cNvPr id="537" name="Freeform 772"/>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8" name="Freeform 773"/>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9" name="Group 776"/>
          <p:cNvGrpSpPr>
            <a:grpSpLocks noChangeAspect="1"/>
          </p:cNvGrpSpPr>
          <p:nvPr/>
        </p:nvGrpSpPr>
        <p:grpSpPr bwMode="auto">
          <a:xfrm>
            <a:off x="1628456" y="2533832"/>
            <a:ext cx="367631" cy="367631"/>
            <a:chOff x="6852" y="3483"/>
            <a:chExt cx="340" cy="340"/>
          </a:xfrm>
          <a:solidFill>
            <a:schemeClr val="accent2"/>
          </a:solidFill>
        </p:grpSpPr>
        <p:sp>
          <p:nvSpPr>
            <p:cNvPr id="540" name="Freeform 777"/>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1" name="Freeform 778"/>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48" name="Freeform 606"/>
          <p:cNvSpPr>
            <a:spLocks noChangeAspect="1" noEditPoints="1"/>
          </p:cNvSpPr>
          <p:nvPr/>
        </p:nvSpPr>
        <p:spPr bwMode="auto">
          <a:xfrm>
            <a:off x="367403" y="1705051"/>
            <a:ext cx="367631" cy="367631"/>
          </a:xfrm>
          <a:custGeom>
            <a:avLst/>
            <a:gdLst>
              <a:gd name="T0" fmla="*/ 0 w 512"/>
              <a:gd name="T1" fmla="*/ 256 h 512"/>
              <a:gd name="T2" fmla="*/ 512 w 512"/>
              <a:gd name="T3" fmla="*/ 256 h 512"/>
              <a:gd name="T4" fmla="*/ 341 w 512"/>
              <a:gd name="T5" fmla="*/ 416 h 512"/>
              <a:gd name="T6" fmla="*/ 311 w 512"/>
              <a:gd name="T7" fmla="*/ 371 h 512"/>
              <a:gd name="T8" fmla="*/ 332 w 512"/>
              <a:gd name="T9" fmla="*/ 336 h 512"/>
              <a:gd name="T10" fmla="*/ 370 w 512"/>
              <a:gd name="T11" fmla="*/ 370 h 512"/>
              <a:gd name="T12" fmla="*/ 373 w 512"/>
              <a:gd name="T13" fmla="*/ 384 h 512"/>
              <a:gd name="T14" fmla="*/ 373 w 512"/>
              <a:gd name="T15" fmla="*/ 309 h 512"/>
              <a:gd name="T16" fmla="*/ 320 w 512"/>
              <a:gd name="T17" fmla="*/ 309 h 512"/>
              <a:gd name="T18" fmla="*/ 298 w 512"/>
              <a:gd name="T19" fmla="*/ 298 h 512"/>
              <a:gd name="T20" fmla="*/ 309 w 512"/>
              <a:gd name="T21" fmla="*/ 277 h 512"/>
              <a:gd name="T22" fmla="*/ 276 w 512"/>
              <a:gd name="T23" fmla="*/ 266 h 512"/>
              <a:gd name="T24" fmla="*/ 171 w 512"/>
              <a:gd name="T25" fmla="*/ 266 h 512"/>
              <a:gd name="T26" fmla="*/ 96 w 512"/>
              <a:gd name="T27" fmla="*/ 256 h 512"/>
              <a:gd name="T28" fmla="*/ 181 w 512"/>
              <a:gd name="T29" fmla="*/ 245 h 512"/>
              <a:gd name="T30" fmla="*/ 224 w 512"/>
              <a:gd name="T31" fmla="*/ 288 h 512"/>
              <a:gd name="T32" fmla="*/ 266 w 512"/>
              <a:gd name="T33" fmla="*/ 245 h 512"/>
              <a:gd name="T34" fmla="*/ 330 w 512"/>
              <a:gd name="T35" fmla="*/ 277 h 512"/>
              <a:gd name="T36" fmla="*/ 352 w 512"/>
              <a:gd name="T37" fmla="*/ 288 h 512"/>
              <a:gd name="T38" fmla="*/ 298 w 512"/>
              <a:gd name="T39" fmla="*/ 224 h 512"/>
              <a:gd name="T40" fmla="*/ 245 w 512"/>
              <a:gd name="T41" fmla="*/ 213 h 512"/>
              <a:gd name="T42" fmla="*/ 202 w 512"/>
              <a:gd name="T43" fmla="*/ 192 h 512"/>
              <a:gd name="T44" fmla="*/ 192 w 512"/>
              <a:gd name="T45" fmla="*/ 224 h 512"/>
              <a:gd name="T46" fmla="*/ 96 w 512"/>
              <a:gd name="T47" fmla="*/ 213 h 512"/>
              <a:gd name="T48" fmla="*/ 181 w 512"/>
              <a:gd name="T49" fmla="*/ 202 h 512"/>
              <a:gd name="T50" fmla="*/ 192 w 512"/>
              <a:gd name="T51" fmla="*/ 170 h 512"/>
              <a:gd name="T52" fmla="*/ 213 w 512"/>
              <a:gd name="T53" fmla="*/ 138 h 512"/>
              <a:gd name="T54" fmla="*/ 181 w 512"/>
              <a:gd name="T55" fmla="*/ 128 h 512"/>
              <a:gd name="T56" fmla="*/ 256 w 512"/>
              <a:gd name="T57" fmla="*/ 117 h 512"/>
              <a:gd name="T58" fmla="*/ 256 w 512"/>
              <a:gd name="T59" fmla="*/ 138 h 512"/>
              <a:gd name="T60" fmla="*/ 234 w 512"/>
              <a:gd name="T61" fmla="*/ 170 h 512"/>
              <a:gd name="T62" fmla="*/ 266 w 512"/>
              <a:gd name="T63" fmla="*/ 181 h 512"/>
              <a:gd name="T64" fmla="*/ 298 w 512"/>
              <a:gd name="T65" fmla="*/ 202 h 512"/>
              <a:gd name="T66" fmla="*/ 373 w 512"/>
              <a:gd name="T67" fmla="*/ 288 h 512"/>
              <a:gd name="T68" fmla="*/ 373 w 512"/>
              <a:gd name="T69" fmla="*/ 309 h 512"/>
              <a:gd name="T70" fmla="*/ 352 w 512"/>
              <a:gd name="T71" fmla="*/ 384 h 512"/>
              <a:gd name="T72" fmla="*/ 330 w 512"/>
              <a:gd name="T73" fmla="*/ 384 h 512"/>
              <a:gd name="T74" fmla="*/ 341 w 512"/>
              <a:gd name="T75"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416"/>
                </a:moveTo>
                <a:cubicBezTo>
                  <a:pt x="323" y="416"/>
                  <a:pt x="309" y="401"/>
                  <a:pt x="309" y="384"/>
                </a:cubicBezTo>
                <a:cubicBezTo>
                  <a:pt x="309" y="379"/>
                  <a:pt x="310" y="375"/>
                  <a:pt x="311" y="371"/>
                </a:cubicBezTo>
                <a:cubicBezTo>
                  <a:pt x="312" y="371"/>
                  <a:pt x="312" y="371"/>
                  <a:pt x="312" y="370"/>
                </a:cubicBezTo>
                <a:cubicBezTo>
                  <a:pt x="332" y="336"/>
                  <a:pt x="332" y="336"/>
                  <a:pt x="332" y="336"/>
                </a:cubicBezTo>
                <a:cubicBezTo>
                  <a:pt x="336" y="329"/>
                  <a:pt x="346" y="329"/>
                  <a:pt x="350" y="336"/>
                </a:cubicBezTo>
                <a:cubicBezTo>
                  <a:pt x="370" y="370"/>
                  <a:pt x="370" y="370"/>
                  <a:pt x="370" y="370"/>
                </a:cubicBezTo>
                <a:cubicBezTo>
                  <a:pt x="370" y="371"/>
                  <a:pt x="370" y="371"/>
                  <a:pt x="371" y="371"/>
                </a:cubicBezTo>
                <a:cubicBezTo>
                  <a:pt x="372" y="375"/>
                  <a:pt x="373" y="379"/>
                  <a:pt x="373" y="384"/>
                </a:cubicBezTo>
                <a:cubicBezTo>
                  <a:pt x="373" y="401"/>
                  <a:pt x="359" y="416"/>
                  <a:pt x="341" y="416"/>
                </a:cubicBezTo>
                <a:close/>
                <a:moveTo>
                  <a:pt x="373" y="309"/>
                </a:moveTo>
                <a:cubicBezTo>
                  <a:pt x="362" y="309"/>
                  <a:pt x="362" y="309"/>
                  <a:pt x="362" y="309"/>
                </a:cubicBezTo>
                <a:cubicBezTo>
                  <a:pt x="320" y="309"/>
                  <a:pt x="320" y="309"/>
                  <a:pt x="320" y="309"/>
                </a:cubicBezTo>
                <a:cubicBezTo>
                  <a:pt x="309" y="309"/>
                  <a:pt x="309" y="309"/>
                  <a:pt x="309" y="309"/>
                </a:cubicBezTo>
                <a:cubicBezTo>
                  <a:pt x="303" y="309"/>
                  <a:pt x="298" y="304"/>
                  <a:pt x="298" y="298"/>
                </a:cubicBezTo>
                <a:cubicBezTo>
                  <a:pt x="298" y="292"/>
                  <a:pt x="303" y="288"/>
                  <a:pt x="309" y="288"/>
                </a:cubicBezTo>
                <a:cubicBezTo>
                  <a:pt x="309" y="277"/>
                  <a:pt x="309" y="277"/>
                  <a:pt x="309" y="277"/>
                </a:cubicBezTo>
                <a:cubicBezTo>
                  <a:pt x="309" y="268"/>
                  <a:pt x="303" y="266"/>
                  <a:pt x="298" y="266"/>
                </a:cubicBezTo>
                <a:cubicBezTo>
                  <a:pt x="276" y="266"/>
                  <a:pt x="276" y="266"/>
                  <a:pt x="276" y="266"/>
                </a:cubicBezTo>
                <a:cubicBezTo>
                  <a:pt x="271" y="291"/>
                  <a:pt x="249" y="309"/>
                  <a:pt x="224" y="309"/>
                </a:cubicBezTo>
                <a:cubicBezTo>
                  <a:pt x="198" y="309"/>
                  <a:pt x="176" y="291"/>
                  <a:pt x="171" y="266"/>
                </a:cubicBezTo>
                <a:cubicBezTo>
                  <a:pt x="106" y="266"/>
                  <a:pt x="106" y="266"/>
                  <a:pt x="106" y="266"/>
                </a:cubicBezTo>
                <a:cubicBezTo>
                  <a:pt x="100" y="266"/>
                  <a:pt x="96" y="262"/>
                  <a:pt x="96" y="256"/>
                </a:cubicBezTo>
                <a:cubicBezTo>
                  <a:pt x="96" y="250"/>
                  <a:pt x="100" y="245"/>
                  <a:pt x="106" y="245"/>
                </a:cubicBezTo>
                <a:cubicBezTo>
                  <a:pt x="181" y="245"/>
                  <a:pt x="181" y="245"/>
                  <a:pt x="181" y="245"/>
                </a:cubicBezTo>
                <a:cubicBezTo>
                  <a:pt x="187" y="245"/>
                  <a:pt x="192" y="250"/>
                  <a:pt x="192" y="256"/>
                </a:cubicBezTo>
                <a:cubicBezTo>
                  <a:pt x="192" y="273"/>
                  <a:pt x="206" y="288"/>
                  <a:pt x="224" y="288"/>
                </a:cubicBezTo>
                <a:cubicBezTo>
                  <a:pt x="241" y="288"/>
                  <a:pt x="256" y="273"/>
                  <a:pt x="256" y="256"/>
                </a:cubicBezTo>
                <a:cubicBezTo>
                  <a:pt x="256" y="250"/>
                  <a:pt x="260" y="245"/>
                  <a:pt x="266" y="245"/>
                </a:cubicBezTo>
                <a:cubicBezTo>
                  <a:pt x="298" y="245"/>
                  <a:pt x="298" y="245"/>
                  <a:pt x="298" y="245"/>
                </a:cubicBezTo>
                <a:cubicBezTo>
                  <a:pt x="311" y="245"/>
                  <a:pt x="330" y="254"/>
                  <a:pt x="330" y="277"/>
                </a:cubicBezTo>
                <a:cubicBezTo>
                  <a:pt x="330" y="288"/>
                  <a:pt x="330" y="288"/>
                  <a:pt x="330" y="288"/>
                </a:cubicBezTo>
                <a:cubicBezTo>
                  <a:pt x="352" y="288"/>
                  <a:pt x="352" y="288"/>
                  <a:pt x="352" y="288"/>
                </a:cubicBezTo>
                <a:cubicBezTo>
                  <a:pt x="352" y="277"/>
                  <a:pt x="352" y="277"/>
                  <a:pt x="352" y="277"/>
                </a:cubicBezTo>
                <a:cubicBezTo>
                  <a:pt x="352" y="272"/>
                  <a:pt x="350" y="224"/>
                  <a:pt x="298" y="224"/>
                </a:cubicBezTo>
                <a:cubicBezTo>
                  <a:pt x="256" y="224"/>
                  <a:pt x="256" y="224"/>
                  <a:pt x="256" y="224"/>
                </a:cubicBezTo>
                <a:cubicBezTo>
                  <a:pt x="250" y="224"/>
                  <a:pt x="245" y="219"/>
                  <a:pt x="245" y="213"/>
                </a:cubicBezTo>
                <a:cubicBezTo>
                  <a:pt x="245" y="192"/>
                  <a:pt x="245" y="192"/>
                  <a:pt x="245" y="192"/>
                </a:cubicBezTo>
                <a:cubicBezTo>
                  <a:pt x="202" y="192"/>
                  <a:pt x="202" y="192"/>
                  <a:pt x="202" y="192"/>
                </a:cubicBezTo>
                <a:cubicBezTo>
                  <a:pt x="202" y="213"/>
                  <a:pt x="202" y="213"/>
                  <a:pt x="202" y="213"/>
                </a:cubicBezTo>
                <a:cubicBezTo>
                  <a:pt x="202" y="219"/>
                  <a:pt x="198" y="224"/>
                  <a:pt x="192" y="224"/>
                </a:cubicBezTo>
                <a:cubicBezTo>
                  <a:pt x="106" y="224"/>
                  <a:pt x="106" y="224"/>
                  <a:pt x="106" y="224"/>
                </a:cubicBezTo>
                <a:cubicBezTo>
                  <a:pt x="100" y="224"/>
                  <a:pt x="96" y="219"/>
                  <a:pt x="96" y="213"/>
                </a:cubicBezTo>
                <a:cubicBezTo>
                  <a:pt x="96" y="207"/>
                  <a:pt x="100" y="202"/>
                  <a:pt x="106" y="202"/>
                </a:cubicBezTo>
                <a:cubicBezTo>
                  <a:pt x="181" y="202"/>
                  <a:pt x="181" y="202"/>
                  <a:pt x="181" y="202"/>
                </a:cubicBezTo>
                <a:cubicBezTo>
                  <a:pt x="181" y="181"/>
                  <a:pt x="181" y="181"/>
                  <a:pt x="181" y="181"/>
                </a:cubicBezTo>
                <a:cubicBezTo>
                  <a:pt x="181" y="175"/>
                  <a:pt x="186" y="170"/>
                  <a:pt x="192" y="170"/>
                </a:cubicBezTo>
                <a:cubicBezTo>
                  <a:pt x="213" y="170"/>
                  <a:pt x="213" y="170"/>
                  <a:pt x="213" y="170"/>
                </a:cubicBezTo>
                <a:cubicBezTo>
                  <a:pt x="213" y="138"/>
                  <a:pt x="213" y="138"/>
                  <a:pt x="213" y="138"/>
                </a:cubicBezTo>
                <a:cubicBezTo>
                  <a:pt x="192" y="138"/>
                  <a:pt x="192" y="138"/>
                  <a:pt x="192" y="138"/>
                </a:cubicBezTo>
                <a:cubicBezTo>
                  <a:pt x="186" y="138"/>
                  <a:pt x="181" y="134"/>
                  <a:pt x="181" y="128"/>
                </a:cubicBezTo>
                <a:cubicBezTo>
                  <a:pt x="181" y="122"/>
                  <a:pt x="186" y="117"/>
                  <a:pt x="192" y="117"/>
                </a:cubicBezTo>
                <a:cubicBezTo>
                  <a:pt x="256" y="117"/>
                  <a:pt x="256" y="117"/>
                  <a:pt x="256" y="117"/>
                </a:cubicBezTo>
                <a:cubicBezTo>
                  <a:pt x="262" y="117"/>
                  <a:pt x="266" y="122"/>
                  <a:pt x="266" y="128"/>
                </a:cubicBezTo>
                <a:cubicBezTo>
                  <a:pt x="266" y="134"/>
                  <a:pt x="262" y="138"/>
                  <a:pt x="256" y="138"/>
                </a:cubicBezTo>
                <a:cubicBezTo>
                  <a:pt x="234" y="138"/>
                  <a:pt x="234" y="138"/>
                  <a:pt x="234" y="138"/>
                </a:cubicBezTo>
                <a:cubicBezTo>
                  <a:pt x="234" y="170"/>
                  <a:pt x="234" y="170"/>
                  <a:pt x="234" y="170"/>
                </a:cubicBezTo>
                <a:cubicBezTo>
                  <a:pt x="256" y="170"/>
                  <a:pt x="256" y="170"/>
                  <a:pt x="256" y="170"/>
                </a:cubicBezTo>
                <a:cubicBezTo>
                  <a:pt x="262" y="170"/>
                  <a:pt x="266" y="175"/>
                  <a:pt x="266" y="181"/>
                </a:cubicBezTo>
                <a:cubicBezTo>
                  <a:pt x="266" y="202"/>
                  <a:pt x="266" y="202"/>
                  <a:pt x="266" y="202"/>
                </a:cubicBezTo>
                <a:cubicBezTo>
                  <a:pt x="298" y="202"/>
                  <a:pt x="298" y="202"/>
                  <a:pt x="298" y="202"/>
                </a:cubicBezTo>
                <a:cubicBezTo>
                  <a:pt x="357" y="202"/>
                  <a:pt x="373" y="251"/>
                  <a:pt x="373" y="277"/>
                </a:cubicBezTo>
                <a:cubicBezTo>
                  <a:pt x="373" y="288"/>
                  <a:pt x="373" y="288"/>
                  <a:pt x="373" y="288"/>
                </a:cubicBezTo>
                <a:cubicBezTo>
                  <a:pt x="379" y="288"/>
                  <a:pt x="384" y="292"/>
                  <a:pt x="384" y="298"/>
                </a:cubicBezTo>
                <a:cubicBezTo>
                  <a:pt x="384" y="304"/>
                  <a:pt x="379" y="309"/>
                  <a:pt x="373" y="309"/>
                </a:cubicBezTo>
                <a:close/>
                <a:moveTo>
                  <a:pt x="351" y="380"/>
                </a:moveTo>
                <a:cubicBezTo>
                  <a:pt x="351" y="381"/>
                  <a:pt x="352" y="382"/>
                  <a:pt x="352" y="384"/>
                </a:cubicBezTo>
                <a:cubicBezTo>
                  <a:pt x="352" y="390"/>
                  <a:pt x="347" y="394"/>
                  <a:pt x="341" y="394"/>
                </a:cubicBezTo>
                <a:cubicBezTo>
                  <a:pt x="335" y="394"/>
                  <a:pt x="330" y="390"/>
                  <a:pt x="330" y="384"/>
                </a:cubicBezTo>
                <a:cubicBezTo>
                  <a:pt x="330" y="382"/>
                  <a:pt x="331" y="381"/>
                  <a:pt x="331" y="380"/>
                </a:cubicBezTo>
                <a:cubicBezTo>
                  <a:pt x="341" y="363"/>
                  <a:pt x="341" y="363"/>
                  <a:pt x="341" y="363"/>
                </a:cubicBezTo>
                <a:lnTo>
                  <a:pt x="351" y="38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49" name="Group 609"/>
          <p:cNvGrpSpPr>
            <a:grpSpLocks noChangeAspect="1"/>
          </p:cNvGrpSpPr>
          <p:nvPr/>
        </p:nvGrpSpPr>
        <p:grpSpPr bwMode="auto">
          <a:xfrm>
            <a:off x="786878" y="1705051"/>
            <a:ext cx="367631" cy="367631"/>
            <a:chOff x="2715" y="2414"/>
            <a:chExt cx="340" cy="340"/>
          </a:xfrm>
          <a:solidFill>
            <a:schemeClr val="accent1"/>
          </a:solidFill>
        </p:grpSpPr>
        <p:sp>
          <p:nvSpPr>
            <p:cNvPr id="550" name="Freeform 610"/>
            <p:cNvSpPr>
              <a:spLocks noEditPoints="1"/>
            </p:cNvSpPr>
            <p:nvPr/>
          </p:nvSpPr>
          <p:spPr bwMode="auto">
            <a:xfrm>
              <a:off x="2779" y="2492"/>
              <a:ext cx="191" cy="19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1" name="Freeform 611"/>
            <p:cNvSpPr>
              <a:spLocks noEditPoints="1"/>
            </p:cNvSpPr>
            <p:nvPr/>
          </p:nvSpPr>
          <p:spPr bwMode="auto">
            <a:xfrm>
              <a:off x="2715" y="24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2" name="Freeform 624"/>
          <p:cNvSpPr>
            <a:spLocks noChangeAspect="1" noEditPoints="1"/>
          </p:cNvSpPr>
          <p:nvPr/>
        </p:nvSpPr>
        <p:spPr bwMode="auto">
          <a:xfrm>
            <a:off x="367403" y="2538509"/>
            <a:ext cx="368713" cy="367631"/>
          </a:xfrm>
          <a:custGeom>
            <a:avLst/>
            <a:gdLst>
              <a:gd name="T0" fmla="*/ 245 w 512"/>
              <a:gd name="T1" fmla="*/ 118 h 512"/>
              <a:gd name="T2" fmla="*/ 245 w 512"/>
              <a:gd name="T3" fmla="*/ 358 h 512"/>
              <a:gd name="T4" fmla="*/ 243 w 512"/>
              <a:gd name="T5" fmla="*/ 356 h 512"/>
              <a:gd name="T6" fmla="*/ 242 w 512"/>
              <a:gd name="T7" fmla="*/ 355 h 512"/>
              <a:gd name="T8" fmla="*/ 220 w 512"/>
              <a:gd name="T9" fmla="*/ 317 h 512"/>
              <a:gd name="T10" fmla="*/ 221 w 512"/>
              <a:gd name="T11" fmla="*/ 316 h 512"/>
              <a:gd name="T12" fmla="*/ 226 w 512"/>
              <a:gd name="T13" fmla="*/ 310 h 512"/>
              <a:gd name="T14" fmla="*/ 225 w 512"/>
              <a:gd name="T15" fmla="*/ 295 h 512"/>
              <a:gd name="T16" fmla="*/ 213 w 512"/>
              <a:gd name="T17" fmla="*/ 294 h 512"/>
              <a:gd name="T18" fmla="*/ 207 w 512"/>
              <a:gd name="T19" fmla="*/ 255 h 512"/>
              <a:gd name="T20" fmla="*/ 210 w 512"/>
              <a:gd name="T21" fmla="*/ 253 h 512"/>
              <a:gd name="T22" fmla="*/ 231 w 512"/>
              <a:gd name="T23" fmla="*/ 231 h 512"/>
              <a:gd name="T24" fmla="*/ 231 w 512"/>
              <a:gd name="T25" fmla="*/ 216 h 512"/>
              <a:gd name="T26" fmla="*/ 216 w 512"/>
              <a:gd name="T27" fmla="*/ 216 h 512"/>
              <a:gd name="T28" fmla="*/ 204 w 512"/>
              <a:gd name="T29" fmla="*/ 228 h 512"/>
              <a:gd name="T30" fmla="*/ 202 w 512"/>
              <a:gd name="T31" fmla="*/ 195 h 512"/>
              <a:gd name="T32" fmla="*/ 205 w 512"/>
              <a:gd name="T33" fmla="*/ 194 h 512"/>
              <a:gd name="T34" fmla="*/ 231 w 512"/>
              <a:gd name="T35" fmla="*/ 167 h 512"/>
              <a:gd name="T36" fmla="*/ 231 w 512"/>
              <a:gd name="T37" fmla="*/ 152 h 512"/>
              <a:gd name="T38" fmla="*/ 216 w 512"/>
              <a:gd name="T39" fmla="*/ 152 h 512"/>
              <a:gd name="T40" fmla="*/ 203 w 512"/>
              <a:gd name="T41" fmla="*/ 165 h 512"/>
              <a:gd name="T42" fmla="*/ 245 w 512"/>
              <a:gd name="T43" fmla="*/ 118 h 512"/>
              <a:gd name="T44" fmla="*/ 266 w 512"/>
              <a:gd name="T45" fmla="*/ 118 h 512"/>
              <a:gd name="T46" fmla="*/ 266 w 512"/>
              <a:gd name="T47" fmla="*/ 358 h 512"/>
              <a:gd name="T48" fmla="*/ 269 w 512"/>
              <a:gd name="T49" fmla="*/ 355 h 512"/>
              <a:gd name="T50" fmla="*/ 299 w 512"/>
              <a:gd name="T51" fmla="*/ 282 h 512"/>
              <a:gd name="T52" fmla="*/ 280 w 512"/>
              <a:gd name="T53" fmla="*/ 263 h 512"/>
              <a:gd name="T54" fmla="*/ 280 w 512"/>
              <a:gd name="T55" fmla="*/ 248 h 512"/>
              <a:gd name="T56" fmla="*/ 295 w 512"/>
              <a:gd name="T57" fmla="*/ 248 h 512"/>
              <a:gd name="T58" fmla="*/ 303 w 512"/>
              <a:gd name="T59" fmla="*/ 256 h 512"/>
              <a:gd name="T60" fmla="*/ 307 w 512"/>
              <a:gd name="T61" fmla="*/ 213 h 512"/>
              <a:gd name="T62" fmla="*/ 301 w 512"/>
              <a:gd name="T63" fmla="*/ 210 h 512"/>
              <a:gd name="T64" fmla="*/ 280 w 512"/>
              <a:gd name="T65" fmla="*/ 189 h 512"/>
              <a:gd name="T66" fmla="*/ 280 w 512"/>
              <a:gd name="T67" fmla="*/ 173 h 512"/>
              <a:gd name="T68" fmla="*/ 295 w 512"/>
              <a:gd name="T69" fmla="*/ 173 h 512"/>
              <a:gd name="T70" fmla="*/ 309 w 512"/>
              <a:gd name="T71" fmla="*/ 187 h 512"/>
              <a:gd name="T72" fmla="*/ 309 w 512"/>
              <a:gd name="T73" fmla="*/ 170 h 512"/>
              <a:gd name="T74" fmla="*/ 266 w 512"/>
              <a:gd name="T75" fmla="*/ 118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30 w 512"/>
              <a:gd name="T87" fmla="*/ 170 h 512"/>
              <a:gd name="T88" fmla="*/ 256 w 512"/>
              <a:gd name="T89" fmla="*/ 96 h 512"/>
              <a:gd name="T90" fmla="*/ 181 w 512"/>
              <a:gd name="T91" fmla="*/ 170 h 512"/>
              <a:gd name="T92" fmla="*/ 226 w 512"/>
              <a:gd name="T93" fmla="*/ 369 h 512"/>
              <a:gd name="T94" fmla="*/ 245 w 512"/>
              <a:gd name="T95" fmla="*/ 382 h 512"/>
              <a:gd name="T96" fmla="*/ 245 w 512"/>
              <a:gd name="T97" fmla="*/ 405 h 512"/>
              <a:gd name="T98" fmla="*/ 256 w 512"/>
              <a:gd name="T99" fmla="*/ 416 h 512"/>
              <a:gd name="T100" fmla="*/ 266 w 512"/>
              <a:gd name="T101" fmla="*/ 405 h 512"/>
              <a:gd name="T102" fmla="*/ 266 w 512"/>
              <a:gd name="T103" fmla="*/ 382 h 512"/>
              <a:gd name="T104" fmla="*/ 285 w 512"/>
              <a:gd name="T105" fmla="*/ 369 h 512"/>
              <a:gd name="T106" fmla="*/ 330 w 512"/>
              <a:gd name="T10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45" y="118"/>
                </a:moveTo>
                <a:cubicBezTo>
                  <a:pt x="245" y="358"/>
                  <a:pt x="245" y="358"/>
                  <a:pt x="245" y="358"/>
                </a:cubicBezTo>
                <a:cubicBezTo>
                  <a:pt x="244" y="357"/>
                  <a:pt x="243" y="356"/>
                  <a:pt x="243" y="356"/>
                </a:cubicBezTo>
                <a:cubicBezTo>
                  <a:pt x="243" y="355"/>
                  <a:pt x="242" y="355"/>
                  <a:pt x="242" y="355"/>
                </a:cubicBezTo>
                <a:cubicBezTo>
                  <a:pt x="233" y="346"/>
                  <a:pt x="226" y="332"/>
                  <a:pt x="220" y="317"/>
                </a:cubicBezTo>
                <a:cubicBezTo>
                  <a:pt x="220" y="316"/>
                  <a:pt x="221" y="316"/>
                  <a:pt x="221" y="316"/>
                </a:cubicBezTo>
                <a:cubicBezTo>
                  <a:pt x="226" y="310"/>
                  <a:pt x="226" y="310"/>
                  <a:pt x="226" y="310"/>
                </a:cubicBezTo>
                <a:cubicBezTo>
                  <a:pt x="230" y="306"/>
                  <a:pt x="229" y="299"/>
                  <a:pt x="225" y="295"/>
                </a:cubicBezTo>
                <a:cubicBezTo>
                  <a:pt x="222" y="292"/>
                  <a:pt x="217" y="292"/>
                  <a:pt x="213" y="294"/>
                </a:cubicBezTo>
                <a:cubicBezTo>
                  <a:pt x="210" y="281"/>
                  <a:pt x="208" y="268"/>
                  <a:pt x="207" y="255"/>
                </a:cubicBezTo>
                <a:cubicBezTo>
                  <a:pt x="208" y="254"/>
                  <a:pt x="209" y="254"/>
                  <a:pt x="210" y="253"/>
                </a:cubicBezTo>
                <a:cubicBezTo>
                  <a:pt x="231" y="231"/>
                  <a:pt x="231" y="231"/>
                  <a:pt x="231" y="231"/>
                </a:cubicBezTo>
                <a:cubicBezTo>
                  <a:pt x="235" y="227"/>
                  <a:pt x="235" y="220"/>
                  <a:pt x="231" y="216"/>
                </a:cubicBezTo>
                <a:cubicBezTo>
                  <a:pt x="227" y="212"/>
                  <a:pt x="220" y="212"/>
                  <a:pt x="216" y="216"/>
                </a:cubicBezTo>
                <a:cubicBezTo>
                  <a:pt x="204" y="228"/>
                  <a:pt x="204" y="228"/>
                  <a:pt x="204" y="228"/>
                </a:cubicBezTo>
                <a:cubicBezTo>
                  <a:pt x="203" y="216"/>
                  <a:pt x="203" y="205"/>
                  <a:pt x="202" y="195"/>
                </a:cubicBezTo>
                <a:cubicBezTo>
                  <a:pt x="203" y="195"/>
                  <a:pt x="204" y="195"/>
                  <a:pt x="205" y="194"/>
                </a:cubicBezTo>
                <a:cubicBezTo>
                  <a:pt x="231" y="167"/>
                  <a:pt x="231" y="167"/>
                  <a:pt x="231" y="167"/>
                </a:cubicBezTo>
                <a:cubicBezTo>
                  <a:pt x="235" y="163"/>
                  <a:pt x="235" y="156"/>
                  <a:pt x="231" y="152"/>
                </a:cubicBezTo>
                <a:cubicBezTo>
                  <a:pt x="227" y="148"/>
                  <a:pt x="220" y="148"/>
                  <a:pt x="216" y="152"/>
                </a:cubicBezTo>
                <a:cubicBezTo>
                  <a:pt x="203" y="165"/>
                  <a:pt x="203" y="165"/>
                  <a:pt x="203" y="165"/>
                </a:cubicBezTo>
                <a:cubicBezTo>
                  <a:pt x="205" y="142"/>
                  <a:pt x="222" y="123"/>
                  <a:pt x="245" y="118"/>
                </a:cubicBezTo>
                <a:close/>
                <a:moveTo>
                  <a:pt x="266" y="118"/>
                </a:moveTo>
                <a:cubicBezTo>
                  <a:pt x="266" y="358"/>
                  <a:pt x="266" y="358"/>
                  <a:pt x="266" y="358"/>
                </a:cubicBezTo>
                <a:cubicBezTo>
                  <a:pt x="267" y="357"/>
                  <a:pt x="268" y="356"/>
                  <a:pt x="269" y="355"/>
                </a:cubicBezTo>
                <a:cubicBezTo>
                  <a:pt x="283" y="339"/>
                  <a:pt x="293" y="311"/>
                  <a:pt x="299" y="282"/>
                </a:cubicBezTo>
                <a:cubicBezTo>
                  <a:pt x="280" y="263"/>
                  <a:pt x="280" y="263"/>
                  <a:pt x="280" y="263"/>
                </a:cubicBezTo>
                <a:cubicBezTo>
                  <a:pt x="276" y="259"/>
                  <a:pt x="276" y="252"/>
                  <a:pt x="280" y="248"/>
                </a:cubicBezTo>
                <a:cubicBezTo>
                  <a:pt x="284" y="244"/>
                  <a:pt x="291" y="244"/>
                  <a:pt x="295" y="248"/>
                </a:cubicBezTo>
                <a:cubicBezTo>
                  <a:pt x="303" y="256"/>
                  <a:pt x="303" y="256"/>
                  <a:pt x="303" y="256"/>
                </a:cubicBezTo>
                <a:cubicBezTo>
                  <a:pt x="305" y="241"/>
                  <a:pt x="307" y="226"/>
                  <a:pt x="307" y="213"/>
                </a:cubicBezTo>
                <a:cubicBezTo>
                  <a:pt x="305" y="212"/>
                  <a:pt x="303" y="212"/>
                  <a:pt x="301" y="210"/>
                </a:cubicBezTo>
                <a:cubicBezTo>
                  <a:pt x="280" y="189"/>
                  <a:pt x="280" y="189"/>
                  <a:pt x="280" y="189"/>
                </a:cubicBezTo>
                <a:cubicBezTo>
                  <a:pt x="276" y="184"/>
                  <a:pt x="276" y="178"/>
                  <a:pt x="280" y="173"/>
                </a:cubicBezTo>
                <a:cubicBezTo>
                  <a:pt x="284" y="169"/>
                  <a:pt x="291" y="169"/>
                  <a:pt x="295" y="173"/>
                </a:cubicBezTo>
                <a:cubicBezTo>
                  <a:pt x="309" y="187"/>
                  <a:pt x="309" y="187"/>
                  <a:pt x="309" y="187"/>
                </a:cubicBezTo>
                <a:cubicBezTo>
                  <a:pt x="309" y="177"/>
                  <a:pt x="309" y="171"/>
                  <a:pt x="309" y="170"/>
                </a:cubicBezTo>
                <a:cubicBezTo>
                  <a:pt x="309" y="145"/>
                  <a:pt x="291"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70"/>
                </a:moveTo>
                <a:cubicBezTo>
                  <a:pt x="330" y="129"/>
                  <a:pt x="297" y="96"/>
                  <a:pt x="256" y="96"/>
                </a:cubicBezTo>
                <a:cubicBezTo>
                  <a:pt x="214" y="96"/>
                  <a:pt x="181" y="129"/>
                  <a:pt x="181" y="170"/>
                </a:cubicBezTo>
                <a:cubicBezTo>
                  <a:pt x="181" y="176"/>
                  <a:pt x="177" y="318"/>
                  <a:pt x="226" y="369"/>
                </a:cubicBezTo>
                <a:cubicBezTo>
                  <a:pt x="228" y="371"/>
                  <a:pt x="235" y="379"/>
                  <a:pt x="245" y="382"/>
                </a:cubicBezTo>
                <a:cubicBezTo>
                  <a:pt x="245" y="405"/>
                  <a:pt x="245" y="405"/>
                  <a:pt x="245" y="405"/>
                </a:cubicBezTo>
                <a:cubicBezTo>
                  <a:pt x="245" y="411"/>
                  <a:pt x="250" y="416"/>
                  <a:pt x="256" y="416"/>
                </a:cubicBezTo>
                <a:cubicBezTo>
                  <a:pt x="262" y="416"/>
                  <a:pt x="266" y="411"/>
                  <a:pt x="266" y="405"/>
                </a:cubicBezTo>
                <a:cubicBezTo>
                  <a:pt x="266" y="382"/>
                  <a:pt x="266" y="382"/>
                  <a:pt x="266" y="382"/>
                </a:cubicBezTo>
                <a:cubicBezTo>
                  <a:pt x="272" y="380"/>
                  <a:pt x="279" y="376"/>
                  <a:pt x="285" y="369"/>
                </a:cubicBezTo>
                <a:cubicBezTo>
                  <a:pt x="331" y="316"/>
                  <a:pt x="330" y="176"/>
                  <a:pt x="330"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53" name="Group 627"/>
          <p:cNvGrpSpPr>
            <a:grpSpLocks noChangeAspect="1"/>
          </p:cNvGrpSpPr>
          <p:nvPr/>
        </p:nvGrpSpPr>
        <p:grpSpPr bwMode="auto">
          <a:xfrm>
            <a:off x="788115" y="2533832"/>
            <a:ext cx="368712" cy="367631"/>
            <a:chOff x="4183" y="2415"/>
            <a:chExt cx="341" cy="340"/>
          </a:xfrm>
          <a:solidFill>
            <a:schemeClr val="accent1"/>
          </a:solidFill>
        </p:grpSpPr>
        <p:sp>
          <p:nvSpPr>
            <p:cNvPr id="554" name="Freeform 628"/>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5" name="Freeform 629"/>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10" name="TextBox 709"/>
          <p:cNvSpPr txBox="1"/>
          <p:nvPr/>
        </p:nvSpPr>
        <p:spPr>
          <a:xfrm>
            <a:off x="362856"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llipsis</a:t>
            </a:r>
          </a:p>
        </p:txBody>
      </p:sp>
      <p:sp>
        <p:nvSpPr>
          <p:cNvPr id="711" name="TextBox 710"/>
          <p:cNvSpPr txBox="1"/>
          <p:nvPr/>
        </p:nvSpPr>
        <p:spPr>
          <a:xfrm>
            <a:off x="2037932"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gnet 1</a:t>
            </a:r>
          </a:p>
        </p:txBody>
      </p:sp>
      <p:sp>
        <p:nvSpPr>
          <p:cNvPr id="712" name="TextBox 711"/>
          <p:cNvSpPr txBox="1"/>
          <p:nvPr/>
        </p:nvSpPr>
        <p:spPr>
          <a:xfrm>
            <a:off x="2875470"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gnet 2</a:t>
            </a:r>
          </a:p>
        </p:txBody>
      </p:sp>
      <p:sp>
        <p:nvSpPr>
          <p:cNvPr id="713" name="TextBox 712"/>
          <p:cNvSpPr txBox="1"/>
          <p:nvPr/>
        </p:nvSpPr>
        <p:spPr>
          <a:xfrm>
            <a:off x="1200394"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gic</a:t>
            </a:r>
          </a:p>
        </p:txBody>
      </p:sp>
      <p:sp>
        <p:nvSpPr>
          <p:cNvPr id="714" name="Freeform 463"/>
          <p:cNvSpPr>
            <a:spLocks noChangeAspect="1" noEditPoints="1"/>
          </p:cNvSpPr>
          <p:nvPr/>
        </p:nvSpPr>
        <p:spPr bwMode="auto">
          <a:xfrm>
            <a:off x="361960" y="4184510"/>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278 h 512"/>
              <a:gd name="T12" fmla="*/ 128 w 512"/>
              <a:gd name="T13" fmla="*/ 256 h 512"/>
              <a:gd name="T14" fmla="*/ 149 w 512"/>
              <a:gd name="T15" fmla="*/ 235 h 512"/>
              <a:gd name="T16" fmla="*/ 171 w 512"/>
              <a:gd name="T17" fmla="*/ 256 h 512"/>
              <a:gd name="T18" fmla="*/ 149 w 512"/>
              <a:gd name="T19" fmla="*/ 278 h 512"/>
              <a:gd name="T20" fmla="*/ 256 w 512"/>
              <a:gd name="T21" fmla="*/ 278 h 512"/>
              <a:gd name="T22" fmla="*/ 235 w 512"/>
              <a:gd name="T23" fmla="*/ 256 h 512"/>
              <a:gd name="T24" fmla="*/ 256 w 512"/>
              <a:gd name="T25" fmla="*/ 235 h 512"/>
              <a:gd name="T26" fmla="*/ 277 w 512"/>
              <a:gd name="T27" fmla="*/ 256 h 512"/>
              <a:gd name="T28" fmla="*/ 256 w 512"/>
              <a:gd name="T29" fmla="*/ 278 h 512"/>
              <a:gd name="T30" fmla="*/ 363 w 512"/>
              <a:gd name="T31" fmla="*/ 278 h 512"/>
              <a:gd name="T32" fmla="*/ 341 w 512"/>
              <a:gd name="T33" fmla="*/ 256 h 512"/>
              <a:gd name="T34" fmla="*/ 363 w 512"/>
              <a:gd name="T35" fmla="*/ 235 h 512"/>
              <a:gd name="T36" fmla="*/ 384 w 512"/>
              <a:gd name="T37" fmla="*/ 256 h 512"/>
              <a:gd name="T38" fmla="*/ 363 w 512"/>
              <a:gd name="T39" fmla="*/ 2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49" y="278"/>
                </a:moveTo>
                <a:cubicBezTo>
                  <a:pt x="138" y="278"/>
                  <a:pt x="128" y="268"/>
                  <a:pt x="128" y="256"/>
                </a:cubicBezTo>
                <a:cubicBezTo>
                  <a:pt x="128" y="245"/>
                  <a:pt x="138" y="235"/>
                  <a:pt x="149" y="235"/>
                </a:cubicBezTo>
                <a:cubicBezTo>
                  <a:pt x="161" y="235"/>
                  <a:pt x="171" y="245"/>
                  <a:pt x="171" y="256"/>
                </a:cubicBezTo>
                <a:cubicBezTo>
                  <a:pt x="171" y="268"/>
                  <a:pt x="161" y="278"/>
                  <a:pt x="149" y="278"/>
                </a:cubicBezTo>
                <a:close/>
                <a:moveTo>
                  <a:pt x="256" y="278"/>
                </a:moveTo>
                <a:cubicBezTo>
                  <a:pt x="244" y="278"/>
                  <a:pt x="235" y="268"/>
                  <a:pt x="235" y="256"/>
                </a:cubicBezTo>
                <a:cubicBezTo>
                  <a:pt x="235" y="245"/>
                  <a:pt x="244" y="235"/>
                  <a:pt x="256" y="235"/>
                </a:cubicBezTo>
                <a:cubicBezTo>
                  <a:pt x="268" y="235"/>
                  <a:pt x="277" y="245"/>
                  <a:pt x="277" y="256"/>
                </a:cubicBezTo>
                <a:cubicBezTo>
                  <a:pt x="277" y="268"/>
                  <a:pt x="268" y="278"/>
                  <a:pt x="256" y="278"/>
                </a:cubicBezTo>
                <a:close/>
                <a:moveTo>
                  <a:pt x="363" y="278"/>
                </a:moveTo>
                <a:cubicBezTo>
                  <a:pt x="351" y="278"/>
                  <a:pt x="341" y="268"/>
                  <a:pt x="341" y="256"/>
                </a:cubicBezTo>
                <a:cubicBezTo>
                  <a:pt x="341" y="245"/>
                  <a:pt x="351" y="235"/>
                  <a:pt x="363" y="235"/>
                </a:cubicBezTo>
                <a:cubicBezTo>
                  <a:pt x="374" y="235"/>
                  <a:pt x="384" y="245"/>
                  <a:pt x="384" y="256"/>
                </a:cubicBezTo>
                <a:cubicBezTo>
                  <a:pt x="384" y="268"/>
                  <a:pt x="374" y="278"/>
                  <a:pt x="363" y="27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15" name="Group 466"/>
          <p:cNvGrpSpPr>
            <a:grpSpLocks noChangeAspect="1"/>
          </p:cNvGrpSpPr>
          <p:nvPr/>
        </p:nvGrpSpPr>
        <p:grpSpPr bwMode="auto">
          <a:xfrm>
            <a:off x="783026" y="4184510"/>
            <a:ext cx="367631" cy="367631"/>
            <a:chOff x="6651" y="1616"/>
            <a:chExt cx="340" cy="340"/>
          </a:xfrm>
          <a:solidFill>
            <a:schemeClr val="accent5"/>
          </a:solidFill>
        </p:grpSpPr>
        <p:sp>
          <p:nvSpPr>
            <p:cNvPr id="716" name="Freeform 467"/>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7" name="Freeform 468"/>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18" name="Freeform 645"/>
          <p:cNvSpPr>
            <a:spLocks noChangeAspect="1" noEditPoints="1"/>
          </p:cNvSpPr>
          <p:nvPr/>
        </p:nvSpPr>
        <p:spPr bwMode="auto">
          <a:xfrm>
            <a:off x="1203011" y="4184510"/>
            <a:ext cx="367041" cy="367041"/>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19" name="Group 648"/>
          <p:cNvGrpSpPr>
            <a:grpSpLocks noChangeAspect="1"/>
          </p:cNvGrpSpPr>
          <p:nvPr/>
        </p:nvGrpSpPr>
        <p:grpSpPr bwMode="auto">
          <a:xfrm>
            <a:off x="1622406" y="4184510"/>
            <a:ext cx="367041" cy="367041"/>
            <a:chOff x="5899" y="3152"/>
            <a:chExt cx="340" cy="340"/>
          </a:xfrm>
          <a:solidFill>
            <a:schemeClr val="accent1"/>
          </a:solidFill>
        </p:grpSpPr>
        <p:sp>
          <p:nvSpPr>
            <p:cNvPr id="720" name="Freeform 649"/>
            <p:cNvSpPr>
              <a:spLocks noEditPoints="1"/>
            </p:cNvSpPr>
            <p:nvPr/>
          </p:nvSpPr>
          <p:spPr bwMode="auto">
            <a:xfrm>
              <a:off x="5899" y="3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1" name="Freeform 650"/>
            <p:cNvSpPr>
              <a:spLocks noEditPoints="1"/>
            </p:cNvSpPr>
            <p:nvPr/>
          </p:nvSpPr>
          <p:spPr bwMode="auto">
            <a:xfrm>
              <a:off x="5990" y="3215"/>
              <a:ext cx="157" cy="213"/>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2" name="Freeform 654"/>
          <p:cNvSpPr>
            <a:spLocks noChangeAspect="1" noEditPoints="1"/>
          </p:cNvSpPr>
          <p:nvPr/>
        </p:nvSpPr>
        <p:spPr bwMode="auto">
          <a:xfrm>
            <a:off x="2041801" y="4184510"/>
            <a:ext cx="367041" cy="36704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23" name="Group 657"/>
          <p:cNvGrpSpPr>
            <a:grpSpLocks noChangeAspect="1"/>
          </p:cNvGrpSpPr>
          <p:nvPr/>
        </p:nvGrpSpPr>
        <p:grpSpPr bwMode="auto">
          <a:xfrm>
            <a:off x="2461196" y="4184510"/>
            <a:ext cx="367041" cy="367041"/>
            <a:chOff x="5986" y="3351"/>
            <a:chExt cx="340" cy="340"/>
          </a:xfrm>
          <a:solidFill>
            <a:schemeClr val="accent4"/>
          </a:solidFill>
        </p:grpSpPr>
        <p:sp>
          <p:nvSpPr>
            <p:cNvPr id="724" name="Freeform 658"/>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5" name="Freeform 659"/>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6" name="Freeform 660"/>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7" name="Freeform 664"/>
          <p:cNvSpPr>
            <a:spLocks noChangeAspect="1" noEditPoints="1"/>
          </p:cNvSpPr>
          <p:nvPr/>
        </p:nvSpPr>
        <p:spPr bwMode="auto">
          <a:xfrm>
            <a:off x="2880591" y="4184510"/>
            <a:ext cx="367041" cy="367041"/>
          </a:xfrm>
          <a:custGeom>
            <a:avLst/>
            <a:gdLst>
              <a:gd name="T0" fmla="*/ 209 w 512"/>
              <a:gd name="T1" fmla="*/ 308 h 512"/>
              <a:gd name="T2" fmla="*/ 184 w 512"/>
              <a:gd name="T3" fmla="*/ 286 h 512"/>
              <a:gd name="T4" fmla="*/ 302 w 512"/>
              <a:gd name="T5" fmla="*/ 308 h 512"/>
              <a:gd name="T6" fmla="*/ 327 w 512"/>
              <a:gd name="T7" fmla="*/ 286 h 512"/>
              <a:gd name="T8" fmla="*/ 302 w 512"/>
              <a:gd name="T9" fmla="*/ 308 h 512"/>
              <a:gd name="T10" fmla="*/ 170 w 512"/>
              <a:gd name="T11" fmla="*/ 202 h 512"/>
              <a:gd name="T12" fmla="*/ 180 w 512"/>
              <a:gd name="T13" fmla="*/ 265 h 512"/>
              <a:gd name="T14" fmla="*/ 193 w 512"/>
              <a:gd name="T15" fmla="*/ 213 h 512"/>
              <a:gd name="T16" fmla="*/ 256 w 512"/>
              <a:gd name="T17" fmla="*/ 138 h 512"/>
              <a:gd name="T18" fmla="*/ 319 w 512"/>
              <a:gd name="T19" fmla="*/ 213 h 512"/>
              <a:gd name="T20" fmla="*/ 331 w 512"/>
              <a:gd name="T21" fmla="*/ 265 h 512"/>
              <a:gd name="T22" fmla="*/ 341 w 512"/>
              <a:gd name="T23" fmla="*/ 202 h 512"/>
              <a:gd name="T24" fmla="*/ 512 w 512"/>
              <a:gd name="T25" fmla="*/ 256 h 512"/>
              <a:gd name="T26" fmla="*/ 0 w 512"/>
              <a:gd name="T27" fmla="*/ 256 h 512"/>
              <a:gd name="T28" fmla="*/ 512 w 512"/>
              <a:gd name="T29" fmla="*/ 256 h 512"/>
              <a:gd name="T30" fmla="*/ 224 w 512"/>
              <a:gd name="T31" fmla="*/ 373 h 512"/>
              <a:gd name="T32" fmla="*/ 213 w 512"/>
              <a:gd name="T33" fmla="*/ 362 h 512"/>
              <a:gd name="T34" fmla="*/ 192 w 512"/>
              <a:gd name="T35" fmla="*/ 362 h 512"/>
              <a:gd name="T36" fmla="*/ 181 w 512"/>
              <a:gd name="T37" fmla="*/ 373 h 512"/>
              <a:gd name="T38" fmla="*/ 181 w 512"/>
              <a:gd name="T39" fmla="*/ 394 h 512"/>
              <a:gd name="T40" fmla="*/ 192 w 512"/>
              <a:gd name="T41" fmla="*/ 405 h 512"/>
              <a:gd name="T42" fmla="*/ 213 w 512"/>
              <a:gd name="T43" fmla="*/ 405 h 512"/>
              <a:gd name="T44" fmla="*/ 224 w 512"/>
              <a:gd name="T45" fmla="*/ 394 h 512"/>
              <a:gd name="T46" fmla="*/ 341 w 512"/>
              <a:gd name="T47" fmla="*/ 384 h 512"/>
              <a:gd name="T48" fmla="*/ 288 w 512"/>
              <a:gd name="T49" fmla="*/ 373 h 512"/>
              <a:gd name="T50" fmla="*/ 288 w 512"/>
              <a:gd name="T51" fmla="*/ 394 h 512"/>
              <a:gd name="T52" fmla="*/ 341 w 512"/>
              <a:gd name="T53" fmla="*/ 384 h 512"/>
              <a:gd name="T54" fmla="*/ 256 w 512"/>
              <a:gd name="T55" fmla="*/ 96 h 512"/>
              <a:gd name="T56" fmla="*/ 149 w 512"/>
              <a:gd name="T57" fmla="*/ 209 h 512"/>
              <a:gd name="T58" fmla="*/ 169 w 512"/>
              <a:gd name="T59" fmla="*/ 325 h 512"/>
              <a:gd name="T60" fmla="*/ 181 w 512"/>
              <a:gd name="T61" fmla="*/ 334 h 512"/>
              <a:gd name="T62" fmla="*/ 232 w 512"/>
              <a:gd name="T63" fmla="*/ 314 h 512"/>
              <a:gd name="T64" fmla="*/ 213 w 512"/>
              <a:gd name="T65" fmla="*/ 202 h 512"/>
              <a:gd name="T66" fmla="*/ 298 w 512"/>
              <a:gd name="T67" fmla="*/ 202 h 512"/>
              <a:gd name="T68" fmla="*/ 279 w 512"/>
              <a:gd name="T69" fmla="*/ 314 h 512"/>
              <a:gd name="T70" fmla="*/ 330 w 512"/>
              <a:gd name="T71" fmla="*/ 334 h 512"/>
              <a:gd name="T72" fmla="*/ 338 w 512"/>
              <a:gd name="T73" fmla="*/ 332 h 512"/>
              <a:gd name="T74" fmla="*/ 362 w 512"/>
              <a:gd name="T75" fmla="*/ 211 h 512"/>
              <a:gd name="T76" fmla="*/ 362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05" y="282"/>
                </a:moveTo>
                <a:cubicBezTo>
                  <a:pt x="209" y="308"/>
                  <a:pt x="209" y="308"/>
                  <a:pt x="209" y="308"/>
                </a:cubicBezTo>
                <a:cubicBezTo>
                  <a:pt x="188" y="311"/>
                  <a:pt x="188" y="311"/>
                  <a:pt x="188" y="311"/>
                </a:cubicBezTo>
                <a:cubicBezTo>
                  <a:pt x="184" y="286"/>
                  <a:pt x="184" y="286"/>
                  <a:pt x="184" y="286"/>
                </a:cubicBezTo>
                <a:lnTo>
                  <a:pt x="205" y="282"/>
                </a:lnTo>
                <a:close/>
                <a:moveTo>
                  <a:pt x="302" y="308"/>
                </a:moveTo>
                <a:cubicBezTo>
                  <a:pt x="323" y="311"/>
                  <a:pt x="323" y="311"/>
                  <a:pt x="323" y="311"/>
                </a:cubicBezTo>
                <a:cubicBezTo>
                  <a:pt x="327" y="286"/>
                  <a:pt x="327" y="286"/>
                  <a:pt x="327" y="286"/>
                </a:cubicBezTo>
                <a:cubicBezTo>
                  <a:pt x="307" y="282"/>
                  <a:pt x="307" y="282"/>
                  <a:pt x="307" y="282"/>
                </a:cubicBezTo>
                <a:lnTo>
                  <a:pt x="302" y="308"/>
                </a:lnTo>
                <a:close/>
                <a:moveTo>
                  <a:pt x="256" y="117"/>
                </a:moveTo>
                <a:cubicBezTo>
                  <a:pt x="209" y="117"/>
                  <a:pt x="170" y="155"/>
                  <a:pt x="170" y="202"/>
                </a:cubicBezTo>
                <a:cubicBezTo>
                  <a:pt x="170" y="204"/>
                  <a:pt x="170" y="206"/>
                  <a:pt x="171" y="208"/>
                </a:cubicBezTo>
                <a:cubicBezTo>
                  <a:pt x="180" y="265"/>
                  <a:pt x="180" y="265"/>
                  <a:pt x="180" y="265"/>
                </a:cubicBezTo>
                <a:cubicBezTo>
                  <a:pt x="201" y="261"/>
                  <a:pt x="201" y="261"/>
                  <a:pt x="201" y="261"/>
                </a:cubicBezTo>
                <a:cubicBezTo>
                  <a:pt x="193" y="213"/>
                  <a:pt x="193" y="213"/>
                  <a:pt x="193" y="213"/>
                </a:cubicBezTo>
                <a:cubicBezTo>
                  <a:pt x="192" y="210"/>
                  <a:pt x="192" y="206"/>
                  <a:pt x="192" y="202"/>
                </a:cubicBezTo>
                <a:cubicBezTo>
                  <a:pt x="192" y="166"/>
                  <a:pt x="219" y="138"/>
                  <a:pt x="256" y="138"/>
                </a:cubicBezTo>
                <a:cubicBezTo>
                  <a:pt x="291" y="138"/>
                  <a:pt x="320" y="167"/>
                  <a:pt x="320" y="202"/>
                </a:cubicBezTo>
                <a:cubicBezTo>
                  <a:pt x="320" y="206"/>
                  <a:pt x="319" y="210"/>
                  <a:pt x="319" y="213"/>
                </a:cubicBezTo>
                <a:cubicBezTo>
                  <a:pt x="310" y="261"/>
                  <a:pt x="310" y="261"/>
                  <a:pt x="310" y="261"/>
                </a:cubicBezTo>
                <a:cubicBezTo>
                  <a:pt x="331" y="265"/>
                  <a:pt x="331" y="265"/>
                  <a:pt x="331" y="265"/>
                </a:cubicBezTo>
                <a:cubicBezTo>
                  <a:pt x="341" y="208"/>
                  <a:pt x="341" y="208"/>
                  <a:pt x="341" y="208"/>
                </a:cubicBezTo>
                <a:cubicBezTo>
                  <a:pt x="341" y="206"/>
                  <a:pt x="341" y="204"/>
                  <a:pt x="341" y="202"/>
                </a:cubicBezTo>
                <a:cubicBezTo>
                  <a:pt x="341" y="155"/>
                  <a:pt x="303"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384"/>
                </a:moveTo>
                <a:cubicBezTo>
                  <a:pt x="234" y="378"/>
                  <a:pt x="230" y="373"/>
                  <a:pt x="224" y="373"/>
                </a:cubicBezTo>
                <a:cubicBezTo>
                  <a:pt x="213" y="373"/>
                  <a:pt x="213" y="373"/>
                  <a:pt x="213" y="373"/>
                </a:cubicBezTo>
                <a:cubicBezTo>
                  <a:pt x="213" y="362"/>
                  <a:pt x="213" y="362"/>
                  <a:pt x="213" y="362"/>
                </a:cubicBezTo>
                <a:cubicBezTo>
                  <a:pt x="213" y="356"/>
                  <a:pt x="208" y="352"/>
                  <a:pt x="202" y="352"/>
                </a:cubicBezTo>
                <a:cubicBezTo>
                  <a:pt x="196" y="352"/>
                  <a:pt x="192" y="356"/>
                  <a:pt x="192" y="362"/>
                </a:cubicBezTo>
                <a:cubicBezTo>
                  <a:pt x="192" y="373"/>
                  <a:pt x="192" y="373"/>
                  <a:pt x="192" y="373"/>
                </a:cubicBezTo>
                <a:cubicBezTo>
                  <a:pt x="181" y="373"/>
                  <a:pt x="181" y="373"/>
                  <a:pt x="181" y="373"/>
                </a:cubicBezTo>
                <a:cubicBezTo>
                  <a:pt x="175" y="373"/>
                  <a:pt x="170" y="378"/>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24" y="394"/>
                  <a:pt x="224" y="394"/>
                  <a:pt x="224" y="394"/>
                </a:cubicBezTo>
                <a:cubicBezTo>
                  <a:pt x="230" y="394"/>
                  <a:pt x="234" y="390"/>
                  <a:pt x="234" y="384"/>
                </a:cubicBezTo>
                <a:close/>
                <a:moveTo>
                  <a:pt x="341" y="384"/>
                </a:moveTo>
                <a:cubicBezTo>
                  <a:pt x="341" y="378"/>
                  <a:pt x="336" y="373"/>
                  <a:pt x="330" y="373"/>
                </a:cubicBezTo>
                <a:cubicBezTo>
                  <a:pt x="288" y="373"/>
                  <a:pt x="288" y="373"/>
                  <a:pt x="288" y="373"/>
                </a:cubicBezTo>
                <a:cubicBezTo>
                  <a:pt x="282" y="373"/>
                  <a:pt x="277" y="378"/>
                  <a:pt x="277" y="384"/>
                </a:cubicBezTo>
                <a:cubicBezTo>
                  <a:pt x="277" y="390"/>
                  <a:pt x="282" y="394"/>
                  <a:pt x="288" y="394"/>
                </a:cubicBezTo>
                <a:cubicBezTo>
                  <a:pt x="330" y="394"/>
                  <a:pt x="330" y="394"/>
                  <a:pt x="330" y="394"/>
                </a:cubicBezTo>
                <a:cubicBezTo>
                  <a:pt x="336" y="394"/>
                  <a:pt x="341" y="390"/>
                  <a:pt x="341" y="384"/>
                </a:cubicBezTo>
                <a:close/>
                <a:moveTo>
                  <a:pt x="362" y="202"/>
                </a:moveTo>
                <a:cubicBezTo>
                  <a:pt x="362" y="144"/>
                  <a:pt x="314" y="96"/>
                  <a:pt x="256" y="96"/>
                </a:cubicBezTo>
                <a:cubicBezTo>
                  <a:pt x="197" y="96"/>
                  <a:pt x="149" y="144"/>
                  <a:pt x="149" y="202"/>
                </a:cubicBezTo>
                <a:cubicBezTo>
                  <a:pt x="149" y="205"/>
                  <a:pt x="149" y="207"/>
                  <a:pt x="149" y="209"/>
                </a:cubicBezTo>
                <a:cubicBezTo>
                  <a:pt x="149" y="210"/>
                  <a:pt x="149" y="211"/>
                  <a:pt x="150" y="211"/>
                </a:cubicBezTo>
                <a:cubicBezTo>
                  <a:pt x="169" y="325"/>
                  <a:pt x="169" y="325"/>
                  <a:pt x="169" y="325"/>
                </a:cubicBezTo>
                <a:cubicBezTo>
                  <a:pt x="170" y="328"/>
                  <a:pt x="171" y="331"/>
                  <a:pt x="173" y="332"/>
                </a:cubicBezTo>
                <a:cubicBezTo>
                  <a:pt x="176" y="334"/>
                  <a:pt x="179" y="335"/>
                  <a:pt x="181" y="334"/>
                </a:cubicBezTo>
                <a:cubicBezTo>
                  <a:pt x="223" y="327"/>
                  <a:pt x="223" y="327"/>
                  <a:pt x="223" y="327"/>
                </a:cubicBezTo>
                <a:cubicBezTo>
                  <a:pt x="229" y="326"/>
                  <a:pt x="233" y="320"/>
                  <a:pt x="232" y="314"/>
                </a:cubicBezTo>
                <a:cubicBezTo>
                  <a:pt x="214" y="209"/>
                  <a:pt x="214" y="209"/>
                  <a:pt x="214" y="209"/>
                </a:cubicBezTo>
                <a:cubicBezTo>
                  <a:pt x="213" y="207"/>
                  <a:pt x="213" y="205"/>
                  <a:pt x="213" y="202"/>
                </a:cubicBezTo>
                <a:cubicBezTo>
                  <a:pt x="213" y="178"/>
                  <a:pt x="231" y="160"/>
                  <a:pt x="256" y="160"/>
                </a:cubicBezTo>
                <a:cubicBezTo>
                  <a:pt x="279" y="160"/>
                  <a:pt x="298" y="179"/>
                  <a:pt x="298" y="202"/>
                </a:cubicBezTo>
                <a:cubicBezTo>
                  <a:pt x="298" y="205"/>
                  <a:pt x="298" y="207"/>
                  <a:pt x="298" y="209"/>
                </a:cubicBezTo>
                <a:cubicBezTo>
                  <a:pt x="279" y="314"/>
                  <a:pt x="279" y="314"/>
                  <a:pt x="279" y="314"/>
                </a:cubicBezTo>
                <a:cubicBezTo>
                  <a:pt x="278" y="320"/>
                  <a:pt x="282" y="326"/>
                  <a:pt x="288" y="327"/>
                </a:cubicBezTo>
                <a:cubicBezTo>
                  <a:pt x="330" y="334"/>
                  <a:pt x="330" y="334"/>
                  <a:pt x="330" y="334"/>
                </a:cubicBezTo>
                <a:cubicBezTo>
                  <a:pt x="330" y="334"/>
                  <a:pt x="331" y="334"/>
                  <a:pt x="332" y="334"/>
                </a:cubicBezTo>
                <a:cubicBezTo>
                  <a:pt x="334" y="334"/>
                  <a:pt x="336" y="334"/>
                  <a:pt x="338" y="332"/>
                </a:cubicBezTo>
                <a:cubicBezTo>
                  <a:pt x="340" y="331"/>
                  <a:pt x="342" y="328"/>
                  <a:pt x="342" y="325"/>
                </a:cubicBezTo>
                <a:cubicBezTo>
                  <a:pt x="362" y="211"/>
                  <a:pt x="362" y="211"/>
                  <a:pt x="362" y="211"/>
                </a:cubicBezTo>
                <a:cubicBezTo>
                  <a:pt x="362" y="211"/>
                  <a:pt x="362" y="210"/>
                  <a:pt x="362" y="209"/>
                </a:cubicBezTo>
                <a:cubicBezTo>
                  <a:pt x="362" y="207"/>
                  <a:pt x="362" y="205"/>
                  <a:pt x="362" y="2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28" name="Group 667"/>
          <p:cNvGrpSpPr>
            <a:grpSpLocks noChangeAspect="1"/>
          </p:cNvGrpSpPr>
          <p:nvPr/>
        </p:nvGrpSpPr>
        <p:grpSpPr bwMode="auto">
          <a:xfrm>
            <a:off x="3299986" y="4184510"/>
            <a:ext cx="367041" cy="367041"/>
            <a:chOff x="6153" y="3521"/>
            <a:chExt cx="340" cy="340"/>
          </a:xfrm>
          <a:solidFill>
            <a:schemeClr val="accent1"/>
          </a:solidFill>
        </p:grpSpPr>
        <p:sp>
          <p:nvSpPr>
            <p:cNvPr id="729" name="Freeform 728"/>
            <p:cNvSpPr>
              <a:spLocks noEditPoints="1"/>
            </p:cNvSpPr>
            <p:nvPr/>
          </p:nvSpPr>
          <p:spPr bwMode="auto">
            <a:xfrm>
              <a:off x="6153" y="35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0" name="Freeform 729"/>
            <p:cNvSpPr>
              <a:spLocks noEditPoints="1"/>
            </p:cNvSpPr>
            <p:nvPr/>
          </p:nvSpPr>
          <p:spPr bwMode="auto">
            <a:xfrm>
              <a:off x="6252" y="3585"/>
              <a:ext cx="141" cy="212"/>
            </a:xfrm>
            <a:custGeom>
              <a:avLst/>
              <a:gdLst>
                <a:gd name="T0" fmla="*/ 75 w 213"/>
                <a:gd name="T1" fmla="*/ 298 h 320"/>
                <a:gd name="T2" fmla="*/ 64 w 213"/>
                <a:gd name="T3" fmla="*/ 309 h 320"/>
                <a:gd name="T4" fmla="*/ 43 w 213"/>
                <a:gd name="T5" fmla="*/ 309 h 320"/>
                <a:gd name="T6" fmla="*/ 32 w 213"/>
                <a:gd name="T7" fmla="*/ 298 h 320"/>
                <a:gd name="T8" fmla="*/ 32 w 213"/>
                <a:gd name="T9" fmla="*/ 277 h 320"/>
                <a:gd name="T10" fmla="*/ 43 w 213"/>
                <a:gd name="T11" fmla="*/ 266 h 320"/>
                <a:gd name="T12" fmla="*/ 64 w 213"/>
                <a:gd name="T13" fmla="*/ 266 h 320"/>
                <a:gd name="T14" fmla="*/ 75 w 213"/>
                <a:gd name="T15" fmla="*/ 277 h 320"/>
                <a:gd name="T16" fmla="*/ 181 w 213"/>
                <a:gd name="T17" fmla="*/ 277 h 320"/>
                <a:gd name="T18" fmla="*/ 128 w 213"/>
                <a:gd name="T19" fmla="*/ 288 h 320"/>
                <a:gd name="T20" fmla="*/ 181 w 213"/>
                <a:gd name="T21" fmla="*/ 298 h 320"/>
                <a:gd name="T22" fmla="*/ 181 w 213"/>
                <a:gd name="T23" fmla="*/ 277 h 320"/>
                <a:gd name="T24" fmla="*/ 213 w 213"/>
                <a:gd name="T25" fmla="*/ 113 h 320"/>
                <a:gd name="T26" fmla="*/ 193 w 213"/>
                <a:gd name="T27" fmla="*/ 229 h 320"/>
                <a:gd name="T28" fmla="*/ 183 w 213"/>
                <a:gd name="T29" fmla="*/ 238 h 320"/>
                <a:gd name="T30" fmla="*/ 139 w 213"/>
                <a:gd name="T31" fmla="*/ 231 h 320"/>
                <a:gd name="T32" fmla="*/ 149 w 213"/>
                <a:gd name="T33" fmla="*/ 113 h 320"/>
                <a:gd name="T34" fmla="*/ 107 w 213"/>
                <a:gd name="T35" fmla="*/ 64 h 320"/>
                <a:gd name="T36" fmla="*/ 65 w 213"/>
                <a:gd name="T37" fmla="*/ 113 h 320"/>
                <a:gd name="T38" fmla="*/ 74 w 213"/>
                <a:gd name="T39" fmla="*/ 231 h 320"/>
                <a:gd name="T40" fmla="*/ 24 w 213"/>
                <a:gd name="T41" fmla="*/ 236 h 320"/>
                <a:gd name="T42" fmla="*/ 1 w 213"/>
                <a:gd name="T43" fmla="*/ 115 h 320"/>
                <a:gd name="T44" fmla="*/ 0 w 213"/>
                <a:gd name="T45" fmla="*/ 106 h 320"/>
                <a:gd name="T46" fmla="*/ 213 w 213"/>
                <a:gd name="T47" fmla="*/ 106 h 320"/>
                <a:gd name="T48" fmla="*/ 56 w 213"/>
                <a:gd name="T49" fmla="*/ 186 h 320"/>
                <a:gd name="T50" fmla="*/ 39 w 213"/>
                <a:gd name="T51" fmla="*/ 215 h 320"/>
                <a:gd name="T52" fmla="*/ 171 w 213"/>
                <a:gd name="T53" fmla="*/ 106 h 320"/>
                <a:gd name="T54" fmla="*/ 161 w 213"/>
                <a:gd name="T55" fmla="*/ 165 h 320"/>
                <a:gd name="T56" fmla="*/ 192 w 213"/>
                <a:gd name="T57" fmla="*/ 112 h 320"/>
                <a:gd name="T58" fmla="*/ 107 w 213"/>
                <a:gd name="T59" fmla="*/ 21 h 320"/>
                <a:gd name="T60" fmla="*/ 22 w 213"/>
                <a:gd name="T61" fmla="*/ 112 h 320"/>
                <a:gd name="T62" fmla="*/ 52 w 213"/>
                <a:gd name="T63" fmla="*/ 165 h 320"/>
                <a:gd name="T64" fmla="*/ 43 w 213"/>
                <a:gd name="T65" fmla="*/ 106 h 320"/>
                <a:gd name="T66" fmla="*/ 171 w 213"/>
                <a:gd name="T67" fmla="*/ 106 h 320"/>
                <a:gd name="T68" fmla="*/ 178 w 213"/>
                <a:gd name="T69" fmla="*/ 190 h 320"/>
                <a:gd name="T70" fmla="*/ 153 w 213"/>
                <a:gd name="T71" fmla="*/ 2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3" h="320">
                  <a:moveTo>
                    <a:pt x="85" y="288"/>
                  </a:moveTo>
                  <a:cubicBezTo>
                    <a:pt x="85" y="294"/>
                    <a:pt x="81" y="298"/>
                    <a:pt x="75" y="298"/>
                  </a:cubicBezTo>
                  <a:cubicBezTo>
                    <a:pt x="64" y="298"/>
                    <a:pt x="64" y="298"/>
                    <a:pt x="64" y="298"/>
                  </a:cubicBezTo>
                  <a:cubicBezTo>
                    <a:pt x="64" y="309"/>
                    <a:pt x="64" y="309"/>
                    <a:pt x="64" y="309"/>
                  </a:cubicBezTo>
                  <a:cubicBezTo>
                    <a:pt x="64" y="315"/>
                    <a:pt x="59" y="320"/>
                    <a:pt x="53" y="320"/>
                  </a:cubicBezTo>
                  <a:cubicBezTo>
                    <a:pt x="47" y="320"/>
                    <a:pt x="43" y="315"/>
                    <a:pt x="43" y="309"/>
                  </a:cubicBezTo>
                  <a:cubicBezTo>
                    <a:pt x="43" y="298"/>
                    <a:pt x="43" y="298"/>
                    <a:pt x="43" y="298"/>
                  </a:cubicBezTo>
                  <a:cubicBezTo>
                    <a:pt x="32" y="298"/>
                    <a:pt x="32" y="298"/>
                    <a:pt x="32" y="298"/>
                  </a:cubicBezTo>
                  <a:cubicBezTo>
                    <a:pt x="26" y="298"/>
                    <a:pt x="21" y="294"/>
                    <a:pt x="21" y="288"/>
                  </a:cubicBezTo>
                  <a:cubicBezTo>
                    <a:pt x="21" y="282"/>
                    <a:pt x="26" y="277"/>
                    <a:pt x="32" y="277"/>
                  </a:cubicBezTo>
                  <a:cubicBezTo>
                    <a:pt x="43" y="277"/>
                    <a:pt x="43" y="277"/>
                    <a:pt x="43" y="277"/>
                  </a:cubicBezTo>
                  <a:cubicBezTo>
                    <a:pt x="43" y="266"/>
                    <a:pt x="43" y="266"/>
                    <a:pt x="43" y="266"/>
                  </a:cubicBezTo>
                  <a:cubicBezTo>
                    <a:pt x="43" y="260"/>
                    <a:pt x="47" y="256"/>
                    <a:pt x="53" y="256"/>
                  </a:cubicBezTo>
                  <a:cubicBezTo>
                    <a:pt x="59" y="256"/>
                    <a:pt x="64" y="260"/>
                    <a:pt x="64" y="266"/>
                  </a:cubicBezTo>
                  <a:cubicBezTo>
                    <a:pt x="64" y="277"/>
                    <a:pt x="64" y="277"/>
                    <a:pt x="64" y="277"/>
                  </a:cubicBezTo>
                  <a:cubicBezTo>
                    <a:pt x="75" y="277"/>
                    <a:pt x="75" y="277"/>
                    <a:pt x="75" y="277"/>
                  </a:cubicBezTo>
                  <a:cubicBezTo>
                    <a:pt x="81" y="277"/>
                    <a:pt x="85" y="282"/>
                    <a:pt x="85" y="288"/>
                  </a:cubicBezTo>
                  <a:close/>
                  <a:moveTo>
                    <a:pt x="181" y="277"/>
                  </a:moveTo>
                  <a:cubicBezTo>
                    <a:pt x="139" y="277"/>
                    <a:pt x="139" y="277"/>
                    <a:pt x="139" y="277"/>
                  </a:cubicBezTo>
                  <a:cubicBezTo>
                    <a:pt x="133" y="277"/>
                    <a:pt x="128" y="282"/>
                    <a:pt x="128" y="288"/>
                  </a:cubicBezTo>
                  <a:cubicBezTo>
                    <a:pt x="128" y="294"/>
                    <a:pt x="133" y="298"/>
                    <a:pt x="139" y="298"/>
                  </a:cubicBezTo>
                  <a:cubicBezTo>
                    <a:pt x="181" y="298"/>
                    <a:pt x="181" y="298"/>
                    <a:pt x="181" y="298"/>
                  </a:cubicBezTo>
                  <a:cubicBezTo>
                    <a:pt x="187" y="298"/>
                    <a:pt x="192" y="294"/>
                    <a:pt x="192" y="288"/>
                  </a:cubicBezTo>
                  <a:cubicBezTo>
                    <a:pt x="192" y="282"/>
                    <a:pt x="187" y="277"/>
                    <a:pt x="181" y="277"/>
                  </a:cubicBezTo>
                  <a:close/>
                  <a:moveTo>
                    <a:pt x="213" y="106"/>
                  </a:moveTo>
                  <a:cubicBezTo>
                    <a:pt x="213" y="109"/>
                    <a:pt x="213" y="111"/>
                    <a:pt x="213" y="113"/>
                  </a:cubicBezTo>
                  <a:cubicBezTo>
                    <a:pt x="213" y="114"/>
                    <a:pt x="213" y="115"/>
                    <a:pt x="213" y="115"/>
                  </a:cubicBezTo>
                  <a:cubicBezTo>
                    <a:pt x="193" y="229"/>
                    <a:pt x="193" y="229"/>
                    <a:pt x="193" y="229"/>
                  </a:cubicBezTo>
                  <a:cubicBezTo>
                    <a:pt x="193" y="232"/>
                    <a:pt x="191" y="235"/>
                    <a:pt x="189" y="236"/>
                  </a:cubicBezTo>
                  <a:cubicBezTo>
                    <a:pt x="187" y="238"/>
                    <a:pt x="185" y="238"/>
                    <a:pt x="183" y="238"/>
                  </a:cubicBezTo>
                  <a:cubicBezTo>
                    <a:pt x="182" y="238"/>
                    <a:pt x="181" y="238"/>
                    <a:pt x="181" y="238"/>
                  </a:cubicBezTo>
                  <a:cubicBezTo>
                    <a:pt x="139" y="231"/>
                    <a:pt x="139" y="231"/>
                    <a:pt x="139" y="231"/>
                  </a:cubicBezTo>
                  <a:cubicBezTo>
                    <a:pt x="133" y="230"/>
                    <a:pt x="129" y="224"/>
                    <a:pt x="130" y="218"/>
                  </a:cubicBezTo>
                  <a:cubicBezTo>
                    <a:pt x="149" y="113"/>
                    <a:pt x="149" y="113"/>
                    <a:pt x="149" y="113"/>
                  </a:cubicBezTo>
                  <a:cubicBezTo>
                    <a:pt x="149" y="111"/>
                    <a:pt x="149" y="109"/>
                    <a:pt x="149" y="106"/>
                  </a:cubicBezTo>
                  <a:cubicBezTo>
                    <a:pt x="149" y="83"/>
                    <a:pt x="130" y="64"/>
                    <a:pt x="107" y="64"/>
                  </a:cubicBezTo>
                  <a:cubicBezTo>
                    <a:pt x="82" y="64"/>
                    <a:pt x="64" y="82"/>
                    <a:pt x="64" y="106"/>
                  </a:cubicBezTo>
                  <a:cubicBezTo>
                    <a:pt x="64" y="109"/>
                    <a:pt x="64" y="111"/>
                    <a:pt x="65" y="113"/>
                  </a:cubicBezTo>
                  <a:cubicBezTo>
                    <a:pt x="83" y="218"/>
                    <a:pt x="83" y="218"/>
                    <a:pt x="83" y="218"/>
                  </a:cubicBezTo>
                  <a:cubicBezTo>
                    <a:pt x="84" y="224"/>
                    <a:pt x="80" y="230"/>
                    <a:pt x="74" y="231"/>
                  </a:cubicBezTo>
                  <a:cubicBezTo>
                    <a:pt x="32" y="238"/>
                    <a:pt x="32" y="238"/>
                    <a:pt x="32" y="238"/>
                  </a:cubicBezTo>
                  <a:cubicBezTo>
                    <a:pt x="30" y="239"/>
                    <a:pt x="27" y="238"/>
                    <a:pt x="24" y="236"/>
                  </a:cubicBezTo>
                  <a:cubicBezTo>
                    <a:pt x="22" y="235"/>
                    <a:pt x="21" y="232"/>
                    <a:pt x="20" y="229"/>
                  </a:cubicBezTo>
                  <a:cubicBezTo>
                    <a:pt x="1" y="115"/>
                    <a:pt x="1" y="115"/>
                    <a:pt x="1" y="115"/>
                  </a:cubicBezTo>
                  <a:cubicBezTo>
                    <a:pt x="0" y="115"/>
                    <a:pt x="0" y="114"/>
                    <a:pt x="0" y="113"/>
                  </a:cubicBezTo>
                  <a:cubicBezTo>
                    <a:pt x="0" y="111"/>
                    <a:pt x="0" y="109"/>
                    <a:pt x="0" y="106"/>
                  </a:cubicBezTo>
                  <a:cubicBezTo>
                    <a:pt x="0" y="48"/>
                    <a:pt x="48" y="0"/>
                    <a:pt x="107" y="0"/>
                  </a:cubicBezTo>
                  <a:cubicBezTo>
                    <a:pt x="165" y="0"/>
                    <a:pt x="213" y="48"/>
                    <a:pt x="213" y="106"/>
                  </a:cubicBezTo>
                  <a:close/>
                  <a:moveTo>
                    <a:pt x="60" y="212"/>
                  </a:moveTo>
                  <a:cubicBezTo>
                    <a:pt x="56" y="186"/>
                    <a:pt x="56" y="186"/>
                    <a:pt x="56" y="186"/>
                  </a:cubicBezTo>
                  <a:cubicBezTo>
                    <a:pt x="35" y="190"/>
                    <a:pt x="35" y="190"/>
                    <a:pt x="35" y="190"/>
                  </a:cubicBezTo>
                  <a:cubicBezTo>
                    <a:pt x="39" y="215"/>
                    <a:pt x="39" y="215"/>
                    <a:pt x="39" y="215"/>
                  </a:cubicBezTo>
                  <a:lnTo>
                    <a:pt x="60" y="212"/>
                  </a:lnTo>
                  <a:close/>
                  <a:moveTo>
                    <a:pt x="171" y="106"/>
                  </a:moveTo>
                  <a:cubicBezTo>
                    <a:pt x="171" y="110"/>
                    <a:pt x="170" y="114"/>
                    <a:pt x="170" y="117"/>
                  </a:cubicBezTo>
                  <a:cubicBezTo>
                    <a:pt x="161" y="165"/>
                    <a:pt x="161" y="165"/>
                    <a:pt x="161" y="165"/>
                  </a:cubicBezTo>
                  <a:cubicBezTo>
                    <a:pt x="182" y="169"/>
                    <a:pt x="182" y="169"/>
                    <a:pt x="182" y="169"/>
                  </a:cubicBezTo>
                  <a:cubicBezTo>
                    <a:pt x="192" y="112"/>
                    <a:pt x="192" y="112"/>
                    <a:pt x="192" y="112"/>
                  </a:cubicBezTo>
                  <a:cubicBezTo>
                    <a:pt x="192" y="110"/>
                    <a:pt x="192" y="108"/>
                    <a:pt x="192" y="106"/>
                  </a:cubicBezTo>
                  <a:cubicBezTo>
                    <a:pt x="192" y="59"/>
                    <a:pt x="154" y="21"/>
                    <a:pt x="107" y="21"/>
                  </a:cubicBezTo>
                  <a:cubicBezTo>
                    <a:pt x="60" y="21"/>
                    <a:pt x="21" y="59"/>
                    <a:pt x="21" y="106"/>
                  </a:cubicBezTo>
                  <a:cubicBezTo>
                    <a:pt x="21" y="108"/>
                    <a:pt x="21" y="110"/>
                    <a:pt x="22" y="112"/>
                  </a:cubicBezTo>
                  <a:cubicBezTo>
                    <a:pt x="31" y="169"/>
                    <a:pt x="31" y="169"/>
                    <a:pt x="31" y="169"/>
                  </a:cubicBezTo>
                  <a:cubicBezTo>
                    <a:pt x="52" y="165"/>
                    <a:pt x="52" y="165"/>
                    <a:pt x="52" y="165"/>
                  </a:cubicBezTo>
                  <a:cubicBezTo>
                    <a:pt x="44" y="117"/>
                    <a:pt x="44" y="117"/>
                    <a:pt x="44" y="117"/>
                  </a:cubicBezTo>
                  <a:cubicBezTo>
                    <a:pt x="43" y="114"/>
                    <a:pt x="43" y="110"/>
                    <a:pt x="43" y="106"/>
                  </a:cubicBezTo>
                  <a:cubicBezTo>
                    <a:pt x="43" y="70"/>
                    <a:pt x="70" y="42"/>
                    <a:pt x="107" y="42"/>
                  </a:cubicBezTo>
                  <a:cubicBezTo>
                    <a:pt x="142" y="42"/>
                    <a:pt x="171" y="71"/>
                    <a:pt x="171" y="106"/>
                  </a:cubicBezTo>
                  <a:close/>
                  <a:moveTo>
                    <a:pt x="174" y="215"/>
                  </a:moveTo>
                  <a:cubicBezTo>
                    <a:pt x="178" y="190"/>
                    <a:pt x="178" y="190"/>
                    <a:pt x="178" y="190"/>
                  </a:cubicBezTo>
                  <a:cubicBezTo>
                    <a:pt x="158" y="186"/>
                    <a:pt x="158" y="186"/>
                    <a:pt x="158" y="186"/>
                  </a:cubicBezTo>
                  <a:cubicBezTo>
                    <a:pt x="153" y="212"/>
                    <a:pt x="153" y="212"/>
                    <a:pt x="153" y="212"/>
                  </a:cubicBezTo>
                  <a:lnTo>
                    <a:pt x="174" y="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1" name="TextBox 730"/>
          <p:cNvSpPr txBox="1"/>
          <p:nvPr/>
        </p:nvSpPr>
        <p:spPr>
          <a:xfrm>
            <a:off x="4550547"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le/female</a:t>
            </a:r>
          </a:p>
        </p:txBody>
      </p:sp>
      <p:sp>
        <p:nvSpPr>
          <p:cNvPr id="732" name="TextBox 731"/>
          <p:cNvSpPr txBox="1"/>
          <p:nvPr/>
        </p:nvSpPr>
        <p:spPr>
          <a:xfrm>
            <a:off x="5388086"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le symbol</a:t>
            </a:r>
          </a:p>
        </p:txBody>
      </p:sp>
      <p:sp>
        <p:nvSpPr>
          <p:cNvPr id="733" name="TextBox 732"/>
          <p:cNvSpPr txBox="1"/>
          <p:nvPr/>
        </p:nvSpPr>
        <p:spPr>
          <a:xfrm>
            <a:off x="8006816"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lette</a:t>
            </a:r>
          </a:p>
        </p:txBody>
      </p:sp>
      <p:sp>
        <p:nvSpPr>
          <p:cNvPr id="734" name="TextBox 733"/>
          <p:cNvSpPr txBox="1"/>
          <p:nvPr/>
        </p:nvSpPr>
        <p:spPr>
          <a:xfrm>
            <a:off x="7155928" y="468647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ckage</a:t>
            </a:r>
          </a:p>
        </p:txBody>
      </p:sp>
      <p:sp>
        <p:nvSpPr>
          <p:cNvPr id="735" name="Freeform 719"/>
          <p:cNvSpPr>
            <a:spLocks noChangeAspect="1" noEditPoints="1"/>
          </p:cNvSpPr>
          <p:nvPr/>
        </p:nvSpPr>
        <p:spPr bwMode="auto">
          <a:xfrm>
            <a:off x="4559351" y="4184510"/>
            <a:ext cx="367041" cy="367041"/>
          </a:xfrm>
          <a:custGeom>
            <a:avLst/>
            <a:gdLst>
              <a:gd name="T0" fmla="*/ 389 w 512"/>
              <a:gd name="T1" fmla="*/ 303 h 512"/>
              <a:gd name="T2" fmla="*/ 341 w 512"/>
              <a:gd name="T3" fmla="*/ 352 h 512"/>
              <a:gd name="T4" fmla="*/ 293 w 512"/>
              <a:gd name="T5" fmla="*/ 303 h 512"/>
              <a:gd name="T6" fmla="*/ 341 w 512"/>
              <a:gd name="T7" fmla="*/ 255 h 512"/>
              <a:gd name="T8" fmla="*/ 389 w 512"/>
              <a:gd name="T9" fmla="*/ 303 h 512"/>
              <a:gd name="T10" fmla="*/ 181 w 512"/>
              <a:gd name="T11" fmla="*/ 160 h 512"/>
              <a:gd name="T12" fmla="*/ 133 w 512"/>
              <a:gd name="T13" fmla="*/ 208 h 512"/>
              <a:gd name="T14" fmla="*/ 181 w 512"/>
              <a:gd name="T15" fmla="*/ 256 h 512"/>
              <a:gd name="T16" fmla="*/ 229 w 512"/>
              <a:gd name="T17" fmla="*/ 208 h 512"/>
              <a:gd name="T18" fmla="*/ 181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92 w 512"/>
              <a:gd name="T31" fmla="*/ 277 h 512"/>
              <a:gd name="T32" fmla="*/ 251 w 512"/>
              <a:gd name="T33" fmla="*/ 208 h 512"/>
              <a:gd name="T34" fmla="*/ 181 w 512"/>
              <a:gd name="T35" fmla="*/ 138 h 512"/>
              <a:gd name="T36" fmla="*/ 111 w 512"/>
              <a:gd name="T37" fmla="*/ 208 h 512"/>
              <a:gd name="T38" fmla="*/ 170 w 512"/>
              <a:gd name="T39" fmla="*/ 277 h 512"/>
              <a:gd name="T40" fmla="*/ 170 w 512"/>
              <a:gd name="T41" fmla="*/ 277 h 512"/>
              <a:gd name="T42" fmla="*/ 170 w 512"/>
              <a:gd name="T43" fmla="*/ 309 h 512"/>
              <a:gd name="T44" fmla="*/ 138 w 512"/>
              <a:gd name="T45" fmla="*/ 309 h 512"/>
              <a:gd name="T46" fmla="*/ 128 w 512"/>
              <a:gd name="T47" fmla="*/ 320 h 512"/>
              <a:gd name="T48" fmla="*/ 138 w 512"/>
              <a:gd name="T49" fmla="*/ 330 h 512"/>
              <a:gd name="T50" fmla="*/ 170 w 512"/>
              <a:gd name="T51" fmla="*/ 330 h 512"/>
              <a:gd name="T52" fmla="*/ 170 w 512"/>
              <a:gd name="T53" fmla="*/ 362 h 512"/>
              <a:gd name="T54" fmla="*/ 181 w 512"/>
              <a:gd name="T55" fmla="*/ 373 h 512"/>
              <a:gd name="T56" fmla="*/ 192 w 512"/>
              <a:gd name="T57" fmla="*/ 362 h 512"/>
              <a:gd name="T58" fmla="*/ 192 w 512"/>
              <a:gd name="T59" fmla="*/ 330 h 512"/>
              <a:gd name="T60" fmla="*/ 224 w 512"/>
              <a:gd name="T61" fmla="*/ 330 h 512"/>
              <a:gd name="T62" fmla="*/ 234 w 512"/>
              <a:gd name="T63" fmla="*/ 320 h 512"/>
              <a:gd name="T64" fmla="*/ 224 w 512"/>
              <a:gd name="T65" fmla="*/ 309 h 512"/>
              <a:gd name="T66" fmla="*/ 192 w 512"/>
              <a:gd name="T67" fmla="*/ 309 h 512"/>
              <a:gd name="T68" fmla="*/ 192 w 512"/>
              <a:gd name="T69" fmla="*/ 277 h 512"/>
              <a:gd name="T70" fmla="*/ 192 w 512"/>
              <a:gd name="T71" fmla="*/ 277 h 512"/>
              <a:gd name="T72" fmla="*/ 411 w 512"/>
              <a:gd name="T73" fmla="*/ 303 h 512"/>
              <a:gd name="T74" fmla="*/ 352 w 512"/>
              <a:gd name="T75" fmla="*/ 235 h 512"/>
              <a:gd name="T76" fmla="*/ 352 w 512"/>
              <a:gd name="T77" fmla="*/ 234 h 512"/>
              <a:gd name="T78" fmla="*/ 352 w 512"/>
              <a:gd name="T79" fmla="*/ 175 h 512"/>
              <a:gd name="T80" fmla="*/ 376 w 512"/>
              <a:gd name="T81" fmla="*/ 199 h 512"/>
              <a:gd name="T82" fmla="*/ 384 w 512"/>
              <a:gd name="T83" fmla="*/ 202 h 512"/>
              <a:gd name="T84" fmla="*/ 391 w 512"/>
              <a:gd name="T85" fmla="*/ 199 h 512"/>
              <a:gd name="T86" fmla="*/ 391 w 512"/>
              <a:gd name="T87" fmla="*/ 184 h 512"/>
              <a:gd name="T88" fmla="*/ 349 w 512"/>
              <a:gd name="T89" fmla="*/ 141 h 512"/>
              <a:gd name="T90" fmla="*/ 345 w 512"/>
              <a:gd name="T91" fmla="*/ 139 h 512"/>
              <a:gd name="T92" fmla="*/ 337 w 512"/>
              <a:gd name="T93" fmla="*/ 139 h 512"/>
              <a:gd name="T94" fmla="*/ 333 w 512"/>
              <a:gd name="T95" fmla="*/ 141 h 512"/>
              <a:gd name="T96" fmla="*/ 291 w 512"/>
              <a:gd name="T97" fmla="*/ 184 h 512"/>
              <a:gd name="T98" fmla="*/ 291 w 512"/>
              <a:gd name="T99" fmla="*/ 199 h 512"/>
              <a:gd name="T100" fmla="*/ 298 w 512"/>
              <a:gd name="T101" fmla="*/ 202 h 512"/>
              <a:gd name="T102" fmla="*/ 306 w 512"/>
              <a:gd name="T103" fmla="*/ 199 h 512"/>
              <a:gd name="T104" fmla="*/ 330 w 512"/>
              <a:gd name="T105" fmla="*/ 175 h 512"/>
              <a:gd name="T106" fmla="*/ 330 w 512"/>
              <a:gd name="T107" fmla="*/ 234 h 512"/>
              <a:gd name="T108" fmla="*/ 330 w 512"/>
              <a:gd name="T109" fmla="*/ 235 h 512"/>
              <a:gd name="T110" fmla="*/ 271 w 512"/>
              <a:gd name="T111" fmla="*/ 303 h 512"/>
              <a:gd name="T112" fmla="*/ 341 w 512"/>
              <a:gd name="T113" fmla="*/ 373 h 512"/>
              <a:gd name="T114" fmla="*/ 411 w 512"/>
              <a:gd name="T115" fmla="*/ 3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89" y="303"/>
                </a:moveTo>
                <a:cubicBezTo>
                  <a:pt x="389" y="330"/>
                  <a:pt x="368" y="352"/>
                  <a:pt x="341" y="352"/>
                </a:cubicBezTo>
                <a:cubicBezTo>
                  <a:pt x="314" y="352"/>
                  <a:pt x="293" y="330"/>
                  <a:pt x="293" y="303"/>
                </a:cubicBezTo>
                <a:cubicBezTo>
                  <a:pt x="293" y="277"/>
                  <a:pt x="314" y="255"/>
                  <a:pt x="341" y="255"/>
                </a:cubicBezTo>
                <a:cubicBezTo>
                  <a:pt x="368" y="255"/>
                  <a:pt x="389" y="277"/>
                  <a:pt x="389" y="303"/>
                </a:cubicBezTo>
                <a:close/>
                <a:moveTo>
                  <a:pt x="181" y="160"/>
                </a:moveTo>
                <a:cubicBezTo>
                  <a:pt x="154" y="160"/>
                  <a:pt x="133" y="181"/>
                  <a:pt x="133" y="208"/>
                </a:cubicBezTo>
                <a:cubicBezTo>
                  <a:pt x="133" y="235"/>
                  <a:pt x="154" y="256"/>
                  <a:pt x="181" y="256"/>
                </a:cubicBezTo>
                <a:cubicBezTo>
                  <a:pt x="208" y="256"/>
                  <a:pt x="229" y="235"/>
                  <a:pt x="229" y="208"/>
                </a:cubicBezTo>
                <a:cubicBezTo>
                  <a:pt x="229" y="181"/>
                  <a:pt x="208" y="160"/>
                  <a:pt x="181"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277"/>
                </a:moveTo>
                <a:cubicBezTo>
                  <a:pt x="225" y="272"/>
                  <a:pt x="251" y="243"/>
                  <a:pt x="251" y="208"/>
                </a:cubicBezTo>
                <a:cubicBezTo>
                  <a:pt x="251" y="170"/>
                  <a:pt x="219" y="138"/>
                  <a:pt x="181" y="138"/>
                </a:cubicBezTo>
                <a:cubicBezTo>
                  <a:pt x="143" y="138"/>
                  <a:pt x="111" y="170"/>
                  <a:pt x="111" y="208"/>
                </a:cubicBezTo>
                <a:cubicBezTo>
                  <a:pt x="111" y="243"/>
                  <a:pt x="137" y="272"/>
                  <a:pt x="170" y="277"/>
                </a:cubicBezTo>
                <a:cubicBezTo>
                  <a:pt x="170" y="277"/>
                  <a:pt x="170" y="277"/>
                  <a:pt x="170" y="277"/>
                </a:cubicBezTo>
                <a:cubicBezTo>
                  <a:pt x="170" y="309"/>
                  <a:pt x="170" y="309"/>
                  <a:pt x="170" y="309"/>
                </a:cubicBezTo>
                <a:cubicBezTo>
                  <a:pt x="138" y="309"/>
                  <a:pt x="138" y="309"/>
                  <a:pt x="138" y="309"/>
                </a:cubicBezTo>
                <a:cubicBezTo>
                  <a:pt x="132" y="309"/>
                  <a:pt x="128" y="314"/>
                  <a:pt x="128" y="320"/>
                </a:cubicBezTo>
                <a:cubicBezTo>
                  <a:pt x="128" y="326"/>
                  <a:pt x="132" y="330"/>
                  <a:pt x="138" y="330"/>
                </a:cubicBezTo>
                <a:cubicBezTo>
                  <a:pt x="170" y="330"/>
                  <a:pt x="170" y="330"/>
                  <a:pt x="170" y="330"/>
                </a:cubicBezTo>
                <a:cubicBezTo>
                  <a:pt x="170" y="362"/>
                  <a:pt x="170" y="362"/>
                  <a:pt x="170" y="362"/>
                </a:cubicBezTo>
                <a:cubicBezTo>
                  <a:pt x="170" y="368"/>
                  <a:pt x="175" y="373"/>
                  <a:pt x="181" y="373"/>
                </a:cubicBezTo>
                <a:cubicBezTo>
                  <a:pt x="187" y="373"/>
                  <a:pt x="192" y="368"/>
                  <a:pt x="192" y="362"/>
                </a:cubicBezTo>
                <a:cubicBezTo>
                  <a:pt x="192" y="330"/>
                  <a:pt x="192" y="330"/>
                  <a:pt x="192" y="330"/>
                </a:cubicBezTo>
                <a:cubicBezTo>
                  <a:pt x="224" y="330"/>
                  <a:pt x="224" y="330"/>
                  <a:pt x="224" y="330"/>
                </a:cubicBezTo>
                <a:cubicBezTo>
                  <a:pt x="230" y="330"/>
                  <a:pt x="234" y="326"/>
                  <a:pt x="234" y="320"/>
                </a:cubicBezTo>
                <a:cubicBezTo>
                  <a:pt x="234" y="314"/>
                  <a:pt x="230" y="309"/>
                  <a:pt x="224" y="309"/>
                </a:cubicBezTo>
                <a:cubicBezTo>
                  <a:pt x="192" y="309"/>
                  <a:pt x="192" y="309"/>
                  <a:pt x="192" y="309"/>
                </a:cubicBezTo>
                <a:cubicBezTo>
                  <a:pt x="192" y="277"/>
                  <a:pt x="192" y="277"/>
                  <a:pt x="192" y="277"/>
                </a:cubicBezTo>
                <a:cubicBezTo>
                  <a:pt x="192" y="277"/>
                  <a:pt x="192" y="277"/>
                  <a:pt x="192" y="277"/>
                </a:cubicBezTo>
                <a:close/>
                <a:moveTo>
                  <a:pt x="411" y="303"/>
                </a:moveTo>
                <a:cubicBezTo>
                  <a:pt x="411" y="269"/>
                  <a:pt x="385" y="240"/>
                  <a:pt x="352" y="235"/>
                </a:cubicBezTo>
                <a:cubicBezTo>
                  <a:pt x="352" y="235"/>
                  <a:pt x="352" y="234"/>
                  <a:pt x="352" y="234"/>
                </a:cubicBezTo>
                <a:cubicBezTo>
                  <a:pt x="352" y="175"/>
                  <a:pt x="352" y="175"/>
                  <a:pt x="352" y="175"/>
                </a:cubicBezTo>
                <a:cubicBezTo>
                  <a:pt x="376" y="199"/>
                  <a:pt x="376" y="199"/>
                  <a:pt x="376" y="199"/>
                </a:cubicBezTo>
                <a:cubicBezTo>
                  <a:pt x="378" y="201"/>
                  <a:pt x="381" y="202"/>
                  <a:pt x="384" y="202"/>
                </a:cubicBezTo>
                <a:cubicBezTo>
                  <a:pt x="386" y="202"/>
                  <a:pt x="389" y="201"/>
                  <a:pt x="391" y="199"/>
                </a:cubicBezTo>
                <a:cubicBezTo>
                  <a:pt x="395" y="195"/>
                  <a:pt x="395" y="188"/>
                  <a:pt x="391" y="184"/>
                </a:cubicBezTo>
                <a:cubicBezTo>
                  <a:pt x="349" y="141"/>
                  <a:pt x="349" y="141"/>
                  <a:pt x="349" y="141"/>
                </a:cubicBezTo>
                <a:cubicBezTo>
                  <a:pt x="348" y="140"/>
                  <a:pt x="346" y="140"/>
                  <a:pt x="345" y="139"/>
                </a:cubicBezTo>
                <a:cubicBezTo>
                  <a:pt x="342" y="138"/>
                  <a:pt x="340" y="138"/>
                  <a:pt x="337" y="139"/>
                </a:cubicBezTo>
                <a:cubicBezTo>
                  <a:pt x="336" y="140"/>
                  <a:pt x="334" y="140"/>
                  <a:pt x="333" y="141"/>
                </a:cubicBezTo>
                <a:cubicBezTo>
                  <a:pt x="291" y="184"/>
                  <a:pt x="291" y="184"/>
                  <a:pt x="291" y="184"/>
                </a:cubicBezTo>
                <a:cubicBezTo>
                  <a:pt x="287" y="188"/>
                  <a:pt x="287" y="195"/>
                  <a:pt x="291" y="199"/>
                </a:cubicBezTo>
                <a:cubicBezTo>
                  <a:pt x="293" y="201"/>
                  <a:pt x="296" y="202"/>
                  <a:pt x="298" y="202"/>
                </a:cubicBezTo>
                <a:cubicBezTo>
                  <a:pt x="301" y="202"/>
                  <a:pt x="304" y="201"/>
                  <a:pt x="306" y="199"/>
                </a:cubicBezTo>
                <a:cubicBezTo>
                  <a:pt x="330" y="175"/>
                  <a:pt x="330" y="175"/>
                  <a:pt x="330" y="175"/>
                </a:cubicBezTo>
                <a:cubicBezTo>
                  <a:pt x="330" y="234"/>
                  <a:pt x="330" y="234"/>
                  <a:pt x="330" y="234"/>
                </a:cubicBezTo>
                <a:cubicBezTo>
                  <a:pt x="330" y="234"/>
                  <a:pt x="330" y="235"/>
                  <a:pt x="330" y="235"/>
                </a:cubicBezTo>
                <a:cubicBezTo>
                  <a:pt x="297" y="240"/>
                  <a:pt x="271" y="269"/>
                  <a:pt x="271" y="303"/>
                </a:cubicBezTo>
                <a:cubicBezTo>
                  <a:pt x="271" y="342"/>
                  <a:pt x="303" y="373"/>
                  <a:pt x="341" y="373"/>
                </a:cubicBezTo>
                <a:cubicBezTo>
                  <a:pt x="379" y="373"/>
                  <a:pt x="411" y="342"/>
                  <a:pt x="411" y="30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36" name="Group 722"/>
          <p:cNvGrpSpPr>
            <a:grpSpLocks noChangeAspect="1"/>
          </p:cNvGrpSpPr>
          <p:nvPr/>
        </p:nvGrpSpPr>
        <p:grpSpPr bwMode="auto">
          <a:xfrm>
            <a:off x="4978746" y="4184510"/>
            <a:ext cx="368120" cy="367041"/>
            <a:chOff x="4003" y="3131"/>
            <a:chExt cx="341" cy="340"/>
          </a:xfrm>
          <a:solidFill>
            <a:schemeClr val="accent2"/>
          </a:solidFill>
        </p:grpSpPr>
        <p:sp>
          <p:nvSpPr>
            <p:cNvPr id="737" name="Freeform 723"/>
            <p:cNvSpPr>
              <a:spLocks noEditPoints="1"/>
            </p:cNvSpPr>
            <p:nvPr/>
          </p:nvSpPr>
          <p:spPr bwMode="auto">
            <a:xfrm>
              <a:off x="4077" y="3223"/>
              <a:ext cx="93" cy="156"/>
            </a:xfrm>
            <a:custGeom>
              <a:avLst/>
              <a:gdLst>
                <a:gd name="T0" fmla="*/ 140 w 140"/>
                <a:gd name="T1" fmla="*/ 70 h 235"/>
                <a:gd name="T2" fmla="*/ 70 w 140"/>
                <a:gd name="T3" fmla="*/ 0 h 235"/>
                <a:gd name="T4" fmla="*/ 0 w 140"/>
                <a:gd name="T5" fmla="*/ 70 h 235"/>
                <a:gd name="T6" fmla="*/ 59 w 140"/>
                <a:gd name="T7" fmla="*/ 139 h 235"/>
                <a:gd name="T8" fmla="*/ 59 w 140"/>
                <a:gd name="T9" fmla="*/ 139 h 235"/>
                <a:gd name="T10" fmla="*/ 59 w 140"/>
                <a:gd name="T11" fmla="*/ 171 h 235"/>
                <a:gd name="T12" fmla="*/ 27 w 140"/>
                <a:gd name="T13" fmla="*/ 171 h 235"/>
                <a:gd name="T14" fmla="*/ 17 w 140"/>
                <a:gd name="T15" fmla="*/ 182 h 235"/>
                <a:gd name="T16" fmla="*/ 27 w 140"/>
                <a:gd name="T17" fmla="*/ 192 h 235"/>
                <a:gd name="T18" fmla="*/ 59 w 140"/>
                <a:gd name="T19" fmla="*/ 192 h 235"/>
                <a:gd name="T20" fmla="*/ 59 w 140"/>
                <a:gd name="T21" fmla="*/ 224 h 235"/>
                <a:gd name="T22" fmla="*/ 70 w 140"/>
                <a:gd name="T23" fmla="*/ 235 h 235"/>
                <a:gd name="T24" fmla="*/ 81 w 140"/>
                <a:gd name="T25" fmla="*/ 224 h 235"/>
                <a:gd name="T26" fmla="*/ 81 w 140"/>
                <a:gd name="T27" fmla="*/ 192 h 235"/>
                <a:gd name="T28" fmla="*/ 113 w 140"/>
                <a:gd name="T29" fmla="*/ 192 h 235"/>
                <a:gd name="T30" fmla="*/ 123 w 140"/>
                <a:gd name="T31" fmla="*/ 182 h 235"/>
                <a:gd name="T32" fmla="*/ 113 w 140"/>
                <a:gd name="T33" fmla="*/ 171 h 235"/>
                <a:gd name="T34" fmla="*/ 81 w 140"/>
                <a:gd name="T35" fmla="*/ 171 h 235"/>
                <a:gd name="T36" fmla="*/ 81 w 140"/>
                <a:gd name="T37" fmla="*/ 139 h 235"/>
                <a:gd name="T38" fmla="*/ 81 w 140"/>
                <a:gd name="T39" fmla="*/ 139 h 235"/>
                <a:gd name="T40" fmla="*/ 140 w 140"/>
                <a:gd name="T41" fmla="*/ 70 h 235"/>
                <a:gd name="T42" fmla="*/ 70 w 140"/>
                <a:gd name="T43" fmla="*/ 118 h 235"/>
                <a:gd name="T44" fmla="*/ 22 w 140"/>
                <a:gd name="T45" fmla="*/ 70 h 235"/>
                <a:gd name="T46" fmla="*/ 70 w 140"/>
                <a:gd name="T47" fmla="*/ 22 h 235"/>
                <a:gd name="T48" fmla="*/ 118 w 140"/>
                <a:gd name="T49" fmla="*/ 70 h 235"/>
                <a:gd name="T50" fmla="*/ 70 w 140"/>
                <a:gd name="T51"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235">
                  <a:moveTo>
                    <a:pt x="140" y="70"/>
                  </a:moveTo>
                  <a:cubicBezTo>
                    <a:pt x="140" y="32"/>
                    <a:pt x="108" y="0"/>
                    <a:pt x="70" y="0"/>
                  </a:cubicBezTo>
                  <a:cubicBezTo>
                    <a:pt x="32" y="0"/>
                    <a:pt x="0" y="32"/>
                    <a:pt x="0" y="70"/>
                  </a:cubicBezTo>
                  <a:cubicBezTo>
                    <a:pt x="0" y="105"/>
                    <a:pt x="26" y="134"/>
                    <a:pt x="59" y="139"/>
                  </a:cubicBezTo>
                  <a:cubicBezTo>
                    <a:pt x="59" y="139"/>
                    <a:pt x="59" y="139"/>
                    <a:pt x="59" y="139"/>
                  </a:cubicBezTo>
                  <a:cubicBezTo>
                    <a:pt x="59" y="171"/>
                    <a:pt x="59" y="171"/>
                    <a:pt x="59" y="171"/>
                  </a:cubicBezTo>
                  <a:cubicBezTo>
                    <a:pt x="27" y="171"/>
                    <a:pt x="27" y="171"/>
                    <a:pt x="27" y="171"/>
                  </a:cubicBezTo>
                  <a:cubicBezTo>
                    <a:pt x="21" y="171"/>
                    <a:pt x="17" y="176"/>
                    <a:pt x="17" y="182"/>
                  </a:cubicBezTo>
                  <a:cubicBezTo>
                    <a:pt x="17" y="188"/>
                    <a:pt x="21" y="192"/>
                    <a:pt x="27" y="192"/>
                  </a:cubicBezTo>
                  <a:cubicBezTo>
                    <a:pt x="59" y="192"/>
                    <a:pt x="59" y="192"/>
                    <a:pt x="59" y="192"/>
                  </a:cubicBezTo>
                  <a:cubicBezTo>
                    <a:pt x="59" y="224"/>
                    <a:pt x="59" y="224"/>
                    <a:pt x="59" y="224"/>
                  </a:cubicBezTo>
                  <a:cubicBezTo>
                    <a:pt x="59" y="230"/>
                    <a:pt x="64" y="235"/>
                    <a:pt x="70" y="235"/>
                  </a:cubicBezTo>
                  <a:cubicBezTo>
                    <a:pt x="76" y="235"/>
                    <a:pt x="81" y="230"/>
                    <a:pt x="81" y="224"/>
                  </a:cubicBezTo>
                  <a:cubicBezTo>
                    <a:pt x="81" y="192"/>
                    <a:pt x="81" y="192"/>
                    <a:pt x="81" y="192"/>
                  </a:cubicBezTo>
                  <a:cubicBezTo>
                    <a:pt x="113" y="192"/>
                    <a:pt x="113" y="192"/>
                    <a:pt x="113" y="192"/>
                  </a:cubicBezTo>
                  <a:cubicBezTo>
                    <a:pt x="119" y="192"/>
                    <a:pt x="123" y="188"/>
                    <a:pt x="123" y="182"/>
                  </a:cubicBezTo>
                  <a:cubicBezTo>
                    <a:pt x="123" y="176"/>
                    <a:pt x="119" y="171"/>
                    <a:pt x="113" y="171"/>
                  </a:cubicBezTo>
                  <a:cubicBezTo>
                    <a:pt x="81" y="171"/>
                    <a:pt x="81" y="171"/>
                    <a:pt x="81" y="171"/>
                  </a:cubicBezTo>
                  <a:cubicBezTo>
                    <a:pt x="81" y="139"/>
                    <a:pt x="81" y="139"/>
                    <a:pt x="81" y="139"/>
                  </a:cubicBezTo>
                  <a:cubicBezTo>
                    <a:pt x="81" y="139"/>
                    <a:pt x="81" y="139"/>
                    <a:pt x="81" y="139"/>
                  </a:cubicBezTo>
                  <a:cubicBezTo>
                    <a:pt x="114" y="134"/>
                    <a:pt x="140" y="105"/>
                    <a:pt x="140" y="70"/>
                  </a:cubicBezTo>
                  <a:close/>
                  <a:moveTo>
                    <a:pt x="70" y="118"/>
                  </a:moveTo>
                  <a:cubicBezTo>
                    <a:pt x="43" y="118"/>
                    <a:pt x="22" y="97"/>
                    <a:pt x="22" y="70"/>
                  </a:cubicBezTo>
                  <a:cubicBezTo>
                    <a:pt x="22" y="43"/>
                    <a:pt x="43" y="22"/>
                    <a:pt x="70" y="22"/>
                  </a:cubicBezTo>
                  <a:cubicBezTo>
                    <a:pt x="97" y="22"/>
                    <a:pt x="118" y="43"/>
                    <a:pt x="118" y="70"/>
                  </a:cubicBezTo>
                  <a:cubicBezTo>
                    <a:pt x="118" y="97"/>
                    <a:pt x="97" y="118"/>
                    <a:pt x="70"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8" name="Freeform 724"/>
            <p:cNvSpPr>
              <a:spLocks noEditPoints="1"/>
            </p:cNvSpPr>
            <p:nvPr/>
          </p:nvSpPr>
          <p:spPr bwMode="auto">
            <a:xfrm>
              <a:off x="4183" y="3223"/>
              <a:ext cx="94" cy="156"/>
            </a:xfrm>
            <a:custGeom>
              <a:avLst/>
              <a:gdLst>
                <a:gd name="T0" fmla="*/ 81 w 140"/>
                <a:gd name="T1" fmla="*/ 97 h 235"/>
                <a:gd name="T2" fmla="*/ 81 w 140"/>
                <a:gd name="T3" fmla="*/ 96 h 235"/>
                <a:gd name="T4" fmla="*/ 81 w 140"/>
                <a:gd name="T5" fmla="*/ 37 h 235"/>
                <a:gd name="T6" fmla="*/ 105 w 140"/>
                <a:gd name="T7" fmla="*/ 61 h 235"/>
                <a:gd name="T8" fmla="*/ 113 w 140"/>
                <a:gd name="T9" fmla="*/ 64 h 235"/>
                <a:gd name="T10" fmla="*/ 120 w 140"/>
                <a:gd name="T11" fmla="*/ 61 h 235"/>
                <a:gd name="T12" fmla="*/ 120 w 140"/>
                <a:gd name="T13" fmla="*/ 46 h 235"/>
                <a:gd name="T14" fmla="*/ 78 w 140"/>
                <a:gd name="T15" fmla="*/ 3 h 235"/>
                <a:gd name="T16" fmla="*/ 74 w 140"/>
                <a:gd name="T17" fmla="*/ 1 h 235"/>
                <a:gd name="T18" fmla="*/ 66 w 140"/>
                <a:gd name="T19" fmla="*/ 1 h 235"/>
                <a:gd name="T20" fmla="*/ 62 w 140"/>
                <a:gd name="T21" fmla="*/ 3 h 235"/>
                <a:gd name="T22" fmla="*/ 20 w 140"/>
                <a:gd name="T23" fmla="*/ 46 h 235"/>
                <a:gd name="T24" fmla="*/ 20 w 140"/>
                <a:gd name="T25" fmla="*/ 61 h 235"/>
                <a:gd name="T26" fmla="*/ 27 w 140"/>
                <a:gd name="T27" fmla="*/ 64 h 235"/>
                <a:gd name="T28" fmla="*/ 35 w 140"/>
                <a:gd name="T29" fmla="*/ 61 h 235"/>
                <a:gd name="T30" fmla="*/ 59 w 140"/>
                <a:gd name="T31" fmla="*/ 37 h 235"/>
                <a:gd name="T32" fmla="*/ 59 w 140"/>
                <a:gd name="T33" fmla="*/ 96 h 235"/>
                <a:gd name="T34" fmla="*/ 59 w 140"/>
                <a:gd name="T35" fmla="*/ 97 h 235"/>
                <a:gd name="T36" fmla="*/ 0 w 140"/>
                <a:gd name="T37" fmla="*/ 165 h 235"/>
                <a:gd name="T38" fmla="*/ 70 w 140"/>
                <a:gd name="T39" fmla="*/ 235 h 235"/>
                <a:gd name="T40" fmla="*/ 140 w 140"/>
                <a:gd name="T41" fmla="*/ 165 h 235"/>
                <a:gd name="T42" fmla="*/ 81 w 140"/>
                <a:gd name="T43" fmla="*/ 97 h 235"/>
                <a:gd name="T44" fmla="*/ 70 w 140"/>
                <a:gd name="T45" fmla="*/ 214 h 235"/>
                <a:gd name="T46" fmla="*/ 22 w 140"/>
                <a:gd name="T47" fmla="*/ 165 h 235"/>
                <a:gd name="T48" fmla="*/ 70 w 140"/>
                <a:gd name="T49" fmla="*/ 117 h 235"/>
                <a:gd name="T50" fmla="*/ 118 w 140"/>
                <a:gd name="T51" fmla="*/ 165 h 235"/>
                <a:gd name="T52" fmla="*/ 70 w 140"/>
                <a:gd name="T53"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235">
                  <a:moveTo>
                    <a:pt x="81" y="97"/>
                  </a:moveTo>
                  <a:cubicBezTo>
                    <a:pt x="81" y="97"/>
                    <a:pt x="81" y="96"/>
                    <a:pt x="81" y="96"/>
                  </a:cubicBezTo>
                  <a:cubicBezTo>
                    <a:pt x="81" y="37"/>
                    <a:pt x="81" y="37"/>
                    <a:pt x="81" y="37"/>
                  </a:cubicBezTo>
                  <a:cubicBezTo>
                    <a:pt x="105" y="61"/>
                    <a:pt x="105" y="61"/>
                    <a:pt x="105" y="61"/>
                  </a:cubicBezTo>
                  <a:cubicBezTo>
                    <a:pt x="107" y="63"/>
                    <a:pt x="110" y="64"/>
                    <a:pt x="113" y="64"/>
                  </a:cubicBezTo>
                  <a:cubicBezTo>
                    <a:pt x="115" y="64"/>
                    <a:pt x="118" y="63"/>
                    <a:pt x="120" y="61"/>
                  </a:cubicBezTo>
                  <a:cubicBezTo>
                    <a:pt x="124" y="57"/>
                    <a:pt x="124" y="50"/>
                    <a:pt x="120" y="46"/>
                  </a:cubicBezTo>
                  <a:cubicBezTo>
                    <a:pt x="78" y="3"/>
                    <a:pt x="78" y="3"/>
                    <a:pt x="78" y="3"/>
                  </a:cubicBezTo>
                  <a:cubicBezTo>
                    <a:pt x="77" y="2"/>
                    <a:pt x="75" y="2"/>
                    <a:pt x="74" y="1"/>
                  </a:cubicBezTo>
                  <a:cubicBezTo>
                    <a:pt x="71" y="0"/>
                    <a:pt x="69" y="0"/>
                    <a:pt x="66" y="1"/>
                  </a:cubicBezTo>
                  <a:cubicBezTo>
                    <a:pt x="65" y="2"/>
                    <a:pt x="63" y="2"/>
                    <a:pt x="62" y="3"/>
                  </a:cubicBezTo>
                  <a:cubicBezTo>
                    <a:pt x="20" y="46"/>
                    <a:pt x="20" y="46"/>
                    <a:pt x="20" y="46"/>
                  </a:cubicBezTo>
                  <a:cubicBezTo>
                    <a:pt x="16" y="50"/>
                    <a:pt x="16" y="57"/>
                    <a:pt x="20" y="61"/>
                  </a:cubicBezTo>
                  <a:cubicBezTo>
                    <a:pt x="22" y="63"/>
                    <a:pt x="25" y="64"/>
                    <a:pt x="27" y="64"/>
                  </a:cubicBezTo>
                  <a:cubicBezTo>
                    <a:pt x="30" y="64"/>
                    <a:pt x="33" y="63"/>
                    <a:pt x="35" y="61"/>
                  </a:cubicBezTo>
                  <a:cubicBezTo>
                    <a:pt x="59" y="37"/>
                    <a:pt x="59" y="37"/>
                    <a:pt x="59" y="37"/>
                  </a:cubicBezTo>
                  <a:cubicBezTo>
                    <a:pt x="59" y="96"/>
                    <a:pt x="59" y="96"/>
                    <a:pt x="59" y="96"/>
                  </a:cubicBezTo>
                  <a:cubicBezTo>
                    <a:pt x="59" y="96"/>
                    <a:pt x="59" y="97"/>
                    <a:pt x="59" y="97"/>
                  </a:cubicBezTo>
                  <a:cubicBezTo>
                    <a:pt x="26" y="102"/>
                    <a:pt x="0" y="131"/>
                    <a:pt x="0" y="165"/>
                  </a:cubicBezTo>
                  <a:cubicBezTo>
                    <a:pt x="0" y="204"/>
                    <a:pt x="32" y="235"/>
                    <a:pt x="70" y="235"/>
                  </a:cubicBezTo>
                  <a:cubicBezTo>
                    <a:pt x="108" y="235"/>
                    <a:pt x="140" y="204"/>
                    <a:pt x="140" y="165"/>
                  </a:cubicBezTo>
                  <a:cubicBezTo>
                    <a:pt x="140" y="131"/>
                    <a:pt x="114" y="102"/>
                    <a:pt x="81" y="97"/>
                  </a:cubicBezTo>
                  <a:close/>
                  <a:moveTo>
                    <a:pt x="70" y="214"/>
                  </a:moveTo>
                  <a:cubicBezTo>
                    <a:pt x="43" y="214"/>
                    <a:pt x="22" y="192"/>
                    <a:pt x="22" y="165"/>
                  </a:cubicBezTo>
                  <a:cubicBezTo>
                    <a:pt x="22" y="139"/>
                    <a:pt x="43" y="117"/>
                    <a:pt x="70" y="117"/>
                  </a:cubicBezTo>
                  <a:cubicBezTo>
                    <a:pt x="97" y="117"/>
                    <a:pt x="118" y="139"/>
                    <a:pt x="118" y="165"/>
                  </a:cubicBezTo>
                  <a:cubicBezTo>
                    <a:pt x="118" y="192"/>
                    <a:pt x="97" y="214"/>
                    <a:pt x="70"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9" name="Freeform 725"/>
            <p:cNvSpPr>
              <a:spLocks noEditPoints="1"/>
            </p:cNvSpPr>
            <p:nvPr/>
          </p:nvSpPr>
          <p:spPr bwMode="auto">
            <a:xfrm>
              <a:off x="4003" y="313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0" name="Freeform 729"/>
          <p:cNvSpPr>
            <a:spLocks noChangeAspect="1" noEditPoints="1"/>
          </p:cNvSpPr>
          <p:nvPr/>
        </p:nvSpPr>
        <p:spPr bwMode="auto">
          <a:xfrm>
            <a:off x="5399220" y="4184510"/>
            <a:ext cx="367041" cy="367041"/>
          </a:xfrm>
          <a:custGeom>
            <a:avLst/>
            <a:gdLst>
              <a:gd name="T0" fmla="*/ 294 w 512"/>
              <a:gd name="T1" fmla="*/ 218 h 512"/>
              <a:gd name="T2" fmla="*/ 294 w 512"/>
              <a:gd name="T3" fmla="*/ 354 h 512"/>
              <a:gd name="T4" fmla="*/ 157 w 512"/>
              <a:gd name="T5" fmla="*/ 354 h 512"/>
              <a:gd name="T6" fmla="*/ 157 w 512"/>
              <a:gd name="T7" fmla="*/ 218 h 512"/>
              <a:gd name="T8" fmla="*/ 225 w 512"/>
              <a:gd name="T9" fmla="*/ 189 h 512"/>
              <a:gd name="T10" fmla="*/ 294 w 512"/>
              <a:gd name="T11" fmla="*/ 21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84 w 512"/>
              <a:gd name="T23" fmla="*/ 138 h 512"/>
              <a:gd name="T24" fmla="*/ 373 w 512"/>
              <a:gd name="T25" fmla="*/ 128 h 512"/>
              <a:gd name="T26" fmla="*/ 298 w 512"/>
              <a:gd name="T27" fmla="*/ 128 h 512"/>
              <a:gd name="T28" fmla="*/ 288 w 512"/>
              <a:gd name="T29" fmla="*/ 138 h 512"/>
              <a:gd name="T30" fmla="*/ 298 w 512"/>
              <a:gd name="T31" fmla="*/ 149 h 512"/>
              <a:gd name="T32" fmla="*/ 347 w 512"/>
              <a:gd name="T33" fmla="*/ 149 h 512"/>
              <a:gd name="T34" fmla="*/ 301 w 512"/>
              <a:gd name="T35" fmla="*/ 195 h 512"/>
              <a:gd name="T36" fmla="*/ 142 w 512"/>
              <a:gd name="T37" fmla="*/ 203 h 512"/>
              <a:gd name="T38" fmla="*/ 142 w 512"/>
              <a:gd name="T39" fmla="*/ 369 h 512"/>
              <a:gd name="T40" fmla="*/ 226 w 512"/>
              <a:gd name="T41" fmla="*/ 403 h 512"/>
              <a:gd name="T42" fmla="*/ 309 w 512"/>
              <a:gd name="T43" fmla="*/ 369 h 512"/>
              <a:gd name="T44" fmla="*/ 316 w 512"/>
              <a:gd name="T45" fmla="*/ 210 h 512"/>
              <a:gd name="T46" fmla="*/ 362 w 512"/>
              <a:gd name="T47" fmla="*/ 164 h 512"/>
              <a:gd name="T48" fmla="*/ 362 w 512"/>
              <a:gd name="T49" fmla="*/ 213 h 512"/>
              <a:gd name="T50" fmla="*/ 373 w 512"/>
              <a:gd name="T51" fmla="*/ 224 h 512"/>
              <a:gd name="T52" fmla="*/ 384 w 512"/>
              <a:gd name="T53" fmla="*/ 213 h 512"/>
              <a:gd name="T54" fmla="*/ 384 w 512"/>
              <a:gd name="T5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94" y="218"/>
                </a:moveTo>
                <a:cubicBezTo>
                  <a:pt x="331" y="255"/>
                  <a:pt x="331" y="316"/>
                  <a:pt x="294" y="354"/>
                </a:cubicBezTo>
                <a:cubicBezTo>
                  <a:pt x="256" y="391"/>
                  <a:pt x="195" y="391"/>
                  <a:pt x="157" y="354"/>
                </a:cubicBezTo>
                <a:cubicBezTo>
                  <a:pt x="120" y="316"/>
                  <a:pt x="120" y="255"/>
                  <a:pt x="157" y="218"/>
                </a:cubicBezTo>
                <a:cubicBezTo>
                  <a:pt x="176" y="199"/>
                  <a:pt x="201" y="189"/>
                  <a:pt x="225" y="189"/>
                </a:cubicBezTo>
                <a:cubicBezTo>
                  <a:pt x="250" y="189"/>
                  <a:pt x="275" y="199"/>
                  <a:pt x="294" y="2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38"/>
                </a:moveTo>
                <a:cubicBezTo>
                  <a:pt x="384" y="132"/>
                  <a:pt x="379" y="128"/>
                  <a:pt x="373" y="128"/>
                </a:cubicBez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lnTo>
                  <a:pt x="384" y="13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1" name="Freeform 733"/>
          <p:cNvSpPr>
            <a:spLocks noChangeAspect="1" noEditPoints="1"/>
          </p:cNvSpPr>
          <p:nvPr/>
        </p:nvSpPr>
        <p:spPr bwMode="auto">
          <a:xfrm>
            <a:off x="5819085" y="4183361"/>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128 h 512"/>
              <a:gd name="T22" fmla="*/ 298 w 512"/>
              <a:gd name="T23" fmla="*/ 128 h 512"/>
              <a:gd name="T24" fmla="*/ 288 w 512"/>
              <a:gd name="T25" fmla="*/ 138 h 512"/>
              <a:gd name="T26" fmla="*/ 298 w 512"/>
              <a:gd name="T27" fmla="*/ 149 h 512"/>
              <a:gd name="T28" fmla="*/ 347 w 512"/>
              <a:gd name="T29" fmla="*/ 149 h 512"/>
              <a:gd name="T30" fmla="*/ 301 w 512"/>
              <a:gd name="T31" fmla="*/ 195 h 512"/>
              <a:gd name="T32" fmla="*/ 142 w 512"/>
              <a:gd name="T33" fmla="*/ 203 h 512"/>
              <a:gd name="T34" fmla="*/ 142 w 512"/>
              <a:gd name="T35" fmla="*/ 369 h 512"/>
              <a:gd name="T36" fmla="*/ 226 w 512"/>
              <a:gd name="T37" fmla="*/ 403 h 512"/>
              <a:gd name="T38" fmla="*/ 309 w 512"/>
              <a:gd name="T39" fmla="*/ 369 h 512"/>
              <a:gd name="T40" fmla="*/ 316 w 512"/>
              <a:gd name="T41" fmla="*/ 210 h 512"/>
              <a:gd name="T42" fmla="*/ 362 w 512"/>
              <a:gd name="T43" fmla="*/ 164 h 512"/>
              <a:gd name="T44" fmla="*/ 362 w 512"/>
              <a:gd name="T45" fmla="*/ 213 h 512"/>
              <a:gd name="T46" fmla="*/ 373 w 512"/>
              <a:gd name="T47" fmla="*/ 224 h 512"/>
              <a:gd name="T48" fmla="*/ 384 w 512"/>
              <a:gd name="T49" fmla="*/ 213 h 512"/>
              <a:gd name="T50" fmla="*/ 384 w 512"/>
              <a:gd name="T51" fmla="*/ 138 h 512"/>
              <a:gd name="T52" fmla="*/ 373 w 512"/>
              <a:gd name="T53" fmla="*/ 128 h 512"/>
              <a:gd name="T54" fmla="*/ 294 w 512"/>
              <a:gd name="T55" fmla="*/ 354 h 512"/>
              <a:gd name="T56" fmla="*/ 157 w 512"/>
              <a:gd name="T57" fmla="*/ 354 h 512"/>
              <a:gd name="T58" fmla="*/ 157 w 512"/>
              <a:gd name="T59" fmla="*/ 218 h 512"/>
              <a:gd name="T60" fmla="*/ 225 w 512"/>
              <a:gd name="T61" fmla="*/ 189 h 512"/>
              <a:gd name="T62" fmla="*/ 294 w 512"/>
              <a:gd name="T63" fmla="*/ 218 h 512"/>
              <a:gd name="T64" fmla="*/ 294 w 512"/>
              <a:gd name="T65"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28"/>
                </a:move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cubicBezTo>
                  <a:pt x="384" y="138"/>
                  <a:pt x="384" y="138"/>
                  <a:pt x="384" y="138"/>
                </a:cubicBezTo>
                <a:cubicBezTo>
                  <a:pt x="384" y="132"/>
                  <a:pt x="379" y="128"/>
                  <a:pt x="373" y="128"/>
                </a:cubicBezTo>
                <a:close/>
                <a:moveTo>
                  <a:pt x="294" y="354"/>
                </a:moveTo>
                <a:cubicBezTo>
                  <a:pt x="256" y="391"/>
                  <a:pt x="195" y="391"/>
                  <a:pt x="157" y="354"/>
                </a:cubicBezTo>
                <a:cubicBezTo>
                  <a:pt x="120" y="316"/>
                  <a:pt x="120" y="255"/>
                  <a:pt x="157" y="218"/>
                </a:cubicBezTo>
                <a:cubicBezTo>
                  <a:pt x="176" y="199"/>
                  <a:pt x="201" y="189"/>
                  <a:pt x="225" y="189"/>
                </a:cubicBezTo>
                <a:cubicBezTo>
                  <a:pt x="250" y="189"/>
                  <a:pt x="275" y="199"/>
                  <a:pt x="294" y="218"/>
                </a:cubicBezTo>
                <a:cubicBezTo>
                  <a:pt x="331" y="255"/>
                  <a:pt x="331" y="316"/>
                  <a:pt x="294" y="35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2" name="Freeform 153"/>
          <p:cNvSpPr>
            <a:spLocks noChangeAspect="1" noEditPoints="1"/>
          </p:cNvSpPr>
          <p:nvPr/>
        </p:nvSpPr>
        <p:spPr bwMode="auto">
          <a:xfrm>
            <a:off x="7168314" y="4184510"/>
            <a:ext cx="369021" cy="369021"/>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3" name="Group 156"/>
          <p:cNvGrpSpPr>
            <a:grpSpLocks noChangeAspect="1"/>
          </p:cNvGrpSpPr>
          <p:nvPr/>
        </p:nvGrpSpPr>
        <p:grpSpPr bwMode="auto">
          <a:xfrm>
            <a:off x="7589689" y="4184510"/>
            <a:ext cx="369021" cy="369021"/>
            <a:chOff x="4259" y="394"/>
            <a:chExt cx="340" cy="340"/>
          </a:xfrm>
          <a:solidFill>
            <a:schemeClr val="accent2"/>
          </a:solidFill>
        </p:grpSpPr>
        <p:sp>
          <p:nvSpPr>
            <p:cNvPr id="744" name="Freeform 157"/>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5" name="Freeform 158"/>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6" name="Freeform 162"/>
          <p:cNvSpPr>
            <a:spLocks noChangeAspect="1" noEditPoints="1"/>
          </p:cNvSpPr>
          <p:nvPr/>
        </p:nvSpPr>
        <p:spPr bwMode="auto">
          <a:xfrm>
            <a:off x="8024412" y="4184510"/>
            <a:ext cx="369021" cy="369021"/>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7" name="Group 165"/>
          <p:cNvGrpSpPr>
            <a:grpSpLocks noChangeAspect="1"/>
          </p:cNvGrpSpPr>
          <p:nvPr/>
        </p:nvGrpSpPr>
        <p:grpSpPr bwMode="auto">
          <a:xfrm>
            <a:off x="8445782" y="4184510"/>
            <a:ext cx="369021" cy="369021"/>
            <a:chOff x="5035" y="390"/>
            <a:chExt cx="340" cy="340"/>
          </a:xfrm>
          <a:solidFill>
            <a:schemeClr val="accent2"/>
          </a:solidFill>
        </p:grpSpPr>
        <p:sp>
          <p:nvSpPr>
            <p:cNvPr id="748" name="Freeform 166"/>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9" name="Oval 167"/>
            <p:cNvSpPr>
              <a:spLocks noChangeArrowheads="1"/>
            </p:cNvSpPr>
            <p:nvPr/>
          </p:nvSpPr>
          <p:spPr bwMode="auto">
            <a:xfrm>
              <a:off x="5155" y="56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0" name="Oval 168"/>
            <p:cNvSpPr>
              <a:spLocks noChangeArrowheads="1"/>
            </p:cNvSpPr>
            <p:nvPr/>
          </p:nvSpPr>
          <p:spPr bwMode="auto">
            <a:xfrm>
              <a:off x="5155" y="518"/>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1" name="Freeform 169"/>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52" name="TextBox 751"/>
          <p:cNvSpPr txBox="1"/>
          <p:nvPr/>
        </p:nvSpPr>
        <p:spPr>
          <a:xfrm>
            <a:off x="3756552" y="4686478"/>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emale symbol</a:t>
            </a:r>
          </a:p>
        </p:txBody>
      </p:sp>
      <p:sp>
        <p:nvSpPr>
          <p:cNvPr id="753" name="Freeform 633"/>
          <p:cNvSpPr>
            <a:spLocks noChangeAspect="1" noEditPoints="1"/>
          </p:cNvSpPr>
          <p:nvPr/>
        </p:nvSpPr>
        <p:spPr bwMode="auto">
          <a:xfrm>
            <a:off x="3719381" y="4184510"/>
            <a:ext cx="367631" cy="367631"/>
          </a:xfrm>
          <a:custGeom>
            <a:avLst/>
            <a:gdLst>
              <a:gd name="T0" fmla="*/ 352 w 512"/>
              <a:gd name="T1" fmla="*/ 213 h 512"/>
              <a:gd name="T2" fmla="*/ 256 w 512"/>
              <a:gd name="T3" fmla="*/ 309 h 512"/>
              <a:gd name="T4" fmla="*/ 160 w 512"/>
              <a:gd name="T5" fmla="*/ 213 h 512"/>
              <a:gd name="T6" fmla="*/ 256 w 512"/>
              <a:gd name="T7" fmla="*/ 117 h 512"/>
              <a:gd name="T8" fmla="*/ 352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352" y="213"/>
                </a:moveTo>
                <a:cubicBezTo>
                  <a:pt x="352" y="266"/>
                  <a:pt x="309" y="309"/>
                  <a:pt x="256" y="309"/>
                </a:cubicBezTo>
                <a:cubicBezTo>
                  <a:pt x="203" y="309"/>
                  <a:pt x="160" y="266"/>
                  <a:pt x="160" y="213"/>
                </a:cubicBezTo>
                <a:cubicBezTo>
                  <a:pt x="160" y="160"/>
                  <a:pt x="203" y="117"/>
                  <a:pt x="256" y="117"/>
                </a:cubicBezTo>
                <a:cubicBezTo>
                  <a:pt x="309" y="117"/>
                  <a:pt x="352" y="160"/>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54" name="Freeform 637"/>
          <p:cNvSpPr>
            <a:spLocks noChangeAspect="1" noEditPoints="1"/>
          </p:cNvSpPr>
          <p:nvPr/>
        </p:nvSpPr>
        <p:spPr bwMode="auto">
          <a:xfrm>
            <a:off x="4139366" y="4184510"/>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 name="T58" fmla="*/ 160 w 512"/>
              <a:gd name="T59" fmla="*/ 213 h 512"/>
              <a:gd name="T60" fmla="*/ 256 w 512"/>
              <a:gd name="T61" fmla="*/ 117 h 512"/>
              <a:gd name="T62" fmla="*/ 352 w 512"/>
              <a:gd name="T63" fmla="*/ 213 h 512"/>
              <a:gd name="T64" fmla="*/ 256 w 512"/>
              <a:gd name="T65" fmla="*/ 309 h 512"/>
              <a:gd name="T66" fmla="*/ 160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moveTo>
                  <a:pt x="160" y="213"/>
                </a:moveTo>
                <a:cubicBezTo>
                  <a:pt x="160" y="160"/>
                  <a:pt x="203" y="117"/>
                  <a:pt x="256" y="117"/>
                </a:cubicBezTo>
                <a:cubicBezTo>
                  <a:pt x="309" y="117"/>
                  <a:pt x="352" y="160"/>
                  <a:pt x="352" y="213"/>
                </a:cubicBezTo>
                <a:cubicBezTo>
                  <a:pt x="352" y="266"/>
                  <a:pt x="309" y="309"/>
                  <a:pt x="256" y="309"/>
                </a:cubicBezTo>
                <a:cubicBezTo>
                  <a:pt x="203" y="309"/>
                  <a:pt x="160" y="266"/>
                  <a:pt x="160"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55" name="TextBox 754"/>
          <p:cNvSpPr txBox="1"/>
          <p:nvPr/>
        </p:nvSpPr>
        <p:spPr>
          <a:xfrm>
            <a:off x="2094392" y="54706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ze</a:t>
            </a:r>
          </a:p>
        </p:txBody>
      </p:sp>
      <p:sp>
        <p:nvSpPr>
          <p:cNvPr id="756" name="TextBox 755"/>
          <p:cNvSpPr txBox="1"/>
          <p:nvPr/>
        </p:nvSpPr>
        <p:spPr>
          <a:xfrm>
            <a:off x="1250396" y="54732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adder</a:t>
            </a:r>
          </a:p>
        </p:txBody>
      </p:sp>
      <p:sp>
        <p:nvSpPr>
          <p:cNvPr id="757" name="TextBox 756"/>
          <p:cNvSpPr txBox="1"/>
          <p:nvPr/>
        </p:nvSpPr>
        <p:spPr>
          <a:xfrm>
            <a:off x="406400" y="54732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fe buoy</a:t>
            </a:r>
          </a:p>
        </p:txBody>
      </p:sp>
      <p:sp>
        <p:nvSpPr>
          <p:cNvPr id="758" name="Freeform 505"/>
          <p:cNvSpPr>
            <a:spLocks noChangeAspect="1" noEditPoints="1"/>
          </p:cNvSpPr>
          <p:nvPr/>
        </p:nvSpPr>
        <p:spPr bwMode="auto">
          <a:xfrm>
            <a:off x="405504" y="5017967"/>
            <a:ext cx="367041" cy="367041"/>
          </a:xfrm>
          <a:custGeom>
            <a:avLst/>
            <a:gdLst>
              <a:gd name="T0" fmla="*/ 223 w 512"/>
              <a:gd name="T1" fmla="*/ 334 h 512"/>
              <a:gd name="T2" fmla="*/ 215 w 512"/>
              <a:gd name="T3" fmla="*/ 388 h 512"/>
              <a:gd name="T4" fmla="*/ 123 w 512"/>
              <a:gd name="T5" fmla="*/ 296 h 512"/>
              <a:gd name="T6" fmla="*/ 177 w 512"/>
              <a:gd name="T7" fmla="*/ 288 h 512"/>
              <a:gd name="T8" fmla="*/ 223 w 512"/>
              <a:gd name="T9" fmla="*/ 334 h 512"/>
              <a:gd name="T10" fmla="*/ 170 w 512"/>
              <a:gd name="T11" fmla="*/ 256 h 512"/>
              <a:gd name="T12" fmla="*/ 171 w 512"/>
              <a:gd name="T13" fmla="*/ 244 h 512"/>
              <a:gd name="T14" fmla="*/ 119 w 512"/>
              <a:gd name="T15" fmla="*/ 236 h 512"/>
              <a:gd name="T16" fmla="*/ 117 w 512"/>
              <a:gd name="T17" fmla="*/ 256 h 512"/>
              <a:gd name="T18" fmla="*/ 119 w 512"/>
              <a:gd name="T19" fmla="*/ 275 h 512"/>
              <a:gd name="T20" fmla="*/ 171 w 512"/>
              <a:gd name="T21" fmla="*/ 268 h 512"/>
              <a:gd name="T22" fmla="*/ 170 w 512"/>
              <a:gd name="T23" fmla="*/ 256 h 512"/>
              <a:gd name="T24" fmla="*/ 223 w 512"/>
              <a:gd name="T25" fmla="*/ 177 h 512"/>
              <a:gd name="T26" fmla="*/ 215 w 512"/>
              <a:gd name="T27" fmla="*/ 123 h 512"/>
              <a:gd name="T28" fmla="*/ 123 w 512"/>
              <a:gd name="T29" fmla="*/ 215 h 512"/>
              <a:gd name="T30" fmla="*/ 177 w 512"/>
              <a:gd name="T31" fmla="*/ 223 h 512"/>
              <a:gd name="T32" fmla="*/ 223 w 512"/>
              <a:gd name="T33" fmla="*/ 177 h 512"/>
              <a:gd name="T34" fmla="*/ 256 w 512"/>
              <a:gd name="T35" fmla="*/ 170 h 512"/>
              <a:gd name="T36" fmla="*/ 268 w 512"/>
              <a:gd name="T37" fmla="*/ 171 h 512"/>
              <a:gd name="T38" fmla="*/ 275 w 512"/>
              <a:gd name="T39" fmla="*/ 119 h 512"/>
              <a:gd name="T40" fmla="*/ 256 w 512"/>
              <a:gd name="T41" fmla="*/ 117 h 512"/>
              <a:gd name="T42" fmla="*/ 236 w 512"/>
              <a:gd name="T43" fmla="*/ 119 h 512"/>
              <a:gd name="T44" fmla="*/ 244 w 512"/>
              <a:gd name="T45" fmla="*/ 171 h 512"/>
              <a:gd name="T46" fmla="*/ 256 w 512"/>
              <a:gd name="T47" fmla="*/ 170 h 512"/>
              <a:gd name="T48" fmla="*/ 192 w 512"/>
              <a:gd name="T49" fmla="*/ 256 h 512"/>
              <a:gd name="T50" fmla="*/ 256 w 512"/>
              <a:gd name="T51" fmla="*/ 320 h 512"/>
              <a:gd name="T52" fmla="*/ 320 w 512"/>
              <a:gd name="T53" fmla="*/ 256 h 512"/>
              <a:gd name="T54" fmla="*/ 256 w 512"/>
              <a:gd name="T55" fmla="*/ 192 h 512"/>
              <a:gd name="T56" fmla="*/ 192 w 512"/>
              <a:gd name="T57" fmla="*/ 256 h 512"/>
              <a:gd name="T58" fmla="*/ 341 w 512"/>
              <a:gd name="T59" fmla="*/ 256 h 512"/>
              <a:gd name="T60" fmla="*/ 340 w 512"/>
              <a:gd name="T61" fmla="*/ 268 h 512"/>
              <a:gd name="T62" fmla="*/ 393 w 512"/>
              <a:gd name="T63" fmla="*/ 275 h 512"/>
              <a:gd name="T64" fmla="*/ 394 w 512"/>
              <a:gd name="T65" fmla="*/ 256 h 512"/>
              <a:gd name="T66" fmla="*/ 393 w 512"/>
              <a:gd name="T67" fmla="*/ 236 h 512"/>
              <a:gd name="T68" fmla="*/ 340 w 512"/>
              <a:gd name="T69" fmla="*/ 244 h 512"/>
              <a:gd name="T70" fmla="*/ 341 w 512"/>
              <a:gd name="T71" fmla="*/ 256 h 512"/>
              <a:gd name="T72" fmla="*/ 296 w 512"/>
              <a:gd name="T73" fmla="*/ 123 h 512"/>
              <a:gd name="T74" fmla="*/ 288 w 512"/>
              <a:gd name="T75" fmla="*/ 177 h 512"/>
              <a:gd name="T76" fmla="*/ 334 w 512"/>
              <a:gd name="T77" fmla="*/ 223 h 512"/>
              <a:gd name="T78" fmla="*/ 388 w 512"/>
              <a:gd name="T79" fmla="*/ 215 h 512"/>
              <a:gd name="T80" fmla="*/ 296 w 512"/>
              <a:gd name="T81" fmla="*/ 123 h 512"/>
              <a:gd name="T82" fmla="*/ 512 w 512"/>
              <a:gd name="T83" fmla="*/ 256 h 512"/>
              <a:gd name="T84" fmla="*/ 256 w 512"/>
              <a:gd name="T85" fmla="*/ 512 h 512"/>
              <a:gd name="T86" fmla="*/ 0 w 512"/>
              <a:gd name="T87" fmla="*/ 256 h 512"/>
              <a:gd name="T88" fmla="*/ 256 w 512"/>
              <a:gd name="T89" fmla="*/ 0 h 512"/>
              <a:gd name="T90" fmla="*/ 512 w 512"/>
              <a:gd name="T91" fmla="*/ 256 h 512"/>
              <a:gd name="T92" fmla="*/ 416 w 512"/>
              <a:gd name="T93" fmla="*/ 256 h 512"/>
              <a:gd name="T94" fmla="*/ 256 w 512"/>
              <a:gd name="T95" fmla="*/ 96 h 512"/>
              <a:gd name="T96" fmla="*/ 96 w 512"/>
              <a:gd name="T97" fmla="*/ 256 h 512"/>
              <a:gd name="T98" fmla="*/ 256 w 512"/>
              <a:gd name="T99" fmla="*/ 416 h 512"/>
              <a:gd name="T100" fmla="*/ 416 w 512"/>
              <a:gd name="T101" fmla="*/ 256 h 512"/>
              <a:gd name="T102" fmla="*/ 288 w 512"/>
              <a:gd name="T103" fmla="*/ 334 h 512"/>
              <a:gd name="T104" fmla="*/ 296 w 512"/>
              <a:gd name="T105" fmla="*/ 388 h 512"/>
              <a:gd name="T106" fmla="*/ 388 w 512"/>
              <a:gd name="T107" fmla="*/ 296 h 512"/>
              <a:gd name="T108" fmla="*/ 334 w 512"/>
              <a:gd name="T109" fmla="*/ 288 h 512"/>
              <a:gd name="T110" fmla="*/ 288 w 512"/>
              <a:gd name="T111" fmla="*/ 334 h 512"/>
              <a:gd name="T112" fmla="*/ 256 w 512"/>
              <a:gd name="T113" fmla="*/ 341 h 512"/>
              <a:gd name="T114" fmla="*/ 244 w 512"/>
              <a:gd name="T115" fmla="*/ 340 h 512"/>
              <a:gd name="T116" fmla="*/ 236 w 512"/>
              <a:gd name="T117" fmla="*/ 393 h 512"/>
              <a:gd name="T118" fmla="*/ 256 w 512"/>
              <a:gd name="T119" fmla="*/ 394 h 512"/>
              <a:gd name="T120" fmla="*/ 275 w 512"/>
              <a:gd name="T121" fmla="*/ 393 h 512"/>
              <a:gd name="T122" fmla="*/ 268 w 512"/>
              <a:gd name="T123" fmla="*/ 340 h 512"/>
              <a:gd name="T124" fmla="*/ 256 w 512"/>
              <a:gd name="T12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3" y="334"/>
                </a:moveTo>
                <a:cubicBezTo>
                  <a:pt x="215" y="388"/>
                  <a:pt x="215" y="388"/>
                  <a:pt x="215" y="388"/>
                </a:cubicBezTo>
                <a:cubicBezTo>
                  <a:pt x="171" y="375"/>
                  <a:pt x="136" y="340"/>
                  <a:pt x="123" y="296"/>
                </a:cubicBezTo>
                <a:cubicBezTo>
                  <a:pt x="177" y="288"/>
                  <a:pt x="177" y="288"/>
                  <a:pt x="177" y="288"/>
                </a:cubicBezTo>
                <a:cubicBezTo>
                  <a:pt x="186" y="309"/>
                  <a:pt x="202" y="326"/>
                  <a:pt x="223" y="334"/>
                </a:cubicBezTo>
                <a:close/>
                <a:moveTo>
                  <a:pt x="170" y="256"/>
                </a:moveTo>
                <a:cubicBezTo>
                  <a:pt x="170" y="252"/>
                  <a:pt x="171" y="248"/>
                  <a:pt x="171" y="244"/>
                </a:cubicBezTo>
                <a:cubicBezTo>
                  <a:pt x="119" y="236"/>
                  <a:pt x="119" y="236"/>
                  <a:pt x="119" y="236"/>
                </a:cubicBezTo>
                <a:cubicBezTo>
                  <a:pt x="118" y="243"/>
                  <a:pt x="117" y="249"/>
                  <a:pt x="117" y="256"/>
                </a:cubicBezTo>
                <a:cubicBezTo>
                  <a:pt x="117" y="262"/>
                  <a:pt x="118" y="269"/>
                  <a:pt x="119" y="275"/>
                </a:cubicBezTo>
                <a:cubicBezTo>
                  <a:pt x="171" y="268"/>
                  <a:pt x="171" y="268"/>
                  <a:pt x="171" y="268"/>
                </a:cubicBezTo>
                <a:cubicBezTo>
                  <a:pt x="171" y="264"/>
                  <a:pt x="170" y="260"/>
                  <a:pt x="170" y="256"/>
                </a:cubicBezTo>
                <a:close/>
                <a:moveTo>
                  <a:pt x="223" y="177"/>
                </a:moveTo>
                <a:cubicBezTo>
                  <a:pt x="215" y="123"/>
                  <a:pt x="215" y="123"/>
                  <a:pt x="215" y="123"/>
                </a:cubicBezTo>
                <a:cubicBezTo>
                  <a:pt x="171" y="136"/>
                  <a:pt x="136" y="171"/>
                  <a:pt x="123" y="215"/>
                </a:cubicBezTo>
                <a:cubicBezTo>
                  <a:pt x="177" y="223"/>
                  <a:pt x="177" y="223"/>
                  <a:pt x="177" y="223"/>
                </a:cubicBezTo>
                <a:cubicBezTo>
                  <a:pt x="186" y="202"/>
                  <a:pt x="202" y="186"/>
                  <a:pt x="223" y="177"/>
                </a:cubicBezTo>
                <a:close/>
                <a:moveTo>
                  <a:pt x="256" y="170"/>
                </a:moveTo>
                <a:cubicBezTo>
                  <a:pt x="260" y="170"/>
                  <a:pt x="264" y="171"/>
                  <a:pt x="268" y="171"/>
                </a:cubicBezTo>
                <a:cubicBezTo>
                  <a:pt x="275" y="119"/>
                  <a:pt x="275" y="119"/>
                  <a:pt x="275" y="119"/>
                </a:cubicBezTo>
                <a:cubicBezTo>
                  <a:pt x="269" y="118"/>
                  <a:pt x="262" y="117"/>
                  <a:pt x="256" y="117"/>
                </a:cubicBezTo>
                <a:cubicBezTo>
                  <a:pt x="249" y="117"/>
                  <a:pt x="243" y="118"/>
                  <a:pt x="236" y="119"/>
                </a:cubicBezTo>
                <a:cubicBezTo>
                  <a:pt x="244" y="171"/>
                  <a:pt x="244" y="171"/>
                  <a:pt x="244" y="171"/>
                </a:cubicBezTo>
                <a:cubicBezTo>
                  <a:pt x="248" y="171"/>
                  <a:pt x="252" y="170"/>
                  <a:pt x="256" y="170"/>
                </a:cubicBezTo>
                <a:close/>
                <a:moveTo>
                  <a:pt x="192" y="256"/>
                </a:moveTo>
                <a:cubicBezTo>
                  <a:pt x="192" y="291"/>
                  <a:pt x="220" y="320"/>
                  <a:pt x="256" y="320"/>
                </a:cubicBezTo>
                <a:cubicBezTo>
                  <a:pt x="291" y="320"/>
                  <a:pt x="320" y="291"/>
                  <a:pt x="320" y="256"/>
                </a:cubicBezTo>
                <a:cubicBezTo>
                  <a:pt x="320" y="220"/>
                  <a:pt x="291" y="192"/>
                  <a:pt x="256" y="192"/>
                </a:cubicBezTo>
                <a:cubicBezTo>
                  <a:pt x="220" y="192"/>
                  <a:pt x="192" y="220"/>
                  <a:pt x="192" y="256"/>
                </a:cubicBezTo>
                <a:close/>
                <a:moveTo>
                  <a:pt x="341" y="256"/>
                </a:moveTo>
                <a:cubicBezTo>
                  <a:pt x="341" y="260"/>
                  <a:pt x="341" y="264"/>
                  <a:pt x="340" y="268"/>
                </a:cubicBezTo>
                <a:cubicBezTo>
                  <a:pt x="393" y="275"/>
                  <a:pt x="393" y="275"/>
                  <a:pt x="393" y="275"/>
                </a:cubicBezTo>
                <a:cubicBezTo>
                  <a:pt x="394" y="269"/>
                  <a:pt x="394" y="262"/>
                  <a:pt x="394" y="256"/>
                </a:cubicBezTo>
                <a:cubicBezTo>
                  <a:pt x="394" y="249"/>
                  <a:pt x="394" y="243"/>
                  <a:pt x="393" y="236"/>
                </a:cubicBezTo>
                <a:cubicBezTo>
                  <a:pt x="340" y="244"/>
                  <a:pt x="340" y="244"/>
                  <a:pt x="340" y="244"/>
                </a:cubicBezTo>
                <a:cubicBezTo>
                  <a:pt x="341" y="248"/>
                  <a:pt x="341" y="252"/>
                  <a:pt x="341" y="256"/>
                </a:cubicBezTo>
                <a:close/>
                <a:moveTo>
                  <a:pt x="296" y="123"/>
                </a:moveTo>
                <a:cubicBezTo>
                  <a:pt x="288" y="177"/>
                  <a:pt x="288" y="177"/>
                  <a:pt x="288" y="177"/>
                </a:cubicBezTo>
                <a:cubicBezTo>
                  <a:pt x="309" y="186"/>
                  <a:pt x="326" y="202"/>
                  <a:pt x="334" y="223"/>
                </a:cubicBezTo>
                <a:cubicBezTo>
                  <a:pt x="388" y="215"/>
                  <a:pt x="388" y="215"/>
                  <a:pt x="388" y="215"/>
                </a:cubicBezTo>
                <a:cubicBezTo>
                  <a:pt x="375" y="171"/>
                  <a:pt x="340" y="136"/>
                  <a:pt x="296" y="1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288" y="334"/>
                </a:moveTo>
                <a:cubicBezTo>
                  <a:pt x="296" y="388"/>
                  <a:pt x="296" y="388"/>
                  <a:pt x="296" y="388"/>
                </a:cubicBezTo>
                <a:cubicBezTo>
                  <a:pt x="340" y="375"/>
                  <a:pt x="375" y="340"/>
                  <a:pt x="388" y="296"/>
                </a:cubicBezTo>
                <a:cubicBezTo>
                  <a:pt x="334" y="288"/>
                  <a:pt x="334" y="288"/>
                  <a:pt x="334" y="288"/>
                </a:cubicBezTo>
                <a:cubicBezTo>
                  <a:pt x="326" y="309"/>
                  <a:pt x="309" y="326"/>
                  <a:pt x="288" y="334"/>
                </a:cubicBezTo>
                <a:close/>
                <a:moveTo>
                  <a:pt x="256" y="341"/>
                </a:moveTo>
                <a:cubicBezTo>
                  <a:pt x="252" y="341"/>
                  <a:pt x="248" y="341"/>
                  <a:pt x="244" y="340"/>
                </a:cubicBezTo>
                <a:cubicBezTo>
                  <a:pt x="236" y="393"/>
                  <a:pt x="236" y="393"/>
                  <a:pt x="236" y="393"/>
                </a:cubicBezTo>
                <a:cubicBezTo>
                  <a:pt x="243" y="394"/>
                  <a:pt x="249" y="394"/>
                  <a:pt x="256" y="394"/>
                </a:cubicBezTo>
                <a:cubicBezTo>
                  <a:pt x="262" y="394"/>
                  <a:pt x="269" y="394"/>
                  <a:pt x="275" y="393"/>
                </a:cubicBezTo>
                <a:cubicBezTo>
                  <a:pt x="268" y="340"/>
                  <a:pt x="268" y="340"/>
                  <a:pt x="268" y="340"/>
                </a:cubicBezTo>
                <a:cubicBezTo>
                  <a:pt x="264" y="341"/>
                  <a:pt x="260" y="341"/>
                  <a:pt x="256" y="34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59" name="Group 508"/>
          <p:cNvGrpSpPr>
            <a:grpSpLocks noChangeAspect="1"/>
          </p:cNvGrpSpPr>
          <p:nvPr/>
        </p:nvGrpSpPr>
        <p:grpSpPr bwMode="auto">
          <a:xfrm>
            <a:off x="824602" y="5017967"/>
            <a:ext cx="367041" cy="367041"/>
            <a:chOff x="3297" y="2398"/>
            <a:chExt cx="340" cy="340"/>
          </a:xfrm>
          <a:solidFill>
            <a:schemeClr val="accent6"/>
          </a:solidFill>
        </p:grpSpPr>
        <p:sp>
          <p:nvSpPr>
            <p:cNvPr id="760" name="Freeform 509"/>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1" name="Freeform 510"/>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2" name="Freeform 477"/>
          <p:cNvSpPr>
            <a:spLocks noChangeAspect="1" noEditPoints="1"/>
          </p:cNvSpPr>
          <p:nvPr/>
        </p:nvSpPr>
        <p:spPr bwMode="auto">
          <a:xfrm>
            <a:off x="1243700" y="5017967"/>
            <a:ext cx="367041" cy="368121"/>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63" name="Group 480"/>
          <p:cNvGrpSpPr>
            <a:grpSpLocks noChangeAspect="1"/>
          </p:cNvGrpSpPr>
          <p:nvPr/>
        </p:nvGrpSpPr>
        <p:grpSpPr bwMode="auto">
          <a:xfrm>
            <a:off x="1662798" y="5017967"/>
            <a:ext cx="367041" cy="367041"/>
            <a:chOff x="1027" y="2077"/>
            <a:chExt cx="340" cy="340"/>
          </a:xfrm>
          <a:solidFill>
            <a:schemeClr val="accent6"/>
          </a:solidFill>
        </p:grpSpPr>
        <p:sp>
          <p:nvSpPr>
            <p:cNvPr id="764"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5"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6" name="Freeform 803"/>
          <p:cNvSpPr>
            <a:spLocks noChangeAspect="1" noEditPoints="1"/>
          </p:cNvSpPr>
          <p:nvPr/>
        </p:nvSpPr>
        <p:spPr bwMode="auto">
          <a:xfrm>
            <a:off x="2081896" y="5017967"/>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67" name="Group 806"/>
          <p:cNvGrpSpPr>
            <a:grpSpLocks noChangeAspect="1"/>
          </p:cNvGrpSpPr>
          <p:nvPr/>
        </p:nvGrpSpPr>
        <p:grpSpPr bwMode="auto">
          <a:xfrm>
            <a:off x="2500994" y="5017967"/>
            <a:ext cx="367041" cy="367041"/>
            <a:chOff x="4173" y="3508"/>
            <a:chExt cx="340" cy="340"/>
          </a:xfrm>
          <a:solidFill>
            <a:schemeClr val="accent3"/>
          </a:solidFill>
        </p:grpSpPr>
        <p:sp>
          <p:nvSpPr>
            <p:cNvPr id="768" name="Freeform 807"/>
            <p:cNvSpPr>
              <a:spLocks noEditPoints="1"/>
            </p:cNvSpPr>
            <p:nvPr/>
          </p:nvSpPr>
          <p:spPr bwMode="auto">
            <a:xfrm>
              <a:off x="4173" y="350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9" name="Freeform 808"/>
            <p:cNvSpPr>
              <a:spLocks noEditPoints="1"/>
            </p:cNvSpPr>
            <p:nvPr/>
          </p:nvSpPr>
          <p:spPr bwMode="auto">
            <a:xfrm>
              <a:off x="4314" y="3649"/>
              <a:ext cx="57" cy="57"/>
            </a:xfrm>
            <a:custGeom>
              <a:avLst/>
              <a:gdLst>
                <a:gd name="T0" fmla="*/ 85 w 85"/>
                <a:gd name="T1" fmla="*/ 43 h 85"/>
                <a:gd name="T2" fmla="*/ 43 w 85"/>
                <a:gd name="T3" fmla="*/ 0 h 85"/>
                <a:gd name="T4" fmla="*/ 0 w 85"/>
                <a:gd name="T5" fmla="*/ 43 h 85"/>
                <a:gd name="T6" fmla="*/ 43 w 85"/>
                <a:gd name="T7" fmla="*/ 85 h 85"/>
                <a:gd name="T8" fmla="*/ 85 w 85"/>
                <a:gd name="T9" fmla="*/ 43 h 85"/>
                <a:gd name="T10" fmla="*/ 21 w 85"/>
                <a:gd name="T11" fmla="*/ 43 h 85"/>
                <a:gd name="T12" fmla="*/ 43 w 85"/>
                <a:gd name="T13" fmla="*/ 21 h 85"/>
                <a:gd name="T14" fmla="*/ 64 w 85"/>
                <a:gd name="T15" fmla="*/ 43 h 85"/>
                <a:gd name="T16" fmla="*/ 43 w 85"/>
                <a:gd name="T17" fmla="*/ 64 h 85"/>
                <a:gd name="T18" fmla="*/ 21 w 85"/>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43"/>
                  </a:moveTo>
                  <a:cubicBezTo>
                    <a:pt x="85" y="19"/>
                    <a:pt x="66" y="0"/>
                    <a:pt x="43" y="0"/>
                  </a:cubicBezTo>
                  <a:cubicBezTo>
                    <a:pt x="19" y="0"/>
                    <a:pt x="0" y="19"/>
                    <a:pt x="0" y="43"/>
                  </a:cubicBezTo>
                  <a:cubicBezTo>
                    <a:pt x="0" y="66"/>
                    <a:pt x="19" y="85"/>
                    <a:pt x="43" y="85"/>
                  </a:cubicBezTo>
                  <a:cubicBezTo>
                    <a:pt x="66" y="85"/>
                    <a:pt x="85" y="66"/>
                    <a:pt x="85" y="43"/>
                  </a:cubicBezTo>
                  <a:close/>
                  <a:moveTo>
                    <a:pt x="21" y="43"/>
                  </a:moveTo>
                  <a:cubicBezTo>
                    <a:pt x="21" y="31"/>
                    <a:pt x="31" y="21"/>
                    <a:pt x="43" y="21"/>
                  </a:cubicBezTo>
                  <a:cubicBezTo>
                    <a:pt x="54" y="21"/>
                    <a:pt x="64" y="31"/>
                    <a:pt x="64" y="43"/>
                  </a:cubicBezTo>
                  <a:cubicBezTo>
                    <a:pt x="64" y="54"/>
                    <a:pt x="54" y="64"/>
                    <a:pt x="43" y="64"/>
                  </a:cubicBezTo>
                  <a:cubicBezTo>
                    <a:pt x="31" y="64"/>
                    <a:pt x="21" y="54"/>
                    <a:pt x="21"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Freeform 809"/>
            <p:cNvSpPr>
              <a:spLocks/>
            </p:cNvSpPr>
            <p:nvPr/>
          </p:nvSpPr>
          <p:spPr bwMode="auto">
            <a:xfrm>
              <a:off x="4237" y="3572"/>
              <a:ext cx="212" cy="210"/>
            </a:xfrm>
            <a:custGeom>
              <a:avLst/>
              <a:gdLst>
                <a:gd name="T0" fmla="*/ 282 w 320"/>
                <a:gd name="T1" fmla="*/ 57 h 316"/>
                <a:gd name="T2" fmla="*/ 267 w 320"/>
                <a:gd name="T3" fmla="*/ 55 h 316"/>
                <a:gd name="T4" fmla="*/ 266 w 320"/>
                <a:gd name="T5" fmla="*/ 71 h 316"/>
                <a:gd name="T6" fmla="*/ 298 w 320"/>
                <a:gd name="T7" fmla="*/ 160 h 316"/>
                <a:gd name="T8" fmla="*/ 265 w 320"/>
                <a:gd name="T9" fmla="*/ 250 h 316"/>
                <a:gd name="T10" fmla="*/ 235 w 320"/>
                <a:gd name="T11" fmla="*/ 220 h 316"/>
                <a:gd name="T12" fmla="*/ 256 w 320"/>
                <a:gd name="T13" fmla="*/ 160 h 316"/>
                <a:gd name="T14" fmla="*/ 170 w 320"/>
                <a:gd name="T15" fmla="*/ 64 h 316"/>
                <a:gd name="T16" fmla="*/ 170 w 320"/>
                <a:gd name="T17" fmla="*/ 22 h 316"/>
                <a:gd name="T18" fmla="*/ 219 w 320"/>
                <a:gd name="T19" fmla="*/ 34 h 316"/>
                <a:gd name="T20" fmla="*/ 233 w 320"/>
                <a:gd name="T21" fmla="*/ 29 h 316"/>
                <a:gd name="T22" fmla="*/ 228 w 320"/>
                <a:gd name="T23" fmla="*/ 15 h 316"/>
                <a:gd name="T24" fmla="*/ 160 w 320"/>
                <a:gd name="T25" fmla="*/ 0 h 316"/>
                <a:gd name="T26" fmla="*/ 0 w 320"/>
                <a:gd name="T27" fmla="*/ 160 h 316"/>
                <a:gd name="T28" fmla="*/ 125 w 320"/>
                <a:gd name="T29" fmla="*/ 316 h 316"/>
                <a:gd name="T30" fmla="*/ 128 w 320"/>
                <a:gd name="T31" fmla="*/ 316 h 316"/>
                <a:gd name="T32" fmla="*/ 138 w 320"/>
                <a:gd name="T33" fmla="*/ 308 h 316"/>
                <a:gd name="T34" fmla="*/ 130 w 320"/>
                <a:gd name="T35" fmla="*/ 295 h 316"/>
                <a:gd name="T36" fmla="*/ 21 w 320"/>
                <a:gd name="T37" fmla="*/ 160 h 316"/>
                <a:gd name="T38" fmla="*/ 149 w 320"/>
                <a:gd name="T39" fmla="*/ 22 h 316"/>
                <a:gd name="T40" fmla="*/ 149 w 320"/>
                <a:gd name="T41" fmla="*/ 64 h 316"/>
                <a:gd name="T42" fmla="*/ 71 w 320"/>
                <a:gd name="T43" fmla="*/ 124 h 316"/>
                <a:gd name="T44" fmla="*/ 77 w 320"/>
                <a:gd name="T45" fmla="*/ 138 h 316"/>
                <a:gd name="T46" fmla="*/ 90 w 320"/>
                <a:gd name="T47" fmla="*/ 132 h 316"/>
                <a:gd name="T48" fmla="*/ 160 w 320"/>
                <a:gd name="T49" fmla="*/ 85 h 316"/>
                <a:gd name="T50" fmla="*/ 234 w 320"/>
                <a:gd name="T51" fmla="*/ 160 h 316"/>
                <a:gd name="T52" fmla="*/ 160 w 320"/>
                <a:gd name="T53" fmla="*/ 234 h 316"/>
                <a:gd name="T54" fmla="*/ 90 w 320"/>
                <a:gd name="T55" fmla="*/ 188 h 316"/>
                <a:gd name="T56" fmla="*/ 77 w 320"/>
                <a:gd name="T57" fmla="*/ 182 h 316"/>
                <a:gd name="T58" fmla="*/ 71 w 320"/>
                <a:gd name="T59" fmla="*/ 196 h 316"/>
                <a:gd name="T60" fmla="*/ 160 w 320"/>
                <a:gd name="T61" fmla="*/ 256 h 316"/>
                <a:gd name="T62" fmla="*/ 220 w 320"/>
                <a:gd name="T63" fmla="*/ 235 h 316"/>
                <a:gd name="T64" fmla="*/ 250 w 320"/>
                <a:gd name="T65" fmla="*/ 265 h 316"/>
                <a:gd name="T66" fmla="*/ 189 w 320"/>
                <a:gd name="T67" fmla="*/ 295 h 316"/>
                <a:gd name="T68" fmla="*/ 181 w 320"/>
                <a:gd name="T69" fmla="*/ 308 h 316"/>
                <a:gd name="T70" fmla="*/ 192 w 320"/>
                <a:gd name="T71" fmla="*/ 316 h 316"/>
                <a:gd name="T72" fmla="*/ 194 w 320"/>
                <a:gd name="T73" fmla="*/ 316 h 316"/>
                <a:gd name="T74" fmla="*/ 320 w 320"/>
                <a:gd name="T75" fmla="*/ 160 h 316"/>
                <a:gd name="T76" fmla="*/ 282 w 320"/>
                <a:gd name="T77" fmla="*/ 5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316">
                  <a:moveTo>
                    <a:pt x="282" y="57"/>
                  </a:moveTo>
                  <a:cubicBezTo>
                    <a:pt x="278" y="52"/>
                    <a:pt x="272" y="52"/>
                    <a:pt x="267" y="55"/>
                  </a:cubicBezTo>
                  <a:cubicBezTo>
                    <a:pt x="263" y="59"/>
                    <a:pt x="262" y="66"/>
                    <a:pt x="266" y="71"/>
                  </a:cubicBezTo>
                  <a:cubicBezTo>
                    <a:pt x="287" y="95"/>
                    <a:pt x="298" y="127"/>
                    <a:pt x="298" y="160"/>
                  </a:cubicBezTo>
                  <a:cubicBezTo>
                    <a:pt x="298" y="193"/>
                    <a:pt x="286" y="225"/>
                    <a:pt x="265" y="250"/>
                  </a:cubicBezTo>
                  <a:cubicBezTo>
                    <a:pt x="235" y="220"/>
                    <a:pt x="235" y="220"/>
                    <a:pt x="235" y="220"/>
                  </a:cubicBezTo>
                  <a:cubicBezTo>
                    <a:pt x="248" y="203"/>
                    <a:pt x="256" y="182"/>
                    <a:pt x="256" y="160"/>
                  </a:cubicBezTo>
                  <a:cubicBezTo>
                    <a:pt x="256" y="110"/>
                    <a:pt x="218" y="70"/>
                    <a:pt x="170" y="64"/>
                  </a:cubicBezTo>
                  <a:cubicBezTo>
                    <a:pt x="170" y="22"/>
                    <a:pt x="170" y="22"/>
                    <a:pt x="170" y="22"/>
                  </a:cubicBezTo>
                  <a:cubicBezTo>
                    <a:pt x="187" y="23"/>
                    <a:pt x="204" y="27"/>
                    <a:pt x="219" y="34"/>
                  </a:cubicBezTo>
                  <a:cubicBezTo>
                    <a:pt x="224" y="37"/>
                    <a:pt x="231" y="35"/>
                    <a:pt x="233" y="29"/>
                  </a:cubicBezTo>
                  <a:cubicBezTo>
                    <a:pt x="236" y="24"/>
                    <a:pt x="234" y="18"/>
                    <a:pt x="228" y="15"/>
                  </a:cubicBezTo>
                  <a:cubicBezTo>
                    <a:pt x="207" y="5"/>
                    <a:pt x="184" y="0"/>
                    <a:pt x="160" y="0"/>
                  </a:cubicBezTo>
                  <a:cubicBezTo>
                    <a:pt x="71" y="0"/>
                    <a:pt x="0" y="71"/>
                    <a:pt x="0" y="160"/>
                  </a:cubicBezTo>
                  <a:cubicBezTo>
                    <a:pt x="0" y="234"/>
                    <a:pt x="53" y="300"/>
                    <a:pt x="125" y="316"/>
                  </a:cubicBezTo>
                  <a:cubicBezTo>
                    <a:pt x="126" y="316"/>
                    <a:pt x="127" y="316"/>
                    <a:pt x="128" y="316"/>
                  </a:cubicBezTo>
                  <a:cubicBezTo>
                    <a:pt x="133" y="316"/>
                    <a:pt x="137" y="313"/>
                    <a:pt x="138" y="308"/>
                  </a:cubicBezTo>
                  <a:cubicBezTo>
                    <a:pt x="139" y="302"/>
                    <a:pt x="136" y="296"/>
                    <a:pt x="130" y="295"/>
                  </a:cubicBezTo>
                  <a:cubicBezTo>
                    <a:pt x="67" y="281"/>
                    <a:pt x="21" y="224"/>
                    <a:pt x="21" y="160"/>
                  </a:cubicBezTo>
                  <a:cubicBezTo>
                    <a:pt x="21" y="87"/>
                    <a:pt x="78" y="27"/>
                    <a:pt x="149" y="22"/>
                  </a:cubicBezTo>
                  <a:cubicBezTo>
                    <a:pt x="149" y="64"/>
                    <a:pt x="149" y="64"/>
                    <a:pt x="149" y="64"/>
                  </a:cubicBezTo>
                  <a:cubicBezTo>
                    <a:pt x="114" y="68"/>
                    <a:pt x="84" y="91"/>
                    <a:pt x="71" y="124"/>
                  </a:cubicBezTo>
                  <a:cubicBezTo>
                    <a:pt x="68" y="129"/>
                    <a:pt x="71" y="135"/>
                    <a:pt x="77" y="138"/>
                  </a:cubicBezTo>
                  <a:cubicBezTo>
                    <a:pt x="82" y="140"/>
                    <a:pt x="88" y="137"/>
                    <a:pt x="90" y="132"/>
                  </a:cubicBezTo>
                  <a:cubicBezTo>
                    <a:pt x="102" y="103"/>
                    <a:pt x="129" y="85"/>
                    <a:pt x="160" y="85"/>
                  </a:cubicBezTo>
                  <a:cubicBezTo>
                    <a:pt x="201" y="85"/>
                    <a:pt x="234" y="118"/>
                    <a:pt x="234" y="160"/>
                  </a:cubicBezTo>
                  <a:cubicBezTo>
                    <a:pt x="234" y="201"/>
                    <a:pt x="201" y="234"/>
                    <a:pt x="160" y="234"/>
                  </a:cubicBezTo>
                  <a:cubicBezTo>
                    <a:pt x="129" y="234"/>
                    <a:pt x="102" y="216"/>
                    <a:pt x="90" y="188"/>
                  </a:cubicBezTo>
                  <a:cubicBezTo>
                    <a:pt x="88" y="182"/>
                    <a:pt x="82" y="180"/>
                    <a:pt x="77" y="182"/>
                  </a:cubicBezTo>
                  <a:cubicBezTo>
                    <a:pt x="71" y="184"/>
                    <a:pt x="68" y="190"/>
                    <a:pt x="71" y="196"/>
                  </a:cubicBezTo>
                  <a:cubicBezTo>
                    <a:pt x="85" y="232"/>
                    <a:pt x="120" y="256"/>
                    <a:pt x="160" y="256"/>
                  </a:cubicBezTo>
                  <a:cubicBezTo>
                    <a:pt x="182" y="256"/>
                    <a:pt x="203" y="248"/>
                    <a:pt x="220" y="235"/>
                  </a:cubicBezTo>
                  <a:cubicBezTo>
                    <a:pt x="250" y="265"/>
                    <a:pt x="250" y="265"/>
                    <a:pt x="250" y="265"/>
                  </a:cubicBezTo>
                  <a:cubicBezTo>
                    <a:pt x="233" y="279"/>
                    <a:pt x="212" y="290"/>
                    <a:pt x="189" y="295"/>
                  </a:cubicBezTo>
                  <a:cubicBezTo>
                    <a:pt x="184" y="296"/>
                    <a:pt x="180" y="302"/>
                    <a:pt x="181" y="308"/>
                  </a:cubicBezTo>
                  <a:cubicBezTo>
                    <a:pt x="182" y="313"/>
                    <a:pt x="187" y="316"/>
                    <a:pt x="192" y="316"/>
                  </a:cubicBezTo>
                  <a:cubicBezTo>
                    <a:pt x="192" y="316"/>
                    <a:pt x="193" y="316"/>
                    <a:pt x="194" y="316"/>
                  </a:cubicBezTo>
                  <a:cubicBezTo>
                    <a:pt x="267" y="300"/>
                    <a:pt x="320" y="234"/>
                    <a:pt x="320" y="160"/>
                  </a:cubicBezTo>
                  <a:cubicBezTo>
                    <a:pt x="320" y="122"/>
                    <a:pt x="306" y="86"/>
                    <a:pt x="282" y="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1" name="TextBox 770"/>
          <p:cNvSpPr txBox="1"/>
          <p:nvPr/>
        </p:nvSpPr>
        <p:spPr>
          <a:xfrm>
            <a:off x="2938388" y="54716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otball</a:t>
            </a:r>
          </a:p>
        </p:txBody>
      </p:sp>
      <p:sp>
        <p:nvSpPr>
          <p:cNvPr id="772" name="TextBox 771"/>
          <p:cNvSpPr txBox="1"/>
          <p:nvPr/>
        </p:nvSpPr>
        <p:spPr>
          <a:xfrm>
            <a:off x="3782384" y="54716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fo</a:t>
            </a:r>
          </a:p>
        </p:txBody>
      </p:sp>
      <p:sp>
        <p:nvSpPr>
          <p:cNvPr id="773" name="TextBox 772"/>
          <p:cNvSpPr txBox="1"/>
          <p:nvPr/>
        </p:nvSpPr>
        <p:spPr>
          <a:xfrm>
            <a:off x="4626380" y="546851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rward</a:t>
            </a:r>
          </a:p>
        </p:txBody>
      </p:sp>
      <p:sp>
        <p:nvSpPr>
          <p:cNvPr id="774" name="Freeform 923"/>
          <p:cNvSpPr>
            <a:spLocks noChangeAspect="1" noEditPoints="1"/>
          </p:cNvSpPr>
          <p:nvPr/>
        </p:nvSpPr>
        <p:spPr bwMode="auto">
          <a:xfrm>
            <a:off x="2920092" y="5017967"/>
            <a:ext cx="367631" cy="367631"/>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75" name="Group 926"/>
          <p:cNvGrpSpPr>
            <a:grpSpLocks noChangeAspect="1"/>
          </p:cNvGrpSpPr>
          <p:nvPr/>
        </p:nvGrpSpPr>
        <p:grpSpPr bwMode="auto">
          <a:xfrm>
            <a:off x="3339780" y="5017967"/>
            <a:ext cx="367631" cy="367631"/>
            <a:chOff x="3520" y="3599"/>
            <a:chExt cx="340" cy="340"/>
          </a:xfrm>
          <a:solidFill>
            <a:schemeClr val="accent4"/>
          </a:solidFill>
        </p:grpSpPr>
        <p:sp>
          <p:nvSpPr>
            <p:cNvPr id="776" name="Freeform 927"/>
            <p:cNvSpPr>
              <a:spLocks noEditPoints="1"/>
            </p:cNvSpPr>
            <p:nvPr/>
          </p:nvSpPr>
          <p:spPr bwMode="auto">
            <a:xfrm>
              <a:off x="3520" y="35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928"/>
            <p:cNvSpPr>
              <a:spLocks noEditPoints="1"/>
            </p:cNvSpPr>
            <p:nvPr/>
          </p:nvSpPr>
          <p:spPr bwMode="auto">
            <a:xfrm>
              <a:off x="3649" y="3733"/>
              <a:ext cx="81" cy="71"/>
            </a:xfrm>
            <a:custGeom>
              <a:avLst/>
              <a:gdLst>
                <a:gd name="T0" fmla="*/ 119 w 121"/>
                <a:gd name="T1" fmla="*/ 59 h 107"/>
                <a:gd name="T2" fmla="*/ 119 w 121"/>
                <a:gd name="T3" fmla="*/ 48 h 107"/>
                <a:gd name="T4" fmla="*/ 95 w 121"/>
                <a:gd name="T5" fmla="*/ 6 h 107"/>
                <a:gd name="T6" fmla="*/ 85 w 121"/>
                <a:gd name="T7" fmla="*/ 0 h 107"/>
                <a:gd name="T8" fmla="*/ 36 w 121"/>
                <a:gd name="T9" fmla="*/ 0 h 107"/>
                <a:gd name="T10" fmla="*/ 27 w 121"/>
                <a:gd name="T11" fmla="*/ 6 h 107"/>
                <a:gd name="T12" fmla="*/ 2 w 121"/>
                <a:gd name="T13" fmla="*/ 48 h 107"/>
                <a:gd name="T14" fmla="*/ 2 w 121"/>
                <a:gd name="T15" fmla="*/ 59 h 107"/>
                <a:gd name="T16" fmla="*/ 27 w 121"/>
                <a:gd name="T17" fmla="*/ 102 h 107"/>
                <a:gd name="T18" fmla="*/ 36 w 121"/>
                <a:gd name="T19" fmla="*/ 107 h 107"/>
                <a:gd name="T20" fmla="*/ 85 w 121"/>
                <a:gd name="T21" fmla="*/ 107 h 107"/>
                <a:gd name="T22" fmla="*/ 95 w 121"/>
                <a:gd name="T23" fmla="*/ 102 h 107"/>
                <a:gd name="T24" fmla="*/ 119 w 121"/>
                <a:gd name="T25" fmla="*/ 59 h 107"/>
                <a:gd name="T26" fmla="*/ 79 w 121"/>
                <a:gd name="T27" fmla="*/ 86 h 107"/>
                <a:gd name="T28" fmla="*/ 42 w 121"/>
                <a:gd name="T29" fmla="*/ 86 h 107"/>
                <a:gd name="T30" fmla="*/ 24 w 121"/>
                <a:gd name="T31" fmla="*/ 54 h 107"/>
                <a:gd name="T32" fmla="*/ 42 w 121"/>
                <a:gd name="T33" fmla="*/ 22 h 107"/>
                <a:gd name="T34" fmla="*/ 79 w 121"/>
                <a:gd name="T35" fmla="*/ 22 h 107"/>
                <a:gd name="T36" fmla="*/ 98 w 121"/>
                <a:gd name="T37" fmla="*/ 54 h 107"/>
                <a:gd name="T38" fmla="*/ 79 w 121"/>
                <a:gd name="T3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07">
                  <a:moveTo>
                    <a:pt x="119" y="59"/>
                  </a:moveTo>
                  <a:cubicBezTo>
                    <a:pt x="121" y="56"/>
                    <a:pt x="121" y="52"/>
                    <a:pt x="119" y="48"/>
                  </a:cubicBezTo>
                  <a:cubicBezTo>
                    <a:pt x="95" y="6"/>
                    <a:pt x="95" y="6"/>
                    <a:pt x="95" y="6"/>
                  </a:cubicBezTo>
                  <a:cubicBezTo>
                    <a:pt x="93" y="2"/>
                    <a:pt x="89" y="0"/>
                    <a:pt x="85" y="0"/>
                  </a:cubicBezTo>
                  <a:cubicBezTo>
                    <a:pt x="36" y="0"/>
                    <a:pt x="36" y="0"/>
                    <a:pt x="36" y="0"/>
                  </a:cubicBezTo>
                  <a:cubicBezTo>
                    <a:pt x="32" y="0"/>
                    <a:pt x="29" y="2"/>
                    <a:pt x="27" y="6"/>
                  </a:cubicBezTo>
                  <a:cubicBezTo>
                    <a:pt x="2" y="48"/>
                    <a:pt x="2" y="48"/>
                    <a:pt x="2" y="48"/>
                  </a:cubicBezTo>
                  <a:cubicBezTo>
                    <a:pt x="0" y="52"/>
                    <a:pt x="0" y="56"/>
                    <a:pt x="2" y="59"/>
                  </a:cubicBezTo>
                  <a:cubicBezTo>
                    <a:pt x="27" y="102"/>
                    <a:pt x="27" y="102"/>
                    <a:pt x="27" y="102"/>
                  </a:cubicBezTo>
                  <a:cubicBezTo>
                    <a:pt x="29" y="105"/>
                    <a:pt x="32" y="107"/>
                    <a:pt x="36" y="107"/>
                  </a:cubicBezTo>
                  <a:cubicBezTo>
                    <a:pt x="85" y="107"/>
                    <a:pt x="85" y="107"/>
                    <a:pt x="85" y="107"/>
                  </a:cubicBezTo>
                  <a:cubicBezTo>
                    <a:pt x="89" y="107"/>
                    <a:pt x="93" y="105"/>
                    <a:pt x="95" y="102"/>
                  </a:cubicBezTo>
                  <a:lnTo>
                    <a:pt x="119" y="59"/>
                  </a:lnTo>
                  <a:close/>
                  <a:moveTo>
                    <a:pt x="79" y="86"/>
                  </a:moveTo>
                  <a:cubicBezTo>
                    <a:pt x="42" y="86"/>
                    <a:pt x="42" y="86"/>
                    <a:pt x="42" y="86"/>
                  </a:cubicBezTo>
                  <a:cubicBezTo>
                    <a:pt x="24" y="54"/>
                    <a:pt x="24" y="54"/>
                    <a:pt x="24" y="54"/>
                  </a:cubicBezTo>
                  <a:cubicBezTo>
                    <a:pt x="42" y="22"/>
                    <a:pt x="42" y="22"/>
                    <a:pt x="42" y="22"/>
                  </a:cubicBezTo>
                  <a:cubicBezTo>
                    <a:pt x="79" y="22"/>
                    <a:pt x="79" y="22"/>
                    <a:pt x="79" y="22"/>
                  </a:cubicBezTo>
                  <a:cubicBezTo>
                    <a:pt x="98" y="54"/>
                    <a:pt x="98" y="54"/>
                    <a:pt x="98" y="54"/>
                  </a:cubicBezTo>
                  <a:lnTo>
                    <a:pt x="79" y="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8" name="Freeform 929"/>
            <p:cNvSpPr>
              <a:spLocks noEditPoints="1"/>
            </p:cNvSpPr>
            <p:nvPr/>
          </p:nvSpPr>
          <p:spPr bwMode="auto">
            <a:xfrm>
              <a:off x="3580" y="3659"/>
              <a:ext cx="220" cy="216"/>
            </a:xfrm>
            <a:custGeom>
              <a:avLst/>
              <a:gdLst>
                <a:gd name="T0" fmla="*/ 216 w 331"/>
                <a:gd name="T1" fmla="*/ 14 h 326"/>
                <a:gd name="T2" fmla="*/ 14 w 331"/>
                <a:gd name="T3" fmla="*/ 116 h 326"/>
                <a:gd name="T4" fmla="*/ 116 w 331"/>
                <a:gd name="T5" fmla="*/ 318 h 326"/>
                <a:gd name="T6" fmla="*/ 238 w 331"/>
                <a:gd name="T7" fmla="*/ 309 h 326"/>
                <a:gd name="T8" fmla="*/ 309 w 331"/>
                <a:gd name="T9" fmla="*/ 94 h 326"/>
                <a:gd name="T10" fmla="*/ 303 w 331"/>
                <a:gd name="T11" fmla="*/ 146 h 326"/>
                <a:gd name="T12" fmla="*/ 288 w 331"/>
                <a:gd name="T13" fmla="*/ 166 h 326"/>
                <a:gd name="T14" fmla="*/ 221 w 331"/>
                <a:gd name="T15" fmla="*/ 57 h 326"/>
                <a:gd name="T16" fmla="*/ 246 w 331"/>
                <a:gd name="T17" fmla="*/ 52 h 326"/>
                <a:gd name="T18" fmla="*/ 92 w 331"/>
                <a:gd name="T19" fmla="*/ 69 h 326"/>
                <a:gd name="T20" fmla="*/ 98 w 331"/>
                <a:gd name="T21" fmla="*/ 45 h 326"/>
                <a:gd name="T22" fmla="*/ 44 w 331"/>
                <a:gd name="T23" fmla="*/ 166 h 326"/>
                <a:gd name="T24" fmla="*/ 29 w 331"/>
                <a:gd name="T25" fmla="*/ 145 h 326"/>
                <a:gd name="T26" fmla="*/ 111 w 331"/>
                <a:gd name="T27" fmla="*/ 275 h 326"/>
                <a:gd name="T28" fmla="*/ 86 w 331"/>
                <a:gd name="T29" fmla="*/ 279 h 326"/>
                <a:gd name="T30" fmla="*/ 127 w 331"/>
                <a:gd name="T31" fmla="*/ 258 h 326"/>
                <a:gd name="T32" fmla="*/ 65 w 331"/>
                <a:gd name="T33" fmla="*/ 261 h 326"/>
                <a:gd name="T34" fmla="*/ 35 w 331"/>
                <a:gd name="T35" fmla="*/ 211 h 326"/>
                <a:gd name="T36" fmla="*/ 66 w 331"/>
                <a:gd name="T37" fmla="*/ 159 h 326"/>
                <a:gd name="T38" fmla="*/ 50 w 331"/>
                <a:gd name="T39" fmla="*/ 90 h 326"/>
                <a:gd name="T40" fmla="*/ 100 w 331"/>
                <a:gd name="T41" fmla="*/ 91 h 326"/>
                <a:gd name="T42" fmla="*/ 124 w 331"/>
                <a:gd name="T43" fmla="*/ 34 h 326"/>
                <a:gd name="T44" fmla="*/ 184 w 331"/>
                <a:gd name="T45" fmla="*/ 28 h 326"/>
                <a:gd name="T46" fmla="*/ 214 w 331"/>
                <a:gd name="T47" fmla="*/ 79 h 326"/>
                <a:gd name="T48" fmla="*/ 266 w 331"/>
                <a:gd name="T49" fmla="*/ 70 h 326"/>
                <a:gd name="T50" fmla="*/ 296 w 331"/>
                <a:gd name="T51" fmla="*/ 120 h 326"/>
                <a:gd name="T52" fmla="*/ 266 w 331"/>
                <a:gd name="T53" fmla="*/ 172 h 326"/>
                <a:gd name="T54" fmla="*/ 282 w 331"/>
                <a:gd name="T55" fmla="*/ 242 h 326"/>
                <a:gd name="T56" fmla="*/ 222 w 331"/>
                <a:gd name="T57" fmla="*/ 249 h 326"/>
                <a:gd name="T58" fmla="*/ 148 w 331"/>
                <a:gd name="T59" fmla="*/ 303 h 326"/>
                <a:gd name="T60" fmla="*/ 240 w 331"/>
                <a:gd name="T61" fmla="*/ 263 h 326"/>
                <a:gd name="T62" fmla="*/ 233 w 331"/>
                <a:gd name="T63"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26">
                  <a:moveTo>
                    <a:pt x="309" y="94"/>
                  </a:moveTo>
                  <a:cubicBezTo>
                    <a:pt x="289" y="55"/>
                    <a:pt x="256" y="27"/>
                    <a:pt x="216" y="14"/>
                  </a:cubicBezTo>
                  <a:cubicBezTo>
                    <a:pt x="175" y="0"/>
                    <a:pt x="132" y="4"/>
                    <a:pt x="94" y="23"/>
                  </a:cubicBezTo>
                  <a:cubicBezTo>
                    <a:pt x="55" y="42"/>
                    <a:pt x="27" y="75"/>
                    <a:pt x="14" y="116"/>
                  </a:cubicBezTo>
                  <a:cubicBezTo>
                    <a:pt x="0" y="156"/>
                    <a:pt x="4" y="200"/>
                    <a:pt x="23" y="238"/>
                  </a:cubicBezTo>
                  <a:cubicBezTo>
                    <a:pt x="42" y="276"/>
                    <a:pt x="75" y="304"/>
                    <a:pt x="116" y="318"/>
                  </a:cubicBezTo>
                  <a:cubicBezTo>
                    <a:pt x="132" y="323"/>
                    <a:pt x="149" y="326"/>
                    <a:pt x="166" y="326"/>
                  </a:cubicBezTo>
                  <a:cubicBezTo>
                    <a:pt x="191" y="326"/>
                    <a:pt x="215" y="320"/>
                    <a:pt x="238" y="309"/>
                  </a:cubicBezTo>
                  <a:cubicBezTo>
                    <a:pt x="276" y="289"/>
                    <a:pt x="304" y="256"/>
                    <a:pt x="318" y="216"/>
                  </a:cubicBezTo>
                  <a:cubicBezTo>
                    <a:pt x="331" y="175"/>
                    <a:pt x="328" y="132"/>
                    <a:pt x="309" y="94"/>
                  </a:cubicBezTo>
                  <a:close/>
                  <a:moveTo>
                    <a:pt x="288" y="166"/>
                  </a:moveTo>
                  <a:cubicBezTo>
                    <a:pt x="303" y="146"/>
                    <a:pt x="303" y="146"/>
                    <a:pt x="303" y="146"/>
                  </a:cubicBezTo>
                  <a:cubicBezTo>
                    <a:pt x="305" y="159"/>
                    <a:pt x="305" y="173"/>
                    <a:pt x="303" y="186"/>
                  </a:cubicBezTo>
                  <a:lnTo>
                    <a:pt x="288" y="166"/>
                  </a:lnTo>
                  <a:close/>
                  <a:moveTo>
                    <a:pt x="246" y="52"/>
                  </a:moveTo>
                  <a:cubicBezTo>
                    <a:pt x="221" y="57"/>
                    <a:pt x="221" y="57"/>
                    <a:pt x="221" y="57"/>
                  </a:cubicBezTo>
                  <a:cubicBezTo>
                    <a:pt x="210" y="34"/>
                    <a:pt x="210" y="34"/>
                    <a:pt x="210" y="34"/>
                  </a:cubicBezTo>
                  <a:cubicBezTo>
                    <a:pt x="223" y="39"/>
                    <a:pt x="235" y="45"/>
                    <a:pt x="246" y="52"/>
                  </a:cubicBezTo>
                  <a:close/>
                  <a:moveTo>
                    <a:pt x="98" y="45"/>
                  </a:moveTo>
                  <a:cubicBezTo>
                    <a:pt x="92" y="69"/>
                    <a:pt x="92" y="69"/>
                    <a:pt x="92" y="69"/>
                  </a:cubicBezTo>
                  <a:cubicBezTo>
                    <a:pt x="67" y="68"/>
                    <a:pt x="67" y="68"/>
                    <a:pt x="67" y="68"/>
                  </a:cubicBezTo>
                  <a:cubicBezTo>
                    <a:pt x="76" y="59"/>
                    <a:pt x="87" y="51"/>
                    <a:pt x="98" y="45"/>
                  </a:cubicBezTo>
                  <a:close/>
                  <a:moveTo>
                    <a:pt x="29" y="145"/>
                  </a:moveTo>
                  <a:cubicBezTo>
                    <a:pt x="44" y="166"/>
                    <a:pt x="44" y="166"/>
                    <a:pt x="44" y="166"/>
                  </a:cubicBezTo>
                  <a:cubicBezTo>
                    <a:pt x="28" y="185"/>
                    <a:pt x="28" y="185"/>
                    <a:pt x="28" y="185"/>
                  </a:cubicBezTo>
                  <a:cubicBezTo>
                    <a:pt x="27" y="172"/>
                    <a:pt x="27" y="159"/>
                    <a:pt x="29" y="145"/>
                  </a:cubicBezTo>
                  <a:close/>
                  <a:moveTo>
                    <a:pt x="86" y="279"/>
                  </a:moveTo>
                  <a:cubicBezTo>
                    <a:pt x="111" y="275"/>
                    <a:pt x="111" y="275"/>
                    <a:pt x="111" y="275"/>
                  </a:cubicBezTo>
                  <a:cubicBezTo>
                    <a:pt x="121" y="297"/>
                    <a:pt x="121" y="297"/>
                    <a:pt x="121" y="297"/>
                  </a:cubicBezTo>
                  <a:cubicBezTo>
                    <a:pt x="108" y="293"/>
                    <a:pt x="96" y="287"/>
                    <a:pt x="86" y="279"/>
                  </a:cubicBezTo>
                  <a:close/>
                  <a:moveTo>
                    <a:pt x="148" y="303"/>
                  </a:moveTo>
                  <a:cubicBezTo>
                    <a:pt x="127" y="258"/>
                    <a:pt x="127" y="258"/>
                    <a:pt x="127" y="258"/>
                  </a:cubicBezTo>
                  <a:cubicBezTo>
                    <a:pt x="125" y="254"/>
                    <a:pt x="120" y="251"/>
                    <a:pt x="115" y="252"/>
                  </a:cubicBezTo>
                  <a:cubicBezTo>
                    <a:pt x="65" y="261"/>
                    <a:pt x="65" y="261"/>
                    <a:pt x="65" y="261"/>
                  </a:cubicBezTo>
                  <a:cubicBezTo>
                    <a:pt x="56" y="251"/>
                    <a:pt x="48" y="240"/>
                    <a:pt x="42" y="228"/>
                  </a:cubicBezTo>
                  <a:cubicBezTo>
                    <a:pt x="39" y="223"/>
                    <a:pt x="37" y="217"/>
                    <a:pt x="35" y="211"/>
                  </a:cubicBezTo>
                  <a:cubicBezTo>
                    <a:pt x="65" y="172"/>
                    <a:pt x="65" y="172"/>
                    <a:pt x="65" y="172"/>
                  </a:cubicBezTo>
                  <a:cubicBezTo>
                    <a:pt x="68" y="169"/>
                    <a:pt x="68" y="163"/>
                    <a:pt x="66" y="159"/>
                  </a:cubicBezTo>
                  <a:cubicBezTo>
                    <a:pt x="35" y="119"/>
                    <a:pt x="35" y="119"/>
                    <a:pt x="35" y="119"/>
                  </a:cubicBezTo>
                  <a:cubicBezTo>
                    <a:pt x="39" y="108"/>
                    <a:pt x="44" y="99"/>
                    <a:pt x="50" y="90"/>
                  </a:cubicBezTo>
                  <a:cubicBezTo>
                    <a:pt x="99" y="91"/>
                    <a:pt x="99" y="91"/>
                    <a:pt x="99" y="91"/>
                  </a:cubicBezTo>
                  <a:cubicBezTo>
                    <a:pt x="99" y="91"/>
                    <a:pt x="100" y="91"/>
                    <a:pt x="100" y="91"/>
                  </a:cubicBezTo>
                  <a:cubicBezTo>
                    <a:pt x="104" y="91"/>
                    <a:pt x="108" y="87"/>
                    <a:pt x="110" y="83"/>
                  </a:cubicBezTo>
                  <a:cubicBezTo>
                    <a:pt x="124" y="34"/>
                    <a:pt x="124" y="34"/>
                    <a:pt x="124" y="34"/>
                  </a:cubicBezTo>
                  <a:cubicBezTo>
                    <a:pt x="137" y="30"/>
                    <a:pt x="151" y="27"/>
                    <a:pt x="166" y="27"/>
                  </a:cubicBezTo>
                  <a:cubicBezTo>
                    <a:pt x="172" y="27"/>
                    <a:pt x="178" y="27"/>
                    <a:pt x="184" y="28"/>
                  </a:cubicBezTo>
                  <a:cubicBezTo>
                    <a:pt x="205" y="73"/>
                    <a:pt x="205" y="73"/>
                    <a:pt x="205" y="73"/>
                  </a:cubicBezTo>
                  <a:cubicBezTo>
                    <a:pt x="207" y="77"/>
                    <a:pt x="210" y="79"/>
                    <a:pt x="214" y="79"/>
                  </a:cubicBezTo>
                  <a:cubicBezTo>
                    <a:pt x="215" y="79"/>
                    <a:pt x="216" y="79"/>
                    <a:pt x="216" y="79"/>
                  </a:cubicBezTo>
                  <a:cubicBezTo>
                    <a:pt x="266" y="70"/>
                    <a:pt x="266" y="70"/>
                    <a:pt x="266" y="70"/>
                  </a:cubicBezTo>
                  <a:cubicBezTo>
                    <a:pt x="276" y="80"/>
                    <a:pt x="283" y="91"/>
                    <a:pt x="289" y="103"/>
                  </a:cubicBezTo>
                  <a:cubicBezTo>
                    <a:pt x="292" y="109"/>
                    <a:pt x="294" y="114"/>
                    <a:pt x="296" y="120"/>
                  </a:cubicBezTo>
                  <a:cubicBezTo>
                    <a:pt x="266" y="159"/>
                    <a:pt x="266" y="159"/>
                    <a:pt x="266" y="159"/>
                  </a:cubicBezTo>
                  <a:cubicBezTo>
                    <a:pt x="263" y="163"/>
                    <a:pt x="263" y="168"/>
                    <a:pt x="266" y="172"/>
                  </a:cubicBezTo>
                  <a:cubicBezTo>
                    <a:pt x="296" y="213"/>
                    <a:pt x="296" y="213"/>
                    <a:pt x="296" y="213"/>
                  </a:cubicBezTo>
                  <a:cubicBezTo>
                    <a:pt x="292" y="223"/>
                    <a:pt x="287" y="233"/>
                    <a:pt x="282" y="242"/>
                  </a:cubicBezTo>
                  <a:cubicBezTo>
                    <a:pt x="232" y="241"/>
                    <a:pt x="232" y="241"/>
                    <a:pt x="232" y="241"/>
                  </a:cubicBezTo>
                  <a:cubicBezTo>
                    <a:pt x="227" y="241"/>
                    <a:pt x="223" y="244"/>
                    <a:pt x="222" y="249"/>
                  </a:cubicBezTo>
                  <a:cubicBezTo>
                    <a:pt x="208" y="298"/>
                    <a:pt x="208" y="298"/>
                    <a:pt x="208" y="298"/>
                  </a:cubicBezTo>
                  <a:cubicBezTo>
                    <a:pt x="188" y="304"/>
                    <a:pt x="168" y="306"/>
                    <a:pt x="148" y="303"/>
                  </a:cubicBezTo>
                  <a:close/>
                  <a:moveTo>
                    <a:pt x="233" y="287"/>
                  </a:moveTo>
                  <a:cubicBezTo>
                    <a:pt x="240" y="263"/>
                    <a:pt x="240" y="263"/>
                    <a:pt x="240" y="263"/>
                  </a:cubicBezTo>
                  <a:cubicBezTo>
                    <a:pt x="264" y="263"/>
                    <a:pt x="264" y="263"/>
                    <a:pt x="264" y="263"/>
                  </a:cubicBezTo>
                  <a:cubicBezTo>
                    <a:pt x="255" y="272"/>
                    <a:pt x="245" y="280"/>
                    <a:pt x="233" y="2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9" name="Freeform 942"/>
          <p:cNvSpPr>
            <a:spLocks noChangeAspect="1" noEditPoints="1"/>
          </p:cNvSpPr>
          <p:nvPr/>
        </p:nvSpPr>
        <p:spPr bwMode="auto">
          <a:xfrm>
            <a:off x="4597664" y="5017967"/>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0" name="Group 945"/>
          <p:cNvGrpSpPr>
            <a:grpSpLocks noChangeAspect="1"/>
          </p:cNvGrpSpPr>
          <p:nvPr/>
        </p:nvGrpSpPr>
        <p:grpSpPr bwMode="auto">
          <a:xfrm>
            <a:off x="5018434" y="5017967"/>
            <a:ext cx="367631" cy="367631"/>
            <a:chOff x="5000" y="3593"/>
            <a:chExt cx="340" cy="340"/>
          </a:xfrm>
          <a:solidFill>
            <a:schemeClr val="accent4"/>
          </a:solidFill>
        </p:grpSpPr>
        <p:sp>
          <p:nvSpPr>
            <p:cNvPr id="781" name="Freeform 946"/>
            <p:cNvSpPr>
              <a:spLocks noEditPoints="1"/>
            </p:cNvSpPr>
            <p:nvPr/>
          </p:nvSpPr>
          <p:spPr bwMode="auto">
            <a:xfrm>
              <a:off x="5078" y="3656"/>
              <a:ext cx="178" cy="213"/>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2" name="Freeform 947"/>
            <p:cNvSpPr>
              <a:spLocks noEditPoints="1"/>
            </p:cNvSpPr>
            <p:nvPr/>
          </p:nvSpPr>
          <p:spPr bwMode="auto">
            <a:xfrm>
              <a:off x="5000" y="35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3" name="Freeform 430"/>
          <p:cNvSpPr>
            <a:spLocks noChangeAspect="1" noEditPoints="1"/>
          </p:cNvSpPr>
          <p:nvPr/>
        </p:nvSpPr>
        <p:spPr bwMode="auto">
          <a:xfrm>
            <a:off x="3759468" y="5017967"/>
            <a:ext cx="367041" cy="367041"/>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4" name="Group 433"/>
          <p:cNvGrpSpPr>
            <a:grpSpLocks noChangeAspect="1"/>
          </p:cNvGrpSpPr>
          <p:nvPr/>
        </p:nvGrpSpPr>
        <p:grpSpPr bwMode="auto">
          <a:xfrm>
            <a:off x="4178566" y="5017967"/>
            <a:ext cx="367041" cy="367041"/>
            <a:chOff x="4725" y="1820"/>
            <a:chExt cx="340" cy="340"/>
          </a:xfrm>
          <a:solidFill>
            <a:schemeClr val="accent5"/>
          </a:solidFill>
        </p:grpSpPr>
        <p:sp>
          <p:nvSpPr>
            <p:cNvPr id="785"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6"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7" name="TextBox 786"/>
          <p:cNvSpPr txBox="1"/>
          <p:nvPr/>
        </p:nvSpPr>
        <p:spPr>
          <a:xfrm>
            <a:off x="5470376" y="548910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ute 1</a:t>
            </a:r>
          </a:p>
        </p:txBody>
      </p:sp>
      <p:sp>
        <p:nvSpPr>
          <p:cNvPr id="788" name="TextBox 787"/>
          <p:cNvSpPr txBox="1"/>
          <p:nvPr/>
        </p:nvSpPr>
        <p:spPr>
          <a:xfrm>
            <a:off x="6302730" y="548984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ute 2</a:t>
            </a:r>
          </a:p>
        </p:txBody>
      </p:sp>
      <p:sp>
        <p:nvSpPr>
          <p:cNvPr id="789" name="TextBox 788"/>
          <p:cNvSpPr txBox="1"/>
          <p:nvPr/>
        </p:nvSpPr>
        <p:spPr>
          <a:xfrm>
            <a:off x="7149901" y="54898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ute 3</a:t>
            </a:r>
          </a:p>
        </p:txBody>
      </p:sp>
      <p:grpSp>
        <p:nvGrpSpPr>
          <p:cNvPr id="790" name="Group 826"/>
          <p:cNvGrpSpPr>
            <a:grpSpLocks noChangeAspect="1"/>
          </p:cNvGrpSpPr>
          <p:nvPr/>
        </p:nvGrpSpPr>
        <p:grpSpPr bwMode="auto">
          <a:xfrm>
            <a:off x="7545674" y="5017967"/>
            <a:ext cx="369021" cy="369021"/>
            <a:chOff x="1863" y="3093"/>
            <a:chExt cx="340" cy="340"/>
          </a:xfrm>
          <a:solidFill>
            <a:schemeClr val="accent3"/>
          </a:solidFill>
        </p:grpSpPr>
        <p:sp>
          <p:nvSpPr>
            <p:cNvPr id="791" name="Freeform 827"/>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2" name="Freeform 828"/>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3" name="Freeform 832"/>
          <p:cNvSpPr>
            <a:spLocks noChangeAspect="1" noEditPoints="1"/>
          </p:cNvSpPr>
          <p:nvPr/>
        </p:nvSpPr>
        <p:spPr bwMode="auto">
          <a:xfrm>
            <a:off x="7123519" y="5017967"/>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94" name="Group 835"/>
          <p:cNvGrpSpPr>
            <a:grpSpLocks noChangeAspect="1"/>
          </p:cNvGrpSpPr>
          <p:nvPr/>
        </p:nvGrpSpPr>
        <p:grpSpPr bwMode="auto">
          <a:xfrm>
            <a:off x="6701356" y="5017967"/>
            <a:ext cx="370106" cy="369021"/>
            <a:chOff x="1154" y="3098"/>
            <a:chExt cx="341" cy="340"/>
          </a:xfrm>
          <a:solidFill>
            <a:schemeClr val="accent3"/>
          </a:solidFill>
        </p:grpSpPr>
        <p:sp>
          <p:nvSpPr>
            <p:cNvPr id="795" name="Freeform 836"/>
            <p:cNvSpPr>
              <a:spLocks noEditPoints="1"/>
            </p:cNvSpPr>
            <p:nvPr/>
          </p:nvSpPr>
          <p:spPr bwMode="auto">
            <a:xfrm>
              <a:off x="1267" y="3162"/>
              <a:ext cx="114" cy="212"/>
            </a:xfrm>
            <a:custGeom>
              <a:avLst/>
              <a:gdLst>
                <a:gd name="T0" fmla="*/ 150 w 171"/>
                <a:gd name="T1" fmla="*/ 258 h 320"/>
                <a:gd name="T2" fmla="*/ 150 w 171"/>
                <a:gd name="T3" fmla="*/ 62 h 320"/>
                <a:gd name="T4" fmla="*/ 171 w 171"/>
                <a:gd name="T5" fmla="*/ 32 h 320"/>
                <a:gd name="T6" fmla="*/ 139 w 171"/>
                <a:gd name="T7" fmla="*/ 0 h 320"/>
                <a:gd name="T8" fmla="*/ 107 w 171"/>
                <a:gd name="T9" fmla="*/ 32 h 320"/>
                <a:gd name="T10" fmla="*/ 128 w 171"/>
                <a:gd name="T11" fmla="*/ 62 h 320"/>
                <a:gd name="T12" fmla="*/ 128 w 171"/>
                <a:gd name="T13" fmla="*/ 149 h 320"/>
                <a:gd name="T14" fmla="*/ 64 w 171"/>
                <a:gd name="T15" fmla="*/ 149 h 320"/>
                <a:gd name="T16" fmla="*/ 43 w 171"/>
                <a:gd name="T17" fmla="*/ 128 h 320"/>
                <a:gd name="T18" fmla="*/ 43 w 171"/>
                <a:gd name="T19" fmla="*/ 62 h 320"/>
                <a:gd name="T20" fmla="*/ 64 w 171"/>
                <a:gd name="T21" fmla="*/ 32 h 320"/>
                <a:gd name="T22" fmla="*/ 32 w 171"/>
                <a:gd name="T23" fmla="*/ 0 h 320"/>
                <a:gd name="T24" fmla="*/ 0 w 171"/>
                <a:gd name="T25" fmla="*/ 32 h 320"/>
                <a:gd name="T26" fmla="*/ 22 w 171"/>
                <a:gd name="T27" fmla="*/ 62 h 320"/>
                <a:gd name="T28" fmla="*/ 22 w 171"/>
                <a:gd name="T29" fmla="*/ 128 h 320"/>
                <a:gd name="T30" fmla="*/ 64 w 171"/>
                <a:gd name="T31" fmla="*/ 170 h 320"/>
                <a:gd name="T32" fmla="*/ 128 w 171"/>
                <a:gd name="T33" fmla="*/ 170 h 320"/>
                <a:gd name="T34" fmla="*/ 128 w 171"/>
                <a:gd name="T35" fmla="*/ 258 h 320"/>
                <a:gd name="T36" fmla="*/ 107 w 171"/>
                <a:gd name="T37" fmla="*/ 288 h 320"/>
                <a:gd name="T38" fmla="*/ 139 w 171"/>
                <a:gd name="T39" fmla="*/ 320 h 320"/>
                <a:gd name="T40" fmla="*/ 171 w 171"/>
                <a:gd name="T41" fmla="*/ 288 h 320"/>
                <a:gd name="T42" fmla="*/ 150 w 171"/>
                <a:gd name="T43" fmla="*/ 258 h 320"/>
                <a:gd name="T44" fmla="*/ 32 w 171"/>
                <a:gd name="T45" fmla="*/ 21 h 320"/>
                <a:gd name="T46" fmla="*/ 43 w 171"/>
                <a:gd name="T47" fmla="*/ 32 h 320"/>
                <a:gd name="T48" fmla="*/ 32 w 171"/>
                <a:gd name="T49" fmla="*/ 42 h 320"/>
                <a:gd name="T50" fmla="*/ 22 w 171"/>
                <a:gd name="T51" fmla="*/ 32 h 320"/>
                <a:gd name="T52" fmla="*/ 32 w 171"/>
                <a:gd name="T53" fmla="*/ 21 h 320"/>
                <a:gd name="T54" fmla="*/ 139 w 171"/>
                <a:gd name="T55" fmla="*/ 21 h 320"/>
                <a:gd name="T56" fmla="*/ 150 w 171"/>
                <a:gd name="T57" fmla="*/ 32 h 320"/>
                <a:gd name="T58" fmla="*/ 139 w 171"/>
                <a:gd name="T59" fmla="*/ 42 h 320"/>
                <a:gd name="T60" fmla="*/ 128 w 171"/>
                <a:gd name="T61" fmla="*/ 32 h 320"/>
                <a:gd name="T62" fmla="*/ 139 w 171"/>
                <a:gd name="T63" fmla="*/ 21 h 320"/>
                <a:gd name="T64" fmla="*/ 139 w 171"/>
                <a:gd name="T65" fmla="*/ 298 h 320"/>
                <a:gd name="T66" fmla="*/ 128 w 171"/>
                <a:gd name="T67" fmla="*/ 288 h 320"/>
                <a:gd name="T68" fmla="*/ 139 w 171"/>
                <a:gd name="T69" fmla="*/ 277 h 320"/>
                <a:gd name="T70" fmla="*/ 150 w 171"/>
                <a:gd name="T71" fmla="*/ 288 h 320"/>
                <a:gd name="T72" fmla="*/ 139 w 171"/>
                <a:gd name="T7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320">
                  <a:moveTo>
                    <a:pt x="150" y="258"/>
                  </a:moveTo>
                  <a:cubicBezTo>
                    <a:pt x="150" y="62"/>
                    <a:pt x="150" y="62"/>
                    <a:pt x="150" y="62"/>
                  </a:cubicBezTo>
                  <a:cubicBezTo>
                    <a:pt x="162" y="57"/>
                    <a:pt x="171" y="46"/>
                    <a:pt x="171" y="32"/>
                  </a:cubicBezTo>
                  <a:cubicBezTo>
                    <a:pt x="171" y="14"/>
                    <a:pt x="157" y="0"/>
                    <a:pt x="139" y="0"/>
                  </a:cubicBezTo>
                  <a:cubicBezTo>
                    <a:pt x="121" y="0"/>
                    <a:pt x="107" y="14"/>
                    <a:pt x="107" y="32"/>
                  </a:cubicBezTo>
                  <a:cubicBezTo>
                    <a:pt x="107" y="46"/>
                    <a:pt x="116" y="57"/>
                    <a:pt x="128" y="62"/>
                  </a:cubicBezTo>
                  <a:cubicBezTo>
                    <a:pt x="128" y="149"/>
                    <a:pt x="128" y="149"/>
                    <a:pt x="128" y="149"/>
                  </a:cubicBezTo>
                  <a:cubicBezTo>
                    <a:pt x="64" y="149"/>
                    <a:pt x="64" y="149"/>
                    <a:pt x="64" y="149"/>
                  </a:cubicBezTo>
                  <a:cubicBezTo>
                    <a:pt x="61" y="149"/>
                    <a:pt x="43" y="148"/>
                    <a:pt x="43" y="128"/>
                  </a:cubicBezTo>
                  <a:cubicBezTo>
                    <a:pt x="43" y="62"/>
                    <a:pt x="43" y="62"/>
                    <a:pt x="43" y="62"/>
                  </a:cubicBezTo>
                  <a:cubicBezTo>
                    <a:pt x="55" y="57"/>
                    <a:pt x="64" y="46"/>
                    <a:pt x="64" y="32"/>
                  </a:cubicBezTo>
                  <a:cubicBezTo>
                    <a:pt x="64" y="14"/>
                    <a:pt x="50" y="0"/>
                    <a:pt x="32" y="0"/>
                  </a:cubicBezTo>
                  <a:cubicBezTo>
                    <a:pt x="15" y="0"/>
                    <a:pt x="0" y="14"/>
                    <a:pt x="0" y="32"/>
                  </a:cubicBezTo>
                  <a:cubicBezTo>
                    <a:pt x="0" y="46"/>
                    <a:pt x="9" y="57"/>
                    <a:pt x="22" y="62"/>
                  </a:cubicBezTo>
                  <a:cubicBezTo>
                    <a:pt x="22" y="128"/>
                    <a:pt x="22" y="128"/>
                    <a:pt x="22" y="128"/>
                  </a:cubicBezTo>
                  <a:cubicBezTo>
                    <a:pt x="22" y="159"/>
                    <a:pt x="47" y="170"/>
                    <a:pt x="64" y="170"/>
                  </a:cubicBezTo>
                  <a:cubicBezTo>
                    <a:pt x="128" y="170"/>
                    <a:pt x="128" y="170"/>
                    <a:pt x="128" y="170"/>
                  </a:cubicBezTo>
                  <a:cubicBezTo>
                    <a:pt x="128" y="258"/>
                    <a:pt x="128" y="258"/>
                    <a:pt x="128" y="258"/>
                  </a:cubicBezTo>
                  <a:cubicBezTo>
                    <a:pt x="116" y="262"/>
                    <a:pt x="107" y="274"/>
                    <a:pt x="107" y="288"/>
                  </a:cubicBezTo>
                  <a:cubicBezTo>
                    <a:pt x="107" y="305"/>
                    <a:pt x="121" y="320"/>
                    <a:pt x="139" y="320"/>
                  </a:cubicBezTo>
                  <a:cubicBezTo>
                    <a:pt x="157" y="320"/>
                    <a:pt x="171" y="305"/>
                    <a:pt x="171" y="288"/>
                  </a:cubicBezTo>
                  <a:cubicBezTo>
                    <a:pt x="171" y="274"/>
                    <a:pt x="162" y="262"/>
                    <a:pt x="150" y="258"/>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moveTo>
                    <a:pt x="139" y="21"/>
                  </a:moveTo>
                  <a:cubicBezTo>
                    <a:pt x="145" y="21"/>
                    <a:pt x="150" y="26"/>
                    <a:pt x="150" y="32"/>
                  </a:cubicBezTo>
                  <a:cubicBezTo>
                    <a:pt x="150" y="38"/>
                    <a:pt x="145" y="42"/>
                    <a:pt x="139" y="42"/>
                  </a:cubicBezTo>
                  <a:cubicBezTo>
                    <a:pt x="133" y="42"/>
                    <a:pt x="128" y="38"/>
                    <a:pt x="128" y="32"/>
                  </a:cubicBezTo>
                  <a:cubicBezTo>
                    <a:pt x="128" y="26"/>
                    <a:pt x="133" y="21"/>
                    <a:pt x="139" y="21"/>
                  </a:cubicBezTo>
                  <a:close/>
                  <a:moveTo>
                    <a:pt x="139" y="298"/>
                  </a:moveTo>
                  <a:cubicBezTo>
                    <a:pt x="133" y="298"/>
                    <a:pt x="128" y="294"/>
                    <a:pt x="128" y="288"/>
                  </a:cubicBezTo>
                  <a:cubicBezTo>
                    <a:pt x="128" y="282"/>
                    <a:pt x="133" y="277"/>
                    <a:pt x="139" y="277"/>
                  </a:cubicBezTo>
                  <a:cubicBezTo>
                    <a:pt x="145" y="277"/>
                    <a:pt x="150" y="282"/>
                    <a:pt x="150" y="288"/>
                  </a:cubicBezTo>
                  <a:cubicBezTo>
                    <a:pt x="150" y="294"/>
                    <a:pt x="145" y="298"/>
                    <a:pt x="139"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6" name="Freeform 837"/>
            <p:cNvSpPr>
              <a:spLocks noEditPoints="1"/>
            </p:cNvSpPr>
            <p:nvPr/>
          </p:nvSpPr>
          <p:spPr bwMode="auto">
            <a:xfrm>
              <a:off x="1154" y="30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7" name="Freeform 841"/>
          <p:cNvSpPr>
            <a:spLocks noChangeAspect="1" noEditPoints="1"/>
          </p:cNvSpPr>
          <p:nvPr/>
        </p:nvSpPr>
        <p:spPr bwMode="auto">
          <a:xfrm>
            <a:off x="6280278" y="5017967"/>
            <a:ext cx="369021" cy="369021"/>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98" name="Group 844"/>
          <p:cNvGrpSpPr>
            <a:grpSpLocks noChangeAspect="1"/>
          </p:cNvGrpSpPr>
          <p:nvPr/>
        </p:nvGrpSpPr>
        <p:grpSpPr bwMode="auto">
          <a:xfrm>
            <a:off x="5859200" y="5017967"/>
            <a:ext cx="369021" cy="369021"/>
            <a:chOff x="380" y="3102"/>
            <a:chExt cx="340" cy="340"/>
          </a:xfrm>
          <a:solidFill>
            <a:schemeClr val="accent3"/>
          </a:solidFill>
        </p:grpSpPr>
        <p:sp>
          <p:nvSpPr>
            <p:cNvPr id="799" name="Freeform 845"/>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0" name="Freeform 846"/>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01" name="Freeform 850"/>
          <p:cNvSpPr>
            <a:spLocks noChangeAspect="1" noEditPoints="1"/>
          </p:cNvSpPr>
          <p:nvPr/>
        </p:nvSpPr>
        <p:spPr bwMode="auto">
          <a:xfrm>
            <a:off x="5438122" y="5017967"/>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9" name="TextBox 238">
            <a:extLst>
              <a:ext uri="{FF2B5EF4-FFF2-40B4-BE49-F238E27FC236}">
                <a16:creationId xmlns:a16="http://schemas.microsoft.com/office/drawing/2014/main" id="{3E5DD65B-A1C6-4CDA-9E14-CADCA02BB1F1}"/>
              </a:ext>
            </a:extLst>
          </p:cNvPr>
          <p:cNvSpPr txBox="1"/>
          <p:nvPr/>
        </p:nvSpPr>
        <p:spPr>
          <a:xfrm>
            <a:off x="6291410" y="469162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nsgender</a:t>
            </a:r>
          </a:p>
        </p:txBody>
      </p:sp>
    </p:spTree>
    <p:extLst>
      <p:ext uri="{BB962C8B-B14F-4D97-AF65-F5344CB8AC3E}">
        <p14:creationId xmlns:p14="http://schemas.microsoft.com/office/powerpoint/2010/main" val="814655817"/>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406400" y="214689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ptions</a:t>
            </a:r>
          </a:p>
        </p:txBody>
      </p:sp>
      <p:sp>
        <p:nvSpPr>
          <p:cNvPr id="424" name="TextBox 423"/>
          <p:cNvSpPr txBox="1"/>
          <p:nvPr/>
        </p:nvSpPr>
        <p:spPr>
          <a:xfrm>
            <a:off x="1231569"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n</a:t>
            </a:r>
          </a:p>
        </p:txBody>
      </p:sp>
      <p:sp>
        <p:nvSpPr>
          <p:cNvPr id="427" name="TextBox 426"/>
          <p:cNvSpPr txBox="1"/>
          <p:nvPr/>
        </p:nvSpPr>
        <p:spPr>
          <a:xfrm>
            <a:off x="2068380"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anet</a:t>
            </a:r>
          </a:p>
        </p:txBody>
      </p:sp>
      <p:sp>
        <p:nvSpPr>
          <p:cNvPr id="430" name="TextBox 429"/>
          <p:cNvSpPr txBox="1"/>
          <p:nvPr/>
        </p:nvSpPr>
        <p:spPr>
          <a:xfrm>
            <a:off x="3742002"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Quote 2</a:t>
            </a:r>
          </a:p>
        </p:txBody>
      </p:sp>
      <p:sp>
        <p:nvSpPr>
          <p:cNvPr id="431" name="TextBox 430"/>
          <p:cNvSpPr txBox="1"/>
          <p:nvPr/>
        </p:nvSpPr>
        <p:spPr>
          <a:xfrm>
            <a:off x="2905191"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Question</a:t>
            </a:r>
          </a:p>
        </p:txBody>
      </p:sp>
      <p:sp>
        <p:nvSpPr>
          <p:cNvPr id="473" name="TextBox 472"/>
          <p:cNvSpPr txBox="1"/>
          <p:nvPr/>
        </p:nvSpPr>
        <p:spPr>
          <a:xfrm>
            <a:off x="4578813" y="2146891"/>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adar</a:t>
            </a:r>
          </a:p>
        </p:txBody>
      </p:sp>
      <p:sp>
        <p:nvSpPr>
          <p:cNvPr id="474" name="TextBox 473"/>
          <p:cNvSpPr txBox="1"/>
          <p:nvPr/>
        </p:nvSpPr>
        <p:spPr>
          <a:xfrm>
            <a:off x="5418799"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ainbow</a:t>
            </a:r>
          </a:p>
        </p:txBody>
      </p:sp>
      <p:sp>
        <p:nvSpPr>
          <p:cNvPr id="476" name="TextBox 475"/>
          <p:cNvSpPr txBox="1"/>
          <p:nvPr/>
        </p:nvSpPr>
        <p:spPr>
          <a:xfrm>
            <a:off x="6255610"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cket</a:t>
            </a:r>
          </a:p>
        </p:txBody>
      </p:sp>
      <p:sp>
        <p:nvSpPr>
          <p:cNvPr id="479" name="TextBox 478"/>
          <p:cNvSpPr txBox="1"/>
          <p:nvPr/>
        </p:nvSpPr>
        <p:spPr>
          <a:xfrm>
            <a:off x="1232617" y="3058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oe print</a:t>
            </a:r>
          </a:p>
        </p:txBody>
      </p:sp>
      <p:sp>
        <p:nvSpPr>
          <p:cNvPr id="480" name="TextBox 479"/>
          <p:cNvSpPr txBox="1"/>
          <p:nvPr/>
        </p:nvSpPr>
        <p:spPr>
          <a:xfrm>
            <a:off x="388283" y="3058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ip wheel</a:t>
            </a:r>
          </a:p>
        </p:txBody>
      </p:sp>
      <p:sp>
        <p:nvSpPr>
          <p:cNvPr id="522" name="TextBox 521"/>
          <p:cNvSpPr txBox="1"/>
          <p:nvPr/>
        </p:nvSpPr>
        <p:spPr>
          <a:xfrm>
            <a:off x="2076951" y="3058891"/>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alpha ascending</a:t>
            </a:r>
          </a:p>
        </p:txBody>
      </p:sp>
      <p:sp>
        <p:nvSpPr>
          <p:cNvPr id="523" name="TextBox 522"/>
          <p:cNvSpPr txBox="1"/>
          <p:nvPr/>
        </p:nvSpPr>
        <p:spPr>
          <a:xfrm>
            <a:off x="2909643" y="3058891"/>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alpha descending</a:t>
            </a:r>
          </a:p>
        </p:txBody>
      </p:sp>
      <p:sp>
        <p:nvSpPr>
          <p:cNvPr id="524" name="TextBox 523"/>
          <p:cNvSpPr txBox="1"/>
          <p:nvPr/>
        </p:nvSpPr>
        <p:spPr>
          <a:xfrm>
            <a:off x="3757152" y="305889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amount ascending</a:t>
            </a:r>
          </a:p>
        </p:txBody>
      </p:sp>
      <p:sp>
        <p:nvSpPr>
          <p:cNvPr id="525" name="TextBox 524"/>
          <p:cNvSpPr txBox="1"/>
          <p:nvPr/>
        </p:nvSpPr>
        <p:spPr>
          <a:xfrm>
            <a:off x="5445820" y="305889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numeric ascending</a:t>
            </a:r>
          </a:p>
        </p:txBody>
      </p:sp>
      <p:sp>
        <p:nvSpPr>
          <p:cNvPr id="526" name="TextBox 525"/>
          <p:cNvSpPr txBox="1"/>
          <p:nvPr/>
        </p:nvSpPr>
        <p:spPr>
          <a:xfrm>
            <a:off x="6290154" y="305889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numeric descending</a:t>
            </a:r>
          </a:p>
        </p:txBody>
      </p:sp>
      <p:sp>
        <p:nvSpPr>
          <p:cNvPr id="527" name="TextBox 526"/>
          <p:cNvSpPr txBox="1"/>
          <p:nvPr/>
        </p:nvSpPr>
        <p:spPr>
          <a:xfrm>
            <a:off x="4601486" y="305889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ort amount descending</a:t>
            </a:r>
          </a:p>
        </p:txBody>
      </p:sp>
      <p:sp>
        <p:nvSpPr>
          <p:cNvPr id="528" name="TextBox 527"/>
          <p:cNvSpPr txBox="1"/>
          <p:nvPr/>
        </p:nvSpPr>
        <p:spPr>
          <a:xfrm>
            <a:off x="7134487" y="3058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aker</a:t>
            </a:r>
          </a:p>
        </p:txBody>
      </p:sp>
      <p:sp>
        <p:nvSpPr>
          <p:cNvPr id="529" name="TextBox 528"/>
          <p:cNvSpPr txBox="1"/>
          <p:nvPr/>
        </p:nvSpPr>
        <p:spPr>
          <a:xfrm>
            <a:off x="382058" y="38121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ser</a:t>
            </a:r>
          </a:p>
        </p:txBody>
      </p:sp>
      <p:sp>
        <p:nvSpPr>
          <p:cNvPr id="530" name="TextBox 529"/>
          <p:cNvSpPr txBox="1"/>
          <p:nvPr/>
        </p:nvSpPr>
        <p:spPr>
          <a:xfrm>
            <a:off x="7092421" y="21468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ick list</a:t>
            </a:r>
          </a:p>
        </p:txBody>
      </p:sp>
      <p:sp>
        <p:nvSpPr>
          <p:cNvPr id="283" name="Freeform 97"/>
          <p:cNvSpPr>
            <a:spLocks noChangeAspect="1" noEditPoints="1"/>
          </p:cNvSpPr>
          <p:nvPr/>
        </p:nvSpPr>
        <p:spPr bwMode="auto">
          <a:xfrm>
            <a:off x="406400" y="1713229"/>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4" name="Group 100"/>
          <p:cNvGrpSpPr>
            <a:grpSpLocks noChangeAspect="1"/>
          </p:cNvGrpSpPr>
          <p:nvPr/>
        </p:nvGrpSpPr>
        <p:grpSpPr bwMode="auto">
          <a:xfrm>
            <a:off x="825813" y="1713229"/>
            <a:ext cx="369021" cy="369021"/>
            <a:chOff x="374" y="351"/>
            <a:chExt cx="340" cy="340"/>
          </a:xfrm>
          <a:solidFill>
            <a:schemeClr val="accent2"/>
          </a:solidFill>
        </p:grpSpPr>
        <p:sp>
          <p:nvSpPr>
            <p:cNvPr id="285"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0" name="Group 300"/>
          <p:cNvGrpSpPr>
            <a:grpSpLocks noChangeAspect="1"/>
          </p:cNvGrpSpPr>
          <p:nvPr/>
        </p:nvGrpSpPr>
        <p:grpSpPr bwMode="auto">
          <a:xfrm>
            <a:off x="2503465" y="1713229"/>
            <a:ext cx="369021" cy="369021"/>
            <a:chOff x="7355" y="1177"/>
            <a:chExt cx="340" cy="340"/>
          </a:xfrm>
          <a:solidFill>
            <a:schemeClr val="accent4"/>
          </a:solidFill>
        </p:grpSpPr>
        <p:sp>
          <p:nvSpPr>
            <p:cNvPr id="291" name="Freeform 301"/>
            <p:cNvSpPr>
              <a:spLocks noEditPoints="1"/>
            </p:cNvSpPr>
            <p:nvPr/>
          </p:nvSpPr>
          <p:spPr bwMode="auto">
            <a:xfrm>
              <a:off x="7419" y="1271"/>
              <a:ext cx="208" cy="146"/>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302"/>
            <p:cNvSpPr>
              <a:spLocks noEditPoints="1"/>
            </p:cNvSpPr>
            <p:nvPr/>
          </p:nvSpPr>
          <p:spPr bwMode="auto">
            <a:xfrm>
              <a:off x="7355" y="1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3" name="Freeform 306"/>
          <p:cNvSpPr>
            <a:spLocks noChangeAspect="1" noEditPoints="1"/>
          </p:cNvSpPr>
          <p:nvPr/>
        </p:nvSpPr>
        <p:spPr bwMode="auto">
          <a:xfrm>
            <a:off x="2084052" y="1713229"/>
            <a:ext cx="369021" cy="369021"/>
          </a:xfrm>
          <a:custGeom>
            <a:avLst/>
            <a:gdLst>
              <a:gd name="T0" fmla="*/ 264 w 512"/>
              <a:gd name="T1" fmla="*/ 279 h 512"/>
              <a:gd name="T2" fmla="*/ 184 w 512"/>
              <a:gd name="T3" fmla="*/ 302 h 512"/>
              <a:gd name="T4" fmla="*/ 176 w 512"/>
              <a:gd name="T5" fmla="*/ 286 h 512"/>
              <a:gd name="T6" fmla="*/ 225 w 512"/>
              <a:gd name="T7" fmla="*/ 176 h 512"/>
              <a:gd name="T8" fmla="*/ 256 w 512"/>
              <a:gd name="T9" fmla="*/ 170 h 512"/>
              <a:gd name="T10" fmla="*/ 335 w 512"/>
              <a:gd name="T11" fmla="*/ 225 h 512"/>
              <a:gd name="T12" fmla="*/ 335 w 512"/>
              <a:gd name="T13" fmla="*/ 225 h 512"/>
              <a:gd name="T14" fmla="*/ 340 w 512"/>
              <a:gd name="T15" fmla="*/ 242 h 512"/>
              <a:gd name="T16" fmla="*/ 264 w 512"/>
              <a:gd name="T17" fmla="*/ 279 h 512"/>
              <a:gd name="T18" fmla="*/ 200 w 512"/>
              <a:gd name="T19" fmla="*/ 320 h 512"/>
              <a:gd name="T20" fmla="*/ 286 w 512"/>
              <a:gd name="T21" fmla="*/ 335 h 512"/>
              <a:gd name="T22" fmla="*/ 340 w 512"/>
              <a:gd name="T23" fmla="*/ 267 h 512"/>
              <a:gd name="T24" fmla="*/ 272 w 512"/>
              <a:gd name="T25" fmla="*/ 299 h 512"/>
              <a:gd name="T26" fmla="*/ 200 w 512"/>
              <a:gd name="T27" fmla="*/ 320 h 512"/>
              <a:gd name="T28" fmla="*/ 150 w 512"/>
              <a:gd name="T29" fmla="*/ 271 h 512"/>
              <a:gd name="T30" fmla="*/ 124 w 512"/>
              <a:gd name="T31" fmla="*/ 300 h 512"/>
              <a:gd name="T32" fmla="*/ 161 w 512"/>
              <a:gd name="T33" fmla="*/ 305 h 512"/>
              <a:gd name="T34" fmla="*/ 156 w 512"/>
              <a:gd name="T35" fmla="*/ 294 h 512"/>
              <a:gd name="T36" fmla="*/ 150 w 512"/>
              <a:gd name="T37" fmla="*/ 271 h 512"/>
              <a:gd name="T38" fmla="*/ 344 w 512"/>
              <a:gd name="T39" fmla="*/ 196 h 512"/>
              <a:gd name="T40" fmla="*/ 355 w 512"/>
              <a:gd name="T41" fmla="*/ 217 h 512"/>
              <a:gd name="T42" fmla="*/ 355 w 512"/>
              <a:gd name="T43" fmla="*/ 217 h 512"/>
              <a:gd name="T44" fmla="*/ 359 w 512"/>
              <a:gd name="T45" fmla="*/ 229 h 512"/>
              <a:gd name="T46" fmla="*/ 383 w 512"/>
              <a:gd name="T47" fmla="*/ 201 h 512"/>
              <a:gd name="T48" fmla="*/ 344 w 512"/>
              <a:gd name="T49" fmla="*/ 196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03 w 512"/>
              <a:gd name="T61" fmla="*/ 194 h 512"/>
              <a:gd name="T62" fmla="*/ 328 w 512"/>
              <a:gd name="T63" fmla="*/ 177 h 512"/>
              <a:gd name="T64" fmla="*/ 218 w 512"/>
              <a:gd name="T65" fmla="*/ 156 h 512"/>
              <a:gd name="T66" fmla="*/ 150 w 512"/>
              <a:gd name="T67" fmla="*/ 245 h 512"/>
              <a:gd name="T68" fmla="*/ 104 w 512"/>
              <a:gd name="T69" fmla="*/ 308 h 512"/>
              <a:gd name="T70" fmla="*/ 149 w 512"/>
              <a:gd name="T71" fmla="*/ 327 h 512"/>
              <a:gd name="T72" fmla="*/ 175 w 512"/>
              <a:gd name="T73" fmla="*/ 325 h 512"/>
              <a:gd name="T74" fmla="*/ 256 w 512"/>
              <a:gd name="T75" fmla="*/ 362 h 512"/>
              <a:gd name="T76" fmla="*/ 294 w 512"/>
              <a:gd name="T77" fmla="*/ 355 h 512"/>
              <a:gd name="T78" fmla="*/ 362 w 512"/>
              <a:gd name="T79" fmla="*/ 253 h 512"/>
              <a:gd name="T80" fmla="*/ 403 w 512"/>
              <a:gd name="T81" fmla="*/ 1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4" y="279"/>
                </a:moveTo>
                <a:cubicBezTo>
                  <a:pt x="233" y="291"/>
                  <a:pt x="206" y="298"/>
                  <a:pt x="184" y="302"/>
                </a:cubicBezTo>
                <a:cubicBezTo>
                  <a:pt x="181" y="297"/>
                  <a:pt x="178" y="292"/>
                  <a:pt x="176" y="286"/>
                </a:cubicBezTo>
                <a:cubicBezTo>
                  <a:pt x="159" y="242"/>
                  <a:pt x="181" y="193"/>
                  <a:pt x="225" y="176"/>
                </a:cubicBezTo>
                <a:cubicBezTo>
                  <a:pt x="235" y="172"/>
                  <a:pt x="245" y="170"/>
                  <a:pt x="256" y="170"/>
                </a:cubicBezTo>
                <a:cubicBezTo>
                  <a:pt x="290" y="170"/>
                  <a:pt x="322" y="192"/>
                  <a:pt x="335" y="225"/>
                </a:cubicBezTo>
                <a:cubicBezTo>
                  <a:pt x="335" y="225"/>
                  <a:pt x="335" y="225"/>
                  <a:pt x="335" y="225"/>
                </a:cubicBezTo>
                <a:cubicBezTo>
                  <a:pt x="338" y="230"/>
                  <a:pt x="339" y="236"/>
                  <a:pt x="340" y="242"/>
                </a:cubicBezTo>
                <a:cubicBezTo>
                  <a:pt x="321" y="254"/>
                  <a:pt x="296" y="267"/>
                  <a:pt x="264" y="279"/>
                </a:cubicBezTo>
                <a:close/>
                <a:moveTo>
                  <a:pt x="200" y="320"/>
                </a:moveTo>
                <a:cubicBezTo>
                  <a:pt x="223" y="340"/>
                  <a:pt x="256" y="347"/>
                  <a:pt x="286" y="335"/>
                </a:cubicBezTo>
                <a:cubicBezTo>
                  <a:pt x="316" y="324"/>
                  <a:pt x="336" y="297"/>
                  <a:pt x="340" y="267"/>
                </a:cubicBezTo>
                <a:cubicBezTo>
                  <a:pt x="320" y="279"/>
                  <a:pt x="296" y="290"/>
                  <a:pt x="272" y="299"/>
                </a:cubicBezTo>
                <a:cubicBezTo>
                  <a:pt x="248" y="308"/>
                  <a:pt x="223" y="315"/>
                  <a:pt x="200" y="320"/>
                </a:cubicBezTo>
                <a:close/>
                <a:moveTo>
                  <a:pt x="150" y="271"/>
                </a:moveTo>
                <a:cubicBezTo>
                  <a:pt x="128" y="287"/>
                  <a:pt x="123" y="298"/>
                  <a:pt x="124" y="300"/>
                </a:cubicBezTo>
                <a:cubicBezTo>
                  <a:pt x="126" y="304"/>
                  <a:pt x="139" y="307"/>
                  <a:pt x="161" y="305"/>
                </a:cubicBezTo>
                <a:cubicBezTo>
                  <a:pt x="159" y="301"/>
                  <a:pt x="157" y="298"/>
                  <a:pt x="156" y="294"/>
                </a:cubicBezTo>
                <a:cubicBezTo>
                  <a:pt x="153" y="286"/>
                  <a:pt x="151" y="278"/>
                  <a:pt x="150" y="271"/>
                </a:cubicBezTo>
                <a:close/>
                <a:moveTo>
                  <a:pt x="344" y="196"/>
                </a:moveTo>
                <a:cubicBezTo>
                  <a:pt x="349" y="203"/>
                  <a:pt x="352" y="210"/>
                  <a:pt x="355" y="217"/>
                </a:cubicBezTo>
                <a:cubicBezTo>
                  <a:pt x="355" y="217"/>
                  <a:pt x="355" y="217"/>
                  <a:pt x="355" y="217"/>
                </a:cubicBezTo>
                <a:cubicBezTo>
                  <a:pt x="357" y="221"/>
                  <a:pt x="358" y="225"/>
                  <a:pt x="359" y="229"/>
                </a:cubicBezTo>
                <a:cubicBezTo>
                  <a:pt x="377" y="215"/>
                  <a:pt x="385" y="205"/>
                  <a:pt x="383" y="201"/>
                </a:cubicBezTo>
                <a:cubicBezTo>
                  <a:pt x="382" y="198"/>
                  <a:pt x="371" y="194"/>
                  <a:pt x="344" y="19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3" y="194"/>
                </a:moveTo>
                <a:cubicBezTo>
                  <a:pt x="395" y="172"/>
                  <a:pt x="359" y="172"/>
                  <a:pt x="328" y="177"/>
                </a:cubicBezTo>
                <a:cubicBezTo>
                  <a:pt x="299" y="151"/>
                  <a:pt x="257" y="141"/>
                  <a:pt x="218" y="156"/>
                </a:cubicBezTo>
                <a:cubicBezTo>
                  <a:pt x="179" y="171"/>
                  <a:pt x="154" y="206"/>
                  <a:pt x="150" y="245"/>
                </a:cubicBezTo>
                <a:cubicBezTo>
                  <a:pt x="123" y="263"/>
                  <a:pt x="96" y="286"/>
                  <a:pt x="104" y="308"/>
                </a:cubicBezTo>
                <a:cubicBezTo>
                  <a:pt x="109" y="321"/>
                  <a:pt x="126" y="327"/>
                  <a:pt x="149" y="327"/>
                </a:cubicBezTo>
                <a:cubicBezTo>
                  <a:pt x="157" y="327"/>
                  <a:pt x="166" y="326"/>
                  <a:pt x="175" y="325"/>
                </a:cubicBezTo>
                <a:cubicBezTo>
                  <a:pt x="195" y="349"/>
                  <a:pt x="225" y="362"/>
                  <a:pt x="256" y="362"/>
                </a:cubicBezTo>
                <a:cubicBezTo>
                  <a:pt x="268" y="362"/>
                  <a:pt x="281" y="360"/>
                  <a:pt x="294" y="355"/>
                </a:cubicBezTo>
                <a:cubicBezTo>
                  <a:pt x="337" y="339"/>
                  <a:pt x="363" y="297"/>
                  <a:pt x="362" y="253"/>
                </a:cubicBezTo>
                <a:cubicBezTo>
                  <a:pt x="392" y="233"/>
                  <a:pt x="410" y="212"/>
                  <a:pt x="403" y="19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4" name="Group 318"/>
          <p:cNvGrpSpPr>
            <a:grpSpLocks noChangeAspect="1"/>
          </p:cNvGrpSpPr>
          <p:nvPr/>
        </p:nvGrpSpPr>
        <p:grpSpPr bwMode="auto">
          <a:xfrm>
            <a:off x="1674862" y="1713229"/>
            <a:ext cx="369021" cy="369021"/>
            <a:chOff x="5850" y="1203"/>
            <a:chExt cx="340" cy="340"/>
          </a:xfrm>
          <a:solidFill>
            <a:schemeClr val="accent4"/>
          </a:solidFill>
        </p:grpSpPr>
        <p:sp>
          <p:nvSpPr>
            <p:cNvPr id="295"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7" name="Freeform 324"/>
          <p:cNvSpPr>
            <a:spLocks noChangeAspect="1" noEditPoints="1"/>
          </p:cNvSpPr>
          <p:nvPr/>
        </p:nvSpPr>
        <p:spPr bwMode="auto">
          <a:xfrm>
            <a:off x="1245226" y="1713229"/>
            <a:ext cx="369021" cy="369021"/>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9" name="Freeform 478"/>
          <p:cNvSpPr>
            <a:spLocks noChangeAspect="1" noEditPoints="1"/>
          </p:cNvSpPr>
          <p:nvPr/>
        </p:nvSpPr>
        <p:spPr bwMode="auto">
          <a:xfrm>
            <a:off x="4182202" y="1713229"/>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0" name="Group 481"/>
          <p:cNvGrpSpPr>
            <a:grpSpLocks noChangeAspect="1"/>
          </p:cNvGrpSpPr>
          <p:nvPr/>
        </p:nvGrpSpPr>
        <p:grpSpPr bwMode="auto">
          <a:xfrm>
            <a:off x="3762789" y="1713229"/>
            <a:ext cx="369021" cy="369021"/>
            <a:chOff x="6960" y="1953"/>
            <a:chExt cx="340" cy="340"/>
          </a:xfrm>
          <a:solidFill>
            <a:schemeClr val="accent6"/>
          </a:solidFill>
        </p:grpSpPr>
        <p:sp>
          <p:nvSpPr>
            <p:cNvPr id="311" name="Rectangle 482"/>
            <p:cNvSpPr>
              <a:spLocks noChangeArrowheads="1"/>
            </p:cNvSpPr>
            <p:nvPr/>
          </p:nvSpPr>
          <p:spPr bwMode="auto">
            <a:xfrm>
              <a:off x="7151" y="2130"/>
              <a:ext cx="43" cy="4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483"/>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Rectangle 484"/>
            <p:cNvSpPr>
              <a:spLocks noChangeArrowheads="1"/>
            </p:cNvSpPr>
            <p:nvPr/>
          </p:nvSpPr>
          <p:spPr bwMode="auto">
            <a:xfrm>
              <a:off x="7066" y="2130"/>
              <a:ext cx="43" cy="4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4" name="Group 487"/>
          <p:cNvGrpSpPr>
            <a:grpSpLocks noChangeAspect="1"/>
          </p:cNvGrpSpPr>
          <p:nvPr/>
        </p:nvGrpSpPr>
        <p:grpSpPr bwMode="auto">
          <a:xfrm>
            <a:off x="3342291" y="1712144"/>
            <a:ext cx="370106" cy="370106"/>
            <a:chOff x="6566" y="1944"/>
            <a:chExt cx="341" cy="341"/>
          </a:xfrm>
          <a:solidFill>
            <a:schemeClr val="accent6"/>
          </a:solidFill>
        </p:grpSpPr>
        <p:sp>
          <p:nvSpPr>
            <p:cNvPr id="315"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493"/>
          <p:cNvGrpSpPr>
            <a:grpSpLocks noChangeAspect="1"/>
          </p:cNvGrpSpPr>
          <p:nvPr/>
        </p:nvGrpSpPr>
        <p:grpSpPr bwMode="auto">
          <a:xfrm>
            <a:off x="2922878" y="1713229"/>
            <a:ext cx="369021" cy="369021"/>
            <a:chOff x="6194" y="1960"/>
            <a:chExt cx="340" cy="340"/>
          </a:xfrm>
          <a:solidFill>
            <a:schemeClr val="accent6"/>
          </a:solidFill>
        </p:grpSpPr>
        <p:sp>
          <p:nvSpPr>
            <p:cNvPr id="319"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5" name="Freeform 613"/>
          <p:cNvSpPr>
            <a:spLocks noChangeAspect="1" noEditPoints="1"/>
          </p:cNvSpPr>
          <p:nvPr/>
        </p:nvSpPr>
        <p:spPr bwMode="auto">
          <a:xfrm>
            <a:off x="5860939" y="1712144"/>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6 w 512"/>
              <a:gd name="T21" fmla="*/ 340 h 512"/>
              <a:gd name="T22" fmla="*/ 276 w 512"/>
              <a:gd name="T23" fmla="*/ 340 h 512"/>
              <a:gd name="T24" fmla="*/ 235 w 512"/>
              <a:gd name="T25" fmla="*/ 340 h 512"/>
              <a:gd name="T26" fmla="*/ 235 w 512"/>
              <a:gd name="T27" fmla="*/ 340 h 512"/>
              <a:gd name="T28" fmla="*/ 256 w 512"/>
              <a:gd name="T29" fmla="*/ 149 h 512"/>
              <a:gd name="T30" fmla="*/ 96 w 512"/>
              <a:gd name="T31" fmla="*/ 309 h 512"/>
              <a:gd name="T32" fmla="*/ 106 w 512"/>
              <a:gd name="T33" fmla="*/ 320 h 512"/>
              <a:gd name="T34" fmla="*/ 117 w 512"/>
              <a:gd name="T35" fmla="*/ 309 h 512"/>
              <a:gd name="T36" fmla="*/ 256 w 512"/>
              <a:gd name="T37" fmla="*/ 170 h 512"/>
              <a:gd name="T38" fmla="*/ 394 w 512"/>
              <a:gd name="T39" fmla="*/ 309 h 512"/>
              <a:gd name="T40" fmla="*/ 405 w 512"/>
              <a:gd name="T41" fmla="*/ 320 h 512"/>
              <a:gd name="T42" fmla="*/ 416 w 512"/>
              <a:gd name="T43" fmla="*/ 309 h 512"/>
              <a:gd name="T44" fmla="*/ 256 w 512"/>
              <a:gd name="T45" fmla="*/ 149 h 512"/>
              <a:gd name="T46" fmla="*/ 256 w 512"/>
              <a:gd name="T47" fmla="*/ 192 h 512"/>
              <a:gd name="T48" fmla="*/ 138 w 512"/>
              <a:gd name="T49" fmla="*/ 309 h 512"/>
              <a:gd name="T50" fmla="*/ 149 w 512"/>
              <a:gd name="T51" fmla="*/ 320 h 512"/>
              <a:gd name="T52" fmla="*/ 160 w 512"/>
              <a:gd name="T53" fmla="*/ 309 h 512"/>
              <a:gd name="T54" fmla="*/ 256 w 512"/>
              <a:gd name="T55" fmla="*/ 213 h 512"/>
              <a:gd name="T56" fmla="*/ 352 w 512"/>
              <a:gd name="T57" fmla="*/ 309 h 512"/>
              <a:gd name="T58" fmla="*/ 362 w 512"/>
              <a:gd name="T59" fmla="*/ 320 h 512"/>
              <a:gd name="T60" fmla="*/ 373 w 512"/>
              <a:gd name="T61" fmla="*/ 309 h 512"/>
              <a:gd name="T62" fmla="*/ 256 w 512"/>
              <a:gd name="T63" fmla="*/ 192 h 512"/>
              <a:gd name="T64" fmla="*/ 256 w 512"/>
              <a:gd name="T65" fmla="*/ 234 h 512"/>
              <a:gd name="T66" fmla="*/ 181 w 512"/>
              <a:gd name="T67" fmla="*/ 309 h 512"/>
              <a:gd name="T68" fmla="*/ 192 w 512"/>
              <a:gd name="T69" fmla="*/ 320 h 512"/>
              <a:gd name="T70" fmla="*/ 202 w 512"/>
              <a:gd name="T71" fmla="*/ 309 h 512"/>
              <a:gd name="T72" fmla="*/ 256 w 512"/>
              <a:gd name="T73" fmla="*/ 256 h 512"/>
              <a:gd name="T74" fmla="*/ 309 w 512"/>
              <a:gd name="T75" fmla="*/ 309 h 512"/>
              <a:gd name="T76" fmla="*/ 320 w 512"/>
              <a:gd name="T77" fmla="*/ 320 h 512"/>
              <a:gd name="T78" fmla="*/ 330 w 512"/>
              <a:gd name="T79" fmla="*/ 309 h 512"/>
              <a:gd name="T80" fmla="*/ 256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6" y="340"/>
                </a:moveTo>
                <a:cubicBezTo>
                  <a:pt x="276" y="340"/>
                  <a:pt x="276" y="340"/>
                  <a:pt x="276" y="340"/>
                </a:cubicBezTo>
                <a:moveTo>
                  <a:pt x="235" y="340"/>
                </a:moveTo>
                <a:cubicBezTo>
                  <a:pt x="235" y="340"/>
                  <a:pt x="235" y="340"/>
                  <a:pt x="235" y="340"/>
                </a:cubicBezTo>
                <a:moveTo>
                  <a:pt x="256" y="149"/>
                </a:moveTo>
                <a:cubicBezTo>
                  <a:pt x="167" y="149"/>
                  <a:pt x="96" y="221"/>
                  <a:pt x="96" y="309"/>
                </a:cubicBezTo>
                <a:cubicBezTo>
                  <a:pt x="96" y="315"/>
                  <a:pt x="100" y="320"/>
                  <a:pt x="106" y="320"/>
                </a:cubicBezTo>
                <a:cubicBezTo>
                  <a:pt x="112" y="320"/>
                  <a:pt x="117" y="315"/>
                  <a:pt x="117" y="309"/>
                </a:cubicBezTo>
                <a:cubicBezTo>
                  <a:pt x="117" y="233"/>
                  <a:pt x="179" y="170"/>
                  <a:pt x="256" y="170"/>
                </a:cubicBezTo>
                <a:cubicBezTo>
                  <a:pt x="332" y="170"/>
                  <a:pt x="394" y="233"/>
                  <a:pt x="394" y="309"/>
                </a:cubicBezTo>
                <a:cubicBezTo>
                  <a:pt x="394" y="315"/>
                  <a:pt x="399" y="320"/>
                  <a:pt x="405" y="320"/>
                </a:cubicBezTo>
                <a:cubicBezTo>
                  <a:pt x="411" y="320"/>
                  <a:pt x="416" y="315"/>
                  <a:pt x="416" y="309"/>
                </a:cubicBezTo>
                <a:cubicBezTo>
                  <a:pt x="416" y="221"/>
                  <a:pt x="344" y="149"/>
                  <a:pt x="256" y="149"/>
                </a:cubicBezTo>
                <a:close/>
                <a:moveTo>
                  <a:pt x="256" y="192"/>
                </a:moveTo>
                <a:cubicBezTo>
                  <a:pt x="191" y="192"/>
                  <a:pt x="138" y="244"/>
                  <a:pt x="138" y="309"/>
                </a:cubicBezTo>
                <a:cubicBezTo>
                  <a:pt x="138" y="315"/>
                  <a:pt x="143" y="320"/>
                  <a:pt x="149" y="320"/>
                </a:cubicBezTo>
                <a:cubicBezTo>
                  <a:pt x="155" y="320"/>
                  <a:pt x="160" y="315"/>
                  <a:pt x="160" y="309"/>
                </a:cubicBezTo>
                <a:cubicBezTo>
                  <a:pt x="160" y="256"/>
                  <a:pt x="203" y="213"/>
                  <a:pt x="256" y="213"/>
                </a:cubicBezTo>
                <a:cubicBezTo>
                  <a:pt x="309" y="213"/>
                  <a:pt x="352" y="256"/>
                  <a:pt x="352" y="309"/>
                </a:cubicBezTo>
                <a:cubicBezTo>
                  <a:pt x="352" y="315"/>
                  <a:pt x="356" y="320"/>
                  <a:pt x="362" y="320"/>
                </a:cubicBezTo>
                <a:cubicBezTo>
                  <a:pt x="368" y="320"/>
                  <a:pt x="373" y="315"/>
                  <a:pt x="373" y="309"/>
                </a:cubicBezTo>
                <a:cubicBezTo>
                  <a:pt x="373" y="244"/>
                  <a:pt x="320" y="192"/>
                  <a:pt x="256" y="192"/>
                </a:cubicBezTo>
                <a:close/>
                <a:moveTo>
                  <a:pt x="256" y="234"/>
                </a:moveTo>
                <a:cubicBezTo>
                  <a:pt x="214" y="234"/>
                  <a:pt x="181" y="268"/>
                  <a:pt x="181" y="309"/>
                </a:cubicBezTo>
                <a:cubicBezTo>
                  <a:pt x="181" y="315"/>
                  <a:pt x="186" y="320"/>
                  <a:pt x="192" y="320"/>
                </a:cubicBezTo>
                <a:cubicBezTo>
                  <a:pt x="198" y="320"/>
                  <a:pt x="202" y="315"/>
                  <a:pt x="202" y="309"/>
                </a:cubicBezTo>
                <a:cubicBezTo>
                  <a:pt x="202" y="280"/>
                  <a:pt x="226" y="256"/>
                  <a:pt x="256" y="256"/>
                </a:cubicBezTo>
                <a:cubicBezTo>
                  <a:pt x="285" y="256"/>
                  <a:pt x="309" y="280"/>
                  <a:pt x="309" y="309"/>
                </a:cubicBezTo>
                <a:cubicBezTo>
                  <a:pt x="309" y="315"/>
                  <a:pt x="314" y="320"/>
                  <a:pt x="320" y="320"/>
                </a:cubicBezTo>
                <a:cubicBezTo>
                  <a:pt x="326" y="320"/>
                  <a:pt x="330" y="315"/>
                  <a:pt x="330" y="309"/>
                </a:cubicBezTo>
                <a:cubicBezTo>
                  <a:pt x="330" y="268"/>
                  <a:pt x="297" y="234"/>
                  <a:pt x="256" y="23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6" name="Freeform 617"/>
          <p:cNvSpPr>
            <a:spLocks noChangeAspect="1" noEditPoints="1"/>
          </p:cNvSpPr>
          <p:nvPr/>
        </p:nvSpPr>
        <p:spPr bwMode="auto">
          <a:xfrm>
            <a:off x="5441526" y="1713229"/>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7" name="Group 638"/>
          <p:cNvGrpSpPr>
            <a:grpSpLocks noChangeAspect="1"/>
          </p:cNvGrpSpPr>
          <p:nvPr/>
        </p:nvGrpSpPr>
        <p:grpSpPr bwMode="auto">
          <a:xfrm>
            <a:off x="5021028" y="1713229"/>
            <a:ext cx="370106" cy="369021"/>
            <a:chOff x="1900" y="2357"/>
            <a:chExt cx="341" cy="340"/>
          </a:xfrm>
          <a:solidFill>
            <a:schemeClr val="accent1"/>
          </a:solidFill>
        </p:grpSpPr>
        <p:sp>
          <p:nvSpPr>
            <p:cNvPr id="338" name="Freeform 639"/>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640"/>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Freeform 644"/>
          <p:cNvSpPr>
            <a:spLocks noChangeAspect="1" noEditPoints="1"/>
          </p:cNvSpPr>
          <p:nvPr/>
        </p:nvSpPr>
        <p:spPr bwMode="auto">
          <a:xfrm>
            <a:off x="4601615" y="1713229"/>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1" name="Group 688"/>
          <p:cNvGrpSpPr>
            <a:grpSpLocks noChangeAspect="1"/>
          </p:cNvGrpSpPr>
          <p:nvPr/>
        </p:nvGrpSpPr>
        <p:grpSpPr bwMode="auto">
          <a:xfrm>
            <a:off x="6699765" y="1713229"/>
            <a:ext cx="369021" cy="369021"/>
            <a:chOff x="5828" y="2694"/>
            <a:chExt cx="340" cy="340"/>
          </a:xfrm>
          <a:solidFill>
            <a:schemeClr val="accent2"/>
          </a:solidFill>
        </p:grpSpPr>
        <p:sp>
          <p:nvSpPr>
            <p:cNvPr id="342" name="Freeform 689"/>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690"/>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4" name="Freeform 694"/>
          <p:cNvSpPr>
            <a:spLocks noChangeAspect="1" noEditPoints="1"/>
          </p:cNvSpPr>
          <p:nvPr/>
        </p:nvSpPr>
        <p:spPr bwMode="auto">
          <a:xfrm>
            <a:off x="6280352" y="1712144"/>
            <a:ext cx="369021" cy="370106"/>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6" name="Group 1012"/>
          <p:cNvGrpSpPr>
            <a:grpSpLocks noChangeAspect="1"/>
          </p:cNvGrpSpPr>
          <p:nvPr/>
        </p:nvGrpSpPr>
        <p:grpSpPr bwMode="auto">
          <a:xfrm>
            <a:off x="1674862" y="2532756"/>
            <a:ext cx="369021" cy="369021"/>
            <a:chOff x="1878" y="3998"/>
            <a:chExt cx="340" cy="340"/>
          </a:xfrm>
          <a:solidFill>
            <a:schemeClr val="accent5"/>
          </a:solidFill>
        </p:grpSpPr>
        <p:sp>
          <p:nvSpPr>
            <p:cNvPr id="357"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9" name="Freeform 1018"/>
          <p:cNvSpPr>
            <a:spLocks noChangeAspect="1" noEditPoints="1"/>
          </p:cNvSpPr>
          <p:nvPr/>
        </p:nvSpPr>
        <p:spPr bwMode="auto">
          <a:xfrm>
            <a:off x="1247887" y="2532756"/>
            <a:ext cx="369021" cy="369021"/>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0" name="Freeform 1022"/>
          <p:cNvSpPr>
            <a:spLocks noChangeAspect="1" noEditPoints="1"/>
          </p:cNvSpPr>
          <p:nvPr/>
        </p:nvSpPr>
        <p:spPr bwMode="auto">
          <a:xfrm>
            <a:off x="828466" y="2532756"/>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1" name="Group 1025"/>
          <p:cNvGrpSpPr>
            <a:grpSpLocks noChangeAspect="1"/>
          </p:cNvGrpSpPr>
          <p:nvPr/>
        </p:nvGrpSpPr>
        <p:grpSpPr bwMode="auto">
          <a:xfrm>
            <a:off x="409045" y="2532756"/>
            <a:ext cx="369021" cy="369021"/>
            <a:chOff x="787" y="3994"/>
            <a:chExt cx="340" cy="340"/>
          </a:xfrm>
          <a:solidFill>
            <a:schemeClr val="accent5"/>
          </a:solidFill>
        </p:grpSpPr>
        <p:sp>
          <p:nvSpPr>
            <p:cNvPr id="362" name="Freeform 1026"/>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1027"/>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1028"/>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Freeform 1029"/>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1030"/>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1031"/>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Oval 1032"/>
            <p:cNvSpPr>
              <a:spLocks noChangeArrowheads="1"/>
            </p:cNvSpPr>
            <p:nvPr/>
          </p:nvSpPr>
          <p:spPr bwMode="auto">
            <a:xfrm>
              <a:off x="950" y="415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1033"/>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1034"/>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1035"/>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4" name="Group 100"/>
          <p:cNvGrpSpPr>
            <a:grpSpLocks noChangeAspect="1"/>
          </p:cNvGrpSpPr>
          <p:nvPr/>
        </p:nvGrpSpPr>
        <p:grpSpPr bwMode="auto">
          <a:xfrm>
            <a:off x="6709739" y="2532756"/>
            <a:ext cx="369676" cy="369676"/>
            <a:chOff x="7354" y="361"/>
            <a:chExt cx="340" cy="340"/>
          </a:xfrm>
          <a:solidFill>
            <a:schemeClr val="accent2"/>
          </a:solidFill>
        </p:grpSpPr>
        <p:sp>
          <p:nvSpPr>
            <p:cNvPr id="375" name="Freeform 101"/>
            <p:cNvSpPr>
              <a:spLocks noEditPoints="1"/>
            </p:cNvSpPr>
            <p:nvPr/>
          </p:nvSpPr>
          <p:spPr bwMode="auto">
            <a:xfrm>
              <a:off x="7354" y="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Freeform 102"/>
            <p:cNvSpPr>
              <a:spLocks noEditPoints="1"/>
            </p:cNvSpPr>
            <p:nvPr/>
          </p:nvSpPr>
          <p:spPr bwMode="auto">
            <a:xfrm>
              <a:off x="7462" y="453"/>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06 w 167"/>
                <a:gd name="T35" fmla="*/ 172 h 235"/>
                <a:gd name="T36" fmla="*/ 114 w 167"/>
                <a:gd name="T37" fmla="*/ 182 h 235"/>
                <a:gd name="T38" fmla="*/ 124 w 167"/>
                <a:gd name="T39" fmla="*/ 175 h 235"/>
                <a:gd name="T40" fmla="*/ 130 w 167"/>
                <a:gd name="T41" fmla="*/ 169 h 235"/>
                <a:gd name="T42" fmla="*/ 130 w 167"/>
                <a:gd name="T43" fmla="*/ 178 h 235"/>
                <a:gd name="T44" fmla="*/ 130 w 167"/>
                <a:gd name="T45" fmla="*/ 186 h 235"/>
                <a:gd name="T46" fmla="*/ 130 w 167"/>
                <a:gd name="T47" fmla="*/ 235 h 235"/>
                <a:gd name="T48" fmla="*/ 148 w 167"/>
                <a:gd name="T49" fmla="*/ 235 h 235"/>
                <a:gd name="T50" fmla="*/ 148 w 167"/>
                <a:gd name="T51" fmla="*/ 150 h 235"/>
                <a:gd name="T52" fmla="*/ 133 w 167"/>
                <a:gd name="T53" fmla="*/ 150 h 235"/>
                <a:gd name="T54" fmla="*/ 106 w 167"/>
                <a:gd name="T55" fmla="*/ 172 h 235"/>
                <a:gd name="T56" fmla="*/ 167 w 167"/>
                <a:gd name="T57" fmla="*/ 37 h 235"/>
                <a:gd name="T58" fmla="*/ 157 w 167"/>
                <a:gd name="T59" fmla="*/ 73 h 235"/>
                <a:gd name="T60" fmla="*/ 125 w 167"/>
                <a:gd name="T61" fmla="*/ 86 h 235"/>
                <a:gd name="T62" fmla="*/ 114 w 167"/>
                <a:gd name="T63" fmla="*/ 85 h 235"/>
                <a:gd name="T64" fmla="*/ 114 w 167"/>
                <a:gd name="T65" fmla="*/ 71 h 235"/>
                <a:gd name="T66" fmla="*/ 124 w 167"/>
                <a:gd name="T67" fmla="*/ 72 h 235"/>
                <a:gd name="T68" fmla="*/ 139 w 167"/>
                <a:gd name="T69" fmla="*/ 69 h 235"/>
                <a:gd name="T70" fmla="*/ 147 w 167"/>
                <a:gd name="T71" fmla="*/ 61 h 235"/>
                <a:gd name="T72" fmla="*/ 151 w 167"/>
                <a:gd name="T73" fmla="*/ 46 h 235"/>
                <a:gd name="T74" fmla="*/ 150 w 167"/>
                <a:gd name="T75" fmla="*/ 46 h 235"/>
                <a:gd name="T76" fmla="*/ 142 w 167"/>
                <a:gd name="T77" fmla="*/ 53 h 235"/>
                <a:gd name="T78" fmla="*/ 132 w 167"/>
                <a:gd name="T79" fmla="*/ 56 h 235"/>
                <a:gd name="T80" fmla="*/ 114 w 167"/>
                <a:gd name="T81" fmla="*/ 49 h 235"/>
                <a:gd name="T82" fmla="*/ 108 w 167"/>
                <a:gd name="T83" fmla="*/ 29 h 235"/>
                <a:gd name="T84" fmla="*/ 116 w 167"/>
                <a:gd name="T85" fmla="*/ 8 h 235"/>
                <a:gd name="T86" fmla="*/ 136 w 167"/>
                <a:gd name="T87" fmla="*/ 0 h 235"/>
                <a:gd name="T88" fmla="*/ 153 w 167"/>
                <a:gd name="T89" fmla="*/ 5 h 235"/>
                <a:gd name="T90" fmla="*/ 163 w 167"/>
                <a:gd name="T91" fmla="*/ 17 h 235"/>
                <a:gd name="T92" fmla="*/ 167 w 167"/>
                <a:gd name="T93" fmla="*/ 37 h 235"/>
                <a:gd name="T94" fmla="*/ 149 w 167"/>
                <a:gd name="T95" fmla="*/ 30 h 235"/>
                <a:gd name="T96" fmla="*/ 146 w 167"/>
                <a:gd name="T97" fmla="*/ 19 h 235"/>
                <a:gd name="T98" fmla="*/ 137 w 167"/>
                <a:gd name="T99" fmla="*/ 14 h 235"/>
                <a:gd name="T100" fmla="*/ 128 w 167"/>
                <a:gd name="T101" fmla="*/ 18 h 235"/>
                <a:gd name="T102" fmla="*/ 125 w 167"/>
                <a:gd name="T103" fmla="*/ 29 h 235"/>
                <a:gd name="T104" fmla="*/ 128 w 167"/>
                <a:gd name="T105" fmla="*/ 39 h 235"/>
                <a:gd name="T106" fmla="*/ 136 w 167"/>
                <a:gd name="T107" fmla="*/ 42 h 235"/>
                <a:gd name="T108" fmla="*/ 146 w 167"/>
                <a:gd name="T109" fmla="*/ 39 h 235"/>
                <a:gd name="T110" fmla="*/ 149 w 167"/>
                <a:gd name="T111" fmla="*/ 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06" y="172"/>
                  </a:moveTo>
                  <a:cubicBezTo>
                    <a:pt x="114" y="182"/>
                    <a:pt x="114" y="182"/>
                    <a:pt x="114" y="182"/>
                  </a:cubicBezTo>
                  <a:cubicBezTo>
                    <a:pt x="124" y="175"/>
                    <a:pt x="124" y="175"/>
                    <a:pt x="124" y="175"/>
                  </a:cubicBezTo>
                  <a:cubicBezTo>
                    <a:pt x="125" y="174"/>
                    <a:pt x="127" y="172"/>
                    <a:pt x="130" y="169"/>
                  </a:cubicBezTo>
                  <a:cubicBezTo>
                    <a:pt x="130" y="178"/>
                    <a:pt x="130" y="178"/>
                    <a:pt x="130" y="178"/>
                  </a:cubicBezTo>
                  <a:cubicBezTo>
                    <a:pt x="130" y="186"/>
                    <a:pt x="130" y="186"/>
                    <a:pt x="130" y="186"/>
                  </a:cubicBezTo>
                  <a:cubicBezTo>
                    <a:pt x="130" y="235"/>
                    <a:pt x="130" y="235"/>
                    <a:pt x="130" y="235"/>
                  </a:cubicBezTo>
                  <a:cubicBezTo>
                    <a:pt x="148" y="235"/>
                    <a:pt x="148" y="235"/>
                    <a:pt x="148" y="235"/>
                  </a:cubicBezTo>
                  <a:cubicBezTo>
                    <a:pt x="148" y="150"/>
                    <a:pt x="148" y="150"/>
                    <a:pt x="148" y="150"/>
                  </a:cubicBezTo>
                  <a:cubicBezTo>
                    <a:pt x="133" y="150"/>
                    <a:pt x="133" y="150"/>
                    <a:pt x="133" y="150"/>
                  </a:cubicBezTo>
                  <a:lnTo>
                    <a:pt x="106" y="172"/>
                  </a:lnTo>
                  <a:close/>
                  <a:moveTo>
                    <a:pt x="167" y="37"/>
                  </a:moveTo>
                  <a:cubicBezTo>
                    <a:pt x="167" y="53"/>
                    <a:pt x="163" y="65"/>
                    <a:pt x="157" y="73"/>
                  </a:cubicBezTo>
                  <a:cubicBezTo>
                    <a:pt x="150" y="82"/>
                    <a:pt x="139" y="86"/>
                    <a:pt x="125" y="86"/>
                  </a:cubicBezTo>
                  <a:cubicBezTo>
                    <a:pt x="120" y="86"/>
                    <a:pt x="117" y="85"/>
                    <a:pt x="114" y="85"/>
                  </a:cubicBezTo>
                  <a:cubicBezTo>
                    <a:pt x="114" y="71"/>
                    <a:pt x="114" y="71"/>
                    <a:pt x="114" y="71"/>
                  </a:cubicBezTo>
                  <a:cubicBezTo>
                    <a:pt x="117" y="71"/>
                    <a:pt x="121" y="72"/>
                    <a:pt x="124" y="72"/>
                  </a:cubicBezTo>
                  <a:cubicBezTo>
                    <a:pt x="130" y="72"/>
                    <a:pt x="135" y="71"/>
                    <a:pt x="139" y="69"/>
                  </a:cubicBezTo>
                  <a:cubicBezTo>
                    <a:pt x="142" y="68"/>
                    <a:pt x="145" y="65"/>
                    <a:pt x="147" y="61"/>
                  </a:cubicBezTo>
                  <a:cubicBezTo>
                    <a:pt x="149" y="57"/>
                    <a:pt x="150" y="52"/>
                    <a:pt x="151" y="46"/>
                  </a:cubicBezTo>
                  <a:cubicBezTo>
                    <a:pt x="150" y="46"/>
                    <a:pt x="150" y="46"/>
                    <a:pt x="150" y="46"/>
                  </a:cubicBezTo>
                  <a:cubicBezTo>
                    <a:pt x="148" y="49"/>
                    <a:pt x="145" y="52"/>
                    <a:pt x="142" y="53"/>
                  </a:cubicBezTo>
                  <a:cubicBezTo>
                    <a:pt x="139" y="55"/>
                    <a:pt x="136" y="56"/>
                    <a:pt x="132" y="56"/>
                  </a:cubicBezTo>
                  <a:cubicBezTo>
                    <a:pt x="124" y="56"/>
                    <a:pt x="119" y="53"/>
                    <a:pt x="114" y="49"/>
                  </a:cubicBezTo>
                  <a:cubicBezTo>
                    <a:pt x="110" y="44"/>
                    <a:pt x="108" y="37"/>
                    <a:pt x="108" y="29"/>
                  </a:cubicBezTo>
                  <a:cubicBezTo>
                    <a:pt x="108" y="20"/>
                    <a:pt x="111" y="13"/>
                    <a:pt x="116" y="8"/>
                  </a:cubicBezTo>
                  <a:cubicBezTo>
                    <a:pt x="121" y="3"/>
                    <a:pt x="128" y="0"/>
                    <a:pt x="136" y="0"/>
                  </a:cubicBezTo>
                  <a:cubicBezTo>
                    <a:pt x="143" y="0"/>
                    <a:pt x="148" y="2"/>
                    <a:pt x="153" y="5"/>
                  </a:cubicBezTo>
                  <a:cubicBezTo>
                    <a:pt x="157" y="7"/>
                    <a:pt x="161" y="12"/>
                    <a:pt x="163" y="17"/>
                  </a:cubicBezTo>
                  <a:cubicBezTo>
                    <a:pt x="166" y="23"/>
                    <a:pt x="167" y="29"/>
                    <a:pt x="167" y="37"/>
                  </a:cubicBezTo>
                  <a:close/>
                  <a:moveTo>
                    <a:pt x="149" y="30"/>
                  </a:moveTo>
                  <a:cubicBezTo>
                    <a:pt x="149" y="26"/>
                    <a:pt x="148" y="22"/>
                    <a:pt x="146" y="19"/>
                  </a:cubicBezTo>
                  <a:cubicBezTo>
                    <a:pt x="144" y="16"/>
                    <a:pt x="140" y="14"/>
                    <a:pt x="137" y="14"/>
                  </a:cubicBezTo>
                  <a:cubicBezTo>
                    <a:pt x="133" y="14"/>
                    <a:pt x="130" y="16"/>
                    <a:pt x="128" y="18"/>
                  </a:cubicBezTo>
                  <a:cubicBezTo>
                    <a:pt x="126" y="21"/>
                    <a:pt x="125" y="24"/>
                    <a:pt x="125" y="29"/>
                  </a:cubicBezTo>
                  <a:cubicBezTo>
                    <a:pt x="125" y="33"/>
                    <a:pt x="126" y="36"/>
                    <a:pt x="128" y="39"/>
                  </a:cubicBezTo>
                  <a:cubicBezTo>
                    <a:pt x="130" y="41"/>
                    <a:pt x="133" y="42"/>
                    <a:pt x="136" y="42"/>
                  </a:cubicBezTo>
                  <a:cubicBezTo>
                    <a:pt x="140" y="42"/>
                    <a:pt x="143" y="41"/>
                    <a:pt x="146" y="39"/>
                  </a:cubicBezTo>
                  <a:cubicBezTo>
                    <a:pt x="148" y="36"/>
                    <a:pt x="149" y="34"/>
                    <a:pt x="149"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7" name="Freeform 106"/>
          <p:cNvSpPr>
            <a:spLocks noChangeAspect="1" noEditPoints="1"/>
          </p:cNvSpPr>
          <p:nvPr/>
        </p:nvSpPr>
        <p:spPr bwMode="auto">
          <a:xfrm>
            <a:off x="6289663" y="2532756"/>
            <a:ext cx="369676" cy="369676"/>
          </a:xfrm>
          <a:custGeom>
            <a:avLst/>
            <a:gdLst>
              <a:gd name="T0" fmla="*/ 309 w 512"/>
              <a:gd name="T1" fmla="*/ 157 h 512"/>
              <a:gd name="T2" fmla="*/ 312 w 512"/>
              <a:gd name="T3" fmla="*/ 168 h 512"/>
              <a:gd name="T4" fmla="*/ 309 w 512"/>
              <a:gd name="T5" fmla="*/ 177 h 512"/>
              <a:gd name="T6" fmla="*/ 299 w 512"/>
              <a:gd name="T7" fmla="*/ 180 h 512"/>
              <a:gd name="T8" fmla="*/ 291 w 512"/>
              <a:gd name="T9" fmla="*/ 177 h 512"/>
              <a:gd name="T10" fmla="*/ 288 w 512"/>
              <a:gd name="T11" fmla="*/ 167 h 512"/>
              <a:gd name="T12" fmla="*/ 291 w 512"/>
              <a:gd name="T13" fmla="*/ 156 h 512"/>
              <a:gd name="T14" fmla="*/ 300 w 512"/>
              <a:gd name="T15" fmla="*/ 152 h 512"/>
              <a:gd name="T16" fmla="*/ 309 w 512"/>
              <a:gd name="T17" fmla="*/ 157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311 w 512"/>
              <a:gd name="T63" fmla="*/ 288 h 512"/>
              <a:gd name="T64" fmla="*/ 296 w 512"/>
              <a:gd name="T65" fmla="*/ 288 h 512"/>
              <a:gd name="T66" fmla="*/ 269 w 512"/>
              <a:gd name="T67" fmla="*/ 310 h 512"/>
              <a:gd name="T68" fmla="*/ 277 w 512"/>
              <a:gd name="T69" fmla="*/ 320 h 512"/>
              <a:gd name="T70" fmla="*/ 287 w 512"/>
              <a:gd name="T71" fmla="*/ 313 h 512"/>
              <a:gd name="T72" fmla="*/ 293 w 512"/>
              <a:gd name="T73" fmla="*/ 307 h 512"/>
              <a:gd name="T74" fmla="*/ 293 w 512"/>
              <a:gd name="T75" fmla="*/ 316 h 512"/>
              <a:gd name="T76" fmla="*/ 293 w 512"/>
              <a:gd name="T77" fmla="*/ 324 h 512"/>
              <a:gd name="T78" fmla="*/ 293 w 512"/>
              <a:gd name="T79" fmla="*/ 373 h 512"/>
              <a:gd name="T80" fmla="*/ 311 w 512"/>
              <a:gd name="T81" fmla="*/ 373 h 512"/>
              <a:gd name="T82" fmla="*/ 311 w 512"/>
              <a:gd name="T83" fmla="*/ 288 h 512"/>
              <a:gd name="T84" fmla="*/ 330 w 512"/>
              <a:gd name="T85" fmla="*/ 175 h 512"/>
              <a:gd name="T86" fmla="*/ 326 w 512"/>
              <a:gd name="T87" fmla="*/ 155 h 512"/>
              <a:gd name="T88" fmla="*/ 316 w 512"/>
              <a:gd name="T89" fmla="*/ 143 h 512"/>
              <a:gd name="T90" fmla="*/ 299 w 512"/>
              <a:gd name="T91" fmla="*/ 138 h 512"/>
              <a:gd name="T92" fmla="*/ 279 w 512"/>
              <a:gd name="T93" fmla="*/ 146 h 512"/>
              <a:gd name="T94" fmla="*/ 271 w 512"/>
              <a:gd name="T95" fmla="*/ 167 h 512"/>
              <a:gd name="T96" fmla="*/ 277 w 512"/>
              <a:gd name="T97" fmla="*/ 187 h 512"/>
              <a:gd name="T98" fmla="*/ 295 w 512"/>
              <a:gd name="T99" fmla="*/ 194 h 512"/>
              <a:gd name="T100" fmla="*/ 305 w 512"/>
              <a:gd name="T101" fmla="*/ 191 h 512"/>
              <a:gd name="T102" fmla="*/ 313 w 512"/>
              <a:gd name="T103" fmla="*/ 184 h 512"/>
              <a:gd name="T104" fmla="*/ 314 w 512"/>
              <a:gd name="T105" fmla="*/ 184 h 512"/>
              <a:gd name="T106" fmla="*/ 310 w 512"/>
              <a:gd name="T107" fmla="*/ 199 h 512"/>
              <a:gd name="T108" fmla="*/ 302 w 512"/>
              <a:gd name="T109" fmla="*/ 207 h 512"/>
              <a:gd name="T110" fmla="*/ 287 w 512"/>
              <a:gd name="T111" fmla="*/ 210 h 512"/>
              <a:gd name="T112" fmla="*/ 277 w 512"/>
              <a:gd name="T113" fmla="*/ 209 h 512"/>
              <a:gd name="T114" fmla="*/ 277 w 512"/>
              <a:gd name="T115" fmla="*/ 223 h 512"/>
              <a:gd name="T116" fmla="*/ 288 w 512"/>
              <a:gd name="T117" fmla="*/ 224 h 512"/>
              <a:gd name="T118" fmla="*/ 320 w 512"/>
              <a:gd name="T119" fmla="*/ 211 h 512"/>
              <a:gd name="T120" fmla="*/ 330 w 512"/>
              <a:gd name="T121"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157"/>
                </a:moveTo>
                <a:cubicBezTo>
                  <a:pt x="311" y="160"/>
                  <a:pt x="312" y="164"/>
                  <a:pt x="312" y="168"/>
                </a:cubicBezTo>
                <a:cubicBezTo>
                  <a:pt x="312" y="172"/>
                  <a:pt x="311" y="174"/>
                  <a:pt x="309" y="177"/>
                </a:cubicBezTo>
                <a:cubicBezTo>
                  <a:pt x="306" y="179"/>
                  <a:pt x="303" y="180"/>
                  <a:pt x="299" y="180"/>
                </a:cubicBezTo>
                <a:cubicBezTo>
                  <a:pt x="296" y="180"/>
                  <a:pt x="293" y="179"/>
                  <a:pt x="291" y="177"/>
                </a:cubicBezTo>
                <a:cubicBezTo>
                  <a:pt x="289" y="174"/>
                  <a:pt x="288" y="171"/>
                  <a:pt x="288" y="167"/>
                </a:cubicBezTo>
                <a:cubicBezTo>
                  <a:pt x="288" y="162"/>
                  <a:pt x="289" y="159"/>
                  <a:pt x="291" y="156"/>
                </a:cubicBezTo>
                <a:cubicBezTo>
                  <a:pt x="293" y="154"/>
                  <a:pt x="296" y="152"/>
                  <a:pt x="300" y="152"/>
                </a:cubicBezTo>
                <a:cubicBezTo>
                  <a:pt x="303" y="152"/>
                  <a:pt x="307" y="154"/>
                  <a:pt x="309"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311" y="288"/>
                </a:moveTo>
                <a:cubicBezTo>
                  <a:pt x="296" y="288"/>
                  <a:pt x="296" y="288"/>
                  <a:pt x="296" y="288"/>
                </a:cubicBezTo>
                <a:cubicBezTo>
                  <a:pt x="269" y="310"/>
                  <a:pt x="269" y="310"/>
                  <a:pt x="269" y="310"/>
                </a:cubicBezTo>
                <a:cubicBezTo>
                  <a:pt x="277" y="320"/>
                  <a:pt x="277" y="320"/>
                  <a:pt x="277" y="320"/>
                </a:cubicBezTo>
                <a:cubicBezTo>
                  <a:pt x="287" y="313"/>
                  <a:pt x="287" y="313"/>
                  <a:pt x="287" y="313"/>
                </a:cubicBezTo>
                <a:cubicBezTo>
                  <a:pt x="288" y="312"/>
                  <a:pt x="290" y="310"/>
                  <a:pt x="293" y="307"/>
                </a:cubicBezTo>
                <a:cubicBezTo>
                  <a:pt x="293" y="316"/>
                  <a:pt x="293" y="316"/>
                  <a:pt x="293" y="316"/>
                </a:cubicBezTo>
                <a:cubicBezTo>
                  <a:pt x="293" y="324"/>
                  <a:pt x="293" y="324"/>
                  <a:pt x="293" y="324"/>
                </a:cubicBezTo>
                <a:cubicBezTo>
                  <a:pt x="293" y="373"/>
                  <a:pt x="293" y="373"/>
                  <a:pt x="293" y="373"/>
                </a:cubicBezTo>
                <a:cubicBezTo>
                  <a:pt x="311" y="373"/>
                  <a:pt x="311" y="373"/>
                  <a:pt x="311" y="373"/>
                </a:cubicBezTo>
                <a:lnTo>
                  <a:pt x="311" y="288"/>
                </a:lnTo>
                <a:close/>
                <a:moveTo>
                  <a:pt x="330" y="175"/>
                </a:moveTo>
                <a:cubicBezTo>
                  <a:pt x="330" y="167"/>
                  <a:pt x="329" y="161"/>
                  <a:pt x="326" y="155"/>
                </a:cubicBezTo>
                <a:cubicBezTo>
                  <a:pt x="324" y="150"/>
                  <a:pt x="320" y="145"/>
                  <a:pt x="316" y="143"/>
                </a:cubicBezTo>
                <a:cubicBezTo>
                  <a:pt x="311" y="140"/>
                  <a:pt x="306" y="138"/>
                  <a:pt x="299" y="138"/>
                </a:cubicBezTo>
                <a:cubicBezTo>
                  <a:pt x="291" y="138"/>
                  <a:pt x="284" y="141"/>
                  <a:pt x="279" y="146"/>
                </a:cubicBezTo>
                <a:cubicBezTo>
                  <a:pt x="274" y="151"/>
                  <a:pt x="271" y="158"/>
                  <a:pt x="271" y="167"/>
                </a:cubicBezTo>
                <a:cubicBezTo>
                  <a:pt x="271" y="175"/>
                  <a:pt x="273" y="182"/>
                  <a:pt x="277" y="187"/>
                </a:cubicBezTo>
                <a:cubicBezTo>
                  <a:pt x="282" y="191"/>
                  <a:pt x="287" y="194"/>
                  <a:pt x="295" y="194"/>
                </a:cubicBezTo>
                <a:cubicBezTo>
                  <a:pt x="299" y="194"/>
                  <a:pt x="302" y="193"/>
                  <a:pt x="305" y="191"/>
                </a:cubicBezTo>
                <a:cubicBezTo>
                  <a:pt x="308" y="190"/>
                  <a:pt x="311" y="187"/>
                  <a:pt x="313" y="184"/>
                </a:cubicBezTo>
                <a:cubicBezTo>
                  <a:pt x="314" y="184"/>
                  <a:pt x="314" y="184"/>
                  <a:pt x="314" y="184"/>
                </a:cubicBezTo>
                <a:cubicBezTo>
                  <a:pt x="313" y="190"/>
                  <a:pt x="312" y="195"/>
                  <a:pt x="310" y="199"/>
                </a:cubicBezTo>
                <a:cubicBezTo>
                  <a:pt x="308" y="203"/>
                  <a:pt x="305" y="206"/>
                  <a:pt x="302" y="207"/>
                </a:cubicBezTo>
                <a:cubicBezTo>
                  <a:pt x="298" y="209"/>
                  <a:pt x="293" y="210"/>
                  <a:pt x="287" y="210"/>
                </a:cubicBezTo>
                <a:cubicBezTo>
                  <a:pt x="284" y="210"/>
                  <a:pt x="280" y="209"/>
                  <a:pt x="277" y="209"/>
                </a:cubicBezTo>
                <a:cubicBezTo>
                  <a:pt x="277" y="223"/>
                  <a:pt x="277" y="223"/>
                  <a:pt x="277" y="223"/>
                </a:cubicBezTo>
                <a:cubicBezTo>
                  <a:pt x="280" y="223"/>
                  <a:pt x="283" y="224"/>
                  <a:pt x="288" y="224"/>
                </a:cubicBezTo>
                <a:cubicBezTo>
                  <a:pt x="302" y="224"/>
                  <a:pt x="313" y="220"/>
                  <a:pt x="320" y="211"/>
                </a:cubicBezTo>
                <a:cubicBezTo>
                  <a:pt x="326" y="203"/>
                  <a:pt x="330" y="191"/>
                  <a:pt x="330" y="17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8" name="Group 109"/>
          <p:cNvGrpSpPr>
            <a:grpSpLocks noChangeAspect="1"/>
          </p:cNvGrpSpPr>
          <p:nvPr/>
        </p:nvGrpSpPr>
        <p:grpSpPr bwMode="auto">
          <a:xfrm>
            <a:off x="5869587" y="2532756"/>
            <a:ext cx="369676" cy="369676"/>
            <a:chOff x="6593" y="358"/>
            <a:chExt cx="340" cy="340"/>
          </a:xfrm>
          <a:solidFill>
            <a:schemeClr val="accent2"/>
          </a:solidFill>
        </p:grpSpPr>
        <p:sp>
          <p:nvSpPr>
            <p:cNvPr id="379" name="Freeform 110"/>
            <p:cNvSpPr>
              <a:spLocks noEditPoints="1"/>
            </p:cNvSpPr>
            <p:nvPr/>
          </p:nvSpPr>
          <p:spPr bwMode="auto">
            <a:xfrm>
              <a:off x="6593" y="3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111"/>
            <p:cNvSpPr>
              <a:spLocks noEditPoints="1"/>
            </p:cNvSpPr>
            <p:nvPr/>
          </p:nvSpPr>
          <p:spPr bwMode="auto">
            <a:xfrm>
              <a:off x="6701" y="450"/>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24 w 167"/>
                <a:gd name="T35" fmla="*/ 25 h 235"/>
                <a:gd name="T36" fmla="*/ 130 w 167"/>
                <a:gd name="T37" fmla="*/ 19 h 235"/>
                <a:gd name="T38" fmla="*/ 130 w 167"/>
                <a:gd name="T39" fmla="*/ 28 h 235"/>
                <a:gd name="T40" fmla="*/ 130 w 167"/>
                <a:gd name="T41" fmla="*/ 36 h 235"/>
                <a:gd name="T42" fmla="*/ 130 w 167"/>
                <a:gd name="T43" fmla="*/ 86 h 235"/>
                <a:gd name="T44" fmla="*/ 148 w 167"/>
                <a:gd name="T45" fmla="*/ 86 h 235"/>
                <a:gd name="T46" fmla="*/ 148 w 167"/>
                <a:gd name="T47" fmla="*/ 0 h 235"/>
                <a:gd name="T48" fmla="*/ 133 w 167"/>
                <a:gd name="T49" fmla="*/ 0 h 235"/>
                <a:gd name="T50" fmla="*/ 106 w 167"/>
                <a:gd name="T51" fmla="*/ 22 h 235"/>
                <a:gd name="T52" fmla="*/ 114 w 167"/>
                <a:gd name="T53" fmla="*/ 33 h 235"/>
                <a:gd name="T54" fmla="*/ 124 w 167"/>
                <a:gd name="T55" fmla="*/ 25 h 235"/>
                <a:gd name="T56" fmla="*/ 167 w 167"/>
                <a:gd name="T57" fmla="*/ 186 h 235"/>
                <a:gd name="T58" fmla="*/ 157 w 167"/>
                <a:gd name="T59" fmla="*/ 223 h 235"/>
                <a:gd name="T60" fmla="*/ 125 w 167"/>
                <a:gd name="T61" fmla="*/ 235 h 235"/>
                <a:gd name="T62" fmla="*/ 114 w 167"/>
                <a:gd name="T63" fmla="*/ 234 h 235"/>
                <a:gd name="T64" fmla="*/ 114 w 167"/>
                <a:gd name="T65" fmla="*/ 220 h 235"/>
                <a:gd name="T66" fmla="*/ 124 w 167"/>
                <a:gd name="T67" fmla="*/ 221 h 235"/>
                <a:gd name="T68" fmla="*/ 139 w 167"/>
                <a:gd name="T69" fmla="*/ 219 h 235"/>
                <a:gd name="T70" fmla="*/ 147 w 167"/>
                <a:gd name="T71" fmla="*/ 211 h 235"/>
                <a:gd name="T72" fmla="*/ 151 w 167"/>
                <a:gd name="T73" fmla="*/ 195 h 235"/>
                <a:gd name="T74" fmla="*/ 150 w 167"/>
                <a:gd name="T75" fmla="*/ 195 h 235"/>
                <a:gd name="T76" fmla="*/ 142 w 167"/>
                <a:gd name="T77" fmla="*/ 203 h 235"/>
                <a:gd name="T78" fmla="*/ 132 w 167"/>
                <a:gd name="T79" fmla="*/ 205 h 235"/>
                <a:gd name="T80" fmla="*/ 114 w 167"/>
                <a:gd name="T81" fmla="*/ 198 h 235"/>
                <a:gd name="T82" fmla="*/ 108 w 167"/>
                <a:gd name="T83" fmla="*/ 179 h 235"/>
                <a:gd name="T84" fmla="*/ 116 w 167"/>
                <a:gd name="T85" fmla="*/ 157 h 235"/>
                <a:gd name="T86" fmla="*/ 136 w 167"/>
                <a:gd name="T87" fmla="*/ 150 h 235"/>
                <a:gd name="T88" fmla="*/ 153 w 167"/>
                <a:gd name="T89" fmla="*/ 154 h 235"/>
                <a:gd name="T90" fmla="*/ 163 w 167"/>
                <a:gd name="T91" fmla="*/ 167 h 235"/>
                <a:gd name="T92" fmla="*/ 167 w 167"/>
                <a:gd name="T93" fmla="*/ 186 h 235"/>
                <a:gd name="T94" fmla="*/ 149 w 167"/>
                <a:gd name="T95" fmla="*/ 180 h 235"/>
                <a:gd name="T96" fmla="*/ 146 w 167"/>
                <a:gd name="T97" fmla="*/ 168 h 235"/>
                <a:gd name="T98" fmla="*/ 137 w 167"/>
                <a:gd name="T99" fmla="*/ 164 h 235"/>
                <a:gd name="T100" fmla="*/ 128 w 167"/>
                <a:gd name="T101" fmla="*/ 168 h 235"/>
                <a:gd name="T102" fmla="*/ 125 w 167"/>
                <a:gd name="T103" fmla="*/ 178 h 235"/>
                <a:gd name="T104" fmla="*/ 128 w 167"/>
                <a:gd name="T105" fmla="*/ 188 h 235"/>
                <a:gd name="T106" fmla="*/ 136 w 167"/>
                <a:gd name="T107" fmla="*/ 191 h 235"/>
                <a:gd name="T108" fmla="*/ 146 w 167"/>
                <a:gd name="T109" fmla="*/ 188 h 235"/>
                <a:gd name="T110" fmla="*/ 149 w 167"/>
                <a:gd name="T111" fmla="*/ 1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24" y="25"/>
                  </a:moveTo>
                  <a:cubicBezTo>
                    <a:pt x="125" y="24"/>
                    <a:pt x="127" y="22"/>
                    <a:pt x="130" y="19"/>
                  </a:cubicBezTo>
                  <a:cubicBezTo>
                    <a:pt x="130" y="28"/>
                    <a:pt x="130" y="28"/>
                    <a:pt x="130" y="28"/>
                  </a:cubicBezTo>
                  <a:cubicBezTo>
                    <a:pt x="130" y="36"/>
                    <a:pt x="130" y="36"/>
                    <a:pt x="130" y="36"/>
                  </a:cubicBezTo>
                  <a:cubicBezTo>
                    <a:pt x="130" y="86"/>
                    <a:pt x="130" y="86"/>
                    <a:pt x="130" y="86"/>
                  </a:cubicBezTo>
                  <a:cubicBezTo>
                    <a:pt x="148" y="86"/>
                    <a:pt x="148" y="86"/>
                    <a:pt x="148" y="86"/>
                  </a:cubicBezTo>
                  <a:cubicBezTo>
                    <a:pt x="148" y="0"/>
                    <a:pt x="148" y="0"/>
                    <a:pt x="148" y="0"/>
                  </a:cubicBezTo>
                  <a:cubicBezTo>
                    <a:pt x="133" y="0"/>
                    <a:pt x="133" y="0"/>
                    <a:pt x="133" y="0"/>
                  </a:cubicBezTo>
                  <a:cubicBezTo>
                    <a:pt x="106" y="22"/>
                    <a:pt x="106" y="22"/>
                    <a:pt x="106" y="22"/>
                  </a:cubicBezTo>
                  <a:cubicBezTo>
                    <a:pt x="114" y="33"/>
                    <a:pt x="114" y="33"/>
                    <a:pt x="114" y="33"/>
                  </a:cubicBezTo>
                  <a:lnTo>
                    <a:pt x="124" y="25"/>
                  </a:lnTo>
                  <a:close/>
                  <a:moveTo>
                    <a:pt x="167" y="186"/>
                  </a:moveTo>
                  <a:cubicBezTo>
                    <a:pt x="167" y="203"/>
                    <a:pt x="163" y="215"/>
                    <a:pt x="157" y="223"/>
                  </a:cubicBezTo>
                  <a:cubicBezTo>
                    <a:pt x="150" y="231"/>
                    <a:pt x="139" y="235"/>
                    <a:pt x="125" y="235"/>
                  </a:cubicBezTo>
                  <a:cubicBezTo>
                    <a:pt x="120" y="235"/>
                    <a:pt x="117" y="235"/>
                    <a:pt x="114" y="234"/>
                  </a:cubicBezTo>
                  <a:cubicBezTo>
                    <a:pt x="114" y="220"/>
                    <a:pt x="114" y="220"/>
                    <a:pt x="114" y="220"/>
                  </a:cubicBezTo>
                  <a:cubicBezTo>
                    <a:pt x="117" y="221"/>
                    <a:pt x="121" y="221"/>
                    <a:pt x="124" y="221"/>
                  </a:cubicBezTo>
                  <a:cubicBezTo>
                    <a:pt x="130" y="221"/>
                    <a:pt x="135" y="220"/>
                    <a:pt x="139" y="219"/>
                  </a:cubicBezTo>
                  <a:cubicBezTo>
                    <a:pt x="142" y="217"/>
                    <a:pt x="145" y="214"/>
                    <a:pt x="147" y="211"/>
                  </a:cubicBezTo>
                  <a:cubicBezTo>
                    <a:pt x="149" y="207"/>
                    <a:pt x="150" y="202"/>
                    <a:pt x="151" y="195"/>
                  </a:cubicBezTo>
                  <a:cubicBezTo>
                    <a:pt x="150" y="195"/>
                    <a:pt x="150" y="195"/>
                    <a:pt x="150" y="195"/>
                  </a:cubicBezTo>
                  <a:cubicBezTo>
                    <a:pt x="148" y="199"/>
                    <a:pt x="145" y="201"/>
                    <a:pt x="142" y="203"/>
                  </a:cubicBezTo>
                  <a:cubicBezTo>
                    <a:pt x="139" y="204"/>
                    <a:pt x="136" y="205"/>
                    <a:pt x="132" y="205"/>
                  </a:cubicBezTo>
                  <a:cubicBezTo>
                    <a:pt x="124" y="205"/>
                    <a:pt x="119" y="203"/>
                    <a:pt x="114" y="198"/>
                  </a:cubicBezTo>
                  <a:cubicBezTo>
                    <a:pt x="110" y="193"/>
                    <a:pt x="108" y="187"/>
                    <a:pt x="108" y="179"/>
                  </a:cubicBezTo>
                  <a:cubicBezTo>
                    <a:pt x="108" y="170"/>
                    <a:pt x="111" y="163"/>
                    <a:pt x="116" y="157"/>
                  </a:cubicBezTo>
                  <a:cubicBezTo>
                    <a:pt x="121" y="152"/>
                    <a:pt x="128" y="150"/>
                    <a:pt x="136" y="150"/>
                  </a:cubicBezTo>
                  <a:cubicBezTo>
                    <a:pt x="143" y="150"/>
                    <a:pt x="148" y="151"/>
                    <a:pt x="153" y="154"/>
                  </a:cubicBezTo>
                  <a:cubicBezTo>
                    <a:pt x="157" y="157"/>
                    <a:pt x="161" y="161"/>
                    <a:pt x="163" y="167"/>
                  </a:cubicBezTo>
                  <a:cubicBezTo>
                    <a:pt x="166" y="172"/>
                    <a:pt x="167" y="179"/>
                    <a:pt x="167" y="186"/>
                  </a:cubicBezTo>
                  <a:close/>
                  <a:moveTo>
                    <a:pt x="149" y="180"/>
                  </a:moveTo>
                  <a:cubicBezTo>
                    <a:pt x="149" y="175"/>
                    <a:pt x="148" y="172"/>
                    <a:pt x="146" y="168"/>
                  </a:cubicBezTo>
                  <a:cubicBezTo>
                    <a:pt x="144" y="165"/>
                    <a:pt x="140" y="164"/>
                    <a:pt x="137" y="164"/>
                  </a:cubicBezTo>
                  <a:cubicBezTo>
                    <a:pt x="133" y="164"/>
                    <a:pt x="130" y="165"/>
                    <a:pt x="128" y="168"/>
                  </a:cubicBezTo>
                  <a:cubicBezTo>
                    <a:pt x="126" y="170"/>
                    <a:pt x="125" y="174"/>
                    <a:pt x="125" y="178"/>
                  </a:cubicBezTo>
                  <a:cubicBezTo>
                    <a:pt x="125" y="182"/>
                    <a:pt x="126" y="186"/>
                    <a:pt x="128" y="188"/>
                  </a:cubicBezTo>
                  <a:cubicBezTo>
                    <a:pt x="130" y="190"/>
                    <a:pt x="133" y="191"/>
                    <a:pt x="136" y="191"/>
                  </a:cubicBezTo>
                  <a:cubicBezTo>
                    <a:pt x="140" y="191"/>
                    <a:pt x="143" y="190"/>
                    <a:pt x="146" y="188"/>
                  </a:cubicBezTo>
                  <a:cubicBezTo>
                    <a:pt x="148" y="186"/>
                    <a:pt x="149" y="183"/>
                    <a:pt x="149" y="1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1" name="Freeform 115"/>
          <p:cNvSpPr>
            <a:spLocks noChangeAspect="1" noEditPoints="1"/>
          </p:cNvSpPr>
          <p:nvPr/>
        </p:nvSpPr>
        <p:spPr bwMode="auto">
          <a:xfrm>
            <a:off x="5449511" y="2532756"/>
            <a:ext cx="369676" cy="369676"/>
          </a:xfrm>
          <a:custGeom>
            <a:avLst/>
            <a:gdLst>
              <a:gd name="T0" fmla="*/ 309 w 512"/>
              <a:gd name="T1" fmla="*/ 306 h 512"/>
              <a:gd name="T2" fmla="*/ 312 w 512"/>
              <a:gd name="T3" fmla="*/ 318 h 512"/>
              <a:gd name="T4" fmla="*/ 309 w 512"/>
              <a:gd name="T5" fmla="*/ 326 h 512"/>
              <a:gd name="T6" fmla="*/ 299 w 512"/>
              <a:gd name="T7" fmla="*/ 329 h 512"/>
              <a:gd name="T8" fmla="*/ 291 w 512"/>
              <a:gd name="T9" fmla="*/ 326 h 512"/>
              <a:gd name="T10" fmla="*/ 288 w 512"/>
              <a:gd name="T11" fmla="*/ 316 h 512"/>
              <a:gd name="T12" fmla="*/ 291 w 512"/>
              <a:gd name="T13" fmla="*/ 306 h 512"/>
              <a:gd name="T14" fmla="*/ 300 w 512"/>
              <a:gd name="T15" fmla="*/ 302 h 512"/>
              <a:gd name="T16" fmla="*/ 309 w 512"/>
              <a:gd name="T17" fmla="*/ 306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269 w 512"/>
              <a:gd name="T63" fmla="*/ 160 h 512"/>
              <a:gd name="T64" fmla="*/ 277 w 512"/>
              <a:gd name="T65" fmla="*/ 171 h 512"/>
              <a:gd name="T66" fmla="*/ 287 w 512"/>
              <a:gd name="T67" fmla="*/ 163 h 512"/>
              <a:gd name="T68" fmla="*/ 293 w 512"/>
              <a:gd name="T69" fmla="*/ 157 h 512"/>
              <a:gd name="T70" fmla="*/ 293 w 512"/>
              <a:gd name="T71" fmla="*/ 166 h 512"/>
              <a:gd name="T72" fmla="*/ 293 w 512"/>
              <a:gd name="T73" fmla="*/ 174 h 512"/>
              <a:gd name="T74" fmla="*/ 293 w 512"/>
              <a:gd name="T75" fmla="*/ 224 h 512"/>
              <a:gd name="T76" fmla="*/ 311 w 512"/>
              <a:gd name="T77" fmla="*/ 224 h 512"/>
              <a:gd name="T78" fmla="*/ 311 w 512"/>
              <a:gd name="T79" fmla="*/ 138 h 512"/>
              <a:gd name="T80" fmla="*/ 296 w 512"/>
              <a:gd name="T81" fmla="*/ 138 h 512"/>
              <a:gd name="T82" fmla="*/ 269 w 512"/>
              <a:gd name="T83" fmla="*/ 160 h 512"/>
              <a:gd name="T84" fmla="*/ 330 w 512"/>
              <a:gd name="T85" fmla="*/ 324 h 512"/>
              <a:gd name="T86" fmla="*/ 326 w 512"/>
              <a:gd name="T87" fmla="*/ 305 h 512"/>
              <a:gd name="T88" fmla="*/ 316 w 512"/>
              <a:gd name="T89" fmla="*/ 292 h 512"/>
              <a:gd name="T90" fmla="*/ 299 w 512"/>
              <a:gd name="T91" fmla="*/ 288 h 512"/>
              <a:gd name="T92" fmla="*/ 279 w 512"/>
              <a:gd name="T93" fmla="*/ 295 h 512"/>
              <a:gd name="T94" fmla="*/ 271 w 512"/>
              <a:gd name="T95" fmla="*/ 317 h 512"/>
              <a:gd name="T96" fmla="*/ 277 w 512"/>
              <a:gd name="T97" fmla="*/ 336 h 512"/>
              <a:gd name="T98" fmla="*/ 295 w 512"/>
              <a:gd name="T99" fmla="*/ 343 h 512"/>
              <a:gd name="T100" fmla="*/ 305 w 512"/>
              <a:gd name="T101" fmla="*/ 341 h 512"/>
              <a:gd name="T102" fmla="*/ 313 w 512"/>
              <a:gd name="T103" fmla="*/ 333 h 512"/>
              <a:gd name="T104" fmla="*/ 314 w 512"/>
              <a:gd name="T105" fmla="*/ 333 h 512"/>
              <a:gd name="T106" fmla="*/ 310 w 512"/>
              <a:gd name="T107" fmla="*/ 349 h 512"/>
              <a:gd name="T108" fmla="*/ 302 w 512"/>
              <a:gd name="T109" fmla="*/ 357 h 512"/>
              <a:gd name="T110" fmla="*/ 287 w 512"/>
              <a:gd name="T111" fmla="*/ 359 h 512"/>
              <a:gd name="T112" fmla="*/ 277 w 512"/>
              <a:gd name="T113" fmla="*/ 358 h 512"/>
              <a:gd name="T114" fmla="*/ 277 w 512"/>
              <a:gd name="T115" fmla="*/ 372 h 512"/>
              <a:gd name="T116" fmla="*/ 288 w 512"/>
              <a:gd name="T117" fmla="*/ 373 h 512"/>
              <a:gd name="T118" fmla="*/ 320 w 512"/>
              <a:gd name="T119" fmla="*/ 361 h 512"/>
              <a:gd name="T120" fmla="*/ 330 w 512"/>
              <a:gd name="T121"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306"/>
                </a:moveTo>
                <a:cubicBezTo>
                  <a:pt x="311" y="310"/>
                  <a:pt x="312" y="313"/>
                  <a:pt x="312" y="318"/>
                </a:cubicBezTo>
                <a:cubicBezTo>
                  <a:pt x="312" y="321"/>
                  <a:pt x="311" y="324"/>
                  <a:pt x="309" y="326"/>
                </a:cubicBezTo>
                <a:cubicBezTo>
                  <a:pt x="306" y="328"/>
                  <a:pt x="303" y="329"/>
                  <a:pt x="299" y="329"/>
                </a:cubicBezTo>
                <a:cubicBezTo>
                  <a:pt x="296" y="329"/>
                  <a:pt x="293" y="328"/>
                  <a:pt x="291" y="326"/>
                </a:cubicBezTo>
                <a:cubicBezTo>
                  <a:pt x="289" y="324"/>
                  <a:pt x="288" y="320"/>
                  <a:pt x="288" y="316"/>
                </a:cubicBezTo>
                <a:cubicBezTo>
                  <a:pt x="288" y="312"/>
                  <a:pt x="289" y="308"/>
                  <a:pt x="291" y="306"/>
                </a:cubicBezTo>
                <a:cubicBezTo>
                  <a:pt x="293" y="303"/>
                  <a:pt x="296" y="302"/>
                  <a:pt x="300" y="302"/>
                </a:cubicBezTo>
                <a:cubicBezTo>
                  <a:pt x="303" y="302"/>
                  <a:pt x="307" y="303"/>
                  <a:pt x="309" y="3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9" y="160"/>
                </a:moveTo>
                <a:cubicBezTo>
                  <a:pt x="277" y="171"/>
                  <a:pt x="277" y="171"/>
                  <a:pt x="277" y="171"/>
                </a:cubicBezTo>
                <a:cubicBezTo>
                  <a:pt x="287" y="163"/>
                  <a:pt x="287" y="163"/>
                  <a:pt x="287" y="163"/>
                </a:cubicBezTo>
                <a:cubicBezTo>
                  <a:pt x="288" y="162"/>
                  <a:pt x="290" y="160"/>
                  <a:pt x="293" y="157"/>
                </a:cubicBezTo>
                <a:cubicBezTo>
                  <a:pt x="293" y="166"/>
                  <a:pt x="293" y="166"/>
                  <a:pt x="293" y="166"/>
                </a:cubicBezTo>
                <a:cubicBezTo>
                  <a:pt x="293" y="174"/>
                  <a:pt x="293" y="174"/>
                  <a:pt x="293" y="174"/>
                </a:cubicBezTo>
                <a:cubicBezTo>
                  <a:pt x="293" y="224"/>
                  <a:pt x="293" y="224"/>
                  <a:pt x="293" y="224"/>
                </a:cubicBezTo>
                <a:cubicBezTo>
                  <a:pt x="311" y="224"/>
                  <a:pt x="311" y="224"/>
                  <a:pt x="311" y="224"/>
                </a:cubicBezTo>
                <a:cubicBezTo>
                  <a:pt x="311" y="138"/>
                  <a:pt x="311" y="138"/>
                  <a:pt x="311" y="138"/>
                </a:cubicBezTo>
                <a:cubicBezTo>
                  <a:pt x="296" y="138"/>
                  <a:pt x="296" y="138"/>
                  <a:pt x="296" y="138"/>
                </a:cubicBezTo>
                <a:lnTo>
                  <a:pt x="269" y="160"/>
                </a:lnTo>
                <a:close/>
                <a:moveTo>
                  <a:pt x="330" y="324"/>
                </a:moveTo>
                <a:cubicBezTo>
                  <a:pt x="330" y="317"/>
                  <a:pt x="329" y="310"/>
                  <a:pt x="326" y="305"/>
                </a:cubicBezTo>
                <a:cubicBezTo>
                  <a:pt x="324" y="299"/>
                  <a:pt x="320" y="295"/>
                  <a:pt x="316" y="292"/>
                </a:cubicBezTo>
                <a:cubicBezTo>
                  <a:pt x="311" y="289"/>
                  <a:pt x="306" y="288"/>
                  <a:pt x="299" y="288"/>
                </a:cubicBezTo>
                <a:cubicBezTo>
                  <a:pt x="291" y="288"/>
                  <a:pt x="284" y="290"/>
                  <a:pt x="279" y="295"/>
                </a:cubicBezTo>
                <a:cubicBezTo>
                  <a:pt x="274" y="301"/>
                  <a:pt x="271" y="308"/>
                  <a:pt x="271" y="317"/>
                </a:cubicBezTo>
                <a:cubicBezTo>
                  <a:pt x="271" y="325"/>
                  <a:pt x="273" y="331"/>
                  <a:pt x="277" y="336"/>
                </a:cubicBezTo>
                <a:cubicBezTo>
                  <a:pt x="282" y="341"/>
                  <a:pt x="287" y="343"/>
                  <a:pt x="295" y="343"/>
                </a:cubicBezTo>
                <a:cubicBezTo>
                  <a:pt x="299" y="343"/>
                  <a:pt x="302" y="342"/>
                  <a:pt x="305" y="341"/>
                </a:cubicBezTo>
                <a:cubicBezTo>
                  <a:pt x="308" y="339"/>
                  <a:pt x="311" y="337"/>
                  <a:pt x="313" y="333"/>
                </a:cubicBezTo>
                <a:cubicBezTo>
                  <a:pt x="314" y="333"/>
                  <a:pt x="314" y="333"/>
                  <a:pt x="314" y="333"/>
                </a:cubicBezTo>
                <a:cubicBezTo>
                  <a:pt x="313" y="340"/>
                  <a:pt x="312" y="345"/>
                  <a:pt x="310" y="349"/>
                </a:cubicBezTo>
                <a:cubicBezTo>
                  <a:pt x="308" y="352"/>
                  <a:pt x="305" y="355"/>
                  <a:pt x="302" y="357"/>
                </a:cubicBezTo>
                <a:cubicBezTo>
                  <a:pt x="298" y="358"/>
                  <a:pt x="293" y="359"/>
                  <a:pt x="287" y="359"/>
                </a:cubicBezTo>
                <a:cubicBezTo>
                  <a:pt x="284" y="359"/>
                  <a:pt x="280" y="359"/>
                  <a:pt x="277" y="358"/>
                </a:cubicBezTo>
                <a:cubicBezTo>
                  <a:pt x="277" y="372"/>
                  <a:pt x="277" y="372"/>
                  <a:pt x="277" y="372"/>
                </a:cubicBezTo>
                <a:cubicBezTo>
                  <a:pt x="280" y="373"/>
                  <a:pt x="283" y="373"/>
                  <a:pt x="288" y="373"/>
                </a:cubicBezTo>
                <a:cubicBezTo>
                  <a:pt x="302" y="373"/>
                  <a:pt x="313" y="369"/>
                  <a:pt x="320" y="361"/>
                </a:cubicBezTo>
                <a:cubicBezTo>
                  <a:pt x="326" y="353"/>
                  <a:pt x="330" y="341"/>
                  <a:pt x="330" y="32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2" name="Group 118"/>
          <p:cNvGrpSpPr>
            <a:grpSpLocks noChangeAspect="1"/>
          </p:cNvGrpSpPr>
          <p:nvPr/>
        </p:nvGrpSpPr>
        <p:grpSpPr bwMode="auto">
          <a:xfrm>
            <a:off x="5028348" y="2532756"/>
            <a:ext cx="370763" cy="369676"/>
            <a:chOff x="5806" y="368"/>
            <a:chExt cx="341" cy="340"/>
          </a:xfrm>
          <a:solidFill>
            <a:schemeClr val="accent2"/>
          </a:solidFill>
        </p:grpSpPr>
        <p:sp>
          <p:nvSpPr>
            <p:cNvPr id="383" name="Freeform 119"/>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Freeform 120"/>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5" name="Freeform 124"/>
          <p:cNvSpPr>
            <a:spLocks noChangeAspect="1" noEditPoints="1"/>
          </p:cNvSpPr>
          <p:nvPr/>
        </p:nvSpPr>
        <p:spPr bwMode="auto">
          <a:xfrm>
            <a:off x="4607185" y="2532756"/>
            <a:ext cx="370763"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6" name="Group 127"/>
          <p:cNvGrpSpPr>
            <a:grpSpLocks noChangeAspect="1"/>
          </p:cNvGrpSpPr>
          <p:nvPr/>
        </p:nvGrpSpPr>
        <p:grpSpPr bwMode="auto">
          <a:xfrm>
            <a:off x="4187109" y="2532756"/>
            <a:ext cx="369676" cy="369676"/>
            <a:chOff x="5048" y="380"/>
            <a:chExt cx="340" cy="340"/>
          </a:xfrm>
          <a:solidFill>
            <a:schemeClr val="accent2"/>
          </a:solidFill>
        </p:grpSpPr>
        <p:sp>
          <p:nvSpPr>
            <p:cNvPr id="387"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8"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9" name="Freeform 133"/>
          <p:cNvSpPr>
            <a:spLocks noChangeAspect="1" noEditPoints="1"/>
          </p:cNvSpPr>
          <p:nvPr/>
        </p:nvSpPr>
        <p:spPr bwMode="auto">
          <a:xfrm>
            <a:off x="3767033" y="2532756"/>
            <a:ext cx="369676"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90" name="Group 136"/>
          <p:cNvGrpSpPr>
            <a:grpSpLocks noChangeAspect="1"/>
          </p:cNvGrpSpPr>
          <p:nvPr/>
        </p:nvGrpSpPr>
        <p:grpSpPr bwMode="auto">
          <a:xfrm>
            <a:off x="3346957" y="2532756"/>
            <a:ext cx="369676" cy="369676"/>
            <a:chOff x="4251" y="385"/>
            <a:chExt cx="340" cy="340"/>
          </a:xfrm>
          <a:solidFill>
            <a:schemeClr val="accent2"/>
          </a:solidFill>
        </p:grpSpPr>
        <p:sp>
          <p:nvSpPr>
            <p:cNvPr id="391" name="Freeform 137"/>
            <p:cNvSpPr>
              <a:spLocks noEditPoints="1"/>
            </p:cNvSpPr>
            <p:nvPr/>
          </p:nvSpPr>
          <p:spPr bwMode="auto">
            <a:xfrm>
              <a:off x="425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Freeform 138"/>
            <p:cNvSpPr>
              <a:spLocks noEditPoints="1"/>
            </p:cNvSpPr>
            <p:nvPr/>
          </p:nvSpPr>
          <p:spPr bwMode="auto">
            <a:xfrm>
              <a:off x="4359" y="477"/>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74 w 174"/>
                <a:gd name="T35" fmla="*/ 235 h 235"/>
                <a:gd name="T36" fmla="*/ 155 w 174"/>
                <a:gd name="T37" fmla="*/ 235 h 235"/>
                <a:gd name="T38" fmla="*/ 149 w 174"/>
                <a:gd name="T39" fmla="*/ 215 h 235"/>
                <a:gd name="T40" fmla="*/ 118 w 174"/>
                <a:gd name="T41" fmla="*/ 215 h 235"/>
                <a:gd name="T42" fmla="*/ 112 w 174"/>
                <a:gd name="T43" fmla="*/ 235 h 235"/>
                <a:gd name="T44" fmla="*/ 93 w 174"/>
                <a:gd name="T45" fmla="*/ 235 h 235"/>
                <a:gd name="T46" fmla="*/ 122 w 174"/>
                <a:gd name="T47" fmla="*/ 150 h 235"/>
                <a:gd name="T48" fmla="*/ 144 w 174"/>
                <a:gd name="T49" fmla="*/ 150 h 235"/>
                <a:gd name="T50" fmla="*/ 174 w 174"/>
                <a:gd name="T51" fmla="*/ 235 h 235"/>
                <a:gd name="T52" fmla="*/ 144 w 174"/>
                <a:gd name="T53" fmla="*/ 200 h 235"/>
                <a:gd name="T54" fmla="*/ 135 w 174"/>
                <a:gd name="T55" fmla="*/ 169 h 235"/>
                <a:gd name="T56" fmla="*/ 133 w 174"/>
                <a:gd name="T57" fmla="*/ 163 h 235"/>
                <a:gd name="T58" fmla="*/ 123 w 174"/>
                <a:gd name="T59" fmla="*/ 200 h 235"/>
                <a:gd name="T60" fmla="*/ 144 w 174"/>
                <a:gd name="T61" fmla="*/ 200 h 235"/>
                <a:gd name="T62" fmla="*/ 167 w 174"/>
                <a:gd name="T63" fmla="*/ 70 h 235"/>
                <a:gd name="T64" fmla="*/ 126 w 174"/>
                <a:gd name="T65" fmla="*/ 70 h 235"/>
                <a:gd name="T66" fmla="*/ 166 w 174"/>
                <a:gd name="T67" fmla="*/ 12 h 235"/>
                <a:gd name="T68" fmla="*/ 166 w 174"/>
                <a:gd name="T69" fmla="*/ 0 h 235"/>
                <a:gd name="T70" fmla="*/ 106 w 174"/>
                <a:gd name="T71" fmla="*/ 0 h 235"/>
                <a:gd name="T72" fmla="*/ 106 w 174"/>
                <a:gd name="T73" fmla="*/ 15 h 235"/>
                <a:gd name="T74" fmla="*/ 145 w 174"/>
                <a:gd name="T75" fmla="*/ 15 h 235"/>
                <a:gd name="T76" fmla="*/ 105 w 174"/>
                <a:gd name="T77" fmla="*/ 73 h 235"/>
                <a:gd name="T78" fmla="*/ 105 w 174"/>
                <a:gd name="T79" fmla="*/ 85 h 235"/>
                <a:gd name="T80" fmla="*/ 167 w 174"/>
                <a:gd name="T81" fmla="*/ 85 h 235"/>
                <a:gd name="T82" fmla="*/ 167 w 174"/>
                <a:gd name="T8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74" y="235"/>
                  </a:moveTo>
                  <a:cubicBezTo>
                    <a:pt x="155" y="235"/>
                    <a:pt x="155" y="235"/>
                    <a:pt x="155" y="235"/>
                  </a:cubicBezTo>
                  <a:cubicBezTo>
                    <a:pt x="149" y="215"/>
                    <a:pt x="149" y="215"/>
                    <a:pt x="149" y="215"/>
                  </a:cubicBezTo>
                  <a:cubicBezTo>
                    <a:pt x="118" y="215"/>
                    <a:pt x="118" y="215"/>
                    <a:pt x="118" y="215"/>
                  </a:cubicBezTo>
                  <a:cubicBezTo>
                    <a:pt x="112" y="235"/>
                    <a:pt x="112" y="235"/>
                    <a:pt x="112" y="235"/>
                  </a:cubicBezTo>
                  <a:cubicBezTo>
                    <a:pt x="93" y="235"/>
                    <a:pt x="93" y="235"/>
                    <a:pt x="93" y="235"/>
                  </a:cubicBezTo>
                  <a:cubicBezTo>
                    <a:pt x="122" y="150"/>
                    <a:pt x="122" y="150"/>
                    <a:pt x="122" y="150"/>
                  </a:cubicBezTo>
                  <a:cubicBezTo>
                    <a:pt x="144" y="150"/>
                    <a:pt x="144" y="150"/>
                    <a:pt x="144" y="150"/>
                  </a:cubicBezTo>
                  <a:lnTo>
                    <a:pt x="174" y="235"/>
                  </a:lnTo>
                  <a:close/>
                  <a:moveTo>
                    <a:pt x="144" y="200"/>
                  </a:moveTo>
                  <a:cubicBezTo>
                    <a:pt x="139" y="182"/>
                    <a:pt x="136" y="171"/>
                    <a:pt x="135" y="169"/>
                  </a:cubicBezTo>
                  <a:cubicBezTo>
                    <a:pt x="134" y="167"/>
                    <a:pt x="134" y="165"/>
                    <a:pt x="133" y="163"/>
                  </a:cubicBezTo>
                  <a:cubicBezTo>
                    <a:pt x="132" y="168"/>
                    <a:pt x="129" y="181"/>
                    <a:pt x="123" y="200"/>
                  </a:cubicBezTo>
                  <a:lnTo>
                    <a:pt x="144" y="200"/>
                  </a:lnTo>
                  <a:close/>
                  <a:moveTo>
                    <a:pt x="167" y="70"/>
                  </a:moveTo>
                  <a:cubicBezTo>
                    <a:pt x="126" y="70"/>
                    <a:pt x="126" y="70"/>
                    <a:pt x="126" y="70"/>
                  </a:cubicBezTo>
                  <a:cubicBezTo>
                    <a:pt x="166" y="12"/>
                    <a:pt x="166" y="12"/>
                    <a:pt x="166" y="12"/>
                  </a:cubicBezTo>
                  <a:cubicBezTo>
                    <a:pt x="166" y="0"/>
                    <a:pt x="166" y="0"/>
                    <a:pt x="166" y="0"/>
                  </a:cubicBezTo>
                  <a:cubicBezTo>
                    <a:pt x="106" y="0"/>
                    <a:pt x="106" y="0"/>
                    <a:pt x="106" y="0"/>
                  </a:cubicBezTo>
                  <a:cubicBezTo>
                    <a:pt x="106" y="15"/>
                    <a:pt x="106" y="15"/>
                    <a:pt x="106" y="15"/>
                  </a:cubicBezTo>
                  <a:cubicBezTo>
                    <a:pt x="145" y="15"/>
                    <a:pt x="145" y="15"/>
                    <a:pt x="145" y="15"/>
                  </a:cubicBezTo>
                  <a:cubicBezTo>
                    <a:pt x="105" y="73"/>
                    <a:pt x="105" y="73"/>
                    <a:pt x="105" y="73"/>
                  </a:cubicBezTo>
                  <a:cubicBezTo>
                    <a:pt x="105" y="85"/>
                    <a:pt x="105" y="85"/>
                    <a:pt x="105" y="85"/>
                  </a:cubicBezTo>
                  <a:cubicBezTo>
                    <a:pt x="167" y="85"/>
                    <a:pt x="167" y="85"/>
                    <a:pt x="167" y="85"/>
                  </a:cubicBezTo>
                  <a:lnTo>
                    <a:pt x="167"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3" name="Freeform 142"/>
          <p:cNvSpPr>
            <a:spLocks noChangeAspect="1" noEditPoints="1"/>
          </p:cNvSpPr>
          <p:nvPr/>
        </p:nvSpPr>
        <p:spPr bwMode="auto">
          <a:xfrm>
            <a:off x="2926881" y="2532756"/>
            <a:ext cx="369676" cy="369676"/>
          </a:xfrm>
          <a:custGeom>
            <a:avLst/>
            <a:gdLst>
              <a:gd name="T0" fmla="*/ 298 w 512"/>
              <a:gd name="T1" fmla="*/ 307 h 512"/>
              <a:gd name="T2" fmla="*/ 307 w 512"/>
              <a:gd name="T3" fmla="*/ 338 h 512"/>
              <a:gd name="T4" fmla="*/ 286 w 512"/>
              <a:gd name="T5" fmla="*/ 338 h 512"/>
              <a:gd name="T6" fmla="*/ 296 w 512"/>
              <a:gd name="T7" fmla="*/ 301 h 512"/>
              <a:gd name="T8" fmla="*/ 298 w 512"/>
              <a:gd name="T9" fmla="*/ 30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37 w 512"/>
              <a:gd name="T21" fmla="*/ 327 h 512"/>
              <a:gd name="T22" fmla="*/ 222 w 512"/>
              <a:gd name="T23" fmla="*/ 327 h 512"/>
              <a:gd name="T24" fmla="*/ 213 w 512"/>
              <a:gd name="T25" fmla="*/ 337 h 512"/>
              <a:gd name="T26" fmla="*/ 213 w 512"/>
              <a:gd name="T27" fmla="*/ 149 h 512"/>
              <a:gd name="T28" fmla="*/ 202 w 512"/>
              <a:gd name="T29" fmla="*/ 138 h 512"/>
              <a:gd name="T30" fmla="*/ 192 w 512"/>
              <a:gd name="T31" fmla="*/ 149 h 512"/>
              <a:gd name="T32" fmla="*/ 192 w 512"/>
              <a:gd name="T33" fmla="*/ 337 h 512"/>
              <a:gd name="T34" fmla="*/ 182 w 512"/>
              <a:gd name="T35" fmla="*/ 327 h 512"/>
              <a:gd name="T36" fmla="*/ 167 w 512"/>
              <a:gd name="T37" fmla="*/ 327 h 512"/>
              <a:gd name="T38" fmla="*/ 167 w 512"/>
              <a:gd name="T39" fmla="*/ 342 h 512"/>
              <a:gd name="T40" fmla="*/ 195 w 512"/>
              <a:gd name="T41" fmla="*/ 370 h 512"/>
              <a:gd name="T42" fmla="*/ 198 w 512"/>
              <a:gd name="T43" fmla="*/ 372 h 512"/>
              <a:gd name="T44" fmla="*/ 202 w 512"/>
              <a:gd name="T45" fmla="*/ 373 h 512"/>
              <a:gd name="T46" fmla="*/ 206 w 512"/>
              <a:gd name="T47" fmla="*/ 372 h 512"/>
              <a:gd name="T48" fmla="*/ 210 w 512"/>
              <a:gd name="T49" fmla="*/ 370 h 512"/>
              <a:gd name="T50" fmla="*/ 237 w 512"/>
              <a:gd name="T51" fmla="*/ 342 h 512"/>
              <a:gd name="T52" fmla="*/ 237 w 512"/>
              <a:gd name="T53" fmla="*/ 327 h 512"/>
              <a:gd name="T54" fmla="*/ 268 w 512"/>
              <a:gd name="T55" fmla="*/ 223 h 512"/>
              <a:gd name="T56" fmla="*/ 330 w 512"/>
              <a:gd name="T57" fmla="*/ 223 h 512"/>
              <a:gd name="T58" fmla="*/ 330 w 512"/>
              <a:gd name="T59" fmla="*/ 208 h 512"/>
              <a:gd name="T60" fmla="*/ 289 w 512"/>
              <a:gd name="T61" fmla="*/ 208 h 512"/>
              <a:gd name="T62" fmla="*/ 329 w 512"/>
              <a:gd name="T63" fmla="*/ 150 h 512"/>
              <a:gd name="T64" fmla="*/ 329 w 512"/>
              <a:gd name="T65" fmla="*/ 138 h 512"/>
              <a:gd name="T66" fmla="*/ 269 w 512"/>
              <a:gd name="T67" fmla="*/ 138 h 512"/>
              <a:gd name="T68" fmla="*/ 269 w 512"/>
              <a:gd name="T69" fmla="*/ 153 h 512"/>
              <a:gd name="T70" fmla="*/ 308 w 512"/>
              <a:gd name="T71" fmla="*/ 153 h 512"/>
              <a:gd name="T72" fmla="*/ 268 w 512"/>
              <a:gd name="T73" fmla="*/ 211 h 512"/>
              <a:gd name="T74" fmla="*/ 268 w 512"/>
              <a:gd name="T75" fmla="*/ 223 h 512"/>
              <a:gd name="T76" fmla="*/ 337 w 512"/>
              <a:gd name="T77" fmla="*/ 373 h 512"/>
              <a:gd name="T78" fmla="*/ 307 w 512"/>
              <a:gd name="T79" fmla="*/ 288 h 512"/>
              <a:gd name="T80" fmla="*/ 285 w 512"/>
              <a:gd name="T81" fmla="*/ 288 h 512"/>
              <a:gd name="T82" fmla="*/ 256 w 512"/>
              <a:gd name="T83" fmla="*/ 373 h 512"/>
              <a:gd name="T84" fmla="*/ 275 w 512"/>
              <a:gd name="T85" fmla="*/ 373 h 512"/>
              <a:gd name="T86" fmla="*/ 281 w 512"/>
              <a:gd name="T87" fmla="*/ 353 h 512"/>
              <a:gd name="T88" fmla="*/ 312 w 512"/>
              <a:gd name="T89" fmla="*/ 353 h 512"/>
              <a:gd name="T90" fmla="*/ 318 w 512"/>
              <a:gd name="T91" fmla="*/ 373 h 512"/>
              <a:gd name="T92" fmla="*/ 337 w 512"/>
              <a:gd name="T9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98" y="307"/>
                </a:moveTo>
                <a:cubicBezTo>
                  <a:pt x="299" y="309"/>
                  <a:pt x="302" y="320"/>
                  <a:pt x="307" y="338"/>
                </a:cubicBezTo>
                <a:cubicBezTo>
                  <a:pt x="286" y="338"/>
                  <a:pt x="286" y="338"/>
                  <a:pt x="286" y="338"/>
                </a:cubicBezTo>
                <a:cubicBezTo>
                  <a:pt x="292" y="319"/>
                  <a:pt x="295" y="306"/>
                  <a:pt x="296" y="301"/>
                </a:cubicBezTo>
                <a:cubicBezTo>
                  <a:pt x="297" y="303"/>
                  <a:pt x="297" y="305"/>
                  <a:pt x="298" y="30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8" y="223"/>
                </a:moveTo>
                <a:cubicBezTo>
                  <a:pt x="330" y="223"/>
                  <a:pt x="330" y="223"/>
                  <a:pt x="330" y="223"/>
                </a:cubicBezTo>
                <a:cubicBezTo>
                  <a:pt x="330" y="208"/>
                  <a:pt x="330" y="208"/>
                  <a:pt x="330" y="208"/>
                </a:cubicBezTo>
                <a:cubicBezTo>
                  <a:pt x="289" y="208"/>
                  <a:pt x="289" y="208"/>
                  <a:pt x="289" y="208"/>
                </a:cubicBezTo>
                <a:cubicBezTo>
                  <a:pt x="329" y="150"/>
                  <a:pt x="329" y="150"/>
                  <a:pt x="329" y="150"/>
                </a:cubicBezTo>
                <a:cubicBezTo>
                  <a:pt x="329" y="138"/>
                  <a:pt x="329" y="138"/>
                  <a:pt x="329" y="138"/>
                </a:cubicBezTo>
                <a:cubicBezTo>
                  <a:pt x="269" y="138"/>
                  <a:pt x="269" y="138"/>
                  <a:pt x="269" y="138"/>
                </a:cubicBezTo>
                <a:cubicBezTo>
                  <a:pt x="269" y="153"/>
                  <a:pt x="269" y="153"/>
                  <a:pt x="269" y="153"/>
                </a:cubicBezTo>
                <a:cubicBezTo>
                  <a:pt x="308" y="153"/>
                  <a:pt x="308" y="153"/>
                  <a:pt x="308" y="153"/>
                </a:cubicBezTo>
                <a:cubicBezTo>
                  <a:pt x="268" y="211"/>
                  <a:pt x="268" y="211"/>
                  <a:pt x="268" y="211"/>
                </a:cubicBezTo>
                <a:lnTo>
                  <a:pt x="268" y="223"/>
                </a:lnTo>
                <a:close/>
                <a:moveTo>
                  <a:pt x="337" y="373"/>
                </a:moveTo>
                <a:cubicBezTo>
                  <a:pt x="307" y="288"/>
                  <a:pt x="307" y="288"/>
                  <a:pt x="307" y="288"/>
                </a:cubicBezTo>
                <a:cubicBezTo>
                  <a:pt x="285" y="288"/>
                  <a:pt x="285" y="288"/>
                  <a:pt x="285" y="288"/>
                </a:cubicBezTo>
                <a:cubicBezTo>
                  <a:pt x="256" y="373"/>
                  <a:pt x="256" y="373"/>
                  <a:pt x="256" y="373"/>
                </a:cubicBezTo>
                <a:cubicBezTo>
                  <a:pt x="275" y="373"/>
                  <a:pt x="275" y="373"/>
                  <a:pt x="275" y="373"/>
                </a:cubicBezTo>
                <a:cubicBezTo>
                  <a:pt x="281" y="353"/>
                  <a:pt x="281" y="353"/>
                  <a:pt x="281" y="353"/>
                </a:cubicBezTo>
                <a:cubicBezTo>
                  <a:pt x="312" y="353"/>
                  <a:pt x="312" y="353"/>
                  <a:pt x="312" y="353"/>
                </a:cubicBezTo>
                <a:cubicBezTo>
                  <a:pt x="318" y="373"/>
                  <a:pt x="318" y="373"/>
                  <a:pt x="318" y="373"/>
                </a:cubicBezTo>
                <a:lnTo>
                  <a:pt x="337"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94" name="Group 145"/>
          <p:cNvGrpSpPr>
            <a:grpSpLocks noChangeAspect="1"/>
          </p:cNvGrpSpPr>
          <p:nvPr/>
        </p:nvGrpSpPr>
        <p:grpSpPr bwMode="auto">
          <a:xfrm>
            <a:off x="2506805" y="2532756"/>
            <a:ext cx="369676" cy="369676"/>
            <a:chOff x="3490" y="388"/>
            <a:chExt cx="340" cy="340"/>
          </a:xfrm>
          <a:solidFill>
            <a:schemeClr val="accent2"/>
          </a:solidFill>
        </p:grpSpPr>
        <p:sp>
          <p:nvSpPr>
            <p:cNvPr id="395" name="Freeform 146"/>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6" name="Freeform 147"/>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7" name="Freeform 151"/>
          <p:cNvSpPr>
            <a:spLocks noChangeAspect="1" noEditPoints="1"/>
          </p:cNvSpPr>
          <p:nvPr/>
        </p:nvSpPr>
        <p:spPr bwMode="auto">
          <a:xfrm>
            <a:off x="2086729" y="253275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98" name="Group 266"/>
          <p:cNvGrpSpPr>
            <a:grpSpLocks noChangeAspect="1"/>
          </p:cNvGrpSpPr>
          <p:nvPr/>
        </p:nvGrpSpPr>
        <p:grpSpPr bwMode="auto">
          <a:xfrm>
            <a:off x="7549883" y="2532756"/>
            <a:ext cx="369676" cy="369676"/>
            <a:chOff x="1926" y="792"/>
            <a:chExt cx="340" cy="340"/>
          </a:xfrm>
          <a:solidFill>
            <a:schemeClr val="accent3"/>
          </a:solidFill>
        </p:grpSpPr>
        <p:sp>
          <p:nvSpPr>
            <p:cNvPr id="399" name="Freeform 267"/>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Freeform 268"/>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1" name="Freeform 272"/>
          <p:cNvSpPr>
            <a:spLocks noChangeAspect="1" noEditPoints="1"/>
          </p:cNvSpPr>
          <p:nvPr/>
        </p:nvSpPr>
        <p:spPr bwMode="auto">
          <a:xfrm>
            <a:off x="7129815" y="2532756"/>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0" name="Group 387"/>
          <p:cNvGrpSpPr>
            <a:grpSpLocks noChangeAspect="1"/>
          </p:cNvGrpSpPr>
          <p:nvPr/>
        </p:nvGrpSpPr>
        <p:grpSpPr bwMode="auto">
          <a:xfrm>
            <a:off x="7539250" y="1712574"/>
            <a:ext cx="369676" cy="369676"/>
            <a:chOff x="7354" y="1520"/>
            <a:chExt cx="340" cy="340"/>
          </a:xfrm>
          <a:solidFill>
            <a:schemeClr val="accent5"/>
          </a:solidFill>
        </p:grpSpPr>
        <p:sp>
          <p:nvSpPr>
            <p:cNvPr id="411"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3" name="Freeform 393"/>
          <p:cNvSpPr>
            <a:spLocks noChangeAspect="1" noEditPoints="1"/>
          </p:cNvSpPr>
          <p:nvPr/>
        </p:nvSpPr>
        <p:spPr bwMode="auto">
          <a:xfrm>
            <a:off x="7119178" y="1711487"/>
            <a:ext cx="369676" cy="370763"/>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8" name="Group 759"/>
          <p:cNvGrpSpPr>
            <a:grpSpLocks noChangeAspect="1"/>
          </p:cNvGrpSpPr>
          <p:nvPr/>
        </p:nvGrpSpPr>
        <p:grpSpPr bwMode="auto">
          <a:xfrm>
            <a:off x="824004" y="3372842"/>
            <a:ext cx="369676" cy="369676"/>
            <a:chOff x="2732" y="2698"/>
            <a:chExt cx="340" cy="340"/>
          </a:xfrm>
          <a:solidFill>
            <a:schemeClr val="accent2"/>
          </a:solidFill>
        </p:grpSpPr>
        <p:sp>
          <p:nvSpPr>
            <p:cNvPr id="419"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1" name="Freeform 765"/>
          <p:cNvSpPr>
            <a:spLocks noChangeAspect="1" noEditPoints="1"/>
          </p:cNvSpPr>
          <p:nvPr/>
        </p:nvSpPr>
        <p:spPr bwMode="auto">
          <a:xfrm>
            <a:off x="405010" y="3372842"/>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4" name="TextBox 113"/>
          <p:cNvSpPr txBox="1"/>
          <p:nvPr/>
        </p:nvSpPr>
        <p:spPr>
          <a:xfrm>
            <a:off x="1234743" y="381210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cissors</a:t>
            </a:r>
          </a:p>
        </p:txBody>
      </p:sp>
      <p:grpSp>
        <p:nvGrpSpPr>
          <p:cNvPr id="115" name="Group 920"/>
          <p:cNvGrpSpPr>
            <a:grpSpLocks noChangeAspect="1"/>
          </p:cNvGrpSpPr>
          <p:nvPr/>
        </p:nvGrpSpPr>
        <p:grpSpPr bwMode="auto">
          <a:xfrm>
            <a:off x="1674862" y="3372842"/>
            <a:ext cx="369021" cy="369021"/>
            <a:chOff x="1865" y="3468"/>
            <a:chExt cx="340" cy="340"/>
          </a:xfrm>
          <a:solidFill>
            <a:schemeClr val="accent4"/>
          </a:solidFill>
        </p:grpSpPr>
        <p:sp>
          <p:nvSpPr>
            <p:cNvPr id="116" name="Line 921"/>
            <p:cNvSpPr>
              <a:spLocks noChangeShapeType="1"/>
            </p:cNvSpPr>
            <p:nvPr/>
          </p:nvSpPr>
          <p:spPr bwMode="auto">
            <a:xfrm>
              <a:off x="2030" y="363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Line 922"/>
            <p:cNvSpPr>
              <a:spLocks noChangeShapeType="1"/>
            </p:cNvSpPr>
            <p:nvPr/>
          </p:nvSpPr>
          <p:spPr bwMode="auto">
            <a:xfrm>
              <a:off x="2030" y="363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Line 923"/>
            <p:cNvSpPr>
              <a:spLocks noChangeShapeType="1"/>
            </p:cNvSpPr>
            <p:nvPr/>
          </p:nvSpPr>
          <p:spPr bwMode="auto">
            <a:xfrm>
              <a:off x="2030" y="368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Line 924"/>
            <p:cNvSpPr>
              <a:spLocks noChangeShapeType="1"/>
            </p:cNvSpPr>
            <p:nvPr/>
          </p:nvSpPr>
          <p:spPr bwMode="auto">
            <a:xfrm>
              <a:off x="2030" y="368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25"/>
            <p:cNvSpPr>
              <a:spLocks/>
            </p:cNvSpPr>
            <p:nvPr/>
          </p:nvSpPr>
          <p:spPr bwMode="auto">
            <a:xfrm>
              <a:off x="2028" y="3532"/>
              <a:ext cx="14" cy="77"/>
            </a:xfrm>
            <a:custGeom>
              <a:avLst/>
              <a:gdLst>
                <a:gd name="T0" fmla="*/ 11 w 21"/>
                <a:gd name="T1" fmla="*/ 117 h 117"/>
                <a:gd name="T2" fmla="*/ 21 w 21"/>
                <a:gd name="T3" fmla="*/ 106 h 117"/>
                <a:gd name="T4" fmla="*/ 21 w 21"/>
                <a:gd name="T5" fmla="*/ 10 h 117"/>
                <a:gd name="T6" fmla="*/ 11 w 21"/>
                <a:gd name="T7" fmla="*/ 0 h 117"/>
                <a:gd name="T8" fmla="*/ 0 w 21"/>
                <a:gd name="T9" fmla="*/ 10 h 117"/>
                <a:gd name="T10" fmla="*/ 0 w 21"/>
                <a:gd name="T11" fmla="*/ 106 h 117"/>
                <a:gd name="T12" fmla="*/ 11 w 21"/>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1" h="117">
                  <a:moveTo>
                    <a:pt x="11" y="117"/>
                  </a:moveTo>
                  <a:cubicBezTo>
                    <a:pt x="17" y="117"/>
                    <a:pt x="21" y="112"/>
                    <a:pt x="21" y="106"/>
                  </a:cubicBezTo>
                  <a:cubicBezTo>
                    <a:pt x="21" y="10"/>
                    <a:pt x="21" y="10"/>
                    <a:pt x="21" y="10"/>
                  </a:cubicBezTo>
                  <a:cubicBezTo>
                    <a:pt x="21" y="4"/>
                    <a:pt x="17" y="0"/>
                    <a:pt x="11" y="0"/>
                  </a:cubicBezTo>
                  <a:cubicBezTo>
                    <a:pt x="5" y="0"/>
                    <a:pt x="0" y="4"/>
                    <a:pt x="0" y="10"/>
                  </a:cubicBezTo>
                  <a:cubicBezTo>
                    <a:pt x="0" y="106"/>
                    <a:pt x="0" y="106"/>
                    <a:pt x="0" y="106"/>
                  </a:cubicBezTo>
                  <a:cubicBezTo>
                    <a:pt x="0" y="112"/>
                    <a:pt x="5" y="117"/>
                    <a:pt x="11"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926"/>
            <p:cNvSpPr>
              <a:spLocks noEditPoints="1"/>
            </p:cNvSpPr>
            <p:nvPr/>
          </p:nvSpPr>
          <p:spPr bwMode="auto">
            <a:xfrm>
              <a:off x="1929" y="3594"/>
              <a:ext cx="205" cy="150"/>
            </a:xfrm>
            <a:custGeom>
              <a:avLst/>
              <a:gdLst>
                <a:gd name="T0" fmla="*/ 308 w 309"/>
                <a:gd name="T1" fmla="*/ 9 h 227"/>
                <a:gd name="T2" fmla="*/ 295 w 309"/>
                <a:gd name="T3" fmla="*/ 2 h 227"/>
                <a:gd name="T4" fmla="*/ 79 w 309"/>
                <a:gd name="T5" fmla="*/ 66 h 227"/>
                <a:gd name="T6" fmla="*/ 73 w 309"/>
                <a:gd name="T7" fmla="*/ 58 h 227"/>
                <a:gd name="T8" fmla="*/ 42 w 309"/>
                <a:gd name="T9" fmla="*/ 45 h 227"/>
                <a:gd name="T10" fmla="*/ 42 w 309"/>
                <a:gd name="T11" fmla="*/ 45 h 227"/>
                <a:gd name="T12" fmla="*/ 12 w 309"/>
                <a:gd name="T13" fmla="*/ 58 h 227"/>
                <a:gd name="T14" fmla="*/ 0 w 309"/>
                <a:gd name="T15" fmla="*/ 88 h 227"/>
                <a:gd name="T16" fmla="*/ 12 w 309"/>
                <a:gd name="T17" fmla="*/ 118 h 227"/>
                <a:gd name="T18" fmla="*/ 42 w 309"/>
                <a:gd name="T19" fmla="*/ 131 h 227"/>
                <a:gd name="T20" fmla="*/ 42 w 309"/>
                <a:gd name="T21" fmla="*/ 131 h 227"/>
                <a:gd name="T22" fmla="*/ 72 w 309"/>
                <a:gd name="T23" fmla="*/ 118 h 227"/>
                <a:gd name="T24" fmla="*/ 85 w 309"/>
                <a:gd name="T25" fmla="*/ 88 h 227"/>
                <a:gd name="T26" fmla="*/ 85 w 309"/>
                <a:gd name="T27" fmla="*/ 87 h 227"/>
                <a:gd name="T28" fmla="*/ 149 w 309"/>
                <a:gd name="T29" fmla="*/ 67 h 227"/>
                <a:gd name="T30" fmla="*/ 149 w 309"/>
                <a:gd name="T31" fmla="*/ 143 h 227"/>
                <a:gd name="T32" fmla="*/ 117 w 309"/>
                <a:gd name="T33" fmla="*/ 183 h 227"/>
                <a:gd name="T34" fmla="*/ 129 w 309"/>
                <a:gd name="T35" fmla="*/ 214 h 227"/>
                <a:gd name="T36" fmla="*/ 159 w 309"/>
                <a:gd name="T37" fmla="*/ 227 h 227"/>
                <a:gd name="T38" fmla="*/ 160 w 309"/>
                <a:gd name="T39" fmla="*/ 227 h 227"/>
                <a:gd name="T40" fmla="*/ 202 w 309"/>
                <a:gd name="T41" fmla="*/ 185 h 227"/>
                <a:gd name="T42" fmla="*/ 190 w 309"/>
                <a:gd name="T43" fmla="*/ 154 h 227"/>
                <a:gd name="T44" fmla="*/ 170 w 309"/>
                <a:gd name="T45" fmla="*/ 143 h 227"/>
                <a:gd name="T46" fmla="*/ 170 w 309"/>
                <a:gd name="T47" fmla="*/ 61 h 227"/>
                <a:gd name="T48" fmla="*/ 301 w 309"/>
                <a:gd name="T49" fmla="*/ 22 h 227"/>
                <a:gd name="T50" fmla="*/ 308 w 309"/>
                <a:gd name="T51" fmla="*/ 9 h 227"/>
                <a:gd name="T52" fmla="*/ 57 w 309"/>
                <a:gd name="T53" fmla="*/ 103 h 227"/>
                <a:gd name="T54" fmla="*/ 42 w 309"/>
                <a:gd name="T55" fmla="*/ 109 h 227"/>
                <a:gd name="T56" fmla="*/ 42 w 309"/>
                <a:gd name="T57" fmla="*/ 109 h 227"/>
                <a:gd name="T58" fmla="*/ 27 w 309"/>
                <a:gd name="T59" fmla="*/ 103 h 227"/>
                <a:gd name="T60" fmla="*/ 21 w 309"/>
                <a:gd name="T61" fmla="*/ 88 h 227"/>
                <a:gd name="T62" fmla="*/ 27 w 309"/>
                <a:gd name="T63" fmla="*/ 73 h 227"/>
                <a:gd name="T64" fmla="*/ 42 w 309"/>
                <a:gd name="T65" fmla="*/ 67 h 227"/>
                <a:gd name="T66" fmla="*/ 42 w 309"/>
                <a:gd name="T67" fmla="*/ 67 h 227"/>
                <a:gd name="T68" fmla="*/ 57 w 309"/>
                <a:gd name="T69" fmla="*/ 73 h 227"/>
                <a:gd name="T70" fmla="*/ 64 w 309"/>
                <a:gd name="T71" fmla="*/ 88 h 227"/>
                <a:gd name="T72" fmla="*/ 57 w 309"/>
                <a:gd name="T73" fmla="*/ 103 h 227"/>
                <a:gd name="T74" fmla="*/ 175 w 309"/>
                <a:gd name="T75" fmla="*/ 169 h 227"/>
                <a:gd name="T76" fmla="*/ 181 w 309"/>
                <a:gd name="T77" fmla="*/ 184 h 227"/>
                <a:gd name="T78" fmla="*/ 160 w 309"/>
                <a:gd name="T79" fmla="*/ 205 h 227"/>
                <a:gd name="T80" fmla="*/ 159 w 309"/>
                <a:gd name="T81" fmla="*/ 205 h 227"/>
                <a:gd name="T82" fmla="*/ 144 w 309"/>
                <a:gd name="T83" fmla="*/ 199 h 227"/>
                <a:gd name="T84" fmla="*/ 138 w 309"/>
                <a:gd name="T85" fmla="*/ 184 h 227"/>
                <a:gd name="T86" fmla="*/ 160 w 309"/>
                <a:gd name="T87" fmla="*/ 163 h 227"/>
                <a:gd name="T88" fmla="*/ 160 w 309"/>
                <a:gd name="T89" fmla="*/ 163 h 227"/>
                <a:gd name="T90" fmla="*/ 175 w 309"/>
                <a:gd name="T91" fmla="*/ 16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227">
                  <a:moveTo>
                    <a:pt x="308" y="9"/>
                  </a:moveTo>
                  <a:cubicBezTo>
                    <a:pt x="306" y="4"/>
                    <a:pt x="300" y="0"/>
                    <a:pt x="295" y="2"/>
                  </a:cubicBezTo>
                  <a:cubicBezTo>
                    <a:pt x="79" y="66"/>
                    <a:pt x="79" y="66"/>
                    <a:pt x="79" y="66"/>
                  </a:cubicBezTo>
                  <a:cubicBezTo>
                    <a:pt x="77" y="63"/>
                    <a:pt x="75" y="60"/>
                    <a:pt x="73" y="58"/>
                  </a:cubicBezTo>
                  <a:cubicBezTo>
                    <a:pt x="65" y="50"/>
                    <a:pt x="54" y="45"/>
                    <a:pt x="42" y="45"/>
                  </a:cubicBezTo>
                  <a:cubicBezTo>
                    <a:pt x="42" y="45"/>
                    <a:pt x="42" y="45"/>
                    <a:pt x="42" y="45"/>
                  </a:cubicBezTo>
                  <a:cubicBezTo>
                    <a:pt x="31" y="45"/>
                    <a:pt x="20" y="50"/>
                    <a:pt x="12" y="58"/>
                  </a:cubicBezTo>
                  <a:cubicBezTo>
                    <a:pt x="4" y="66"/>
                    <a:pt x="0" y="77"/>
                    <a:pt x="0" y="88"/>
                  </a:cubicBezTo>
                  <a:cubicBezTo>
                    <a:pt x="0" y="99"/>
                    <a:pt x="4" y="110"/>
                    <a:pt x="12" y="118"/>
                  </a:cubicBezTo>
                  <a:cubicBezTo>
                    <a:pt x="20" y="126"/>
                    <a:pt x="31" y="131"/>
                    <a:pt x="42" y="131"/>
                  </a:cubicBezTo>
                  <a:cubicBezTo>
                    <a:pt x="42" y="131"/>
                    <a:pt x="42" y="131"/>
                    <a:pt x="42" y="131"/>
                  </a:cubicBezTo>
                  <a:cubicBezTo>
                    <a:pt x="54" y="131"/>
                    <a:pt x="64" y="126"/>
                    <a:pt x="72" y="118"/>
                  </a:cubicBezTo>
                  <a:cubicBezTo>
                    <a:pt x="81" y="110"/>
                    <a:pt x="85" y="99"/>
                    <a:pt x="85" y="88"/>
                  </a:cubicBezTo>
                  <a:cubicBezTo>
                    <a:pt x="85" y="88"/>
                    <a:pt x="85" y="87"/>
                    <a:pt x="85" y="87"/>
                  </a:cubicBezTo>
                  <a:cubicBezTo>
                    <a:pt x="149" y="67"/>
                    <a:pt x="149" y="67"/>
                    <a:pt x="149" y="67"/>
                  </a:cubicBezTo>
                  <a:cubicBezTo>
                    <a:pt x="149" y="143"/>
                    <a:pt x="149" y="143"/>
                    <a:pt x="149" y="143"/>
                  </a:cubicBezTo>
                  <a:cubicBezTo>
                    <a:pt x="131" y="148"/>
                    <a:pt x="117" y="164"/>
                    <a:pt x="117" y="183"/>
                  </a:cubicBezTo>
                  <a:cubicBezTo>
                    <a:pt x="117" y="195"/>
                    <a:pt x="121" y="206"/>
                    <a:pt x="129" y="214"/>
                  </a:cubicBezTo>
                  <a:cubicBezTo>
                    <a:pt x="137" y="222"/>
                    <a:pt x="148" y="226"/>
                    <a:pt x="159" y="227"/>
                  </a:cubicBezTo>
                  <a:cubicBezTo>
                    <a:pt x="159" y="227"/>
                    <a:pt x="159" y="227"/>
                    <a:pt x="160" y="227"/>
                  </a:cubicBezTo>
                  <a:cubicBezTo>
                    <a:pt x="183" y="227"/>
                    <a:pt x="202" y="208"/>
                    <a:pt x="202" y="185"/>
                  </a:cubicBezTo>
                  <a:cubicBezTo>
                    <a:pt x="203" y="173"/>
                    <a:pt x="198" y="162"/>
                    <a:pt x="190" y="154"/>
                  </a:cubicBezTo>
                  <a:cubicBezTo>
                    <a:pt x="185" y="149"/>
                    <a:pt x="178" y="145"/>
                    <a:pt x="170" y="143"/>
                  </a:cubicBezTo>
                  <a:cubicBezTo>
                    <a:pt x="170" y="61"/>
                    <a:pt x="170" y="61"/>
                    <a:pt x="170" y="61"/>
                  </a:cubicBezTo>
                  <a:cubicBezTo>
                    <a:pt x="301" y="22"/>
                    <a:pt x="301" y="22"/>
                    <a:pt x="301" y="22"/>
                  </a:cubicBezTo>
                  <a:cubicBezTo>
                    <a:pt x="306" y="21"/>
                    <a:pt x="309" y="15"/>
                    <a:pt x="308" y="9"/>
                  </a:cubicBezTo>
                  <a:close/>
                  <a:moveTo>
                    <a:pt x="57" y="103"/>
                  </a:moveTo>
                  <a:cubicBezTo>
                    <a:pt x="53" y="107"/>
                    <a:pt x="48" y="109"/>
                    <a:pt x="42" y="109"/>
                  </a:cubicBezTo>
                  <a:cubicBezTo>
                    <a:pt x="42" y="109"/>
                    <a:pt x="42" y="109"/>
                    <a:pt x="42" y="109"/>
                  </a:cubicBezTo>
                  <a:cubicBezTo>
                    <a:pt x="37" y="109"/>
                    <a:pt x="31" y="107"/>
                    <a:pt x="27" y="103"/>
                  </a:cubicBezTo>
                  <a:cubicBezTo>
                    <a:pt x="23" y="99"/>
                    <a:pt x="21" y="94"/>
                    <a:pt x="21" y="88"/>
                  </a:cubicBezTo>
                  <a:cubicBezTo>
                    <a:pt x="21" y="82"/>
                    <a:pt x="23" y="77"/>
                    <a:pt x="27" y="73"/>
                  </a:cubicBezTo>
                  <a:cubicBezTo>
                    <a:pt x="31" y="69"/>
                    <a:pt x="37" y="67"/>
                    <a:pt x="42" y="67"/>
                  </a:cubicBezTo>
                  <a:cubicBezTo>
                    <a:pt x="42" y="67"/>
                    <a:pt x="42" y="67"/>
                    <a:pt x="42" y="67"/>
                  </a:cubicBezTo>
                  <a:cubicBezTo>
                    <a:pt x="48" y="67"/>
                    <a:pt x="53" y="69"/>
                    <a:pt x="57" y="73"/>
                  </a:cubicBezTo>
                  <a:cubicBezTo>
                    <a:pt x="61" y="77"/>
                    <a:pt x="64" y="82"/>
                    <a:pt x="64" y="88"/>
                  </a:cubicBezTo>
                  <a:cubicBezTo>
                    <a:pt x="64" y="94"/>
                    <a:pt x="61" y="99"/>
                    <a:pt x="57" y="103"/>
                  </a:cubicBezTo>
                  <a:close/>
                  <a:moveTo>
                    <a:pt x="175" y="169"/>
                  </a:moveTo>
                  <a:cubicBezTo>
                    <a:pt x="179" y="173"/>
                    <a:pt x="181" y="179"/>
                    <a:pt x="181" y="184"/>
                  </a:cubicBezTo>
                  <a:cubicBezTo>
                    <a:pt x="181" y="196"/>
                    <a:pt x="171" y="205"/>
                    <a:pt x="160" y="205"/>
                  </a:cubicBezTo>
                  <a:cubicBezTo>
                    <a:pt x="160" y="205"/>
                    <a:pt x="159" y="205"/>
                    <a:pt x="159" y="205"/>
                  </a:cubicBezTo>
                  <a:cubicBezTo>
                    <a:pt x="154" y="205"/>
                    <a:pt x="148" y="203"/>
                    <a:pt x="144" y="199"/>
                  </a:cubicBezTo>
                  <a:cubicBezTo>
                    <a:pt x="140" y="195"/>
                    <a:pt x="138" y="189"/>
                    <a:pt x="138" y="184"/>
                  </a:cubicBezTo>
                  <a:cubicBezTo>
                    <a:pt x="139" y="172"/>
                    <a:pt x="148" y="163"/>
                    <a:pt x="160" y="163"/>
                  </a:cubicBezTo>
                  <a:cubicBezTo>
                    <a:pt x="160" y="163"/>
                    <a:pt x="160" y="163"/>
                    <a:pt x="160" y="163"/>
                  </a:cubicBezTo>
                  <a:cubicBezTo>
                    <a:pt x="166" y="163"/>
                    <a:pt x="171" y="165"/>
                    <a:pt x="175" y="1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927"/>
            <p:cNvSpPr>
              <a:spLocks noEditPoints="1"/>
            </p:cNvSpPr>
            <p:nvPr/>
          </p:nvSpPr>
          <p:spPr bwMode="auto">
            <a:xfrm>
              <a:off x="1865"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3" name="Freeform 931"/>
          <p:cNvSpPr>
            <a:spLocks noChangeAspect="1" noEditPoints="1"/>
          </p:cNvSpPr>
          <p:nvPr/>
        </p:nvSpPr>
        <p:spPr bwMode="auto">
          <a:xfrm>
            <a:off x="1255859" y="3372842"/>
            <a:ext cx="369021" cy="369021"/>
          </a:xfrm>
          <a:custGeom>
            <a:avLst/>
            <a:gdLst>
              <a:gd name="T0" fmla="*/ 153 w 512"/>
              <a:gd name="T1" fmla="*/ 262 h 512"/>
              <a:gd name="T2" fmla="*/ 160 w 512"/>
              <a:gd name="T3" fmla="*/ 277 h 512"/>
              <a:gd name="T4" fmla="*/ 153 w 512"/>
              <a:gd name="T5" fmla="*/ 292 h 512"/>
              <a:gd name="T6" fmla="*/ 138 w 512"/>
              <a:gd name="T7" fmla="*/ 298 h 512"/>
              <a:gd name="T8" fmla="*/ 138 w 512"/>
              <a:gd name="T9" fmla="*/ 298 h 512"/>
              <a:gd name="T10" fmla="*/ 123 w 512"/>
              <a:gd name="T11" fmla="*/ 292 h 512"/>
              <a:gd name="T12" fmla="*/ 117 w 512"/>
              <a:gd name="T13" fmla="*/ 277 h 512"/>
              <a:gd name="T14" fmla="*/ 123 w 512"/>
              <a:gd name="T15" fmla="*/ 262 h 512"/>
              <a:gd name="T16" fmla="*/ 138 w 512"/>
              <a:gd name="T17" fmla="*/ 256 h 512"/>
              <a:gd name="T18" fmla="*/ 138 w 512"/>
              <a:gd name="T19" fmla="*/ 256 h 512"/>
              <a:gd name="T20" fmla="*/ 153 w 512"/>
              <a:gd name="T21" fmla="*/ 262 h 512"/>
              <a:gd name="T22" fmla="*/ 256 w 512"/>
              <a:gd name="T23" fmla="*/ 352 h 512"/>
              <a:gd name="T24" fmla="*/ 234 w 512"/>
              <a:gd name="T25" fmla="*/ 373 h 512"/>
              <a:gd name="T26" fmla="*/ 240 w 512"/>
              <a:gd name="T27" fmla="*/ 388 h 512"/>
              <a:gd name="T28" fmla="*/ 255 w 512"/>
              <a:gd name="T29" fmla="*/ 394 h 512"/>
              <a:gd name="T30" fmla="*/ 256 w 512"/>
              <a:gd name="T31" fmla="*/ 394 h 512"/>
              <a:gd name="T32" fmla="*/ 277 w 512"/>
              <a:gd name="T33" fmla="*/ 373 h 512"/>
              <a:gd name="T34" fmla="*/ 271 w 512"/>
              <a:gd name="T35" fmla="*/ 358 h 512"/>
              <a:gd name="T36" fmla="*/ 256 w 512"/>
              <a:gd name="T37" fmla="*/ 352 h 512"/>
              <a:gd name="T38" fmla="*/ 256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45 w 512"/>
              <a:gd name="T51" fmla="*/ 202 h 512"/>
              <a:gd name="T52" fmla="*/ 256 w 512"/>
              <a:gd name="T53" fmla="*/ 213 h 512"/>
              <a:gd name="T54" fmla="*/ 266 w 512"/>
              <a:gd name="T55" fmla="*/ 202 h 512"/>
              <a:gd name="T56" fmla="*/ 266 w 512"/>
              <a:gd name="T57" fmla="*/ 106 h 512"/>
              <a:gd name="T58" fmla="*/ 256 w 512"/>
              <a:gd name="T59" fmla="*/ 96 h 512"/>
              <a:gd name="T60" fmla="*/ 245 w 512"/>
              <a:gd name="T61" fmla="*/ 106 h 512"/>
              <a:gd name="T62" fmla="*/ 245 w 512"/>
              <a:gd name="T63" fmla="*/ 202 h 512"/>
              <a:gd name="T64" fmla="*/ 404 w 512"/>
              <a:gd name="T65" fmla="*/ 198 h 512"/>
              <a:gd name="T66" fmla="*/ 391 w 512"/>
              <a:gd name="T67" fmla="*/ 191 h 512"/>
              <a:gd name="T68" fmla="*/ 175 w 512"/>
              <a:gd name="T69" fmla="*/ 255 h 512"/>
              <a:gd name="T70" fmla="*/ 169 w 512"/>
              <a:gd name="T71" fmla="*/ 247 h 512"/>
              <a:gd name="T72" fmla="*/ 138 w 512"/>
              <a:gd name="T73" fmla="*/ 234 h 512"/>
              <a:gd name="T74" fmla="*/ 138 w 512"/>
              <a:gd name="T75" fmla="*/ 234 h 512"/>
              <a:gd name="T76" fmla="*/ 108 w 512"/>
              <a:gd name="T77" fmla="*/ 247 h 512"/>
              <a:gd name="T78" fmla="*/ 96 w 512"/>
              <a:gd name="T79" fmla="*/ 277 h 512"/>
              <a:gd name="T80" fmla="*/ 108 w 512"/>
              <a:gd name="T81" fmla="*/ 307 h 512"/>
              <a:gd name="T82" fmla="*/ 138 w 512"/>
              <a:gd name="T83" fmla="*/ 320 h 512"/>
              <a:gd name="T84" fmla="*/ 138 w 512"/>
              <a:gd name="T85" fmla="*/ 320 h 512"/>
              <a:gd name="T86" fmla="*/ 168 w 512"/>
              <a:gd name="T87" fmla="*/ 307 h 512"/>
              <a:gd name="T88" fmla="*/ 181 w 512"/>
              <a:gd name="T89" fmla="*/ 277 h 512"/>
              <a:gd name="T90" fmla="*/ 181 w 512"/>
              <a:gd name="T91" fmla="*/ 276 h 512"/>
              <a:gd name="T92" fmla="*/ 245 w 512"/>
              <a:gd name="T93" fmla="*/ 256 h 512"/>
              <a:gd name="T94" fmla="*/ 245 w 512"/>
              <a:gd name="T95" fmla="*/ 332 h 512"/>
              <a:gd name="T96" fmla="*/ 213 w 512"/>
              <a:gd name="T97" fmla="*/ 372 h 512"/>
              <a:gd name="T98" fmla="*/ 225 w 512"/>
              <a:gd name="T99" fmla="*/ 403 h 512"/>
              <a:gd name="T100" fmla="*/ 255 w 512"/>
              <a:gd name="T101" fmla="*/ 416 h 512"/>
              <a:gd name="T102" fmla="*/ 256 w 512"/>
              <a:gd name="T103" fmla="*/ 416 h 512"/>
              <a:gd name="T104" fmla="*/ 298 w 512"/>
              <a:gd name="T105" fmla="*/ 374 h 512"/>
              <a:gd name="T106" fmla="*/ 286 w 512"/>
              <a:gd name="T107" fmla="*/ 343 h 512"/>
              <a:gd name="T108" fmla="*/ 266 w 512"/>
              <a:gd name="T109" fmla="*/ 332 h 512"/>
              <a:gd name="T110" fmla="*/ 266 w 512"/>
              <a:gd name="T111" fmla="*/ 250 h 512"/>
              <a:gd name="T112" fmla="*/ 397 w 512"/>
              <a:gd name="T113" fmla="*/ 211 h 512"/>
              <a:gd name="T114" fmla="*/ 404 w 512"/>
              <a:gd name="T115"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53" y="262"/>
                </a:moveTo>
                <a:cubicBezTo>
                  <a:pt x="157" y="266"/>
                  <a:pt x="160" y="271"/>
                  <a:pt x="160" y="277"/>
                </a:cubicBezTo>
                <a:cubicBezTo>
                  <a:pt x="160" y="283"/>
                  <a:pt x="157" y="288"/>
                  <a:pt x="153" y="292"/>
                </a:cubicBezTo>
                <a:cubicBezTo>
                  <a:pt x="149" y="296"/>
                  <a:pt x="144" y="298"/>
                  <a:pt x="138" y="298"/>
                </a:cubicBezTo>
                <a:cubicBezTo>
                  <a:pt x="138" y="298"/>
                  <a:pt x="138" y="298"/>
                  <a:pt x="138" y="298"/>
                </a:cubicBezTo>
                <a:cubicBezTo>
                  <a:pt x="133" y="298"/>
                  <a:pt x="127" y="296"/>
                  <a:pt x="123" y="292"/>
                </a:cubicBezTo>
                <a:cubicBezTo>
                  <a:pt x="119" y="288"/>
                  <a:pt x="117" y="283"/>
                  <a:pt x="117" y="277"/>
                </a:cubicBezTo>
                <a:cubicBezTo>
                  <a:pt x="117" y="271"/>
                  <a:pt x="119" y="266"/>
                  <a:pt x="123" y="262"/>
                </a:cubicBezTo>
                <a:cubicBezTo>
                  <a:pt x="127" y="258"/>
                  <a:pt x="133" y="256"/>
                  <a:pt x="138" y="256"/>
                </a:cubicBezTo>
                <a:cubicBezTo>
                  <a:pt x="138" y="256"/>
                  <a:pt x="138" y="256"/>
                  <a:pt x="138" y="256"/>
                </a:cubicBezTo>
                <a:cubicBezTo>
                  <a:pt x="144" y="256"/>
                  <a:pt x="149" y="258"/>
                  <a:pt x="153" y="262"/>
                </a:cubicBezTo>
                <a:close/>
                <a:moveTo>
                  <a:pt x="256" y="352"/>
                </a:moveTo>
                <a:cubicBezTo>
                  <a:pt x="244" y="352"/>
                  <a:pt x="235" y="361"/>
                  <a:pt x="234" y="373"/>
                </a:cubicBezTo>
                <a:cubicBezTo>
                  <a:pt x="234" y="378"/>
                  <a:pt x="236" y="384"/>
                  <a:pt x="240" y="388"/>
                </a:cubicBezTo>
                <a:cubicBezTo>
                  <a:pt x="244" y="392"/>
                  <a:pt x="250" y="394"/>
                  <a:pt x="255" y="394"/>
                </a:cubicBezTo>
                <a:cubicBezTo>
                  <a:pt x="255" y="394"/>
                  <a:pt x="256" y="394"/>
                  <a:pt x="256" y="394"/>
                </a:cubicBezTo>
                <a:cubicBezTo>
                  <a:pt x="267" y="394"/>
                  <a:pt x="277" y="385"/>
                  <a:pt x="277" y="373"/>
                </a:cubicBezTo>
                <a:cubicBezTo>
                  <a:pt x="277" y="368"/>
                  <a:pt x="275" y="362"/>
                  <a:pt x="271" y="358"/>
                </a:cubicBezTo>
                <a:cubicBezTo>
                  <a:pt x="267" y="354"/>
                  <a:pt x="262" y="352"/>
                  <a:pt x="256" y="352"/>
                </a:cubicBezTo>
                <a:cubicBezTo>
                  <a:pt x="256" y="352"/>
                  <a:pt x="256" y="352"/>
                  <a:pt x="256"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202"/>
                </a:moveTo>
                <a:cubicBezTo>
                  <a:pt x="245" y="208"/>
                  <a:pt x="250" y="213"/>
                  <a:pt x="256" y="213"/>
                </a:cubicBezTo>
                <a:cubicBezTo>
                  <a:pt x="262" y="213"/>
                  <a:pt x="266" y="208"/>
                  <a:pt x="266" y="202"/>
                </a:cubicBezTo>
                <a:cubicBezTo>
                  <a:pt x="266" y="106"/>
                  <a:pt x="266" y="106"/>
                  <a:pt x="266" y="106"/>
                </a:cubicBezTo>
                <a:cubicBezTo>
                  <a:pt x="266" y="100"/>
                  <a:pt x="262" y="96"/>
                  <a:pt x="256" y="96"/>
                </a:cubicBezTo>
                <a:cubicBezTo>
                  <a:pt x="250" y="96"/>
                  <a:pt x="245" y="100"/>
                  <a:pt x="245" y="106"/>
                </a:cubicBezTo>
                <a:lnTo>
                  <a:pt x="245" y="202"/>
                </a:lnTo>
                <a:close/>
                <a:moveTo>
                  <a:pt x="404" y="198"/>
                </a:moveTo>
                <a:cubicBezTo>
                  <a:pt x="402" y="193"/>
                  <a:pt x="396" y="189"/>
                  <a:pt x="391" y="191"/>
                </a:cubicBezTo>
                <a:cubicBezTo>
                  <a:pt x="175" y="255"/>
                  <a:pt x="175" y="255"/>
                  <a:pt x="175" y="255"/>
                </a:cubicBezTo>
                <a:cubicBezTo>
                  <a:pt x="173" y="252"/>
                  <a:pt x="171" y="249"/>
                  <a:pt x="169" y="247"/>
                </a:cubicBezTo>
                <a:cubicBezTo>
                  <a:pt x="161" y="239"/>
                  <a:pt x="150" y="234"/>
                  <a:pt x="138" y="234"/>
                </a:cubicBezTo>
                <a:cubicBezTo>
                  <a:pt x="138" y="234"/>
                  <a:pt x="138" y="234"/>
                  <a:pt x="138" y="234"/>
                </a:cubicBezTo>
                <a:cubicBezTo>
                  <a:pt x="127" y="234"/>
                  <a:pt x="116" y="239"/>
                  <a:pt x="108" y="247"/>
                </a:cubicBezTo>
                <a:cubicBezTo>
                  <a:pt x="100" y="255"/>
                  <a:pt x="96" y="266"/>
                  <a:pt x="96" y="277"/>
                </a:cubicBezTo>
                <a:cubicBezTo>
                  <a:pt x="96" y="288"/>
                  <a:pt x="100" y="299"/>
                  <a:pt x="108" y="307"/>
                </a:cubicBezTo>
                <a:cubicBezTo>
                  <a:pt x="116" y="315"/>
                  <a:pt x="127" y="320"/>
                  <a:pt x="138" y="320"/>
                </a:cubicBezTo>
                <a:cubicBezTo>
                  <a:pt x="138" y="320"/>
                  <a:pt x="138" y="320"/>
                  <a:pt x="138" y="320"/>
                </a:cubicBezTo>
                <a:cubicBezTo>
                  <a:pt x="150" y="320"/>
                  <a:pt x="160" y="315"/>
                  <a:pt x="168" y="307"/>
                </a:cubicBezTo>
                <a:cubicBezTo>
                  <a:pt x="177" y="299"/>
                  <a:pt x="181" y="288"/>
                  <a:pt x="181" y="277"/>
                </a:cubicBezTo>
                <a:cubicBezTo>
                  <a:pt x="181" y="277"/>
                  <a:pt x="181" y="276"/>
                  <a:pt x="181" y="276"/>
                </a:cubicBezTo>
                <a:cubicBezTo>
                  <a:pt x="245" y="256"/>
                  <a:pt x="245" y="256"/>
                  <a:pt x="245" y="256"/>
                </a:cubicBezTo>
                <a:cubicBezTo>
                  <a:pt x="245" y="332"/>
                  <a:pt x="245" y="332"/>
                  <a:pt x="245" y="332"/>
                </a:cubicBezTo>
                <a:cubicBezTo>
                  <a:pt x="227" y="337"/>
                  <a:pt x="213" y="353"/>
                  <a:pt x="213" y="372"/>
                </a:cubicBezTo>
                <a:cubicBezTo>
                  <a:pt x="213" y="384"/>
                  <a:pt x="217" y="395"/>
                  <a:pt x="225" y="403"/>
                </a:cubicBezTo>
                <a:cubicBezTo>
                  <a:pt x="233" y="411"/>
                  <a:pt x="244" y="415"/>
                  <a:pt x="255" y="416"/>
                </a:cubicBezTo>
                <a:cubicBezTo>
                  <a:pt x="255" y="416"/>
                  <a:pt x="255" y="416"/>
                  <a:pt x="256" y="416"/>
                </a:cubicBezTo>
                <a:cubicBezTo>
                  <a:pt x="279" y="416"/>
                  <a:pt x="298" y="397"/>
                  <a:pt x="298" y="374"/>
                </a:cubicBezTo>
                <a:cubicBezTo>
                  <a:pt x="299" y="362"/>
                  <a:pt x="294" y="351"/>
                  <a:pt x="286" y="343"/>
                </a:cubicBezTo>
                <a:cubicBezTo>
                  <a:pt x="281" y="338"/>
                  <a:pt x="274" y="334"/>
                  <a:pt x="266" y="332"/>
                </a:cubicBezTo>
                <a:cubicBezTo>
                  <a:pt x="266" y="250"/>
                  <a:pt x="266" y="250"/>
                  <a:pt x="266" y="250"/>
                </a:cubicBezTo>
                <a:cubicBezTo>
                  <a:pt x="397" y="211"/>
                  <a:pt x="397" y="211"/>
                  <a:pt x="397" y="211"/>
                </a:cubicBezTo>
                <a:cubicBezTo>
                  <a:pt x="402" y="210"/>
                  <a:pt x="405" y="204"/>
                  <a:pt x="404" y="19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384278066"/>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Charts</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95767" y="212123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ne graph</a:t>
            </a:r>
          </a:p>
        </p:txBody>
      </p:sp>
      <p:sp>
        <p:nvSpPr>
          <p:cNvPr id="423" name="TextBox 422"/>
          <p:cNvSpPr txBox="1"/>
          <p:nvPr/>
        </p:nvSpPr>
        <p:spPr>
          <a:xfrm>
            <a:off x="1231466" y="212197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r chart 1</a:t>
            </a:r>
          </a:p>
        </p:txBody>
      </p:sp>
      <p:sp>
        <p:nvSpPr>
          <p:cNvPr id="424" name="TextBox 423"/>
          <p:cNvSpPr txBox="1"/>
          <p:nvPr/>
        </p:nvSpPr>
        <p:spPr>
          <a:xfrm>
            <a:off x="2081982"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r chart 2</a:t>
            </a:r>
          </a:p>
        </p:txBody>
      </p:sp>
      <p:sp>
        <p:nvSpPr>
          <p:cNvPr id="425" name="TextBox 424"/>
          <p:cNvSpPr txBox="1"/>
          <p:nvPr/>
        </p:nvSpPr>
        <p:spPr>
          <a:xfrm>
            <a:off x="3776664"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e chart 2</a:t>
            </a:r>
          </a:p>
        </p:txBody>
      </p:sp>
      <p:sp>
        <p:nvSpPr>
          <p:cNvPr id="426" name="TextBox 425"/>
          <p:cNvSpPr txBox="1"/>
          <p:nvPr/>
        </p:nvSpPr>
        <p:spPr>
          <a:xfrm>
            <a:off x="4624007"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ot graph</a:t>
            </a:r>
          </a:p>
        </p:txBody>
      </p:sp>
      <p:sp>
        <p:nvSpPr>
          <p:cNvPr id="427" name="TextBox 426"/>
          <p:cNvSpPr txBox="1"/>
          <p:nvPr/>
        </p:nvSpPr>
        <p:spPr>
          <a:xfrm>
            <a:off x="2929323"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e chart 1</a:t>
            </a:r>
          </a:p>
        </p:txBody>
      </p:sp>
      <p:sp>
        <p:nvSpPr>
          <p:cNvPr id="256" name="Freeform 584"/>
          <p:cNvSpPr>
            <a:spLocks noChangeAspect="1" noEditPoints="1"/>
          </p:cNvSpPr>
          <p:nvPr/>
        </p:nvSpPr>
        <p:spPr bwMode="auto">
          <a:xfrm>
            <a:off x="418113" y="169703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587"/>
          <p:cNvGrpSpPr>
            <a:grpSpLocks noChangeAspect="1"/>
          </p:cNvGrpSpPr>
          <p:nvPr/>
        </p:nvGrpSpPr>
        <p:grpSpPr bwMode="auto">
          <a:xfrm>
            <a:off x="838206" y="1697038"/>
            <a:ext cx="367041" cy="367041"/>
            <a:chOff x="2878" y="2417"/>
            <a:chExt cx="340" cy="340"/>
          </a:xfrm>
          <a:solidFill>
            <a:schemeClr val="accent1"/>
          </a:solidFill>
        </p:grpSpPr>
        <p:sp>
          <p:nvSpPr>
            <p:cNvPr id="258"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590"/>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1" name="Freeform 364"/>
          <p:cNvSpPr>
            <a:spLocks noChangeAspect="1" noEditPoints="1"/>
          </p:cNvSpPr>
          <p:nvPr/>
        </p:nvSpPr>
        <p:spPr bwMode="auto">
          <a:xfrm>
            <a:off x="1258299" y="1697038"/>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2" name="Group 367"/>
          <p:cNvGrpSpPr>
            <a:grpSpLocks noChangeAspect="1"/>
          </p:cNvGrpSpPr>
          <p:nvPr/>
        </p:nvGrpSpPr>
        <p:grpSpPr bwMode="auto">
          <a:xfrm>
            <a:off x="1680415" y="1697038"/>
            <a:ext cx="367982" cy="369064"/>
            <a:chOff x="4383" y="2091"/>
            <a:chExt cx="340" cy="341"/>
          </a:xfrm>
          <a:solidFill>
            <a:schemeClr val="accent4"/>
          </a:solidFill>
        </p:grpSpPr>
        <p:sp>
          <p:nvSpPr>
            <p:cNvPr id="263" name="Freeform 262"/>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263"/>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5" name="Freeform 373"/>
          <p:cNvSpPr>
            <a:spLocks noChangeAspect="1" noEditPoints="1"/>
          </p:cNvSpPr>
          <p:nvPr/>
        </p:nvSpPr>
        <p:spPr bwMode="auto">
          <a:xfrm>
            <a:off x="2101449" y="1697038"/>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6" name="Group 376"/>
          <p:cNvGrpSpPr>
            <a:grpSpLocks noChangeAspect="1"/>
          </p:cNvGrpSpPr>
          <p:nvPr/>
        </p:nvGrpSpPr>
        <p:grpSpPr bwMode="auto">
          <a:xfrm>
            <a:off x="2522483" y="1697038"/>
            <a:ext cx="367982" cy="367982"/>
            <a:chOff x="3466" y="2823"/>
            <a:chExt cx="340" cy="340"/>
          </a:xfrm>
          <a:solidFill>
            <a:schemeClr val="accent4"/>
          </a:solidFill>
        </p:grpSpPr>
        <p:sp>
          <p:nvSpPr>
            <p:cNvPr id="267"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9" name="Group 354"/>
          <p:cNvGrpSpPr>
            <a:grpSpLocks noChangeAspect="1"/>
          </p:cNvGrpSpPr>
          <p:nvPr/>
        </p:nvGrpSpPr>
        <p:grpSpPr bwMode="auto">
          <a:xfrm>
            <a:off x="4209736" y="1697038"/>
            <a:ext cx="369021" cy="370106"/>
            <a:chOff x="2705" y="1184"/>
            <a:chExt cx="340" cy="341"/>
          </a:xfrm>
          <a:solidFill>
            <a:schemeClr val="accent4"/>
          </a:solidFill>
        </p:grpSpPr>
        <p:sp>
          <p:nvSpPr>
            <p:cNvPr id="270" name="Freeform 355"/>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356"/>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360"/>
          <p:cNvSpPr>
            <a:spLocks noChangeAspect="1" noEditPoints="1"/>
          </p:cNvSpPr>
          <p:nvPr/>
        </p:nvSpPr>
        <p:spPr bwMode="auto">
          <a:xfrm>
            <a:off x="3787663" y="1697038"/>
            <a:ext cx="369021" cy="369021"/>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363"/>
          <p:cNvGrpSpPr>
            <a:grpSpLocks noChangeAspect="1"/>
          </p:cNvGrpSpPr>
          <p:nvPr/>
        </p:nvGrpSpPr>
        <p:grpSpPr bwMode="auto">
          <a:xfrm>
            <a:off x="3365590" y="1697038"/>
            <a:ext cx="369021" cy="369021"/>
            <a:chOff x="1912" y="1204"/>
            <a:chExt cx="340" cy="340"/>
          </a:xfrm>
          <a:solidFill>
            <a:schemeClr val="accent4"/>
          </a:solidFill>
        </p:grpSpPr>
        <p:sp>
          <p:nvSpPr>
            <p:cNvPr id="274" name="Freeform 364"/>
            <p:cNvSpPr>
              <a:spLocks noEditPoints="1"/>
            </p:cNvSpPr>
            <p:nvPr/>
          </p:nvSpPr>
          <p:spPr bwMode="auto">
            <a:xfrm>
              <a:off x="1997" y="1289"/>
              <a:ext cx="170" cy="17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365"/>
            <p:cNvSpPr>
              <a:spLocks noEditPoints="1"/>
            </p:cNvSpPr>
            <p:nvPr/>
          </p:nvSpPr>
          <p:spPr bwMode="auto">
            <a:xfrm>
              <a:off x="2103" y="1280"/>
              <a:ext cx="73" cy="73"/>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366"/>
            <p:cNvSpPr>
              <a:spLocks noEditPoints="1"/>
            </p:cNvSpPr>
            <p:nvPr/>
          </p:nvSpPr>
          <p:spPr bwMode="auto">
            <a:xfrm>
              <a:off x="1912"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370"/>
          <p:cNvSpPr>
            <a:spLocks noChangeAspect="1" noEditPoints="1"/>
          </p:cNvSpPr>
          <p:nvPr/>
        </p:nvSpPr>
        <p:spPr bwMode="auto">
          <a:xfrm>
            <a:off x="2943517" y="1697038"/>
            <a:ext cx="369021" cy="369021"/>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8" name="Group 463"/>
          <p:cNvGrpSpPr>
            <a:grpSpLocks noChangeAspect="1"/>
          </p:cNvGrpSpPr>
          <p:nvPr/>
        </p:nvGrpSpPr>
        <p:grpSpPr bwMode="auto">
          <a:xfrm>
            <a:off x="5053879" y="1697038"/>
            <a:ext cx="369021" cy="369021"/>
            <a:chOff x="1110" y="1564"/>
            <a:chExt cx="340" cy="340"/>
          </a:xfrm>
          <a:solidFill>
            <a:schemeClr val="accent5"/>
          </a:solidFill>
        </p:grpSpPr>
        <p:sp>
          <p:nvSpPr>
            <p:cNvPr id="279" name="Freeform 464"/>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465"/>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1" name="Freeform 469"/>
          <p:cNvSpPr>
            <a:spLocks noChangeAspect="1" noEditPoints="1"/>
          </p:cNvSpPr>
          <p:nvPr/>
        </p:nvSpPr>
        <p:spPr bwMode="auto">
          <a:xfrm>
            <a:off x="4631809" y="1697038"/>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122886550"/>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Arrows</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85134" y="212123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down arrow</a:t>
            </a:r>
          </a:p>
        </p:txBody>
      </p:sp>
      <p:sp>
        <p:nvSpPr>
          <p:cNvPr id="423" name="TextBox 422"/>
          <p:cNvSpPr txBox="1"/>
          <p:nvPr/>
        </p:nvSpPr>
        <p:spPr>
          <a:xfrm>
            <a:off x="1217129" y="2121972"/>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left arrow</a:t>
            </a:r>
          </a:p>
        </p:txBody>
      </p:sp>
      <p:sp>
        <p:nvSpPr>
          <p:cNvPr id="424" name="TextBox 423"/>
          <p:cNvSpPr txBox="1"/>
          <p:nvPr/>
        </p:nvSpPr>
        <p:spPr>
          <a:xfrm>
            <a:off x="2063941"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row left</a:t>
            </a:r>
          </a:p>
        </p:txBody>
      </p:sp>
      <p:sp>
        <p:nvSpPr>
          <p:cNvPr id="425" name="TextBox 424"/>
          <p:cNvSpPr txBox="1"/>
          <p:nvPr/>
        </p:nvSpPr>
        <p:spPr>
          <a:xfrm>
            <a:off x="3751215"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eft up</a:t>
            </a:r>
          </a:p>
        </p:txBody>
      </p:sp>
      <p:sp>
        <p:nvSpPr>
          <p:cNvPr id="426" name="TextBox 425"/>
          <p:cNvSpPr txBox="1"/>
          <p:nvPr/>
        </p:nvSpPr>
        <p:spPr>
          <a:xfrm>
            <a:off x="4594852"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eft down</a:t>
            </a:r>
          </a:p>
        </p:txBody>
      </p:sp>
      <p:sp>
        <p:nvSpPr>
          <p:cNvPr id="427" name="TextBox 426"/>
          <p:cNvSpPr txBox="1"/>
          <p:nvPr/>
        </p:nvSpPr>
        <p:spPr>
          <a:xfrm>
            <a:off x="2907578"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eft right</a:t>
            </a:r>
          </a:p>
        </p:txBody>
      </p:sp>
      <p:sp>
        <p:nvSpPr>
          <p:cNvPr id="428" name="TextBox 427"/>
          <p:cNvSpPr txBox="1"/>
          <p:nvPr/>
        </p:nvSpPr>
        <p:spPr>
          <a:xfrm>
            <a:off x="5438489"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row journey</a:t>
            </a:r>
          </a:p>
        </p:txBody>
      </p:sp>
      <p:sp>
        <p:nvSpPr>
          <p:cNvPr id="429" name="TextBox 428"/>
          <p:cNvSpPr txBox="1"/>
          <p:nvPr/>
        </p:nvSpPr>
        <p:spPr>
          <a:xfrm>
            <a:off x="7969399"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wn left</a:t>
            </a:r>
          </a:p>
        </p:txBody>
      </p:sp>
      <p:sp>
        <p:nvSpPr>
          <p:cNvPr id="430" name="TextBox 429"/>
          <p:cNvSpPr txBox="1"/>
          <p:nvPr/>
        </p:nvSpPr>
        <p:spPr>
          <a:xfrm>
            <a:off x="7125763"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wn right</a:t>
            </a:r>
          </a:p>
        </p:txBody>
      </p:sp>
      <p:sp>
        <p:nvSpPr>
          <p:cNvPr id="431" name="TextBox 430"/>
          <p:cNvSpPr txBox="1"/>
          <p:nvPr/>
        </p:nvSpPr>
        <p:spPr>
          <a:xfrm>
            <a:off x="6282126"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row down</a:t>
            </a:r>
          </a:p>
        </p:txBody>
      </p:sp>
      <p:sp>
        <p:nvSpPr>
          <p:cNvPr id="472" name="TextBox 471"/>
          <p:cNvSpPr txBox="1"/>
          <p:nvPr/>
        </p:nvSpPr>
        <p:spPr>
          <a:xfrm>
            <a:off x="406400" y="2959761"/>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right arrow</a:t>
            </a:r>
          </a:p>
        </p:txBody>
      </p:sp>
      <p:sp>
        <p:nvSpPr>
          <p:cNvPr id="473" name="TextBox 472"/>
          <p:cNvSpPr txBox="1"/>
          <p:nvPr/>
        </p:nvSpPr>
        <p:spPr>
          <a:xfrm>
            <a:off x="1232488" y="2959761"/>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up arrow</a:t>
            </a:r>
          </a:p>
        </p:txBody>
      </p:sp>
      <p:sp>
        <p:nvSpPr>
          <p:cNvPr id="474" name="TextBox 473"/>
          <p:cNvSpPr txBox="1"/>
          <p:nvPr/>
        </p:nvSpPr>
        <p:spPr>
          <a:xfrm>
            <a:off x="207339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ight down</a:t>
            </a:r>
          </a:p>
        </p:txBody>
      </p:sp>
      <p:sp>
        <p:nvSpPr>
          <p:cNvPr id="475" name="TextBox 474"/>
          <p:cNvSpPr txBox="1"/>
          <p:nvPr/>
        </p:nvSpPr>
        <p:spPr>
          <a:xfrm>
            <a:off x="374885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row right</a:t>
            </a:r>
          </a:p>
        </p:txBody>
      </p:sp>
      <p:sp>
        <p:nvSpPr>
          <p:cNvPr id="476" name="TextBox 475"/>
          <p:cNvSpPr txBox="1"/>
          <p:nvPr/>
        </p:nvSpPr>
        <p:spPr>
          <a:xfrm>
            <a:off x="458658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p left</a:t>
            </a:r>
          </a:p>
        </p:txBody>
      </p:sp>
      <p:sp>
        <p:nvSpPr>
          <p:cNvPr id="477" name="TextBox 476"/>
          <p:cNvSpPr txBox="1"/>
          <p:nvPr/>
        </p:nvSpPr>
        <p:spPr>
          <a:xfrm>
            <a:off x="291112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ight up</a:t>
            </a:r>
          </a:p>
        </p:txBody>
      </p:sp>
      <p:sp>
        <p:nvSpPr>
          <p:cNvPr id="478" name="TextBox 477"/>
          <p:cNvSpPr txBox="1"/>
          <p:nvPr/>
        </p:nvSpPr>
        <p:spPr>
          <a:xfrm>
            <a:off x="542431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p right</a:t>
            </a:r>
          </a:p>
        </p:txBody>
      </p:sp>
      <p:sp>
        <p:nvSpPr>
          <p:cNvPr id="479" name="TextBox 478"/>
          <p:cNvSpPr txBox="1"/>
          <p:nvPr/>
        </p:nvSpPr>
        <p:spPr>
          <a:xfrm>
            <a:off x="7937500" y="295976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left</a:t>
            </a:r>
          </a:p>
        </p:txBody>
      </p:sp>
      <p:sp>
        <p:nvSpPr>
          <p:cNvPr id="480" name="TextBox 479"/>
          <p:cNvSpPr txBox="1"/>
          <p:nvPr/>
        </p:nvSpPr>
        <p:spPr>
          <a:xfrm>
            <a:off x="709977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row up</a:t>
            </a:r>
          </a:p>
        </p:txBody>
      </p:sp>
      <p:sp>
        <p:nvSpPr>
          <p:cNvPr id="481" name="TextBox 480"/>
          <p:cNvSpPr txBox="1"/>
          <p:nvPr/>
        </p:nvSpPr>
        <p:spPr>
          <a:xfrm>
            <a:off x="626204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p down</a:t>
            </a:r>
          </a:p>
        </p:txBody>
      </p:sp>
      <p:sp>
        <p:nvSpPr>
          <p:cNvPr id="522" name="TextBox 521"/>
          <p:cNvSpPr txBox="1"/>
          <p:nvPr/>
        </p:nvSpPr>
        <p:spPr>
          <a:xfrm>
            <a:off x="406400" y="3808147"/>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right</a:t>
            </a:r>
          </a:p>
        </p:txBody>
      </p:sp>
      <p:sp>
        <p:nvSpPr>
          <p:cNvPr id="523" name="TextBox 522"/>
          <p:cNvSpPr txBox="1"/>
          <p:nvPr/>
        </p:nvSpPr>
        <p:spPr>
          <a:xfrm>
            <a:off x="1232488" y="3808147"/>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side</a:t>
            </a:r>
          </a:p>
        </p:txBody>
      </p:sp>
      <p:sp>
        <p:nvSpPr>
          <p:cNvPr id="524" name="TextBox 523"/>
          <p:cNvSpPr txBox="1"/>
          <p:nvPr/>
        </p:nvSpPr>
        <p:spPr>
          <a:xfrm>
            <a:off x="2073393" y="3808147"/>
            <a:ext cx="86507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up down</a:t>
            </a:r>
          </a:p>
        </p:txBody>
      </p:sp>
      <p:sp>
        <p:nvSpPr>
          <p:cNvPr id="525" name="TextBox 524"/>
          <p:cNvSpPr txBox="1"/>
          <p:nvPr/>
        </p:nvSpPr>
        <p:spPr>
          <a:xfrm>
            <a:off x="7962123" y="462112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in</a:t>
            </a:r>
          </a:p>
        </p:txBody>
      </p:sp>
      <p:sp>
        <p:nvSpPr>
          <p:cNvPr id="526" name="TextBox 525"/>
          <p:cNvSpPr txBox="1"/>
          <p:nvPr/>
        </p:nvSpPr>
        <p:spPr>
          <a:xfrm>
            <a:off x="4586583"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crease 2</a:t>
            </a:r>
          </a:p>
        </p:txBody>
      </p:sp>
      <p:sp>
        <p:nvSpPr>
          <p:cNvPr id="527" name="TextBox 526"/>
          <p:cNvSpPr txBox="1"/>
          <p:nvPr/>
        </p:nvSpPr>
        <p:spPr>
          <a:xfrm>
            <a:off x="2911123" y="380814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up</a:t>
            </a:r>
          </a:p>
        </p:txBody>
      </p:sp>
      <p:sp>
        <p:nvSpPr>
          <p:cNvPr id="528" name="TextBox 527"/>
          <p:cNvSpPr txBox="1"/>
          <p:nvPr/>
        </p:nvSpPr>
        <p:spPr>
          <a:xfrm>
            <a:off x="5424313"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crease 3</a:t>
            </a:r>
          </a:p>
        </p:txBody>
      </p:sp>
      <p:sp>
        <p:nvSpPr>
          <p:cNvPr id="529" name="TextBox 528"/>
          <p:cNvSpPr txBox="1"/>
          <p:nvPr/>
        </p:nvSpPr>
        <p:spPr>
          <a:xfrm>
            <a:off x="7937500"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finity loop</a:t>
            </a:r>
          </a:p>
        </p:txBody>
      </p:sp>
      <p:sp>
        <p:nvSpPr>
          <p:cNvPr id="530" name="TextBox 529"/>
          <p:cNvSpPr txBox="1"/>
          <p:nvPr/>
        </p:nvSpPr>
        <p:spPr>
          <a:xfrm>
            <a:off x="7099773"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crease 5</a:t>
            </a:r>
          </a:p>
        </p:txBody>
      </p:sp>
      <p:sp>
        <p:nvSpPr>
          <p:cNvPr id="531" name="TextBox 530"/>
          <p:cNvSpPr txBox="1"/>
          <p:nvPr/>
        </p:nvSpPr>
        <p:spPr>
          <a:xfrm>
            <a:off x="6262043"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crease 4</a:t>
            </a:r>
          </a:p>
        </p:txBody>
      </p:sp>
      <p:sp>
        <p:nvSpPr>
          <p:cNvPr id="622" name="TextBox 621"/>
          <p:cNvSpPr txBox="1"/>
          <p:nvPr/>
        </p:nvSpPr>
        <p:spPr>
          <a:xfrm>
            <a:off x="1206325" y="4621129"/>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rections 1</a:t>
            </a:r>
          </a:p>
        </p:txBody>
      </p:sp>
      <p:sp>
        <p:nvSpPr>
          <p:cNvPr id="623" name="TextBox 622"/>
          <p:cNvSpPr txBox="1"/>
          <p:nvPr/>
        </p:nvSpPr>
        <p:spPr>
          <a:xfrm>
            <a:off x="2040216" y="4621129"/>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rections 2</a:t>
            </a:r>
          </a:p>
        </p:txBody>
      </p:sp>
      <p:sp>
        <p:nvSpPr>
          <p:cNvPr id="625" name="TextBox 624"/>
          <p:cNvSpPr txBox="1"/>
          <p:nvPr/>
        </p:nvSpPr>
        <p:spPr>
          <a:xfrm>
            <a:off x="2894664"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crease 4</a:t>
            </a:r>
          </a:p>
        </p:txBody>
      </p:sp>
      <p:sp>
        <p:nvSpPr>
          <p:cNvPr id="626" name="TextBox 625"/>
          <p:cNvSpPr txBox="1"/>
          <p:nvPr/>
        </p:nvSpPr>
        <p:spPr>
          <a:xfrm>
            <a:off x="3739526"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crease 5</a:t>
            </a:r>
          </a:p>
        </p:txBody>
      </p:sp>
      <p:sp>
        <p:nvSpPr>
          <p:cNvPr id="628" name="TextBox 627"/>
          <p:cNvSpPr txBox="1"/>
          <p:nvPr/>
        </p:nvSpPr>
        <p:spPr>
          <a:xfrm>
            <a:off x="5404256" y="4621129"/>
            <a:ext cx="880041"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decrease</a:t>
            </a:r>
          </a:p>
        </p:txBody>
      </p:sp>
      <p:sp>
        <p:nvSpPr>
          <p:cNvPr id="630" name="TextBox 629"/>
          <p:cNvSpPr txBox="1"/>
          <p:nvPr/>
        </p:nvSpPr>
        <p:spPr>
          <a:xfrm>
            <a:off x="7095323" y="4621129"/>
            <a:ext cx="8657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increase</a:t>
            </a:r>
          </a:p>
        </p:txBody>
      </p:sp>
      <p:sp>
        <p:nvSpPr>
          <p:cNvPr id="631" name="TextBox 630"/>
          <p:cNvSpPr txBox="1"/>
          <p:nvPr/>
        </p:nvSpPr>
        <p:spPr>
          <a:xfrm>
            <a:off x="6271056" y="4621129"/>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imple arrow down</a:t>
            </a:r>
          </a:p>
        </p:txBody>
      </p:sp>
      <p:sp>
        <p:nvSpPr>
          <p:cNvPr id="675" name="TextBox 674"/>
          <p:cNvSpPr txBox="1"/>
          <p:nvPr/>
        </p:nvSpPr>
        <p:spPr>
          <a:xfrm>
            <a:off x="1204940"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crease 2</a:t>
            </a:r>
          </a:p>
        </p:txBody>
      </p:sp>
      <p:sp>
        <p:nvSpPr>
          <p:cNvPr id="676" name="TextBox 675"/>
          <p:cNvSpPr txBox="1"/>
          <p:nvPr/>
        </p:nvSpPr>
        <p:spPr>
          <a:xfrm>
            <a:off x="2049802"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crease 3</a:t>
            </a:r>
          </a:p>
        </p:txBody>
      </p:sp>
      <p:sp>
        <p:nvSpPr>
          <p:cNvPr id="677" name="TextBox 676"/>
          <p:cNvSpPr txBox="1"/>
          <p:nvPr/>
        </p:nvSpPr>
        <p:spPr>
          <a:xfrm>
            <a:off x="360078"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crease 1</a:t>
            </a:r>
          </a:p>
        </p:txBody>
      </p:sp>
      <p:sp>
        <p:nvSpPr>
          <p:cNvPr id="679" name="TextBox 678"/>
          <p:cNvSpPr txBox="1"/>
          <p:nvPr/>
        </p:nvSpPr>
        <p:spPr>
          <a:xfrm>
            <a:off x="4579990" y="462112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verse</a:t>
            </a:r>
          </a:p>
        </p:txBody>
      </p:sp>
      <p:sp>
        <p:nvSpPr>
          <p:cNvPr id="680" name="TextBox 679"/>
          <p:cNvSpPr txBox="1"/>
          <p:nvPr/>
        </p:nvSpPr>
        <p:spPr>
          <a:xfrm>
            <a:off x="5429250"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tate 2</a:t>
            </a:r>
          </a:p>
        </p:txBody>
      </p:sp>
      <p:sp>
        <p:nvSpPr>
          <p:cNvPr id="681" name="TextBox 680"/>
          <p:cNvSpPr txBox="1"/>
          <p:nvPr/>
        </p:nvSpPr>
        <p:spPr>
          <a:xfrm>
            <a:off x="4584388" y="54471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tate 1</a:t>
            </a:r>
          </a:p>
        </p:txBody>
      </p:sp>
      <p:sp>
        <p:nvSpPr>
          <p:cNvPr id="256" name="Freeform 82"/>
          <p:cNvSpPr>
            <a:spLocks noChangeAspect="1" noEditPoints="1"/>
          </p:cNvSpPr>
          <p:nvPr/>
        </p:nvSpPr>
        <p:spPr bwMode="auto">
          <a:xfrm>
            <a:off x="406400" y="1695956"/>
            <a:ext cx="368254"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57 h 512"/>
              <a:gd name="T12" fmla="*/ 263 w 512"/>
              <a:gd name="T13" fmla="*/ 306 h 512"/>
              <a:gd name="T14" fmla="*/ 256 w 512"/>
              <a:gd name="T15" fmla="*/ 309 h 512"/>
              <a:gd name="T16" fmla="*/ 248 w 512"/>
              <a:gd name="T17" fmla="*/ 306 h 512"/>
              <a:gd name="T18" fmla="*/ 99 w 512"/>
              <a:gd name="T19" fmla="*/ 157 h 512"/>
              <a:gd name="T20" fmla="*/ 99 w 512"/>
              <a:gd name="T21" fmla="*/ 141 h 512"/>
              <a:gd name="T22" fmla="*/ 114 w 512"/>
              <a:gd name="T23" fmla="*/ 141 h 512"/>
              <a:gd name="T24" fmla="*/ 256 w 512"/>
              <a:gd name="T25" fmla="*/ 283 h 512"/>
              <a:gd name="T26" fmla="*/ 397 w 512"/>
              <a:gd name="T27" fmla="*/ 141 h 512"/>
              <a:gd name="T28" fmla="*/ 413 w 512"/>
              <a:gd name="T29" fmla="*/ 141 h 512"/>
              <a:gd name="T30" fmla="*/ 413 w 512"/>
              <a:gd name="T31" fmla="*/ 157 h 512"/>
              <a:gd name="T32" fmla="*/ 413 w 512"/>
              <a:gd name="T33" fmla="*/ 263 h 512"/>
              <a:gd name="T34" fmla="*/ 263 w 512"/>
              <a:gd name="T35" fmla="*/ 413 h 512"/>
              <a:gd name="T36" fmla="*/ 256 w 512"/>
              <a:gd name="T37" fmla="*/ 416 h 512"/>
              <a:gd name="T38" fmla="*/ 248 w 512"/>
              <a:gd name="T39" fmla="*/ 413 h 512"/>
              <a:gd name="T40" fmla="*/ 99 w 512"/>
              <a:gd name="T41" fmla="*/ 263 h 512"/>
              <a:gd name="T42" fmla="*/ 99 w 512"/>
              <a:gd name="T43" fmla="*/ 248 h 512"/>
              <a:gd name="T44" fmla="*/ 114 w 512"/>
              <a:gd name="T45" fmla="*/ 248 h 512"/>
              <a:gd name="T46" fmla="*/ 256 w 512"/>
              <a:gd name="T47" fmla="*/ 390 h 512"/>
              <a:gd name="T48" fmla="*/ 397 w 512"/>
              <a:gd name="T49" fmla="*/ 248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57"/>
                </a:move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ubicBezTo>
                  <a:pt x="417" y="146"/>
                  <a:pt x="417" y="152"/>
                  <a:pt x="413" y="157"/>
                </a:cubicBezTo>
                <a:close/>
                <a:moveTo>
                  <a:pt x="413" y="263"/>
                </a:move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ubicBezTo>
                  <a:pt x="417" y="252"/>
                  <a:pt x="417" y="259"/>
                  <a:pt x="413" y="26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7" name="Freeform 256"/>
          <p:cNvSpPr>
            <a:spLocks noChangeAspect="1" noEditPoints="1"/>
          </p:cNvSpPr>
          <p:nvPr/>
        </p:nvSpPr>
        <p:spPr bwMode="auto">
          <a:xfrm>
            <a:off x="814947" y="1695956"/>
            <a:ext cx="368051"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413 w 512"/>
              <a:gd name="T21" fmla="*/ 141 h 512"/>
              <a:gd name="T22" fmla="*/ 413 w 512"/>
              <a:gd name="T23" fmla="*/ 157 h 512"/>
              <a:gd name="T24" fmla="*/ 263 w 512"/>
              <a:gd name="T25" fmla="*/ 306 h 512"/>
              <a:gd name="T26" fmla="*/ 256 w 512"/>
              <a:gd name="T27" fmla="*/ 309 h 512"/>
              <a:gd name="T28" fmla="*/ 248 w 512"/>
              <a:gd name="T29" fmla="*/ 306 h 512"/>
              <a:gd name="T30" fmla="*/ 99 w 512"/>
              <a:gd name="T31" fmla="*/ 157 h 512"/>
              <a:gd name="T32" fmla="*/ 99 w 512"/>
              <a:gd name="T33" fmla="*/ 141 h 512"/>
              <a:gd name="T34" fmla="*/ 114 w 512"/>
              <a:gd name="T35" fmla="*/ 141 h 512"/>
              <a:gd name="T36" fmla="*/ 256 w 512"/>
              <a:gd name="T37" fmla="*/ 283 h 512"/>
              <a:gd name="T38" fmla="*/ 397 w 512"/>
              <a:gd name="T39" fmla="*/ 141 h 512"/>
              <a:gd name="T40" fmla="*/ 413 w 512"/>
              <a:gd name="T41" fmla="*/ 141 h 512"/>
              <a:gd name="T42" fmla="*/ 413 w 512"/>
              <a:gd name="T43" fmla="*/ 248 h 512"/>
              <a:gd name="T44" fmla="*/ 413 w 512"/>
              <a:gd name="T45" fmla="*/ 263 h 512"/>
              <a:gd name="T46" fmla="*/ 263 w 512"/>
              <a:gd name="T47" fmla="*/ 413 h 512"/>
              <a:gd name="T48" fmla="*/ 256 w 512"/>
              <a:gd name="T49" fmla="*/ 416 h 512"/>
              <a:gd name="T50" fmla="*/ 248 w 512"/>
              <a:gd name="T51" fmla="*/ 413 h 512"/>
              <a:gd name="T52" fmla="*/ 99 w 512"/>
              <a:gd name="T53" fmla="*/ 263 h 512"/>
              <a:gd name="T54" fmla="*/ 99 w 512"/>
              <a:gd name="T55" fmla="*/ 248 h 512"/>
              <a:gd name="T56" fmla="*/ 114 w 512"/>
              <a:gd name="T57" fmla="*/ 248 h 512"/>
              <a:gd name="T58" fmla="*/ 256 w 512"/>
              <a:gd name="T59" fmla="*/ 390 h 512"/>
              <a:gd name="T60" fmla="*/ 397 w 512"/>
              <a:gd name="T61" fmla="*/ 248 h 512"/>
              <a:gd name="T62" fmla="*/ 413 w 512"/>
              <a:gd name="T63" fmla="*/ 2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413" y="141"/>
                </a:moveTo>
                <a:cubicBezTo>
                  <a:pt x="417" y="146"/>
                  <a:pt x="417" y="152"/>
                  <a:pt x="413" y="157"/>
                </a:cubicBez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lose/>
                <a:moveTo>
                  <a:pt x="413" y="248"/>
                </a:moveTo>
                <a:cubicBezTo>
                  <a:pt x="417" y="252"/>
                  <a:pt x="417" y="259"/>
                  <a:pt x="413" y="263"/>
                </a:cubicBez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8" name="Group 94"/>
          <p:cNvGrpSpPr>
            <a:grpSpLocks noChangeAspect="1"/>
          </p:cNvGrpSpPr>
          <p:nvPr/>
        </p:nvGrpSpPr>
        <p:grpSpPr bwMode="auto">
          <a:xfrm>
            <a:off x="1223291" y="1695956"/>
            <a:ext cx="368152" cy="368152"/>
            <a:chOff x="54" y="161"/>
            <a:chExt cx="3636" cy="3636"/>
          </a:xfrm>
          <a:solidFill>
            <a:schemeClr val="accent1"/>
          </a:solidFill>
        </p:grpSpPr>
        <p:sp>
          <p:nvSpPr>
            <p:cNvPr id="259" name="Freeform 95"/>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96"/>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1" name="Group 99"/>
          <p:cNvGrpSpPr>
            <a:grpSpLocks noChangeAspect="1"/>
          </p:cNvGrpSpPr>
          <p:nvPr/>
        </p:nvGrpSpPr>
        <p:grpSpPr bwMode="auto">
          <a:xfrm>
            <a:off x="1631736" y="1695956"/>
            <a:ext cx="368152" cy="368152"/>
            <a:chOff x="521" y="390"/>
            <a:chExt cx="3635" cy="3635"/>
          </a:xfrm>
          <a:solidFill>
            <a:schemeClr val="accent1"/>
          </a:solidFill>
        </p:grpSpPr>
        <p:sp>
          <p:nvSpPr>
            <p:cNvPr id="262" name="Freeform 100"/>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01"/>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105"/>
          <p:cNvSpPr>
            <a:spLocks noChangeAspect="1" noEditPoints="1"/>
          </p:cNvSpPr>
          <p:nvPr/>
        </p:nvSpPr>
        <p:spPr bwMode="auto">
          <a:xfrm>
            <a:off x="406400" y="253320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264"/>
          <p:cNvGrpSpPr>
            <a:grpSpLocks noChangeAspect="1"/>
          </p:cNvGrpSpPr>
          <p:nvPr/>
        </p:nvGrpSpPr>
        <p:grpSpPr bwMode="auto">
          <a:xfrm>
            <a:off x="827036" y="2533203"/>
            <a:ext cx="368152" cy="368152"/>
            <a:chOff x="1153" y="614"/>
            <a:chExt cx="3635" cy="3635"/>
          </a:xfrm>
          <a:solidFill>
            <a:schemeClr val="accent2"/>
          </a:solidFill>
        </p:grpSpPr>
        <p:sp>
          <p:nvSpPr>
            <p:cNvPr id="266" name="Freeform 109"/>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110"/>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267"/>
          <p:cNvSpPr>
            <a:spLocks noChangeAspect="1" noEditPoints="1"/>
          </p:cNvSpPr>
          <p:nvPr/>
        </p:nvSpPr>
        <p:spPr bwMode="auto">
          <a:xfrm>
            <a:off x="1247672" y="2533203"/>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9" name="Freeform 122"/>
          <p:cNvSpPr>
            <a:spLocks noChangeAspect="1" noEditPoints="1"/>
          </p:cNvSpPr>
          <p:nvPr/>
        </p:nvSpPr>
        <p:spPr bwMode="auto">
          <a:xfrm>
            <a:off x="7996358" y="1695956"/>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0" name="Freeform 126"/>
          <p:cNvSpPr>
            <a:spLocks noChangeAspect="1" noEditPoints="1"/>
          </p:cNvSpPr>
          <p:nvPr/>
        </p:nvSpPr>
        <p:spPr bwMode="auto">
          <a:xfrm>
            <a:off x="8404633"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394 w 512"/>
              <a:gd name="T23" fmla="*/ 181 h 512"/>
              <a:gd name="T24" fmla="*/ 394 w 512"/>
              <a:gd name="T25" fmla="*/ 298 h 512"/>
              <a:gd name="T26" fmla="*/ 132 w 512"/>
              <a:gd name="T27" fmla="*/ 298 h 512"/>
              <a:gd name="T28" fmla="*/ 199 w 512"/>
              <a:gd name="T29" fmla="*/ 231 h 512"/>
              <a:gd name="T30" fmla="*/ 199 w 512"/>
              <a:gd name="T31" fmla="*/ 216 h 512"/>
              <a:gd name="T32" fmla="*/ 184 w 512"/>
              <a:gd name="T33" fmla="*/ 216 h 512"/>
              <a:gd name="T34" fmla="*/ 99 w 512"/>
              <a:gd name="T35" fmla="*/ 301 h 512"/>
              <a:gd name="T36" fmla="*/ 96 w 512"/>
              <a:gd name="T37" fmla="*/ 305 h 512"/>
              <a:gd name="T38" fmla="*/ 96 w 512"/>
              <a:gd name="T39" fmla="*/ 313 h 512"/>
              <a:gd name="T40" fmla="*/ 99 w 512"/>
              <a:gd name="T41" fmla="*/ 317 h 512"/>
              <a:gd name="T42" fmla="*/ 184 w 512"/>
              <a:gd name="T43" fmla="*/ 402 h 512"/>
              <a:gd name="T44" fmla="*/ 192 w 512"/>
              <a:gd name="T45" fmla="*/ 405 h 512"/>
              <a:gd name="T46" fmla="*/ 199 w 512"/>
              <a:gd name="T47" fmla="*/ 402 h 512"/>
              <a:gd name="T48" fmla="*/ 199 w 512"/>
              <a:gd name="T49" fmla="*/ 387 h 512"/>
              <a:gd name="T50" fmla="*/ 132 w 512"/>
              <a:gd name="T51" fmla="*/ 320 h 512"/>
              <a:gd name="T52" fmla="*/ 405 w 512"/>
              <a:gd name="T53" fmla="*/ 320 h 512"/>
              <a:gd name="T54" fmla="*/ 416 w 512"/>
              <a:gd name="T55" fmla="*/ 309 h 512"/>
              <a:gd name="T56" fmla="*/ 416 w 512"/>
              <a:gd name="T57" fmla="*/ 181 h 512"/>
              <a:gd name="T58" fmla="*/ 405 w 512"/>
              <a:gd name="T5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399" y="170"/>
                  <a:pt x="394" y="175"/>
                  <a:pt x="394" y="181"/>
                </a:cubicBezTo>
                <a:cubicBezTo>
                  <a:pt x="394" y="298"/>
                  <a:pt x="394" y="298"/>
                  <a:pt x="394" y="298"/>
                </a:cubicBezTo>
                <a:cubicBezTo>
                  <a:pt x="132" y="298"/>
                  <a:pt x="132" y="298"/>
                  <a:pt x="132" y="298"/>
                </a:cubicBezTo>
                <a:cubicBezTo>
                  <a:pt x="199" y="231"/>
                  <a:pt x="199" y="231"/>
                  <a:pt x="199" y="231"/>
                </a:cubicBezTo>
                <a:cubicBezTo>
                  <a:pt x="203" y="227"/>
                  <a:pt x="203" y="220"/>
                  <a:pt x="199" y="216"/>
                </a:cubicBezTo>
                <a:cubicBezTo>
                  <a:pt x="195" y="212"/>
                  <a:pt x="188" y="212"/>
                  <a:pt x="184" y="216"/>
                </a:cubicBezTo>
                <a:cubicBezTo>
                  <a:pt x="99" y="301"/>
                  <a:pt x="99" y="301"/>
                  <a:pt x="99" y="301"/>
                </a:cubicBezTo>
                <a:cubicBezTo>
                  <a:pt x="98" y="302"/>
                  <a:pt x="97" y="304"/>
                  <a:pt x="96" y="305"/>
                </a:cubicBezTo>
                <a:cubicBezTo>
                  <a:pt x="95" y="308"/>
                  <a:pt x="95" y="310"/>
                  <a:pt x="96" y="313"/>
                </a:cubicBezTo>
                <a:cubicBezTo>
                  <a:pt x="97" y="314"/>
                  <a:pt x="98" y="316"/>
                  <a:pt x="99" y="317"/>
                </a:cubicBezTo>
                <a:cubicBezTo>
                  <a:pt x="184" y="402"/>
                  <a:pt x="184" y="402"/>
                  <a:pt x="184" y="402"/>
                </a:cubicBezTo>
                <a:cubicBezTo>
                  <a:pt x="186" y="404"/>
                  <a:pt x="189" y="405"/>
                  <a:pt x="192" y="405"/>
                </a:cubicBezTo>
                <a:cubicBezTo>
                  <a:pt x="194" y="405"/>
                  <a:pt x="197" y="404"/>
                  <a:pt x="199" y="402"/>
                </a:cubicBezTo>
                <a:cubicBezTo>
                  <a:pt x="203" y="398"/>
                  <a:pt x="203" y="391"/>
                  <a:pt x="199" y="387"/>
                </a:cubicBezTo>
                <a:cubicBezTo>
                  <a:pt x="132" y="320"/>
                  <a:pt x="132" y="320"/>
                  <a:pt x="132" y="320"/>
                </a:cubicBezTo>
                <a:cubicBezTo>
                  <a:pt x="405" y="320"/>
                  <a:pt x="405" y="320"/>
                  <a:pt x="405" y="320"/>
                </a:cubicBezTo>
                <a:cubicBezTo>
                  <a:pt x="411" y="320"/>
                  <a:pt x="416" y="315"/>
                  <a:pt x="416" y="309"/>
                </a:cubicBezTo>
                <a:cubicBezTo>
                  <a:pt x="416" y="181"/>
                  <a:pt x="416" y="181"/>
                  <a:pt x="416" y="181"/>
                </a:cubicBezTo>
                <a:cubicBezTo>
                  <a:pt x="416" y="175"/>
                  <a:pt x="411" y="170"/>
                  <a:pt x="405" y="17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1" name="Freeform 130"/>
          <p:cNvSpPr>
            <a:spLocks noChangeAspect="1" noEditPoints="1"/>
          </p:cNvSpPr>
          <p:nvPr/>
        </p:nvSpPr>
        <p:spPr bwMode="auto">
          <a:xfrm>
            <a:off x="7178726" y="1695956"/>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2" name="Freeform 134"/>
          <p:cNvSpPr>
            <a:spLocks noChangeAspect="1" noEditPoints="1"/>
          </p:cNvSpPr>
          <p:nvPr/>
        </p:nvSpPr>
        <p:spPr bwMode="auto">
          <a:xfrm>
            <a:off x="7588083"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313 h 512"/>
              <a:gd name="T22" fmla="*/ 415 w 512"/>
              <a:gd name="T23" fmla="*/ 305 h 512"/>
              <a:gd name="T24" fmla="*/ 413 w 512"/>
              <a:gd name="T25" fmla="*/ 301 h 512"/>
              <a:gd name="T26" fmla="*/ 327 w 512"/>
              <a:gd name="T27" fmla="*/ 216 h 512"/>
              <a:gd name="T28" fmla="*/ 312 w 512"/>
              <a:gd name="T29" fmla="*/ 216 h 512"/>
              <a:gd name="T30" fmla="*/ 312 w 512"/>
              <a:gd name="T31" fmla="*/ 231 h 512"/>
              <a:gd name="T32" fmla="*/ 379 w 512"/>
              <a:gd name="T33" fmla="*/ 298 h 512"/>
              <a:gd name="T34" fmla="*/ 117 w 512"/>
              <a:gd name="T35" fmla="*/ 298 h 512"/>
              <a:gd name="T36" fmla="*/ 117 w 512"/>
              <a:gd name="T37" fmla="*/ 181 h 512"/>
              <a:gd name="T38" fmla="*/ 106 w 512"/>
              <a:gd name="T39" fmla="*/ 170 h 512"/>
              <a:gd name="T40" fmla="*/ 96 w 512"/>
              <a:gd name="T41" fmla="*/ 181 h 512"/>
              <a:gd name="T42" fmla="*/ 96 w 512"/>
              <a:gd name="T43" fmla="*/ 309 h 512"/>
              <a:gd name="T44" fmla="*/ 106 w 512"/>
              <a:gd name="T45" fmla="*/ 320 h 512"/>
              <a:gd name="T46" fmla="*/ 379 w 512"/>
              <a:gd name="T47" fmla="*/ 320 h 512"/>
              <a:gd name="T48" fmla="*/ 312 w 512"/>
              <a:gd name="T49" fmla="*/ 387 h 512"/>
              <a:gd name="T50" fmla="*/ 312 w 512"/>
              <a:gd name="T51" fmla="*/ 402 h 512"/>
              <a:gd name="T52" fmla="*/ 320 w 512"/>
              <a:gd name="T53" fmla="*/ 405 h 512"/>
              <a:gd name="T54" fmla="*/ 327 w 512"/>
              <a:gd name="T55" fmla="*/ 402 h 512"/>
              <a:gd name="T56" fmla="*/ 413 w 512"/>
              <a:gd name="T57" fmla="*/ 317 h 512"/>
              <a:gd name="T58" fmla="*/ 415 w 512"/>
              <a:gd name="T5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6" y="310"/>
                  <a:pt x="416" y="308"/>
                  <a:pt x="415" y="305"/>
                </a:cubicBezTo>
                <a:cubicBezTo>
                  <a:pt x="414" y="304"/>
                  <a:pt x="414" y="302"/>
                  <a:pt x="413" y="301"/>
                </a:cubicBezTo>
                <a:cubicBezTo>
                  <a:pt x="327" y="216"/>
                  <a:pt x="327" y="216"/>
                  <a:pt x="327" y="216"/>
                </a:cubicBezTo>
                <a:cubicBezTo>
                  <a:pt x="323" y="212"/>
                  <a:pt x="316" y="212"/>
                  <a:pt x="312" y="216"/>
                </a:cubicBezTo>
                <a:cubicBezTo>
                  <a:pt x="308" y="220"/>
                  <a:pt x="308" y="227"/>
                  <a:pt x="312" y="231"/>
                </a:cubicBezTo>
                <a:cubicBezTo>
                  <a:pt x="379" y="298"/>
                  <a:pt x="379" y="298"/>
                  <a:pt x="379" y="298"/>
                </a:cubicBezTo>
                <a:cubicBezTo>
                  <a:pt x="117" y="298"/>
                  <a:pt x="117" y="298"/>
                  <a:pt x="117" y="298"/>
                </a:cubicBezTo>
                <a:cubicBezTo>
                  <a:pt x="117" y="181"/>
                  <a:pt x="117" y="181"/>
                  <a:pt x="117" y="181"/>
                </a:cubicBezTo>
                <a:cubicBezTo>
                  <a:pt x="117" y="175"/>
                  <a:pt x="112" y="170"/>
                  <a:pt x="106" y="170"/>
                </a:cubicBezTo>
                <a:cubicBezTo>
                  <a:pt x="100" y="170"/>
                  <a:pt x="96" y="175"/>
                  <a:pt x="96" y="181"/>
                </a:cubicBezTo>
                <a:cubicBezTo>
                  <a:pt x="96" y="309"/>
                  <a:pt x="96" y="309"/>
                  <a:pt x="96" y="309"/>
                </a:cubicBezTo>
                <a:cubicBezTo>
                  <a:pt x="96" y="315"/>
                  <a:pt x="100" y="320"/>
                  <a:pt x="106" y="320"/>
                </a:cubicBezTo>
                <a:cubicBezTo>
                  <a:pt x="379" y="320"/>
                  <a:pt x="379" y="320"/>
                  <a:pt x="379" y="320"/>
                </a:cubicBezTo>
                <a:cubicBezTo>
                  <a:pt x="312" y="387"/>
                  <a:pt x="312" y="387"/>
                  <a:pt x="312" y="387"/>
                </a:cubicBezTo>
                <a:cubicBezTo>
                  <a:pt x="308" y="391"/>
                  <a:pt x="308" y="398"/>
                  <a:pt x="312" y="402"/>
                </a:cubicBezTo>
                <a:cubicBezTo>
                  <a:pt x="314" y="404"/>
                  <a:pt x="317" y="405"/>
                  <a:pt x="320" y="405"/>
                </a:cubicBezTo>
                <a:cubicBezTo>
                  <a:pt x="322" y="405"/>
                  <a:pt x="325" y="404"/>
                  <a:pt x="327" y="402"/>
                </a:cubicBezTo>
                <a:cubicBezTo>
                  <a:pt x="413" y="317"/>
                  <a:pt x="413" y="317"/>
                  <a:pt x="413" y="317"/>
                </a:cubicBezTo>
                <a:cubicBezTo>
                  <a:pt x="414" y="316"/>
                  <a:pt x="414" y="314"/>
                  <a:pt x="415" y="31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3" name="Freeform 272"/>
          <p:cNvSpPr>
            <a:spLocks noChangeAspect="1" noEditPoints="1"/>
          </p:cNvSpPr>
          <p:nvPr/>
        </p:nvSpPr>
        <p:spPr bwMode="auto">
          <a:xfrm>
            <a:off x="6360752" y="1695956"/>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4" name="Group 141"/>
          <p:cNvGrpSpPr>
            <a:grpSpLocks noChangeAspect="1"/>
          </p:cNvGrpSpPr>
          <p:nvPr/>
        </p:nvGrpSpPr>
        <p:grpSpPr bwMode="auto">
          <a:xfrm>
            <a:off x="6769197" y="1695956"/>
            <a:ext cx="369236" cy="368152"/>
            <a:chOff x="3478" y="1502"/>
            <a:chExt cx="341" cy="340"/>
          </a:xfrm>
          <a:solidFill>
            <a:schemeClr val="accent2"/>
          </a:solidFill>
        </p:grpSpPr>
        <p:sp>
          <p:nvSpPr>
            <p:cNvPr id="275"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174"/>
          <p:cNvSpPr>
            <a:spLocks noChangeAspect="1" noEditPoints="1"/>
          </p:cNvSpPr>
          <p:nvPr/>
        </p:nvSpPr>
        <p:spPr bwMode="auto">
          <a:xfrm>
            <a:off x="5309627"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1" name="Freeform 183"/>
          <p:cNvSpPr>
            <a:spLocks noChangeAspect="1" noEditPoints="1"/>
          </p:cNvSpPr>
          <p:nvPr/>
        </p:nvSpPr>
        <p:spPr bwMode="auto">
          <a:xfrm>
            <a:off x="4491995"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117 h 512"/>
              <a:gd name="T12" fmla="*/ 213 w 512"/>
              <a:gd name="T13" fmla="*/ 117 h 512"/>
              <a:gd name="T14" fmla="*/ 213 w 512"/>
              <a:gd name="T15" fmla="*/ 379 h 512"/>
              <a:gd name="T16" fmla="*/ 280 w 512"/>
              <a:gd name="T17" fmla="*/ 312 h 512"/>
              <a:gd name="T18" fmla="*/ 295 w 512"/>
              <a:gd name="T19" fmla="*/ 312 h 512"/>
              <a:gd name="T20" fmla="*/ 295 w 512"/>
              <a:gd name="T21" fmla="*/ 327 h 512"/>
              <a:gd name="T22" fmla="*/ 210 w 512"/>
              <a:gd name="T23" fmla="*/ 413 h 512"/>
              <a:gd name="T24" fmla="*/ 206 w 512"/>
              <a:gd name="T25" fmla="*/ 415 h 512"/>
              <a:gd name="T26" fmla="*/ 202 w 512"/>
              <a:gd name="T27" fmla="*/ 416 h 512"/>
              <a:gd name="T28" fmla="*/ 198 w 512"/>
              <a:gd name="T29" fmla="*/ 415 h 512"/>
              <a:gd name="T30" fmla="*/ 195 w 512"/>
              <a:gd name="T31" fmla="*/ 413 h 512"/>
              <a:gd name="T32" fmla="*/ 109 w 512"/>
              <a:gd name="T33" fmla="*/ 327 h 512"/>
              <a:gd name="T34" fmla="*/ 109 w 512"/>
              <a:gd name="T35" fmla="*/ 312 h 512"/>
              <a:gd name="T36" fmla="*/ 125 w 512"/>
              <a:gd name="T37" fmla="*/ 312 h 512"/>
              <a:gd name="T38" fmla="*/ 192 w 512"/>
              <a:gd name="T39" fmla="*/ 379 h 512"/>
              <a:gd name="T40" fmla="*/ 192 w 512"/>
              <a:gd name="T41" fmla="*/ 106 h 512"/>
              <a:gd name="T42" fmla="*/ 202 w 512"/>
              <a:gd name="T43" fmla="*/ 96 h 512"/>
              <a:gd name="T44" fmla="*/ 330 w 512"/>
              <a:gd name="T45" fmla="*/ 96 h 512"/>
              <a:gd name="T46" fmla="*/ 341 w 512"/>
              <a:gd name="T47" fmla="*/ 106 h 512"/>
              <a:gd name="T48" fmla="*/ 330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117"/>
                </a:moveTo>
                <a:cubicBezTo>
                  <a:pt x="213" y="117"/>
                  <a:pt x="213" y="117"/>
                  <a:pt x="213" y="117"/>
                </a:cubicBezTo>
                <a:cubicBezTo>
                  <a:pt x="213" y="379"/>
                  <a:pt x="213" y="379"/>
                  <a:pt x="213" y="379"/>
                </a:cubicBezTo>
                <a:cubicBezTo>
                  <a:pt x="280" y="312"/>
                  <a:pt x="280" y="312"/>
                  <a:pt x="280" y="312"/>
                </a:cubicBezTo>
                <a:cubicBezTo>
                  <a:pt x="284" y="308"/>
                  <a:pt x="291" y="308"/>
                  <a:pt x="295" y="312"/>
                </a:cubicBezTo>
                <a:cubicBezTo>
                  <a:pt x="299" y="316"/>
                  <a:pt x="299" y="323"/>
                  <a:pt x="295" y="327"/>
                </a:cubicBezTo>
                <a:cubicBezTo>
                  <a:pt x="210" y="413"/>
                  <a:pt x="210" y="413"/>
                  <a:pt x="210" y="413"/>
                </a:cubicBezTo>
                <a:cubicBezTo>
                  <a:pt x="209" y="414"/>
                  <a:pt x="208" y="414"/>
                  <a:pt x="206" y="415"/>
                </a:cubicBezTo>
                <a:cubicBezTo>
                  <a:pt x="205" y="415"/>
                  <a:pt x="204" y="416"/>
                  <a:pt x="202" y="416"/>
                </a:cubicBezTo>
                <a:cubicBezTo>
                  <a:pt x="201" y="416"/>
                  <a:pt x="200" y="415"/>
                  <a:pt x="198" y="415"/>
                </a:cubicBezTo>
                <a:cubicBezTo>
                  <a:pt x="197" y="414"/>
                  <a:pt x="196" y="414"/>
                  <a:pt x="195" y="413"/>
                </a:cubicBezTo>
                <a:cubicBezTo>
                  <a:pt x="109" y="327"/>
                  <a:pt x="109" y="327"/>
                  <a:pt x="109" y="327"/>
                </a:cubicBezTo>
                <a:cubicBezTo>
                  <a:pt x="105" y="323"/>
                  <a:pt x="105" y="316"/>
                  <a:pt x="109" y="312"/>
                </a:cubicBezTo>
                <a:cubicBezTo>
                  <a:pt x="114" y="308"/>
                  <a:pt x="120" y="308"/>
                  <a:pt x="125" y="312"/>
                </a:cubicBezTo>
                <a:cubicBezTo>
                  <a:pt x="192" y="379"/>
                  <a:pt x="192" y="379"/>
                  <a:pt x="192" y="379"/>
                </a:cubicBezTo>
                <a:cubicBezTo>
                  <a:pt x="192" y="106"/>
                  <a:pt x="192" y="106"/>
                  <a:pt x="192" y="106"/>
                </a:cubicBezTo>
                <a:cubicBezTo>
                  <a:pt x="192" y="100"/>
                  <a:pt x="196" y="96"/>
                  <a:pt x="202" y="96"/>
                </a:cubicBezTo>
                <a:cubicBezTo>
                  <a:pt x="330" y="96"/>
                  <a:pt x="330" y="96"/>
                  <a:pt x="330" y="96"/>
                </a:cubicBezTo>
                <a:cubicBezTo>
                  <a:pt x="336" y="96"/>
                  <a:pt x="341" y="100"/>
                  <a:pt x="341" y="106"/>
                </a:cubicBezTo>
                <a:cubicBezTo>
                  <a:pt x="341" y="112"/>
                  <a:pt x="336" y="117"/>
                  <a:pt x="330" y="1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2" name="Freeform 187"/>
          <p:cNvSpPr>
            <a:spLocks noChangeAspect="1" noEditPoints="1"/>
          </p:cNvSpPr>
          <p:nvPr/>
        </p:nvSpPr>
        <p:spPr bwMode="auto">
          <a:xfrm>
            <a:off x="4900270" y="1695956"/>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96 h 512"/>
              <a:gd name="T22" fmla="*/ 202 w 512"/>
              <a:gd name="T23" fmla="*/ 96 h 512"/>
              <a:gd name="T24" fmla="*/ 192 w 512"/>
              <a:gd name="T25" fmla="*/ 106 h 512"/>
              <a:gd name="T26" fmla="*/ 192 w 512"/>
              <a:gd name="T27" fmla="*/ 379 h 512"/>
              <a:gd name="T28" fmla="*/ 125 w 512"/>
              <a:gd name="T29" fmla="*/ 312 h 512"/>
              <a:gd name="T30" fmla="*/ 109 w 512"/>
              <a:gd name="T31" fmla="*/ 312 h 512"/>
              <a:gd name="T32" fmla="*/ 109 w 512"/>
              <a:gd name="T33" fmla="*/ 327 h 512"/>
              <a:gd name="T34" fmla="*/ 195 w 512"/>
              <a:gd name="T35" fmla="*/ 413 h 512"/>
              <a:gd name="T36" fmla="*/ 198 w 512"/>
              <a:gd name="T37" fmla="*/ 415 h 512"/>
              <a:gd name="T38" fmla="*/ 202 w 512"/>
              <a:gd name="T39" fmla="*/ 416 h 512"/>
              <a:gd name="T40" fmla="*/ 206 w 512"/>
              <a:gd name="T41" fmla="*/ 415 h 512"/>
              <a:gd name="T42" fmla="*/ 210 w 512"/>
              <a:gd name="T43" fmla="*/ 413 h 512"/>
              <a:gd name="T44" fmla="*/ 295 w 512"/>
              <a:gd name="T45" fmla="*/ 327 h 512"/>
              <a:gd name="T46" fmla="*/ 295 w 512"/>
              <a:gd name="T47" fmla="*/ 312 h 512"/>
              <a:gd name="T48" fmla="*/ 280 w 512"/>
              <a:gd name="T49" fmla="*/ 312 h 512"/>
              <a:gd name="T50" fmla="*/ 213 w 512"/>
              <a:gd name="T51" fmla="*/ 379 h 512"/>
              <a:gd name="T52" fmla="*/ 213 w 512"/>
              <a:gd name="T53" fmla="*/ 117 h 512"/>
              <a:gd name="T54" fmla="*/ 330 w 512"/>
              <a:gd name="T55" fmla="*/ 117 h 512"/>
              <a:gd name="T56" fmla="*/ 341 w 512"/>
              <a:gd name="T57" fmla="*/ 106 h 512"/>
              <a:gd name="T58" fmla="*/ 330 w 512"/>
              <a:gd name="T59" fmla="*/ 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202" y="96"/>
                  <a:pt x="202" y="96"/>
                  <a:pt x="202" y="96"/>
                </a:cubicBezTo>
                <a:cubicBezTo>
                  <a:pt x="196" y="96"/>
                  <a:pt x="192" y="100"/>
                  <a:pt x="192" y="106"/>
                </a:cubicBezTo>
                <a:cubicBezTo>
                  <a:pt x="192" y="379"/>
                  <a:pt x="192" y="379"/>
                  <a:pt x="192" y="379"/>
                </a:cubicBezTo>
                <a:cubicBezTo>
                  <a:pt x="125" y="312"/>
                  <a:pt x="125" y="312"/>
                  <a:pt x="125" y="312"/>
                </a:cubicBezTo>
                <a:cubicBezTo>
                  <a:pt x="120" y="308"/>
                  <a:pt x="114" y="308"/>
                  <a:pt x="109" y="312"/>
                </a:cubicBezTo>
                <a:cubicBezTo>
                  <a:pt x="105" y="316"/>
                  <a:pt x="105" y="323"/>
                  <a:pt x="109" y="327"/>
                </a:cubicBezTo>
                <a:cubicBezTo>
                  <a:pt x="195" y="413"/>
                  <a:pt x="195" y="413"/>
                  <a:pt x="195" y="413"/>
                </a:cubicBezTo>
                <a:cubicBezTo>
                  <a:pt x="196" y="414"/>
                  <a:pt x="197" y="414"/>
                  <a:pt x="198" y="415"/>
                </a:cubicBezTo>
                <a:cubicBezTo>
                  <a:pt x="200" y="415"/>
                  <a:pt x="201" y="416"/>
                  <a:pt x="202" y="416"/>
                </a:cubicBezTo>
                <a:cubicBezTo>
                  <a:pt x="204" y="416"/>
                  <a:pt x="205" y="415"/>
                  <a:pt x="206" y="415"/>
                </a:cubicBezTo>
                <a:cubicBezTo>
                  <a:pt x="208" y="414"/>
                  <a:pt x="209" y="414"/>
                  <a:pt x="210" y="413"/>
                </a:cubicBezTo>
                <a:cubicBezTo>
                  <a:pt x="295" y="327"/>
                  <a:pt x="295" y="327"/>
                  <a:pt x="295" y="327"/>
                </a:cubicBezTo>
                <a:cubicBezTo>
                  <a:pt x="299" y="323"/>
                  <a:pt x="299" y="316"/>
                  <a:pt x="295" y="312"/>
                </a:cubicBezTo>
                <a:cubicBezTo>
                  <a:pt x="291" y="308"/>
                  <a:pt x="284" y="308"/>
                  <a:pt x="280" y="312"/>
                </a:cubicBezTo>
                <a:cubicBezTo>
                  <a:pt x="213" y="379"/>
                  <a:pt x="213" y="379"/>
                  <a:pt x="213" y="379"/>
                </a:cubicBezTo>
                <a:cubicBezTo>
                  <a:pt x="213" y="117"/>
                  <a:pt x="213" y="117"/>
                  <a:pt x="213" y="117"/>
                </a:cubicBezTo>
                <a:cubicBezTo>
                  <a:pt x="330" y="117"/>
                  <a:pt x="330" y="117"/>
                  <a:pt x="330" y="117"/>
                </a:cubicBezTo>
                <a:cubicBezTo>
                  <a:pt x="336" y="117"/>
                  <a:pt x="341" y="112"/>
                  <a:pt x="341" y="106"/>
                </a:cubicBezTo>
                <a:cubicBezTo>
                  <a:pt x="341" y="100"/>
                  <a:pt x="336" y="96"/>
                  <a:pt x="330" y="9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3" name="Freeform 282"/>
          <p:cNvSpPr>
            <a:spLocks noChangeAspect="1" noEditPoints="1"/>
          </p:cNvSpPr>
          <p:nvPr/>
        </p:nvSpPr>
        <p:spPr bwMode="auto">
          <a:xfrm>
            <a:off x="3674363" y="1695956"/>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6 h 512"/>
              <a:gd name="T12" fmla="*/ 202 w 512"/>
              <a:gd name="T13" fmla="*/ 416 h 512"/>
              <a:gd name="T14" fmla="*/ 192 w 512"/>
              <a:gd name="T15" fmla="*/ 405 h 512"/>
              <a:gd name="T16" fmla="*/ 192 w 512"/>
              <a:gd name="T17" fmla="*/ 132 h 512"/>
              <a:gd name="T18" fmla="*/ 125 w 512"/>
              <a:gd name="T19" fmla="*/ 199 h 512"/>
              <a:gd name="T20" fmla="*/ 117 w 512"/>
              <a:gd name="T21" fmla="*/ 202 h 512"/>
              <a:gd name="T22" fmla="*/ 109 w 512"/>
              <a:gd name="T23" fmla="*/ 199 h 512"/>
              <a:gd name="T24" fmla="*/ 109 w 512"/>
              <a:gd name="T25" fmla="*/ 184 h 512"/>
              <a:gd name="T26" fmla="*/ 195 w 512"/>
              <a:gd name="T27" fmla="*/ 99 h 512"/>
              <a:gd name="T28" fmla="*/ 198 w 512"/>
              <a:gd name="T29" fmla="*/ 96 h 512"/>
              <a:gd name="T30" fmla="*/ 206 w 512"/>
              <a:gd name="T31" fmla="*/ 96 h 512"/>
              <a:gd name="T32" fmla="*/ 210 w 512"/>
              <a:gd name="T33" fmla="*/ 99 h 512"/>
              <a:gd name="T34" fmla="*/ 295 w 512"/>
              <a:gd name="T35" fmla="*/ 184 h 512"/>
              <a:gd name="T36" fmla="*/ 295 w 512"/>
              <a:gd name="T37" fmla="*/ 199 h 512"/>
              <a:gd name="T38" fmla="*/ 288 w 512"/>
              <a:gd name="T39" fmla="*/ 202 h 512"/>
              <a:gd name="T40" fmla="*/ 280 w 512"/>
              <a:gd name="T41" fmla="*/ 199 h 512"/>
              <a:gd name="T42" fmla="*/ 213 w 512"/>
              <a:gd name="T43" fmla="*/ 132 h 512"/>
              <a:gd name="T44" fmla="*/ 213 w 512"/>
              <a:gd name="T45" fmla="*/ 394 h 512"/>
              <a:gd name="T46" fmla="*/ 330 w 512"/>
              <a:gd name="T47" fmla="*/ 394 h 512"/>
              <a:gd name="T48" fmla="*/ 341 w 512"/>
              <a:gd name="T49" fmla="*/ 405 h 512"/>
              <a:gd name="T50" fmla="*/ 330 w 512"/>
              <a:gd name="T5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6"/>
                </a:moveTo>
                <a:cubicBezTo>
                  <a:pt x="202" y="416"/>
                  <a:pt x="202" y="416"/>
                  <a:pt x="202" y="416"/>
                </a:cubicBezTo>
                <a:cubicBezTo>
                  <a:pt x="196" y="416"/>
                  <a:pt x="192" y="411"/>
                  <a:pt x="192" y="405"/>
                </a:cubicBezTo>
                <a:cubicBezTo>
                  <a:pt x="192" y="132"/>
                  <a:pt x="192" y="132"/>
                  <a:pt x="192" y="132"/>
                </a:cubicBezTo>
                <a:cubicBezTo>
                  <a:pt x="125" y="199"/>
                  <a:pt x="125" y="199"/>
                  <a:pt x="125" y="199"/>
                </a:cubicBezTo>
                <a:cubicBezTo>
                  <a:pt x="122" y="201"/>
                  <a:pt x="120" y="202"/>
                  <a:pt x="117" y="202"/>
                </a:cubicBezTo>
                <a:cubicBezTo>
                  <a:pt x="114" y="202"/>
                  <a:pt x="112" y="201"/>
                  <a:pt x="109" y="199"/>
                </a:cubicBezTo>
                <a:cubicBezTo>
                  <a:pt x="105" y="195"/>
                  <a:pt x="105" y="188"/>
                  <a:pt x="109" y="184"/>
                </a:cubicBezTo>
                <a:cubicBezTo>
                  <a:pt x="195" y="99"/>
                  <a:pt x="195" y="99"/>
                  <a:pt x="195" y="99"/>
                </a:cubicBezTo>
                <a:cubicBezTo>
                  <a:pt x="196" y="98"/>
                  <a:pt x="197" y="97"/>
                  <a:pt x="198" y="96"/>
                </a:cubicBezTo>
                <a:cubicBezTo>
                  <a:pt x="201" y="95"/>
                  <a:pt x="204" y="95"/>
                  <a:pt x="206" y="96"/>
                </a:cubicBezTo>
                <a:cubicBezTo>
                  <a:pt x="208" y="97"/>
                  <a:pt x="209" y="98"/>
                  <a:pt x="210" y="99"/>
                </a:cubicBezTo>
                <a:cubicBezTo>
                  <a:pt x="295" y="184"/>
                  <a:pt x="295" y="184"/>
                  <a:pt x="295" y="184"/>
                </a:cubicBezTo>
                <a:cubicBezTo>
                  <a:pt x="299" y="188"/>
                  <a:pt x="299" y="195"/>
                  <a:pt x="295" y="199"/>
                </a:cubicBezTo>
                <a:cubicBezTo>
                  <a:pt x="293" y="201"/>
                  <a:pt x="290" y="202"/>
                  <a:pt x="288" y="202"/>
                </a:cubicBezTo>
                <a:cubicBezTo>
                  <a:pt x="285" y="202"/>
                  <a:pt x="282" y="201"/>
                  <a:pt x="280" y="199"/>
                </a:cubicBezTo>
                <a:cubicBezTo>
                  <a:pt x="213" y="132"/>
                  <a:pt x="213" y="132"/>
                  <a:pt x="213" y="132"/>
                </a:cubicBezTo>
                <a:cubicBezTo>
                  <a:pt x="213" y="394"/>
                  <a:pt x="213" y="394"/>
                  <a:pt x="213" y="394"/>
                </a:cubicBezTo>
                <a:cubicBezTo>
                  <a:pt x="330" y="394"/>
                  <a:pt x="330" y="394"/>
                  <a:pt x="330" y="394"/>
                </a:cubicBezTo>
                <a:cubicBezTo>
                  <a:pt x="336" y="394"/>
                  <a:pt x="341" y="399"/>
                  <a:pt x="341" y="405"/>
                </a:cubicBezTo>
                <a:cubicBezTo>
                  <a:pt x="341" y="411"/>
                  <a:pt x="336" y="416"/>
                  <a:pt x="330" y="41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4" name="Freeform 195"/>
          <p:cNvSpPr>
            <a:spLocks noChangeAspect="1" noEditPoints="1"/>
          </p:cNvSpPr>
          <p:nvPr/>
        </p:nvSpPr>
        <p:spPr bwMode="auto">
          <a:xfrm>
            <a:off x="4083720"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394 h 512"/>
              <a:gd name="T22" fmla="*/ 213 w 512"/>
              <a:gd name="T23" fmla="*/ 394 h 512"/>
              <a:gd name="T24" fmla="*/ 213 w 512"/>
              <a:gd name="T25" fmla="*/ 132 h 512"/>
              <a:gd name="T26" fmla="*/ 280 w 512"/>
              <a:gd name="T27" fmla="*/ 199 h 512"/>
              <a:gd name="T28" fmla="*/ 288 w 512"/>
              <a:gd name="T29" fmla="*/ 202 h 512"/>
              <a:gd name="T30" fmla="*/ 295 w 512"/>
              <a:gd name="T31" fmla="*/ 199 h 512"/>
              <a:gd name="T32" fmla="*/ 295 w 512"/>
              <a:gd name="T33" fmla="*/ 184 h 512"/>
              <a:gd name="T34" fmla="*/ 210 w 512"/>
              <a:gd name="T35" fmla="*/ 99 h 512"/>
              <a:gd name="T36" fmla="*/ 206 w 512"/>
              <a:gd name="T37" fmla="*/ 96 h 512"/>
              <a:gd name="T38" fmla="*/ 198 w 512"/>
              <a:gd name="T39" fmla="*/ 96 h 512"/>
              <a:gd name="T40" fmla="*/ 195 w 512"/>
              <a:gd name="T41" fmla="*/ 99 h 512"/>
              <a:gd name="T42" fmla="*/ 109 w 512"/>
              <a:gd name="T43" fmla="*/ 184 h 512"/>
              <a:gd name="T44" fmla="*/ 109 w 512"/>
              <a:gd name="T45" fmla="*/ 199 h 512"/>
              <a:gd name="T46" fmla="*/ 117 w 512"/>
              <a:gd name="T47" fmla="*/ 202 h 512"/>
              <a:gd name="T48" fmla="*/ 125 w 512"/>
              <a:gd name="T49" fmla="*/ 199 h 512"/>
              <a:gd name="T50" fmla="*/ 192 w 512"/>
              <a:gd name="T51" fmla="*/ 132 h 512"/>
              <a:gd name="T52" fmla="*/ 192 w 512"/>
              <a:gd name="T53" fmla="*/ 405 h 512"/>
              <a:gd name="T54" fmla="*/ 202 w 512"/>
              <a:gd name="T55" fmla="*/ 416 h 512"/>
              <a:gd name="T56" fmla="*/ 330 w 512"/>
              <a:gd name="T57" fmla="*/ 416 h 512"/>
              <a:gd name="T58" fmla="*/ 341 w 512"/>
              <a:gd name="T59" fmla="*/ 405 h 512"/>
              <a:gd name="T60" fmla="*/ 330 w 512"/>
              <a:gd name="T6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4"/>
                </a:moveTo>
                <a:cubicBezTo>
                  <a:pt x="213" y="394"/>
                  <a:pt x="213" y="394"/>
                  <a:pt x="213" y="394"/>
                </a:cubicBezTo>
                <a:cubicBezTo>
                  <a:pt x="213" y="132"/>
                  <a:pt x="213" y="132"/>
                  <a:pt x="213" y="132"/>
                </a:cubicBezTo>
                <a:cubicBezTo>
                  <a:pt x="280" y="199"/>
                  <a:pt x="280" y="199"/>
                  <a:pt x="280" y="199"/>
                </a:cubicBezTo>
                <a:cubicBezTo>
                  <a:pt x="282" y="201"/>
                  <a:pt x="285" y="202"/>
                  <a:pt x="288" y="202"/>
                </a:cubicBezTo>
                <a:cubicBezTo>
                  <a:pt x="290" y="202"/>
                  <a:pt x="293" y="201"/>
                  <a:pt x="295" y="199"/>
                </a:cubicBezTo>
                <a:cubicBezTo>
                  <a:pt x="299" y="195"/>
                  <a:pt x="299" y="188"/>
                  <a:pt x="295" y="184"/>
                </a:cubicBezTo>
                <a:cubicBezTo>
                  <a:pt x="210" y="99"/>
                  <a:pt x="210" y="99"/>
                  <a:pt x="210" y="99"/>
                </a:cubicBezTo>
                <a:cubicBezTo>
                  <a:pt x="209" y="98"/>
                  <a:pt x="208" y="97"/>
                  <a:pt x="206" y="96"/>
                </a:cubicBezTo>
                <a:cubicBezTo>
                  <a:pt x="204" y="95"/>
                  <a:pt x="201" y="95"/>
                  <a:pt x="198" y="96"/>
                </a:cubicBezTo>
                <a:cubicBezTo>
                  <a:pt x="197" y="97"/>
                  <a:pt x="196" y="98"/>
                  <a:pt x="195" y="99"/>
                </a:cubicBezTo>
                <a:cubicBezTo>
                  <a:pt x="109" y="184"/>
                  <a:pt x="109" y="184"/>
                  <a:pt x="109" y="184"/>
                </a:cubicBezTo>
                <a:cubicBezTo>
                  <a:pt x="105" y="188"/>
                  <a:pt x="105" y="195"/>
                  <a:pt x="109" y="199"/>
                </a:cubicBezTo>
                <a:cubicBezTo>
                  <a:pt x="112" y="201"/>
                  <a:pt x="114" y="202"/>
                  <a:pt x="117" y="202"/>
                </a:cubicBezTo>
                <a:cubicBezTo>
                  <a:pt x="120" y="202"/>
                  <a:pt x="122" y="201"/>
                  <a:pt x="125" y="199"/>
                </a:cubicBezTo>
                <a:cubicBezTo>
                  <a:pt x="192" y="132"/>
                  <a:pt x="192" y="132"/>
                  <a:pt x="192" y="132"/>
                </a:cubicBezTo>
                <a:cubicBezTo>
                  <a:pt x="192" y="405"/>
                  <a:pt x="192" y="405"/>
                  <a:pt x="192" y="405"/>
                </a:cubicBezTo>
                <a:cubicBezTo>
                  <a:pt x="192" y="411"/>
                  <a:pt x="196" y="416"/>
                  <a:pt x="202" y="416"/>
                </a:cubicBezTo>
                <a:cubicBezTo>
                  <a:pt x="330" y="416"/>
                  <a:pt x="330" y="416"/>
                  <a:pt x="330" y="416"/>
                </a:cubicBezTo>
                <a:cubicBezTo>
                  <a:pt x="336" y="416"/>
                  <a:pt x="341" y="411"/>
                  <a:pt x="341" y="405"/>
                </a:cubicBezTo>
                <a:cubicBezTo>
                  <a:pt x="341" y="399"/>
                  <a:pt x="336" y="394"/>
                  <a:pt x="330" y="39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5" name="Freeform 199"/>
          <p:cNvSpPr>
            <a:spLocks noChangeAspect="1" noEditPoints="1"/>
          </p:cNvSpPr>
          <p:nvPr/>
        </p:nvSpPr>
        <p:spPr bwMode="auto">
          <a:xfrm>
            <a:off x="2857813"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32 w 512"/>
              <a:gd name="T25" fmla="*/ 266 h 512"/>
              <a:gd name="T26" fmla="*/ 199 w 512"/>
              <a:gd name="T27" fmla="*/ 333 h 512"/>
              <a:gd name="T28" fmla="*/ 199 w 512"/>
              <a:gd name="T29" fmla="*/ 349 h 512"/>
              <a:gd name="T30" fmla="*/ 184 w 512"/>
              <a:gd name="T31" fmla="*/ 349 h 512"/>
              <a:gd name="T32" fmla="*/ 99 w 512"/>
              <a:gd name="T33" fmla="*/ 263 h 512"/>
              <a:gd name="T34" fmla="*/ 96 w 512"/>
              <a:gd name="T35" fmla="*/ 260 h 512"/>
              <a:gd name="T36" fmla="*/ 96 w 512"/>
              <a:gd name="T37" fmla="*/ 252 h 512"/>
              <a:gd name="T38" fmla="*/ 99 w 512"/>
              <a:gd name="T39" fmla="*/ 248 h 512"/>
              <a:gd name="T40" fmla="*/ 184 w 512"/>
              <a:gd name="T41" fmla="*/ 163 h 512"/>
              <a:gd name="T42" fmla="*/ 192 w 512"/>
              <a:gd name="T43" fmla="*/ 160 h 512"/>
              <a:gd name="T44" fmla="*/ 199 w 512"/>
              <a:gd name="T45" fmla="*/ 163 h 512"/>
              <a:gd name="T46" fmla="*/ 199 w 512"/>
              <a:gd name="T47" fmla="*/ 178 h 512"/>
              <a:gd name="T48" fmla="*/ 132 w 512"/>
              <a:gd name="T49" fmla="*/ 245 h 512"/>
              <a:gd name="T50" fmla="*/ 379 w 512"/>
              <a:gd name="T51" fmla="*/ 245 h 512"/>
              <a:gd name="T52" fmla="*/ 312 w 512"/>
              <a:gd name="T53" fmla="*/ 178 h 512"/>
              <a:gd name="T54" fmla="*/ 312 w 512"/>
              <a:gd name="T55" fmla="*/ 163 h 512"/>
              <a:gd name="T56" fmla="*/ 327 w 512"/>
              <a:gd name="T57" fmla="*/ 163 h 512"/>
              <a:gd name="T58" fmla="*/ 413 w 512"/>
              <a:gd name="T59" fmla="*/ 248 h 512"/>
              <a:gd name="T60" fmla="*/ 415 w 512"/>
              <a:gd name="T61" fmla="*/ 252 h 512"/>
              <a:gd name="T62" fmla="*/ 415 w 512"/>
              <a:gd name="T6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32" y="266"/>
                  <a:pt x="132" y="266"/>
                  <a:pt x="132" y="266"/>
                </a:cubicBezTo>
                <a:cubicBezTo>
                  <a:pt x="199" y="333"/>
                  <a:pt x="199" y="333"/>
                  <a:pt x="199" y="333"/>
                </a:cubicBezTo>
                <a:cubicBezTo>
                  <a:pt x="203" y="338"/>
                  <a:pt x="203" y="344"/>
                  <a:pt x="199" y="349"/>
                </a:cubicBezTo>
                <a:cubicBezTo>
                  <a:pt x="195" y="353"/>
                  <a:pt x="188" y="353"/>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6" y="161"/>
                  <a:pt x="189" y="160"/>
                  <a:pt x="192" y="160"/>
                </a:cubicBezTo>
                <a:cubicBezTo>
                  <a:pt x="194" y="160"/>
                  <a:pt x="197" y="161"/>
                  <a:pt x="199" y="163"/>
                </a:cubicBezTo>
                <a:cubicBezTo>
                  <a:pt x="203" y="167"/>
                  <a:pt x="203" y="174"/>
                  <a:pt x="199" y="178"/>
                </a:cubicBezTo>
                <a:cubicBezTo>
                  <a:pt x="132" y="245"/>
                  <a:pt x="132" y="245"/>
                  <a:pt x="132"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6" name="Freeform 203"/>
          <p:cNvSpPr>
            <a:spLocks noChangeAspect="1" noEditPoints="1"/>
          </p:cNvSpPr>
          <p:nvPr/>
        </p:nvSpPr>
        <p:spPr bwMode="auto">
          <a:xfrm>
            <a:off x="3266088"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9 w 512"/>
              <a:gd name="T21" fmla="*/ 266 h 512"/>
              <a:gd name="T22" fmla="*/ 312 w 512"/>
              <a:gd name="T23" fmla="*/ 333 h 512"/>
              <a:gd name="T24" fmla="*/ 312 w 512"/>
              <a:gd name="T25" fmla="*/ 349 h 512"/>
              <a:gd name="T26" fmla="*/ 320 w 512"/>
              <a:gd name="T27" fmla="*/ 352 h 512"/>
              <a:gd name="T28" fmla="*/ 327 w 512"/>
              <a:gd name="T29" fmla="*/ 349 h 512"/>
              <a:gd name="T30" fmla="*/ 413 w 512"/>
              <a:gd name="T31" fmla="*/ 263 h 512"/>
              <a:gd name="T32" fmla="*/ 415 w 512"/>
              <a:gd name="T33" fmla="*/ 260 h 512"/>
              <a:gd name="T34" fmla="*/ 415 w 512"/>
              <a:gd name="T35" fmla="*/ 252 h 512"/>
              <a:gd name="T36" fmla="*/ 413 w 512"/>
              <a:gd name="T37" fmla="*/ 248 h 512"/>
              <a:gd name="T38" fmla="*/ 327 w 512"/>
              <a:gd name="T39" fmla="*/ 163 h 512"/>
              <a:gd name="T40" fmla="*/ 312 w 512"/>
              <a:gd name="T41" fmla="*/ 163 h 512"/>
              <a:gd name="T42" fmla="*/ 312 w 512"/>
              <a:gd name="T43" fmla="*/ 178 h 512"/>
              <a:gd name="T44" fmla="*/ 379 w 512"/>
              <a:gd name="T45" fmla="*/ 245 h 512"/>
              <a:gd name="T46" fmla="*/ 132 w 512"/>
              <a:gd name="T47" fmla="*/ 245 h 512"/>
              <a:gd name="T48" fmla="*/ 199 w 512"/>
              <a:gd name="T49" fmla="*/ 178 h 512"/>
              <a:gd name="T50" fmla="*/ 199 w 512"/>
              <a:gd name="T51" fmla="*/ 163 h 512"/>
              <a:gd name="T52" fmla="*/ 192 w 512"/>
              <a:gd name="T53" fmla="*/ 160 h 512"/>
              <a:gd name="T54" fmla="*/ 184 w 512"/>
              <a:gd name="T55" fmla="*/ 163 h 512"/>
              <a:gd name="T56" fmla="*/ 99 w 512"/>
              <a:gd name="T57" fmla="*/ 248 h 512"/>
              <a:gd name="T58" fmla="*/ 96 w 512"/>
              <a:gd name="T59" fmla="*/ 252 h 512"/>
              <a:gd name="T60" fmla="*/ 96 w 512"/>
              <a:gd name="T61" fmla="*/ 260 h 512"/>
              <a:gd name="T62" fmla="*/ 99 w 512"/>
              <a:gd name="T63" fmla="*/ 263 h 512"/>
              <a:gd name="T64" fmla="*/ 184 w 512"/>
              <a:gd name="T65" fmla="*/ 349 h 512"/>
              <a:gd name="T66" fmla="*/ 199 w 512"/>
              <a:gd name="T67" fmla="*/ 349 h 512"/>
              <a:gd name="T68" fmla="*/ 199 w 512"/>
              <a:gd name="T69" fmla="*/ 333 h 512"/>
              <a:gd name="T70" fmla="*/ 132 w 512"/>
              <a:gd name="T71" fmla="*/ 266 h 512"/>
              <a:gd name="T72" fmla="*/ 379 w 512"/>
              <a:gd name="T7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9" y="266"/>
                </a:moveTo>
                <a:cubicBezTo>
                  <a:pt x="312" y="333"/>
                  <a:pt x="312" y="333"/>
                  <a:pt x="312" y="333"/>
                </a:cubicBezTo>
                <a:cubicBezTo>
                  <a:pt x="308" y="338"/>
                  <a:pt x="308" y="344"/>
                  <a:pt x="312" y="349"/>
                </a:cubicBezTo>
                <a:cubicBezTo>
                  <a:pt x="314" y="351"/>
                  <a:pt x="317" y="352"/>
                  <a:pt x="320" y="352"/>
                </a:cubicBezTo>
                <a:cubicBezTo>
                  <a:pt x="322" y="352"/>
                  <a:pt x="325" y="351"/>
                  <a:pt x="327" y="349"/>
                </a:cubicBezTo>
                <a:cubicBezTo>
                  <a:pt x="413" y="263"/>
                  <a:pt x="413" y="263"/>
                  <a:pt x="413" y="263"/>
                </a:cubicBezTo>
                <a:cubicBezTo>
                  <a:pt x="414" y="262"/>
                  <a:pt x="414" y="261"/>
                  <a:pt x="415" y="260"/>
                </a:cubicBezTo>
                <a:cubicBezTo>
                  <a:pt x="416" y="257"/>
                  <a:pt x="416" y="254"/>
                  <a:pt x="415" y="252"/>
                </a:cubicBezTo>
                <a:cubicBezTo>
                  <a:pt x="414" y="250"/>
                  <a:pt x="414" y="249"/>
                  <a:pt x="413" y="248"/>
                </a:cubicBezTo>
                <a:cubicBezTo>
                  <a:pt x="327" y="163"/>
                  <a:pt x="327" y="163"/>
                  <a:pt x="327" y="163"/>
                </a:cubicBezTo>
                <a:cubicBezTo>
                  <a:pt x="323" y="159"/>
                  <a:pt x="316" y="159"/>
                  <a:pt x="312" y="163"/>
                </a:cubicBezTo>
                <a:cubicBezTo>
                  <a:pt x="308" y="167"/>
                  <a:pt x="308" y="174"/>
                  <a:pt x="312" y="178"/>
                </a:cubicBezTo>
                <a:cubicBezTo>
                  <a:pt x="379" y="245"/>
                  <a:pt x="379" y="245"/>
                  <a:pt x="379" y="245"/>
                </a:cubicBezTo>
                <a:cubicBezTo>
                  <a:pt x="132" y="245"/>
                  <a:pt x="132" y="245"/>
                  <a:pt x="132" y="245"/>
                </a:cubicBezTo>
                <a:cubicBezTo>
                  <a:pt x="199" y="178"/>
                  <a:pt x="199" y="178"/>
                  <a:pt x="199" y="178"/>
                </a:cubicBezTo>
                <a:cubicBezTo>
                  <a:pt x="203" y="174"/>
                  <a:pt x="203" y="167"/>
                  <a:pt x="199" y="163"/>
                </a:cubicBezTo>
                <a:cubicBezTo>
                  <a:pt x="197" y="161"/>
                  <a:pt x="194" y="160"/>
                  <a:pt x="192" y="160"/>
                </a:cubicBezTo>
                <a:cubicBezTo>
                  <a:pt x="189" y="160"/>
                  <a:pt x="186" y="161"/>
                  <a:pt x="184" y="163"/>
                </a:cubicBezTo>
                <a:cubicBezTo>
                  <a:pt x="99" y="248"/>
                  <a:pt x="99" y="248"/>
                  <a:pt x="99" y="248"/>
                </a:cubicBezTo>
                <a:cubicBezTo>
                  <a:pt x="98" y="249"/>
                  <a:pt x="97" y="250"/>
                  <a:pt x="96" y="252"/>
                </a:cubicBezTo>
                <a:cubicBezTo>
                  <a:pt x="95" y="254"/>
                  <a:pt x="95" y="257"/>
                  <a:pt x="96" y="260"/>
                </a:cubicBezTo>
                <a:cubicBezTo>
                  <a:pt x="97" y="261"/>
                  <a:pt x="98" y="262"/>
                  <a:pt x="99" y="263"/>
                </a:cubicBezTo>
                <a:cubicBezTo>
                  <a:pt x="184" y="349"/>
                  <a:pt x="184" y="349"/>
                  <a:pt x="184" y="349"/>
                </a:cubicBezTo>
                <a:cubicBezTo>
                  <a:pt x="188" y="353"/>
                  <a:pt x="195" y="353"/>
                  <a:pt x="199" y="349"/>
                </a:cubicBezTo>
                <a:cubicBezTo>
                  <a:pt x="203" y="344"/>
                  <a:pt x="203" y="338"/>
                  <a:pt x="199" y="333"/>
                </a:cubicBezTo>
                <a:cubicBezTo>
                  <a:pt x="132" y="266"/>
                  <a:pt x="132" y="266"/>
                  <a:pt x="132" y="266"/>
                </a:cubicBezTo>
                <a:lnTo>
                  <a:pt x="379" y="26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7" name="Freeform 207"/>
          <p:cNvSpPr>
            <a:spLocks noChangeAspect="1" noEditPoints="1"/>
          </p:cNvSpPr>
          <p:nvPr/>
        </p:nvSpPr>
        <p:spPr bwMode="auto">
          <a:xfrm>
            <a:off x="2040181"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8" name="Group 287"/>
          <p:cNvGrpSpPr>
            <a:grpSpLocks noChangeAspect="1"/>
          </p:cNvGrpSpPr>
          <p:nvPr/>
        </p:nvGrpSpPr>
        <p:grpSpPr bwMode="auto">
          <a:xfrm>
            <a:off x="2448456" y="1695956"/>
            <a:ext cx="369064" cy="367982"/>
            <a:chOff x="4186" y="1669"/>
            <a:chExt cx="341" cy="340"/>
          </a:xfrm>
          <a:solidFill>
            <a:schemeClr val="accent2"/>
          </a:solidFill>
        </p:grpSpPr>
        <p:sp>
          <p:nvSpPr>
            <p:cNvPr id="289" name="Freeform 211"/>
            <p:cNvSpPr>
              <a:spLocks/>
            </p:cNvSpPr>
            <p:nvPr/>
          </p:nvSpPr>
          <p:spPr bwMode="auto">
            <a:xfrm>
              <a:off x="4249" y="1775"/>
              <a:ext cx="214" cy="128"/>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212"/>
            <p:cNvSpPr>
              <a:spLocks noEditPoints="1"/>
            </p:cNvSpPr>
            <p:nvPr/>
          </p:nvSpPr>
          <p:spPr bwMode="auto">
            <a:xfrm>
              <a:off x="4186" y="166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1" name="Freeform 290"/>
          <p:cNvSpPr>
            <a:spLocks noChangeAspect="1" noEditPoints="1"/>
          </p:cNvSpPr>
          <p:nvPr/>
        </p:nvSpPr>
        <p:spPr bwMode="auto">
          <a:xfrm>
            <a:off x="2088843"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327 h 512"/>
              <a:gd name="T12" fmla="*/ 317 w 512"/>
              <a:gd name="T13" fmla="*/ 413 h 512"/>
              <a:gd name="T14" fmla="*/ 313 w 512"/>
              <a:gd name="T15" fmla="*/ 415 h 512"/>
              <a:gd name="T16" fmla="*/ 309 w 512"/>
              <a:gd name="T17" fmla="*/ 416 h 512"/>
              <a:gd name="T18" fmla="*/ 305 w 512"/>
              <a:gd name="T19" fmla="*/ 415 h 512"/>
              <a:gd name="T20" fmla="*/ 301 w 512"/>
              <a:gd name="T21" fmla="*/ 413 h 512"/>
              <a:gd name="T22" fmla="*/ 216 w 512"/>
              <a:gd name="T23" fmla="*/ 327 h 512"/>
              <a:gd name="T24" fmla="*/ 216 w 512"/>
              <a:gd name="T25" fmla="*/ 312 h 512"/>
              <a:gd name="T26" fmla="*/ 231 w 512"/>
              <a:gd name="T27" fmla="*/ 312 h 512"/>
              <a:gd name="T28" fmla="*/ 298 w 512"/>
              <a:gd name="T29" fmla="*/ 379 h 512"/>
              <a:gd name="T30" fmla="*/ 298 w 512"/>
              <a:gd name="T31" fmla="*/ 117 h 512"/>
              <a:gd name="T32" fmla="*/ 181 w 512"/>
              <a:gd name="T33" fmla="*/ 117 h 512"/>
              <a:gd name="T34" fmla="*/ 170 w 512"/>
              <a:gd name="T35" fmla="*/ 106 h 512"/>
              <a:gd name="T36" fmla="*/ 181 w 512"/>
              <a:gd name="T37" fmla="*/ 96 h 512"/>
              <a:gd name="T38" fmla="*/ 309 w 512"/>
              <a:gd name="T39" fmla="*/ 96 h 512"/>
              <a:gd name="T40" fmla="*/ 320 w 512"/>
              <a:gd name="T41" fmla="*/ 106 h 512"/>
              <a:gd name="T42" fmla="*/ 320 w 512"/>
              <a:gd name="T43" fmla="*/ 379 h 512"/>
              <a:gd name="T44" fmla="*/ 387 w 512"/>
              <a:gd name="T45" fmla="*/ 312 h 512"/>
              <a:gd name="T46" fmla="*/ 402 w 512"/>
              <a:gd name="T47" fmla="*/ 312 h 512"/>
              <a:gd name="T48" fmla="*/ 402 w 512"/>
              <a:gd name="T49"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27"/>
                </a:moveTo>
                <a:cubicBezTo>
                  <a:pt x="317" y="413"/>
                  <a:pt x="317" y="413"/>
                  <a:pt x="317" y="413"/>
                </a:cubicBezTo>
                <a:cubicBezTo>
                  <a:pt x="316" y="414"/>
                  <a:pt x="314" y="414"/>
                  <a:pt x="313" y="415"/>
                </a:cubicBezTo>
                <a:cubicBezTo>
                  <a:pt x="312" y="415"/>
                  <a:pt x="310" y="416"/>
                  <a:pt x="309" y="416"/>
                </a:cubicBezTo>
                <a:cubicBezTo>
                  <a:pt x="308" y="416"/>
                  <a:pt x="306" y="415"/>
                  <a:pt x="305" y="415"/>
                </a:cubicBezTo>
                <a:cubicBezTo>
                  <a:pt x="304" y="414"/>
                  <a:pt x="302" y="414"/>
                  <a:pt x="301" y="413"/>
                </a:cubicBezTo>
                <a:cubicBezTo>
                  <a:pt x="216" y="327"/>
                  <a:pt x="216" y="327"/>
                  <a:pt x="216" y="327"/>
                </a:cubicBezTo>
                <a:cubicBezTo>
                  <a:pt x="212" y="323"/>
                  <a:pt x="212" y="316"/>
                  <a:pt x="216" y="312"/>
                </a:cubicBezTo>
                <a:cubicBezTo>
                  <a:pt x="220" y="308"/>
                  <a:pt x="227" y="308"/>
                  <a:pt x="231" y="312"/>
                </a:cubicBezTo>
                <a:cubicBezTo>
                  <a:pt x="298" y="379"/>
                  <a:pt x="298" y="379"/>
                  <a:pt x="298" y="379"/>
                </a:cubicBezTo>
                <a:cubicBezTo>
                  <a:pt x="298" y="117"/>
                  <a:pt x="298" y="117"/>
                  <a:pt x="298" y="117"/>
                </a:cubicBezTo>
                <a:cubicBezTo>
                  <a:pt x="181" y="117"/>
                  <a:pt x="181" y="117"/>
                  <a:pt x="181" y="117"/>
                </a:cubicBezTo>
                <a:cubicBezTo>
                  <a:pt x="175" y="117"/>
                  <a:pt x="170" y="112"/>
                  <a:pt x="170" y="106"/>
                </a:cubicBezTo>
                <a:cubicBezTo>
                  <a:pt x="170" y="100"/>
                  <a:pt x="175" y="96"/>
                  <a:pt x="181" y="96"/>
                </a:cubicBezTo>
                <a:cubicBezTo>
                  <a:pt x="309" y="96"/>
                  <a:pt x="309" y="96"/>
                  <a:pt x="309" y="96"/>
                </a:cubicBezTo>
                <a:cubicBezTo>
                  <a:pt x="315" y="96"/>
                  <a:pt x="320" y="100"/>
                  <a:pt x="320" y="106"/>
                </a:cubicBezTo>
                <a:cubicBezTo>
                  <a:pt x="320" y="379"/>
                  <a:pt x="320" y="379"/>
                  <a:pt x="320" y="379"/>
                </a:cubicBezTo>
                <a:cubicBezTo>
                  <a:pt x="387" y="312"/>
                  <a:pt x="387" y="312"/>
                  <a:pt x="387" y="312"/>
                </a:cubicBezTo>
                <a:cubicBezTo>
                  <a:pt x="391" y="308"/>
                  <a:pt x="398" y="308"/>
                  <a:pt x="402" y="312"/>
                </a:cubicBezTo>
                <a:cubicBezTo>
                  <a:pt x="406" y="316"/>
                  <a:pt x="406" y="323"/>
                  <a:pt x="402" y="32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2" name="Freeform 220"/>
          <p:cNvSpPr>
            <a:spLocks noChangeAspect="1" noEditPoints="1"/>
          </p:cNvSpPr>
          <p:nvPr/>
        </p:nvSpPr>
        <p:spPr bwMode="auto">
          <a:xfrm>
            <a:off x="2510391"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312 h 512"/>
              <a:gd name="T22" fmla="*/ 387 w 512"/>
              <a:gd name="T23" fmla="*/ 312 h 512"/>
              <a:gd name="T24" fmla="*/ 320 w 512"/>
              <a:gd name="T25" fmla="*/ 379 h 512"/>
              <a:gd name="T26" fmla="*/ 320 w 512"/>
              <a:gd name="T27" fmla="*/ 106 h 512"/>
              <a:gd name="T28" fmla="*/ 309 w 512"/>
              <a:gd name="T29" fmla="*/ 96 h 512"/>
              <a:gd name="T30" fmla="*/ 181 w 512"/>
              <a:gd name="T31" fmla="*/ 96 h 512"/>
              <a:gd name="T32" fmla="*/ 170 w 512"/>
              <a:gd name="T33" fmla="*/ 106 h 512"/>
              <a:gd name="T34" fmla="*/ 181 w 512"/>
              <a:gd name="T35" fmla="*/ 117 h 512"/>
              <a:gd name="T36" fmla="*/ 298 w 512"/>
              <a:gd name="T37" fmla="*/ 117 h 512"/>
              <a:gd name="T38" fmla="*/ 298 w 512"/>
              <a:gd name="T39" fmla="*/ 379 h 512"/>
              <a:gd name="T40" fmla="*/ 231 w 512"/>
              <a:gd name="T41" fmla="*/ 312 h 512"/>
              <a:gd name="T42" fmla="*/ 216 w 512"/>
              <a:gd name="T43" fmla="*/ 312 h 512"/>
              <a:gd name="T44" fmla="*/ 216 w 512"/>
              <a:gd name="T45" fmla="*/ 327 h 512"/>
              <a:gd name="T46" fmla="*/ 301 w 512"/>
              <a:gd name="T47" fmla="*/ 413 h 512"/>
              <a:gd name="T48" fmla="*/ 305 w 512"/>
              <a:gd name="T49" fmla="*/ 415 h 512"/>
              <a:gd name="T50" fmla="*/ 309 w 512"/>
              <a:gd name="T51" fmla="*/ 416 h 512"/>
              <a:gd name="T52" fmla="*/ 313 w 512"/>
              <a:gd name="T53" fmla="*/ 415 h 512"/>
              <a:gd name="T54" fmla="*/ 317 w 512"/>
              <a:gd name="T55" fmla="*/ 413 h 512"/>
              <a:gd name="T56" fmla="*/ 402 w 512"/>
              <a:gd name="T57" fmla="*/ 327 h 512"/>
              <a:gd name="T58" fmla="*/ 402 w 512"/>
              <a:gd name="T59"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12"/>
                </a:moveTo>
                <a:cubicBezTo>
                  <a:pt x="398" y="308"/>
                  <a:pt x="391" y="308"/>
                  <a:pt x="387" y="312"/>
                </a:cubicBezTo>
                <a:cubicBezTo>
                  <a:pt x="320" y="379"/>
                  <a:pt x="320" y="379"/>
                  <a:pt x="320" y="379"/>
                </a:cubicBezTo>
                <a:cubicBezTo>
                  <a:pt x="320" y="106"/>
                  <a:pt x="320" y="106"/>
                  <a:pt x="320" y="106"/>
                </a:cubicBezTo>
                <a:cubicBezTo>
                  <a:pt x="320" y="100"/>
                  <a:pt x="315" y="96"/>
                  <a:pt x="309" y="96"/>
                </a:cubicBezTo>
                <a:cubicBezTo>
                  <a:pt x="181" y="96"/>
                  <a:pt x="181" y="96"/>
                  <a:pt x="181" y="96"/>
                </a:cubicBezTo>
                <a:cubicBezTo>
                  <a:pt x="175" y="96"/>
                  <a:pt x="170" y="100"/>
                  <a:pt x="170" y="106"/>
                </a:cubicBezTo>
                <a:cubicBezTo>
                  <a:pt x="170" y="112"/>
                  <a:pt x="175" y="117"/>
                  <a:pt x="181" y="117"/>
                </a:cubicBezTo>
                <a:cubicBezTo>
                  <a:pt x="298" y="117"/>
                  <a:pt x="298" y="117"/>
                  <a:pt x="298" y="117"/>
                </a:cubicBezTo>
                <a:cubicBezTo>
                  <a:pt x="298" y="379"/>
                  <a:pt x="298" y="379"/>
                  <a:pt x="298" y="379"/>
                </a:cubicBezTo>
                <a:cubicBezTo>
                  <a:pt x="231" y="312"/>
                  <a:pt x="231" y="312"/>
                  <a:pt x="231" y="312"/>
                </a:cubicBezTo>
                <a:cubicBezTo>
                  <a:pt x="227" y="308"/>
                  <a:pt x="220" y="308"/>
                  <a:pt x="216" y="312"/>
                </a:cubicBezTo>
                <a:cubicBezTo>
                  <a:pt x="212" y="316"/>
                  <a:pt x="212" y="323"/>
                  <a:pt x="216" y="327"/>
                </a:cubicBezTo>
                <a:cubicBezTo>
                  <a:pt x="301" y="413"/>
                  <a:pt x="301" y="413"/>
                  <a:pt x="301" y="413"/>
                </a:cubicBezTo>
                <a:cubicBezTo>
                  <a:pt x="302" y="414"/>
                  <a:pt x="304" y="414"/>
                  <a:pt x="305" y="415"/>
                </a:cubicBezTo>
                <a:cubicBezTo>
                  <a:pt x="306" y="415"/>
                  <a:pt x="308" y="416"/>
                  <a:pt x="309" y="416"/>
                </a:cubicBezTo>
                <a:cubicBezTo>
                  <a:pt x="310" y="416"/>
                  <a:pt x="312" y="415"/>
                  <a:pt x="313" y="415"/>
                </a:cubicBezTo>
                <a:cubicBezTo>
                  <a:pt x="314" y="414"/>
                  <a:pt x="316" y="414"/>
                  <a:pt x="317" y="413"/>
                </a:cubicBezTo>
                <a:cubicBezTo>
                  <a:pt x="402" y="327"/>
                  <a:pt x="402" y="327"/>
                  <a:pt x="402" y="327"/>
                </a:cubicBezTo>
                <a:cubicBezTo>
                  <a:pt x="406" y="323"/>
                  <a:pt x="406" y="316"/>
                  <a:pt x="402" y="3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3" name="Freeform 224"/>
          <p:cNvSpPr>
            <a:spLocks noChangeAspect="1" noEditPoints="1"/>
          </p:cNvSpPr>
          <p:nvPr/>
        </p:nvSpPr>
        <p:spPr bwMode="auto">
          <a:xfrm>
            <a:off x="2930857"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99 h 512"/>
              <a:gd name="T12" fmla="*/ 394 w 512"/>
              <a:gd name="T13" fmla="*/ 202 h 512"/>
              <a:gd name="T14" fmla="*/ 387 w 512"/>
              <a:gd name="T15" fmla="*/ 199 h 512"/>
              <a:gd name="T16" fmla="*/ 320 w 512"/>
              <a:gd name="T17" fmla="*/ 132 h 512"/>
              <a:gd name="T18" fmla="*/ 320 w 512"/>
              <a:gd name="T19" fmla="*/ 405 h 512"/>
              <a:gd name="T20" fmla="*/ 309 w 512"/>
              <a:gd name="T21" fmla="*/ 416 h 512"/>
              <a:gd name="T22" fmla="*/ 181 w 512"/>
              <a:gd name="T23" fmla="*/ 416 h 512"/>
              <a:gd name="T24" fmla="*/ 170 w 512"/>
              <a:gd name="T25" fmla="*/ 405 h 512"/>
              <a:gd name="T26" fmla="*/ 181 w 512"/>
              <a:gd name="T27" fmla="*/ 394 h 512"/>
              <a:gd name="T28" fmla="*/ 298 w 512"/>
              <a:gd name="T29" fmla="*/ 394 h 512"/>
              <a:gd name="T30" fmla="*/ 298 w 512"/>
              <a:gd name="T31" fmla="*/ 132 h 512"/>
              <a:gd name="T32" fmla="*/ 231 w 512"/>
              <a:gd name="T33" fmla="*/ 199 h 512"/>
              <a:gd name="T34" fmla="*/ 224 w 512"/>
              <a:gd name="T35" fmla="*/ 202 h 512"/>
              <a:gd name="T36" fmla="*/ 216 w 512"/>
              <a:gd name="T37" fmla="*/ 199 h 512"/>
              <a:gd name="T38" fmla="*/ 216 w 512"/>
              <a:gd name="T39" fmla="*/ 184 h 512"/>
              <a:gd name="T40" fmla="*/ 301 w 512"/>
              <a:gd name="T41" fmla="*/ 99 h 512"/>
              <a:gd name="T42" fmla="*/ 305 w 512"/>
              <a:gd name="T43" fmla="*/ 96 h 512"/>
              <a:gd name="T44" fmla="*/ 313 w 512"/>
              <a:gd name="T45" fmla="*/ 96 h 512"/>
              <a:gd name="T46" fmla="*/ 317 w 512"/>
              <a:gd name="T47" fmla="*/ 99 h 512"/>
              <a:gd name="T48" fmla="*/ 402 w 512"/>
              <a:gd name="T49" fmla="*/ 184 h 512"/>
              <a:gd name="T50" fmla="*/ 402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99"/>
                </a:moveTo>
                <a:cubicBezTo>
                  <a:pt x="400" y="201"/>
                  <a:pt x="397" y="202"/>
                  <a:pt x="394" y="202"/>
                </a:cubicBezTo>
                <a:cubicBezTo>
                  <a:pt x="392" y="202"/>
                  <a:pt x="389" y="201"/>
                  <a:pt x="387" y="199"/>
                </a:cubicBezTo>
                <a:cubicBezTo>
                  <a:pt x="320" y="132"/>
                  <a:pt x="320" y="132"/>
                  <a:pt x="320" y="132"/>
                </a:cubicBezTo>
                <a:cubicBezTo>
                  <a:pt x="320" y="405"/>
                  <a:pt x="320" y="405"/>
                  <a:pt x="320" y="405"/>
                </a:cubicBezTo>
                <a:cubicBezTo>
                  <a:pt x="320" y="411"/>
                  <a:pt x="315" y="416"/>
                  <a:pt x="309" y="416"/>
                </a:cubicBezTo>
                <a:cubicBezTo>
                  <a:pt x="181" y="416"/>
                  <a:pt x="181" y="416"/>
                  <a:pt x="181" y="416"/>
                </a:cubicBezTo>
                <a:cubicBezTo>
                  <a:pt x="175" y="416"/>
                  <a:pt x="170" y="411"/>
                  <a:pt x="170" y="405"/>
                </a:cubicBezTo>
                <a:cubicBezTo>
                  <a:pt x="170" y="399"/>
                  <a:pt x="175" y="394"/>
                  <a:pt x="181" y="394"/>
                </a:cubicBezTo>
                <a:cubicBezTo>
                  <a:pt x="298" y="394"/>
                  <a:pt x="298" y="394"/>
                  <a:pt x="298" y="394"/>
                </a:cubicBezTo>
                <a:cubicBezTo>
                  <a:pt x="298" y="132"/>
                  <a:pt x="298" y="132"/>
                  <a:pt x="298" y="132"/>
                </a:cubicBezTo>
                <a:cubicBezTo>
                  <a:pt x="231" y="199"/>
                  <a:pt x="231" y="199"/>
                  <a:pt x="231" y="199"/>
                </a:cubicBezTo>
                <a:cubicBezTo>
                  <a:pt x="229" y="201"/>
                  <a:pt x="226" y="202"/>
                  <a:pt x="224" y="202"/>
                </a:cubicBezTo>
                <a:cubicBezTo>
                  <a:pt x="221" y="202"/>
                  <a:pt x="218" y="201"/>
                  <a:pt x="216" y="199"/>
                </a:cubicBezTo>
                <a:cubicBezTo>
                  <a:pt x="212" y="195"/>
                  <a:pt x="212" y="188"/>
                  <a:pt x="216" y="184"/>
                </a:cubicBezTo>
                <a:cubicBezTo>
                  <a:pt x="301" y="99"/>
                  <a:pt x="301" y="99"/>
                  <a:pt x="301" y="99"/>
                </a:cubicBezTo>
                <a:cubicBezTo>
                  <a:pt x="302" y="98"/>
                  <a:pt x="304" y="97"/>
                  <a:pt x="305" y="96"/>
                </a:cubicBezTo>
                <a:cubicBezTo>
                  <a:pt x="308" y="95"/>
                  <a:pt x="310" y="95"/>
                  <a:pt x="313" y="96"/>
                </a:cubicBezTo>
                <a:cubicBezTo>
                  <a:pt x="314" y="97"/>
                  <a:pt x="316" y="98"/>
                  <a:pt x="317" y="99"/>
                </a:cubicBezTo>
                <a:cubicBezTo>
                  <a:pt x="402" y="184"/>
                  <a:pt x="402" y="184"/>
                  <a:pt x="402" y="184"/>
                </a:cubicBezTo>
                <a:cubicBezTo>
                  <a:pt x="406" y="188"/>
                  <a:pt x="406" y="195"/>
                  <a:pt x="402" y="19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4" name="Freeform 228"/>
          <p:cNvSpPr>
            <a:spLocks noChangeAspect="1" noEditPoints="1"/>
          </p:cNvSpPr>
          <p:nvPr/>
        </p:nvSpPr>
        <p:spPr bwMode="auto">
          <a:xfrm>
            <a:off x="3352405" y="2533203"/>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184 h 512"/>
              <a:gd name="T22" fmla="*/ 317 w 512"/>
              <a:gd name="T23" fmla="*/ 99 h 512"/>
              <a:gd name="T24" fmla="*/ 313 w 512"/>
              <a:gd name="T25" fmla="*/ 96 h 512"/>
              <a:gd name="T26" fmla="*/ 305 w 512"/>
              <a:gd name="T27" fmla="*/ 96 h 512"/>
              <a:gd name="T28" fmla="*/ 301 w 512"/>
              <a:gd name="T29" fmla="*/ 99 h 512"/>
              <a:gd name="T30" fmla="*/ 216 w 512"/>
              <a:gd name="T31" fmla="*/ 184 h 512"/>
              <a:gd name="T32" fmla="*/ 216 w 512"/>
              <a:gd name="T33" fmla="*/ 199 h 512"/>
              <a:gd name="T34" fmla="*/ 224 w 512"/>
              <a:gd name="T35" fmla="*/ 202 h 512"/>
              <a:gd name="T36" fmla="*/ 231 w 512"/>
              <a:gd name="T37" fmla="*/ 199 h 512"/>
              <a:gd name="T38" fmla="*/ 298 w 512"/>
              <a:gd name="T39" fmla="*/ 132 h 512"/>
              <a:gd name="T40" fmla="*/ 298 w 512"/>
              <a:gd name="T41" fmla="*/ 394 h 512"/>
              <a:gd name="T42" fmla="*/ 181 w 512"/>
              <a:gd name="T43" fmla="*/ 394 h 512"/>
              <a:gd name="T44" fmla="*/ 170 w 512"/>
              <a:gd name="T45" fmla="*/ 405 h 512"/>
              <a:gd name="T46" fmla="*/ 181 w 512"/>
              <a:gd name="T47" fmla="*/ 416 h 512"/>
              <a:gd name="T48" fmla="*/ 309 w 512"/>
              <a:gd name="T49" fmla="*/ 416 h 512"/>
              <a:gd name="T50" fmla="*/ 320 w 512"/>
              <a:gd name="T51" fmla="*/ 405 h 512"/>
              <a:gd name="T52" fmla="*/ 320 w 512"/>
              <a:gd name="T53" fmla="*/ 132 h 512"/>
              <a:gd name="T54" fmla="*/ 387 w 512"/>
              <a:gd name="T55" fmla="*/ 199 h 512"/>
              <a:gd name="T56" fmla="*/ 394 w 512"/>
              <a:gd name="T57" fmla="*/ 202 h 512"/>
              <a:gd name="T58" fmla="*/ 402 w 512"/>
              <a:gd name="T59" fmla="*/ 199 h 512"/>
              <a:gd name="T60" fmla="*/ 402 w 512"/>
              <a:gd name="T61" fmla="*/ 1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84"/>
                </a:moveTo>
                <a:cubicBezTo>
                  <a:pt x="317" y="99"/>
                  <a:pt x="317" y="99"/>
                  <a:pt x="317" y="99"/>
                </a:cubicBezTo>
                <a:cubicBezTo>
                  <a:pt x="316" y="98"/>
                  <a:pt x="314" y="97"/>
                  <a:pt x="313" y="96"/>
                </a:cubicBezTo>
                <a:cubicBezTo>
                  <a:pt x="310" y="95"/>
                  <a:pt x="308" y="95"/>
                  <a:pt x="305" y="96"/>
                </a:cubicBezTo>
                <a:cubicBezTo>
                  <a:pt x="304" y="97"/>
                  <a:pt x="302" y="98"/>
                  <a:pt x="301" y="99"/>
                </a:cubicBezTo>
                <a:cubicBezTo>
                  <a:pt x="216" y="184"/>
                  <a:pt x="216" y="184"/>
                  <a:pt x="216" y="184"/>
                </a:cubicBezTo>
                <a:cubicBezTo>
                  <a:pt x="212" y="188"/>
                  <a:pt x="212" y="195"/>
                  <a:pt x="216" y="199"/>
                </a:cubicBezTo>
                <a:cubicBezTo>
                  <a:pt x="218" y="201"/>
                  <a:pt x="221" y="202"/>
                  <a:pt x="224" y="202"/>
                </a:cubicBezTo>
                <a:cubicBezTo>
                  <a:pt x="226" y="202"/>
                  <a:pt x="229" y="201"/>
                  <a:pt x="231" y="199"/>
                </a:cubicBezTo>
                <a:cubicBezTo>
                  <a:pt x="298" y="132"/>
                  <a:pt x="298" y="132"/>
                  <a:pt x="298" y="132"/>
                </a:cubicBezTo>
                <a:cubicBezTo>
                  <a:pt x="298" y="394"/>
                  <a:pt x="298" y="394"/>
                  <a:pt x="298" y="394"/>
                </a:cubicBezTo>
                <a:cubicBezTo>
                  <a:pt x="181" y="394"/>
                  <a:pt x="181" y="394"/>
                  <a:pt x="181" y="394"/>
                </a:cubicBezTo>
                <a:cubicBezTo>
                  <a:pt x="175" y="394"/>
                  <a:pt x="170" y="399"/>
                  <a:pt x="170" y="405"/>
                </a:cubicBezTo>
                <a:cubicBezTo>
                  <a:pt x="170" y="411"/>
                  <a:pt x="175" y="416"/>
                  <a:pt x="181" y="416"/>
                </a:cubicBezTo>
                <a:cubicBezTo>
                  <a:pt x="309" y="416"/>
                  <a:pt x="309" y="416"/>
                  <a:pt x="309" y="416"/>
                </a:cubicBezTo>
                <a:cubicBezTo>
                  <a:pt x="315" y="416"/>
                  <a:pt x="320" y="411"/>
                  <a:pt x="320" y="405"/>
                </a:cubicBezTo>
                <a:cubicBezTo>
                  <a:pt x="320" y="132"/>
                  <a:pt x="320" y="132"/>
                  <a:pt x="320" y="132"/>
                </a:cubicBezTo>
                <a:cubicBezTo>
                  <a:pt x="387" y="199"/>
                  <a:pt x="387" y="199"/>
                  <a:pt x="387" y="199"/>
                </a:cubicBezTo>
                <a:cubicBezTo>
                  <a:pt x="389" y="201"/>
                  <a:pt x="392" y="202"/>
                  <a:pt x="394" y="202"/>
                </a:cubicBezTo>
                <a:cubicBezTo>
                  <a:pt x="397" y="202"/>
                  <a:pt x="400" y="201"/>
                  <a:pt x="402" y="199"/>
                </a:cubicBezTo>
                <a:cubicBezTo>
                  <a:pt x="406" y="195"/>
                  <a:pt x="406" y="188"/>
                  <a:pt x="402" y="1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5" name="Freeform 232"/>
          <p:cNvSpPr>
            <a:spLocks noChangeAspect="1" noEditPoints="1"/>
          </p:cNvSpPr>
          <p:nvPr/>
        </p:nvSpPr>
        <p:spPr bwMode="auto">
          <a:xfrm>
            <a:off x="3773953"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6" name="Group 295"/>
          <p:cNvGrpSpPr>
            <a:grpSpLocks noChangeAspect="1"/>
          </p:cNvGrpSpPr>
          <p:nvPr/>
        </p:nvGrpSpPr>
        <p:grpSpPr bwMode="auto">
          <a:xfrm>
            <a:off x="4194419" y="2533203"/>
            <a:ext cx="367982" cy="367982"/>
            <a:chOff x="3852" y="1696"/>
            <a:chExt cx="340" cy="340"/>
          </a:xfrm>
          <a:solidFill>
            <a:schemeClr val="accent3"/>
          </a:solidFill>
        </p:grpSpPr>
        <p:sp>
          <p:nvSpPr>
            <p:cNvPr id="29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9" name="Freeform 298"/>
          <p:cNvSpPr>
            <a:spLocks noChangeAspect="1" noEditPoints="1"/>
          </p:cNvSpPr>
          <p:nvPr/>
        </p:nvSpPr>
        <p:spPr bwMode="auto">
          <a:xfrm>
            <a:off x="4614885"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30 h 512"/>
              <a:gd name="T12" fmla="*/ 405 w 512"/>
              <a:gd name="T13" fmla="*/ 341 h 512"/>
              <a:gd name="T14" fmla="*/ 394 w 512"/>
              <a:gd name="T15" fmla="*/ 330 h 512"/>
              <a:gd name="T16" fmla="*/ 394 w 512"/>
              <a:gd name="T17" fmla="*/ 213 h 512"/>
              <a:gd name="T18" fmla="*/ 132 w 512"/>
              <a:gd name="T19" fmla="*/ 213 h 512"/>
              <a:gd name="T20" fmla="*/ 199 w 512"/>
              <a:gd name="T21" fmla="*/ 280 h 512"/>
              <a:gd name="T22" fmla="*/ 199 w 512"/>
              <a:gd name="T23" fmla="*/ 295 h 512"/>
              <a:gd name="T24" fmla="*/ 192 w 512"/>
              <a:gd name="T25" fmla="*/ 298 h 512"/>
              <a:gd name="T26" fmla="*/ 184 w 512"/>
              <a:gd name="T27" fmla="*/ 295 h 512"/>
              <a:gd name="T28" fmla="*/ 99 w 512"/>
              <a:gd name="T29" fmla="*/ 210 h 512"/>
              <a:gd name="T30" fmla="*/ 96 w 512"/>
              <a:gd name="T31" fmla="*/ 206 h 512"/>
              <a:gd name="T32" fmla="*/ 96 w 512"/>
              <a:gd name="T33" fmla="*/ 198 h 512"/>
              <a:gd name="T34" fmla="*/ 99 w 512"/>
              <a:gd name="T35" fmla="*/ 195 h 512"/>
              <a:gd name="T36" fmla="*/ 184 w 512"/>
              <a:gd name="T37" fmla="*/ 109 h 512"/>
              <a:gd name="T38" fmla="*/ 199 w 512"/>
              <a:gd name="T39" fmla="*/ 109 h 512"/>
              <a:gd name="T40" fmla="*/ 199 w 512"/>
              <a:gd name="T41" fmla="*/ 125 h 512"/>
              <a:gd name="T42" fmla="*/ 132 w 512"/>
              <a:gd name="T43" fmla="*/ 192 h 512"/>
              <a:gd name="T44" fmla="*/ 405 w 512"/>
              <a:gd name="T45" fmla="*/ 192 h 512"/>
              <a:gd name="T46" fmla="*/ 416 w 512"/>
              <a:gd name="T47" fmla="*/ 202 h 512"/>
              <a:gd name="T48" fmla="*/ 416 w 512"/>
              <a:gd name="T4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9" y="341"/>
                  <a:pt x="394" y="336"/>
                  <a:pt x="394" y="330"/>
                </a:cubicBezTo>
                <a:cubicBezTo>
                  <a:pt x="394" y="213"/>
                  <a:pt x="394" y="213"/>
                  <a:pt x="394" y="213"/>
                </a:cubicBezTo>
                <a:cubicBezTo>
                  <a:pt x="132" y="213"/>
                  <a:pt x="132" y="213"/>
                  <a:pt x="132" y="213"/>
                </a:cubicBezTo>
                <a:cubicBezTo>
                  <a:pt x="199" y="280"/>
                  <a:pt x="199" y="280"/>
                  <a:pt x="199" y="280"/>
                </a:cubicBezTo>
                <a:cubicBezTo>
                  <a:pt x="203" y="284"/>
                  <a:pt x="203" y="291"/>
                  <a:pt x="199" y="295"/>
                </a:cubicBezTo>
                <a:cubicBezTo>
                  <a:pt x="197" y="297"/>
                  <a:pt x="194" y="298"/>
                  <a:pt x="192" y="298"/>
                </a:cubicBezTo>
                <a:cubicBezTo>
                  <a:pt x="189" y="298"/>
                  <a:pt x="186" y="297"/>
                  <a:pt x="184" y="295"/>
                </a:cubicBezTo>
                <a:cubicBezTo>
                  <a:pt x="99" y="210"/>
                  <a:pt x="99" y="210"/>
                  <a:pt x="99" y="210"/>
                </a:cubicBezTo>
                <a:cubicBezTo>
                  <a:pt x="98" y="209"/>
                  <a:pt x="97" y="208"/>
                  <a:pt x="96" y="206"/>
                </a:cubicBezTo>
                <a:cubicBezTo>
                  <a:pt x="95" y="204"/>
                  <a:pt x="95" y="201"/>
                  <a:pt x="96" y="198"/>
                </a:cubicBezTo>
                <a:cubicBezTo>
                  <a:pt x="97" y="197"/>
                  <a:pt x="98" y="196"/>
                  <a:pt x="99" y="195"/>
                </a:cubicBezTo>
                <a:cubicBezTo>
                  <a:pt x="184" y="109"/>
                  <a:pt x="184" y="109"/>
                  <a:pt x="184" y="109"/>
                </a:cubicBezTo>
                <a:cubicBezTo>
                  <a:pt x="188" y="105"/>
                  <a:pt x="195" y="105"/>
                  <a:pt x="199" y="109"/>
                </a:cubicBezTo>
                <a:cubicBezTo>
                  <a:pt x="203" y="114"/>
                  <a:pt x="203" y="120"/>
                  <a:pt x="199" y="125"/>
                </a:cubicBezTo>
                <a:cubicBezTo>
                  <a:pt x="132" y="192"/>
                  <a:pt x="132" y="192"/>
                  <a:pt x="132" y="192"/>
                </a:cubicBezTo>
                <a:cubicBezTo>
                  <a:pt x="405" y="192"/>
                  <a:pt x="405" y="192"/>
                  <a:pt x="405" y="192"/>
                </a:cubicBezTo>
                <a:cubicBezTo>
                  <a:pt x="411" y="192"/>
                  <a:pt x="416" y="196"/>
                  <a:pt x="416" y="202"/>
                </a:cubicBezTo>
                <a:lnTo>
                  <a:pt x="416" y="33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0" name="Freeform 245"/>
          <p:cNvSpPr>
            <a:spLocks noChangeAspect="1" noEditPoints="1"/>
          </p:cNvSpPr>
          <p:nvPr/>
        </p:nvSpPr>
        <p:spPr bwMode="auto">
          <a:xfrm>
            <a:off x="5035351" y="2533203"/>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92 h 512"/>
              <a:gd name="T22" fmla="*/ 132 w 512"/>
              <a:gd name="T23" fmla="*/ 192 h 512"/>
              <a:gd name="T24" fmla="*/ 199 w 512"/>
              <a:gd name="T25" fmla="*/ 125 h 512"/>
              <a:gd name="T26" fmla="*/ 199 w 512"/>
              <a:gd name="T27" fmla="*/ 109 h 512"/>
              <a:gd name="T28" fmla="*/ 184 w 512"/>
              <a:gd name="T29" fmla="*/ 109 h 512"/>
              <a:gd name="T30" fmla="*/ 99 w 512"/>
              <a:gd name="T31" fmla="*/ 195 h 512"/>
              <a:gd name="T32" fmla="*/ 96 w 512"/>
              <a:gd name="T33" fmla="*/ 198 h 512"/>
              <a:gd name="T34" fmla="*/ 96 w 512"/>
              <a:gd name="T35" fmla="*/ 206 h 512"/>
              <a:gd name="T36" fmla="*/ 99 w 512"/>
              <a:gd name="T37" fmla="*/ 210 h 512"/>
              <a:gd name="T38" fmla="*/ 184 w 512"/>
              <a:gd name="T39" fmla="*/ 295 h 512"/>
              <a:gd name="T40" fmla="*/ 192 w 512"/>
              <a:gd name="T41" fmla="*/ 298 h 512"/>
              <a:gd name="T42" fmla="*/ 199 w 512"/>
              <a:gd name="T43" fmla="*/ 295 h 512"/>
              <a:gd name="T44" fmla="*/ 199 w 512"/>
              <a:gd name="T45" fmla="*/ 280 h 512"/>
              <a:gd name="T46" fmla="*/ 132 w 512"/>
              <a:gd name="T47" fmla="*/ 213 h 512"/>
              <a:gd name="T48" fmla="*/ 394 w 512"/>
              <a:gd name="T49" fmla="*/ 213 h 512"/>
              <a:gd name="T50" fmla="*/ 394 w 512"/>
              <a:gd name="T51" fmla="*/ 330 h 512"/>
              <a:gd name="T52" fmla="*/ 405 w 512"/>
              <a:gd name="T53" fmla="*/ 341 h 512"/>
              <a:gd name="T54" fmla="*/ 416 w 512"/>
              <a:gd name="T55" fmla="*/ 330 h 512"/>
              <a:gd name="T56" fmla="*/ 416 w 512"/>
              <a:gd name="T57" fmla="*/ 202 h 512"/>
              <a:gd name="T58" fmla="*/ 405 w 512"/>
              <a:gd name="T5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92"/>
                </a:moveTo>
                <a:cubicBezTo>
                  <a:pt x="132" y="192"/>
                  <a:pt x="132" y="192"/>
                  <a:pt x="132" y="192"/>
                </a:cubicBezTo>
                <a:cubicBezTo>
                  <a:pt x="199" y="125"/>
                  <a:pt x="199" y="125"/>
                  <a:pt x="199" y="125"/>
                </a:cubicBezTo>
                <a:cubicBezTo>
                  <a:pt x="203" y="120"/>
                  <a:pt x="203" y="114"/>
                  <a:pt x="199" y="109"/>
                </a:cubicBezTo>
                <a:cubicBezTo>
                  <a:pt x="195" y="105"/>
                  <a:pt x="188" y="105"/>
                  <a:pt x="184" y="109"/>
                </a:cubicBezTo>
                <a:cubicBezTo>
                  <a:pt x="99" y="195"/>
                  <a:pt x="99" y="195"/>
                  <a:pt x="99" y="195"/>
                </a:cubicBezTo>
                <a:cubicBezTo>
                  <a:pt x="98" y="196"/>
                  <a:pt x="97" y="197"/>
                  <a:pt x="96" y="198"/>
                </a:cubicBezTo>
                <a:cubicBezTo>
                  <a:pt x="95" y="201"/>
                  <a:pt x="95" y="204"/>
                  <a:pt x="96" y="206"/>
                </a:cubicBezTo>
                <a:cubicBezTo>
                  <a:pt x="97" y="208"/>
                  <a:pt x="98" y="209"/>
                  <a:pt x="99" y="210"/>
                </a:cubicBezTo>
                <a:cubicBezTo>
                  <a:pt x="184" y="295"/>
                  <a:pt x="184" y="295"/>
                  <a:pt x="184" y="295"/>
                </a:cubicBezTo>
                <a:cubicBezTo>
                  <a:pt x="186" y="297"/>
                  <a:pt x="189" y="298"/>
                  <a:pt x="192" y="298"/>
                </a:cubicBezTo>
                <a:cubicBezTo>
                  <a:pt x="194" y="298"/>
                  <a:pt x="197" y="297"/>
                  <a:pt x="199" y="295"/>
                </a:cubicBezTo>
                <a:cubicBezTo>
                  <a:pt x="203" y="291"/>
                  <a:pt x="203" y="284"/>
                  <a:pt x="199" y="280"/>
                </a:cubicBezTo>
                <a:cubicBezTo>
                  <a:pt x="132" y="213"/>
                  <a:pt x="132" y="213"/>
                  <a:pt x="132" y="213"/>
                </a:cubicBezTo>
                <a:cubicBezTo>
                  <a:pt x="394" y="213"/>
                  <a:pt x="394" y="213"/>
                  <a:pt x="394" y="213"/>
                </a:cubicBezTo>
                <a:cubicBezTo>
                  <a:pt x="394" y="330"/>
                  <a:pt x="394" y="330"/>
                  <a:pt x="394" y="330"/>
                </a:cubicBezTo>
                <a:cubicBezTo>
                  <a:pt x="394" y="336"/>
                  <a:pt x="399" y="341"/>
                  <a:pt x="405" y="341"/>
                </a:cubicBezTo>
                <a:cubicBezTo>
                  <a:pt x="411" y="341"/>
                  <a:pt x="416" y="336"/>
                  <a:pt x="416" y="330"/>
                </a:cubicBezTo>
                <a:cubicBezTo>
                  <a:pt x="416" y="202"/>
                  <a:pt x="416" y="202"/>
                  <a:pt x="416" y="202"/>
                </a:cubicBezTo>
                <a:cubicBezTo>
                  <a:pt x="416" y="196"/>
                  <a:pt x="411" y="192"/>
                  <a:pt x="405" y="19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1" name="Freeform 249"/>
          <p:cNvSpPr>
            <a:spLocks noChangeAspect="1" noEditPoints="1"/>
          </p:cNvSpPr>
          <p:nvPr/>
        </p:nvSpPr>
        <p:spPr bwMode="auto">
          <a:xfrm>
            <a:off x="5456899"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06 h 512"/>
              <a:gd name="T12" fmla="*/ 413 w 512"/>
              <a:gd name="T13" fmla="*/ 210 h 512"/>
              <a:gd name="T14" fmla="*/ 327 w 512"/>
              <a:gd name="T15" fmla="*/ 295 h 512"/>
              <a:gd name="T16" fmla="*/ 320 w 512"/>
              <a:gd name="T17" fmla="*/ 298 h 512"/>
              <a:gd name="T18" fmla="*/ 312 w 512"/>
              <a:gd name="T19" fmla="*/ 295 h 512"/>
              <a:gd name="T20" fmla="*/ 312 w 512"/>
              <a:gd name="T21" fmla="*/ 280 h 512"/>
              <a:gd name="T22" fmla="*/ 379 w 512"/>
              <a:gd name="T23" fmla="*/ 213 h 512"/>
              <a:gd name="T24" fmla="*/ 117 w 512"/>
              <a:gd name="T25" fmla="*/ 213 h 512"/>
              <a:gd name="T26" fmla="*/ 117 w 512"/>
              <a:gd name="T27" fmla="*/ 330 h 512"/>
              <a:gd name="T28" fmla="*/ 106 w 512"/>
              <a:gd name="T29" fmla="*/ 341 h 512"/>
              <a:gd name="T30" fmla="*/ 96 w 512"/>
              <a:gd name="T31" fmla="*/ 330 h 512"/>
              <a:gd name="T32" fmla="*/ 96 w 512"/>
              <a:gd name="T33" fmla="*/ 202 h 512"/>
              <a:gd name="T34" fmla="*/ 106 w 512"/>
              <a:gd name="T35" fmla="*/ 192 h 512"/>
              <a:gd name="T36" fmla="*/ 379 w 512"/>
              <a:gd name="T37" fmla="*/ 192 h 512"/>
              <a:gd name="T38" fmla="*/ 312 w 512"/>
              <a:gd name="T39" fmla="*/ 125 h 512"/>
              <a:gd name="T40" fmla="*/ 312 w 512"/>
              <a:gd name="T41" fmla="*/ 109 h 512"/>
              <a:gd name="T42" fmla="*/ 327 w 512"/>
              <a:gd name="T43" fmla="*/ 109 h 512"/>
              <a:gd name="T44" fmla="*/ 413 w 512"/>
              <a:gd name="T45" fmla="*/ 195 h 512"/>
              <a:gd name="T46" fmla="*/ 415 w 512"/>
              <a:gd name="T47" fmla="*/ 198 h 512"/>
              <a:gd name="T48" fmla="*/ 415 w 512"/>
              <a:gd name="T4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4" y="208"/>
                  <a:pt x="414" y="209"/>
                  <a:pt x="413" y="210"/>
                </a:cubicBezTo>
                <a:cubicBezTo>
                  <a:pt x="327" y="295"/>
                  <a:pt x="327" y="295"/>
                  <a:pt x="327" y="295"/>
                </a:cubicBezTo>
                <a:cubicBezTo>
                  <a:pt x="325" y="297"/>
                  <a:pt x="322" y="298"/>
                  <a:pt x="320" y="298"/>
                </a:cubicBezTo>
                <a:cubicBezTo>
                  <a:pt x="317" y="298"/>
                  <a:pt x="314" y="297"/>
                  <a:pt x="312" y="295"/>
                </a:cubicBezTo>
                <a:cubicBezTo>
                  <a:pt x="308" y="291"/>
                  <a:pt x="308" y="284"/>
                  <a:pt x="312" y="280"/>
                </a:cubicBezTo>
                <a:cubicBezTo>
                  <a:pt x="379" y="213"/>
                  <a:pt x="379" y="213"/>
                  <a:pt x="379" y="213"/>
                </a:cubicBezTo>
                <a:cubicBezTo>
                  <a:pt x="117" y="213"/>
                  <a:pt x="117" y="213"/>
                  <a:pt x="117" y="213"/>
                </a:cubicBezTo>
                <a:cubicBezTo>
                  <a:pt x="117" y="330"/>
                  <a:pt x="117" y="330"/>
                  <a:pt x="117" y="330"/>
                </a:cubicBezTo>
                <a:cubicBezTo>
                  <a:pt x="117" y="336"/>
                  <a:pt x="112" y="341"/>
                  <a:pt x="106" y="341"/>
                </a:cubicBezTo>
                <a:cubicBezTo>
                  <a:pt x="100" y="341"/>
                  <a:pt x="96" y="336"/>
                  <a:pt x="96" y="330"/>
                </a:cubicBezTo>
                <a:cubicBezTo>
                  <a:pt x="96" y="202"/>
                  <a:pt x="96" y="202"/>
                  <a:pt x="96" y="202"/>
                </a:cubicBezTo>
                <a:cubicBezTo>
                  <a:pt x="96" y="196"/>
                  <a:pt x="100" y="192"/>
                  <a:pt x="106" y="192"/>
                </a:cubicBezTo>
                <a:cubicBezTo>
                  <a:pt x="379" y="192"/>
                  <a:pt x="379" y="192"/>
                  <a:pt x="379" y="192"/>
                </a:cubicBezTo>
                <a:cubicBezTo>
                  <a:pt x="312" y="125"/>
                  <a:pt x="312" y="125"/>
                  <a:pt x="312" y="125"/>
                </a:cubicBezTo>
                <a:cubicBezTo>
                  <a:pt x="308" y="120"/>
                  <a:pt x="308" y="114"/>
                  <a:pt x="312" y="109"/>
                </a:cubicBezTo>
                <a:cubicBezTo>
                  <a:pt x="316" y="105"/>
                  <a:pt x="323" y="105"/>
                  <a:pt x="327" y="109"/>
                </a:cubicBezTo>
                <a:cubicBezTo>
                  <a:pt x="413" y="195"/>
                  <a:pt x="413" y="195"/>
                  <a:pt x="413" y="195"/>
                </a:cubicBezTo>
                <a:cubicBezTo>
                  <a:pt x="414" y="196"/>
                  <a:pt x="414" y="197"/>
                  <a:pt x="415" y="198"/>
                </a:cubicBezTo>
                <a:cubicBezTo>
                  <a:pt x="416" y="201"/>
                  <a:pt x="416" y="204"/>
                  <a:pt x="415" y="20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2" name="Freeform 253"/>
          <p:cNvSpPr>
            <a:spLocks noChangeAspect="1" noEditPoints="1"/>
          </p:cNvSpPr>
          <p:nvPr/>
        </p:nvSpPr>
        <p:spPr bwMode="auto">
          <a:xfrm>
            <a:off x="5878447"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206 h 512"/>
              <a:gd name="T22" fmla="*/ 415 w 512"/>
              <a:gd name="T23" fmla="*/ 198 h 512"/>
              <a:gd name="T24" fmla="*/ 413 w 512"/>
              <a:gd name="T25" fmla="*/ 195 h 512"/>
              <a:gd name="T26" fmla="*/ 327 w 512"/>
              <a:gd name="T27" fmla="*/ 109 h 512"/>
              <a:gd name="T28" fmla="*/ 312 w 512"/>
              <a:gd name="T29" fmla="*/ 109 h 512"/>
              <a:gd name="T30" fmla="*/ 312 w 512"/>
              <a:gd name="T31" fmla="*/ 125 h 512"/>
              <a:gd name="T32" fmla="*/ 379 w 512"/>
              <a:gd name="T33" fmla="*/ 192 h 512"/>
              <a:gd name="T34" fmla="*/ 106 w 512"/>
              <a:gd name="T35" fmla="*/ 192 h 512"/>
              <a:gd name="T36" fmla="*/ 96 w 512"/>
              <a:gd name="T37" fmla="*/ 202 h 512"/>
              <a:gd name="T38" fmla="*/ 96 w 512"/>
              <a:gd name="T39" fmla="*/ 330 h 512"/>
              <a:gd name="T40" fmla="*/ 106 w 512"/>
              <a:gd name="T41" fmla="*/ 341 h 512"/>
              <a:gd name="T42" fmla="*/ 117 w 512"/>
              <a:gd name="T43" fmla="*/ 330 h 512"/>
              <a:gd name="T44" fmla="*/ 117 w 512"/>
              <a:gd name="T45" fmla="*/ 213 h 512"/>
              <a:gd name="T46" fmla="*/ 379 w 512"/>
              <a:gd name="T47" fmla="*/ 213 h 512"/>
              <a:gd name="T48" fmla="*/ 312 w 512"/>
              <a:gd name="T49" fmla="*/ 280 h 512"/>
              <a:gd name="T50" fmla="*/ 312 w 512"/>
              <a:gd name="T51" fmla="*/ 295 h 512"/>
              <a:gd name="T52" fmla="*/ 320 w 512"/>
              <a:gd name="T53" fmla="*/ 298 h 512"/>
              <a:gd name="T54" fmla="*/ 327 w 512"/>
              <a:gd name="T55" fmla="*/ 295 h 512"/>
              <a:gd name="T56" fmla="*/ 413 w 512"/>
              <a:gd name="T57" fmla="*/ 210 h 512"/>
              <a:gd name="T58" fmla="*/ 415 w 512"/>
              <a:gd name="T5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6" y="204"/>
                  <a:pt x="416" y="201"/>
                  <a:pt x="415" y="198"/>
                </a:cubicBezTo>
                <a:cubicBezTo>
                  <a:pt x="414" y="197"/>
                  <a:pt x="414" y="196"/>
                  <a:pt x="413" y="195"/>
                </a:cubicBezTo>
                <a:cubicBezTo>
                  <a:pt x="327" y="109"/>
                  <a:pt x="327" y="109"/>
                  <a:pt x="327" y="109"/>
                </a:cubicBezTo>
                <a:cubicBezTo>
                  <a:pt x="323" y="105"/>
                  <a:pt x="316" y="105"/>
                  <a:pt x="312" y="109"/>
                </a:cubicBezTo>
                <a:cubicBezTo>
                  <a:pt x="308" y="114"/>
                  <a:pt x="308" y="120"/>
                  <a:pt x="312" y="125"/>
                </a:cubicBezTo>
                <a:cubicBezTo>
                  <a:pt x="379" y="192"/>
                  <a:pt x="379" y="192"/>
                  <a:pt x="379" y="192"/>
                </a:cubicBezTo>
                <a:cubicBezTo>
                  <a:pt x="106" y="192"/>
                  <a:pt x="106" y="192"/>
                  <a:pt x="106" y="192"/>
                </a:cubicBezTo>
                <a:cubicBezTo>
                  <a:pt x="100" y="192"/>
                  <a:pt x="96" y="196"/>
                  <a:pt x="96" y="202"/>
                </a:cubicBezTo>
                <a:cubicBezTo>
                  <a:pt x="96" y="330"/>
                  <a:pt x="96" y="330"/>
                  <a:pt x="96" y="330"/>
                </a:cubicBezTo>
                <a:cubicBezTo>
                  <a:pt x="96" y="336"/>
                  <a:pt x="100" y="341"/>
                  <a:pt x="106" y="341"/>
                </a:cubicBezTo>
                <a:cubicBezTo>
                  <a:pt x="112" y="341"/>
                  <a:pt x="117" y="336"/>
                  <a:pt x="117" y="330"/>
                </a:cubicBezTo>
                <a:cubicBezTo>
                  <a:pt x="117" y="213"/>
                  <a:pt x="117" y="213"/>
                  <a:pt x="117" y="213"/>
                </a:cubicBezTo>
                <a:cubicBezTo>
                  <a:pt x="379" y="213"/>
                  <a:pt x="379" y="213"/>
                  <a:pt x="379" y="213"/>
                </a:cubicBezTo>
                <a:cubicBezTo>
                  <a:pt x="312" y="280"/>
                  <a:pt x="312" y="280"/>
                  <a:pt x="312" y="280"/>
                </a:cubicBezTo>
                <a:cubicBezTo>
                  <a:pt x="308" y="284"/>
                  <a:pt x="308" y="291"/>
                  <a:pt x="312" y="295"/>
                </a:cubicBezTo>
                <a:cubicBezTo>
                  <a:pt x="314" y="297"/>
                  <a:pt x="317" y="298"/>
                  <a:pt x="320" y="298"/>
                </a:cubicBezTo>
                <a:cubicBezTo>
                  <a:pt x="322" y="298"/>
                  <a:pt x="325" y="297"/>
                  <a:pt x="327" y="295"/>
                </a:cubicBezTo>
                <a:cubicBezTo>
                  <a:pt x="413" y="210"/>
                  <a:pt x="413" y="210"/>
                  <a:pt x="413" y="210"/>
                </a:cubicBezTo>
                <a:cubicBezTo>
                  <a:pt x="414" y="209"/>
                  <a:pt x="414" y="208"/>
                  <a:pt x="415" y="20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3" name="Freeform 257"/>
          <p:cNvSpPr>
            <a:spLocks noChangeAspect="1" noEditPoints="1"/>
          </p:cNvSpPr>
          <p:nvPr/>
        </p:nvSpPr>
        <p:spPr bwMode="auto">
          <a:xfrm>
            <a:off x="6298913"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3 w 512"/>
              <a:gd name="T11" fmla="*/ 312 h 512"/>
              <a:gd name="T12" fmla="*/ 349 w 512"/>
              <a:gd name="T13" fmla="*/ 312 h 512"/>
              <a:gd name="T14" fmla="*/ 349 w 512"/>
              <a:gd name="T15" fmla="*/ 327 h 512"/>
              <a:gd name="T16" fmla="*/ 263 w 512"/>
              <a:gd name="T17" fmla="*/ 413 h 512"/>
              <a:gd name="T18" fmla="*/ 260 w 512"/>
              <a:gd name="T19" fmla="*/ 415 h 512"/>
              <a:gd name="T20" fmla="*/ 252 w 512"/>
              <a:gd name="T21" fmla="*/ 415 h 512"/>
              <a:gd name="T22" fmla="*/ 248 w 512"/>
              <a:gd name="T23" fmla="*/ 413 h 512"/>
              <a:gd name="T24" fmla="*/ 163 w 512"/>
              <a:gd name="T25" fmla="*/ 327 h 512"/>
              <a:gd name="T26" fmla="*/ 160 w 512"/>
              <a:gd name="T27" fmla="*/ 320 h 512"/>
              <a:gd name="T28" fmla="*/ 163 w 512"/>
              <a:gd name="T29" fmla="*/ 312 h 512"/>
              <a:gd name="T30" fmla="*/ 178 w 512"/>
              <a:gd name="T31" fmla="*/ 312 h 512"/>
              <a:gd name="T32" fmla="*/ 245 w 512"/>
              <a:gd name="T33" fmla="*/ 379 h 512"/>
              <a:gd name="T34" fmla="*/ 245 w 512"/>
              <a:gd name="T35" fmla="*/ 132 h 512"/>
              <a:gd name="T36" fmla="*/ 178 w 512"/>
              <a:gd name="T37" fmla="*/ 199 h 512"/>
              <a:gd name="T38" fmla="*/ 163 w 512"/>
              <a:gd name="T39" fmla="*/ 199 h 512"/>
              <a:gd name="T40" fmla="*/ 163 w 512"/>
              <a:gd name="T41" fmla="*/ 184 h 512"/>
              <a:gd name="T42" fmla="*/ 248 w 512"/>
              <a:gd name="T43" fmla="*/ 99 h 512"/>
              <a:gd name="T44" fmla="*/ 252 w 512"/>
              <a:gd name="T45" fmla="*/ 96 h 512"/>
              <a:gd name="T46" fmla="*/ 260 w 512"/>
              <a:gd name="T47" fmla="*/ 96 h 512"/>
              <a:gd name="T48" fmla="*/ 263 w 512"/>
              <a:gd name="T49" fmla="*/ 99 h 512"/>
              <a:gd name="T50" fmla="*/ 349 w 512"/>
              <a:gd name="T51" fmla="*/ 184 h 512"/>
              <a:gd name="T52" fmla="*/ 352 w 512"/>
              <a:gd name="T53" fmla="*/ 192 h 512"/>
              <a:gd name="T54" fmla="*/ 349 w 512"/>
              <a:gd name="T55" fmla="*/ 199 h 512"/>
              <a:gd name="T56" fmla="*/ 333 w 512"/>
              <a:gd name="T57" fmla="*/ 199 h 512"/>
              <a:gd name="T58" fmla="*/ 266 w 512"/>
              <a:gd name="T59" fmla="*/ 132 h 512"/>
              <a:gd name="T60" fmla="*/ 266 w 512"/>
              <a:gd name="T61" fmla="*/ 379 h 512"/>
              <a:gd name="T62" fmla="*/ 333 w 512"/>
              <a:gd name="T6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3" y="312"/>
                </a:moveTo>
                <a:cubicBezTo>
                  <a:pt x="338" y="308"/>
                  <a:pt x="344" y="308"/>
                  <a:pt x="349" y="312"/>
                </a:cubicBezTo>
                <a:cubicBezTo>
                  <a:pt x="353" y="316"/>
                  <a:pt x="353" y="323"/>
                  <a:pt x="349" y="327"/>
                </a:cubicBezTo>
                <a:cubicBezTo>
                  <a:pt x="263" y="413"/>
                  <a:pt x="263" y="413"/>
                  <a:pt x="263" y="413"/>
                </a:cubicBezTo>
                <a:cubicBezTo>
                  <a:pt x="262" y="414"/>
                  <a:pt x="261" y="414"/>
                  <a:pt x="260" y="415"/>
                </a:cubicBezTo>
                <a:cubicBezTo>
                  <a:pt x="257" y="416"/>
                  <a:pt x="254" y="416"/>
                  <a:pt x="252" y="415"/>
                </a:cubicBezTo>
                <a:cubicBezTo>
                  <a:pt x="250" y="414"/>
                  <a:pt x="249" y="414"/>
                  <a:pt x="248" y="413"/>
                </a:cubicBezTo>
                <a:cubicBezTo>
                  <a:pt x="163" y="327"/>
                  <a:pt x="163" y="327"/>
                  <a:pt x="163" y="327"/>
                </a:cubicBezTo>
                <a:cubicBezTo>
                  <a:pt x="161" y="325"/>
                  <a:pt x="160" y="322"/>
                  <a:pt x="160" y="320"/>
                </a:cubicBezTo>
                <a:cubicBezTo>
                  <a:pt x="160" y="317"/>
                  <a:pt x="161" y="314"/>
                  <a:pt x="163" y="312"/>
                </a:cubicBezTo>
                <a:cubicBezTo>
                  <a:pt x="167" y="308"/>
                  <a:pt x="174" y="308"/>
                  <a:pt x="178" y="312"/>
                </a:cubicBezTo>
                <a:cubicBezTo>
                  <a:pt x="245" y="379"/>
                  <a:pt x="245" y="379"/>
                  <a:pt x="245" y="379"/>
                </a:cubicBezTo>
                <a:cubicBezTo>
                  <a:pt x="245" y="132"/>
                  <a:pt x="245" y="132"/>
                  <a:pt x="245" y="132"/>
                </a:cubicBezTo>
                <a:cubicBezTo>
                  <a:pt x="178" y="199"/>
                  <a:pt x="178" y="199"/>
                  <a:pt x="178" y="199"/>
                </a:cubicBezTo>
                <a:cubicBezTo>
                  <a:pt x="174" y="203"/>
                  <a:pt x="167" y="203"/>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1" y="186"/>
                  <a:pt x="352" y="189"/>
                  <a:pt x="352" y="192"/>
                </a:cubicBezTo>
                <a:cubicBezTo>
                  <a:pt x="352" y="194"/>
                  <a:pt x="351" y="197"/>
                  <a:pt x="349" y="199"/>
                </a:cubicBezTo>
                <a:cubicBezTo>
                  <a:pt x="344" y="203"/>
                  <a:pt x="338" y="203"/>
                  <a:pt x="333" y="199"/>
                </a:cubicBezTo>
                <a:cubicBezTo>
                  <a:pt x="266" y="132"/>
                  <a:pt x="266" y="132"/>
                  <a:pt x="266" y="132"/>
                </a:cubicBezTo>
                <a:cubicBezTo>
                  <a:pt x="266" y="379"/>
                  <a:pt x="266" y="379"/>
                  <a:pt x="266" y="379"/>
                </a:cubicBezTo>
                <a:lnTo>
                  <a:pt x="333" y="31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4" name="Freeform 261"/>
          <p:cNvSpPr>
            <a:spLocks noChangeAspect="1" noEditPoints="1"/>
          </p:cNvSpPr>
          <p:nvPr/>
        </p:nvSpPr>
        <p:spPr bwMode="auto">
          <a:xfrm>
            <a:off x="6719379"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66 w 512"/>
              <a:gd name="T21" fmla="*/ 132 h 512"/>
              <a:gd name="T22" fmla="*/ 333 w 512"/>
              <a:gd name="T23" fmla="*/ 199 h 512"/>
              <a:gd name="T24" fmla="*/ 349 w 512"/>
              <a:gd name="T25" fmla="*/ 199 h 512"/>
              <a:gd name="T26" fmla="*/ 352 w 512"/>
              <a:gd name="T27" fmla="*/ 192 h 512"/>
              <a:gd name="T28" fmla="*/ 349 w 512"/>
              <a:gd name="T29" fmla="*/ 184 h 512"/>
              <a:gd name="T30" fmla="*/ 263 w 512"/>
              <a:gd name="T31" fmla="*/ 99 h 512"/>
              <a:gd name="T32" fmla="*/ 260 w 512"/>
              <a:gd name="T33" fmla="*/ 96 h 512"/>
              <a:gd name="T34" fmla="*/ 252 w 512"/>
              <a:gd name="T35" fmla="*/ 96 h 512"/>
              <a:gd name="T36" fmla="*/ 248 w 512"/>
              <a:gd name="T37" fmla="*/ 99 h 512"/>
              <a:gd name="T38" fmla="*/ 163 w 512"/>
              <a:gd name="T39" fmla="*/ 184 h 512"/>
              <a:gd name="T40" fmla="*/ 163 w 512"/>
              <a:gd name="T41" fmla="*/ 199 h 512"/>
              <a:gd name="T42" fmla="*/ 178 w 512"/>
              <a:gd name="T43" fmla="*/ 199 h 512"/>
              <a:gd name="T44" fmla="*/ 245 w 512"/>
              <a:gd name="T45" fmla="*/ 132 h 512"/>
              <a:gd name="T46" fmla="*/ 245 w 512"/>
              <a:gd name="T47" fmla="*/ 379 h 512"/>
              <a:gd name="T48" fmla="*/ 178 w 512"/>
              <a:gd name="T49" fmla="*/ 312 h 512"/>
              <a:gd name="T50" fmla="*/ 163 w 512"/>
              <a:gd name="T51" fmla="*/ 312 h 512"/>
              <a:gd name="T52" fmla="*/ 160 w 512"/>
              <a:gd name="T53" fmla="*/ 320 h 512"/>
              <a:gd name="T54" fmla="*/ 163 w 512"/>
              <a:gd name="T55" fmla="*/ 327 h 512"/>
              <a:gd name="T56" fmla="*/ 248 w 512"/>
              <a:gd name="T57" fmla="*/ 413 h 512"/>
              <a:gd name="T58" fmla="*/ 252 w 512"/>
              <a:gd name="T59" fmla="*/ 415 h 512"/>
              <a:gd name="T60" fmla="*/ 260 w 512"/>
              <a:gd name="T61" fmla="*/ 415 h 512"/>
              <a:gd name="T62" fmla="*/ 263 w 512"/>
              <a:gd name="T63" fmla="*/ 413 h 512"/>
              <a:gd name="T64" fmla="*/ 349 w 512"/>
              <a:gd name="T65" fmla="*/ 327 h 512"/>
              <a:gd name="T66" fmla="*/ 349 w 512"/>
              <a:gd name="T67" fmla="*/ 312 h 512"/>
              <a:gd name="T68" fmla="*/ 333 w 512"/>
              <a:gd name="T69" fmla="*/ 312 h 512"/>
              <a:gd name="T70" fmla="*/ 266 w 512"/>
              <a:gd name="T71" fmla="*/ 379 h 512"/>
              <a:gd name="T72" fmla="*/ 266 w 512"/>
              <a:gd name="T73"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132"/>
                </a:moveTo>
                <a:cubicBezTo>
                  <a:pt x="333" y="199"/>
                  <a:pt x="333" y="199"/>
                  <a:pt x="333" y="199"/>
                </a:cubicBezTo>
                <a:cubicBezTo>
                  <a:pt x="338" y="203"/>
                  <a:pt x="344" y="203"/>
                  <a:pt x="349" y="199"/>
                </a:cubicBezTo>
                <a:cubicBezTo>
                  <a:pt x="351" y="197"/>
                  <a:pt x="352" y="194"/>
                  <a:pt x="352" y="192"/>
                </a:cubicBezTo>
                <a:cubicBezTo>
                  <a:pt x="352" y="189"/>
                  <a:pt x="351" y="186"/>
                  <a:pt x="349" y="184"/>
                </a:cubicBezTo>
                <a:cubicBezTo>
                  <a:pt x="263" y="99"/>
                  <a:pt x="263" y="99"/>
                  <a:pt x="263" y="99"/>
                </a:cubicBezTo>
                <a:cubicBezTo>
                  <a:pt x="262" y="98"/>
                  <a:pt x="261" y="97"/>
                  <a:pt x="260" y="96"/>
                </a:cubicBezTo>
                <a:cubicBezTo>
                  <a:pt x="257" y="95"/>
                  <a:pt x="254" y="95"/>
                  <a:pt x="252" y="96"/>
                </a:cubicBezTo>
                <a:cubicBezTo>
                  <a:pt x="250" y="97"/>
                  <a:pt x="249" y="98"/>
                  <a:pt x="248" y="99"/>
                </a:cubicBezTo>
                <a:cubicBezTo>
                  <a:pt x="163" y="184"/>
                  <a:pt x="163" y="184"/>
                  <a:pt x="163" y="184"/>
                </a:cubicBezTo>
                <a:cubicBezTo>
                  <a:pt x="159" y="188"/>
                  <a:pt x="159" y="195"/>
                  <a:pt x="163" y="199"/>
                </a:cubicBezTo>
                <a:cubicBezTo>
                  <a:pt x="167" y="203"/>
                  <a:pt x="174" y="203"/>
                  <a:pt x="178" y="199"/>
                </a:cubicBezTo>
                <a:cubicBezTo>
                  <a:pt x="245" y="132"/>
                  <a:pt x="245" y="132"/>
                  <a:pt x="245" y="132"/>
                </a:cubicBezTo>
                <a:cubicBezTo>
                  <a:pt x="245" y="379"/>
                  <a:pt x="245" y="379"/>
                  <a:pt x="245" y="379"/>
                </a:cubicBezTo>
                <a:cubicBezTo>
                  <a:pt x="178" y="312"/>
                  <a:pt x="178" y="312"/>
                  <a:pt x="178" y="312"/>
                </a:cubicBezTo>
                <a:cubicBezTo>
                  <a:pt x="174" y="308"/>
                  <a:pt x="167" y="308"/>
                  <a:pt x="163" y="312"/>
                </a:cubicBezTo>
                <a:cubicBezTo>
                  <a:pt x="161" y="314"/>
                  <a:pt x="160" y="317"/>
                  <a:pt x="160" y="320"/>
                </a:cubicBezTo>
                <a:cubicBezTo>
                  <a:pt x="160" y="322"/>
                  <a:pt x="161" y="325"/>
                  <a:pt x="163" y="327"/>
                </a:cubicBezTo>
                <a:cubicBezTo>
                  <a:pt x="248" y="413"/>
                  <a:pt x="248" y="413"/>
                  <a:pt x="248" y="413"/>
                </a:cubicBezTo>
                <a:cubicBezTo>
                  <a:pt x="249" y="414"/>
                  <a:pt x="250" y="414"/>
                  <a:pt x="252" y="415"/>
                </a:cubicBezTo>
                <a:cubicBezTo>
                  <a:pt x="254" y="416"/>
                  <a:pt x="257" y="416"/>
                  <a:pt x="260" y="415"/>
                </a:cubicBezTo>
                <a:cubicBezTo>
                  <a:pt x="261" y="414"/>
                  <a:pt x="262" y="414"/>
                  <a:pt x="263" y="413"/>
                </a:cubicBezTo>
                <a:cubicBezTo>
                  <a:pt x="349" y="327"/>
                  <a:pt x="349" y="327"/>
                  <a:pt x="349" y="327"/>
                </a:cubicBezTo>
                <a:cubicBezTo>
                  <a:pt x="353" y="323"/>
                  <a:pt x="353" y="316"/>
                  <a:pt x="349" y="312"/>
                </a:cubicBezTo>
                <a:cubicBezTo>
                  <a:pt x="344" y="308"/>
                  <a:pt x="338" y="308"/>
                  <a:pt x="333" y="312"/>
                </a:cubicBezTo>
                <a:cubicBezTo>
                  <a:pt x="266" y="379"/>
                  <a:pt x="266" y="379"/>
                  <a:pt x="266" y="379"/>
                </a:cubicBezTo>
                <a:lnTo>
                  <a:pt x="266" y="13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5" name="Freeform 304"/>
          <p:cNvSpPr>
            <a:spLocks noChangeAspect="1" noEditPoints="1"/>
          </p:cNvSpPr>
          <p:nvPr/>
        </p:nvSpPr>
        <p:spPr bwMode="auto">
          <a:xfrm>
            <a:off x="7139845"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6" name="Group 268"/>
          <p:cNvGrpSpPr>
            <a:grpSpLocks noChangeAspect="1"/>
          </p:cNvGrpSpPr>
          <p:nvPr/>
        </p:nvGrpSpPr>
        <p:grpSpPr bwMode="auto">
          <a:xfrm>
            <a:off x="7560311" y="2533203"/>
            <a:ext cx="367982" cy="367982"/>
            <a:chOff x="5497" y="2036"/>
            <a:chExt cx="340" cy="340"/>
          </a:xfrm>
          <a:solidFill>
            <a:schemeClr val="accent3"/>
          </a:solidFill>
        </p:grpSpPr>
        <p:sp>
          <p:nvSpPr>
            <p:cNvPr id="307" name="Freeform 269"/>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270"/>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9" name="Freeform 118"/>
          <p:cNvSpPr>
            <a:spLocks noChangeAspect="1" noEditPoints="1"/>
          </p:cNvSpPr>
          <p:nvPr/>
        </p:nvSpPr>
        <p:spPr bwMode="auto">
          <a:xfrm>
            <a:off x="1668207" y="2533203"/>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0" name="Group 53"/>
          <p:cNvGrpSpPr>
            <a:grpSpLocks noChangeAspect="1"/>
          </p:cNvGrpSpPr>
          <p:nvPr/>
        </p:nvGrpSpPr>
        <p:grpSpPr bwMode="auto">
          <a:xfrm>
            <a:off x="3363347" y="3365814"/>
            <a:ext cx="369676" cy="369676"/>
            <a:chOff x="3730" y="9"/>
            <a:chExt cx="340" cy="340"/>
          </a:xfrm>
          <a:solidFill>
            <a:schemeClr val="accent1"/>
          </a:solidFill>
        </p:grpSpPr>
        <p:sp>
          <p:nvSpPr>
            <p:cNvPr id="311" name="Freeform 54"/>
            <p:cNvSpPr>
              <a:spLocks/>
            </p:cNvSpPr>
            <p:nvPr/>
          </p:nvSpPr>
          <p:spPr bwMode="auto">
            <a:xfrm>
              <a:off x="3793" y="115"/>
              <a:ext cx="214" cy="114"/>
            </a:xfrm>
            <a:custGeom>
              <a:avLst/>
              <a:gdLst>
                <a:gd name="T0" fmla="*/ 310 w 322"/>
                <a:gd name="T1" fmla="*/ 171 h 172"/>
                <a:gd name="T2" fmla="*/ 302 w 322"/>
                <a:gd name="T3" fmla="*/ 168 h 172"/>
                <a:gd name="T4" fmla="*/ 161 w 322"/>
                <a:gd name="T5" fmla="*/ 26 h 172"/>
                <a:gd name="T6" fmla="*/ 19 w 322"/>
                <a:gd name="T7" fmla="*/ 168 h 172"/>
                <a:gd name="T8" fmla="*/ 4 w 322"/>
                <a:gd name="T9" fmla="*/ 168 h 172"/>
                <a:gd name="T10" fmla="*/ 4 w 322"/>
                <a:gd name="T11" fmla="*/ 153 h 172"/>
                <a:gd name="T12" fmla="*/ 153 w 322"/>
                <a:gd name="T13" fmla="*/ 4 h 172"/>
                <a:gd name="T14" fmla="*/ 168 w 322"/>
                <a:gd name="T15" fmla="*/ 4 h 172"/>
                <a:gd name="T16" fmla="*/ 318 w 322"/>
                <a:gd name="T17" fmla="*/ 153 h 172"/>
                <a:gd name="T18" fmla="*/ 318 w 322"/>
                <a:gd name="T19" fmla="*/ 168 h 172"/>
                <a:gd name="T20" fmla="*/ 310 w 322"/>
                <a:gd name="T2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310" y="171"/>
                  </a:moveTo>
                  <a:cubicBezTo>
                    <a:pt x="307" y="171"/>
                    <a:pt x="305" y="170"/>
                    <a:pt x="302" y="168"/>
                  </a:cubicBezTo>
                  <a:cubicBezTo>
                    <a:pt x="161" y="26"/>
                    <a:pt x="161" y="26"/>
                    <a:pt x="161" y="26"/>
                  </a:cubicBezTo>
                  <a:cubicBezTo>
                    <a:pt x="19" y="168"/>
                    <a:pt x="19" y="168"/>
                    <a:pt x="19" y="168"/>
                  </a:cubicBezTo>
                  <a:cubicBezTo>
                    <a:pt x="15" y="172"/>
                    <a:pt x="8" y="172"/>
                    <a:pt x="4" y="168"/>
                  </a:cubicBezTo>
                  <a:cubicBezTo>
                    <a:pt x="0" y="164"/>
                    <a:pt x="0" y="157"/>
                    <a:pt x="4" y="153"/>
                  </a:cubicBezTo>
                  <a:cubicBezTo>
                    <a:pt x="153" y="4"/>
                    <a:pt x="153" y="4"/>
                    <a:pt x="153" y="4"/>
                  </a:cubicBezTo>
                  <a:cubicBezTo>
                    <a:pt x="157" y="0"/>
                    <a:pt x="164" y="0"/>
                    <a:pt x="168" y="4"/>
                  </a:cubicBezTo>
                  <a:cubicBezTo>
                    <a:pt x="318" y="153"/>
                    <a:pt x="318" y="153"/>
                    <a:pt x="318" y="153"/>
                  </a:cubicBezTo>
                  <a:cubicBezTo>
                    <a:pt x="322" y="157"/>
                    <a:pt x="322" y="164"/>
                    <a:pt x="318" y="168"/>
                  </a:cubicBezTo>
                  <a:cubicBezTo>
                    <a:pt x="315" y="170"/>
                    <a:pt x="313" y="171"/>
                    <a:pt x="310"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55"/>
            <p:cNvSpPr>
              <a:spLocks noEditPoints="1"/>
            </p:cNvSpPr>
            <p:nvPr/>
          </p:nvSpPr>
          <p:spPr bwMode="auto">
            <a:xfrm>
              <a:off x="3730" y="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3" name="Freeform 59"/>
          <p:cNvSpPr>
            <a:spLocks noChangeAspect="1" noEditPoints="1"/>
          </p:cNvSpPr>
          <p:nvPr/>
        </p:nvSpPr>
        <p:spPr bwMode="auto">
          <a:xfrm>
            <a:off x="2940926"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30 h 512"/>
              <a:gd name="T12" fmla="*/ 397 w 512"/>
              <a:gd name="T13" fmla="*/ 327 h 512"/>
              <a:gd name="T14" fmla="*/ 256 w 512"/>
              <a:gd name="T15" fmla="*/ 185 h 512"/>
              <a:gd name="T16" fmla="*/ 114 w 512"/>
              <a:gd name="T17" fmla="*/ 327 h 512"/>
              <a:gd name="T18" fmla="*/ 99 w 512"/>
              <a:gd name="T19" fmla="*/ 327 h 512"/>
              <a:gd name="T20" fmla="*/ 99 w 512"/>
              <a:gd name="T21" fmla="*/ 312 h 512"/>
              <a:gd name="T22" fmla="*/ 248 w 512"/>
              <a:gd name="T23" fmla="*/ 163 h 512"/>
              <a:gd name="T24" fmla="*/ 263 w 512"/>
              <a:gd name="T25" fmla="*/ 163 h 512"/>
              <a:gd name="T26" fmla="*/ 413 w 512"/>
              <a:gd name="T27" fmla="*/ 312 h 512"/>
              <a:gd name="T28" fmla="*/ 413 w 512"/>
              <a:gd name="T29" fmla="*/ 327 h 512"/>
              <a:gd name="T30" fmla="*/ 405 w 512"/>
              <a:gd name="T3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30"/>
                </a:moveTo>
                <a:cubicBezTo>
                  <a:pt x="402" y="330"/>
                  <a:pt x="400" y="329"/>
                  <a:pt x="397" y="327"/>
                </a:cubicBezTo>
                <a:cubicBezTo>
                  <a:pt x="256" y="185"/>
                  <a:pt x="256" y="185"/>
                  <a:pt x="256" y="185"/>
                </a:cubicBezTo>
                <a:cubicBezTo>
                  <a:pt x="114" y="327"/>
                  <a:pt x="114" y="327"/>
                  <a:pt x="114" y="327"/>
                </a:cubicBezTo>
                <a:cubicBezTo>
                  <a:pt x="110" y="331"/>
                  <a:pt x="103" y="331"/>
                  <a:pt x="99" y="327"/>
                </a:cubicBezTo>
                <a:cubicBezTo>
                  <a:pt x="95" y="323"/>
                  <a:pt x="95" y="316"/>
                  <a:pt x="99" y="312"/>
                </a:cubicBezTo>
                <a:cubicBezTo>
                  <a:pt x="248" y="163"/>
                  <a:pt x="248" y="163"/>
                  <a:pt x="248" y="163"/>
                </a:cubicBezTo>
                <a:cubicBezTo>
                  <a:pt x="252" y="159"/>
                  <a:pt x="259" y="159"/>
                  <a:pt x="263" y="163"/>
                </a:cubicBezTo>
                <a:cubicBezTo>
                  <a:pt x="413" y="312"/>
                  <a:pt x="413" y="312"/>
                  <a:pt x="413" y="312"/>
                </a:cubicBezTo>
                <a:cubicBezTo>
                  <a:pt x="417" y="316"/>
                  <a:pt x="417" y="323"/>
                  <a:pt x="413" y="327"/>
                </a:cubicBezTo>
                <a:cubicBezTo>
                  <a:pt x="410" y="329"/>
                  <a:pt x="408" y="330"/>
                  <a:pt x="405" y="33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4" name="Group 62"/>
          <p:cNvGrpSpPr>
            <a:grpSpLocks noChangeAspect="1"/>
          </p:cNvGrpSpPr>
          <p:nvPr/>
        </p:nvGrpSpPr>
        <p:grpSpPr bwMode="auto">
          <a:xfrm>
            <a:off x="2518505" y="3365814"/>
            <a:ext cx="369676" cy="369676"/>
            <a:chOff x="2980" y="0"/>
            <a:chExt cx="340" cy="340"/>
          </a:xfrm>
          <a:solidFill>
            <a:schemeClr val="accent1"/>
          </a:solidFill>
        </p:grpSpPr>
        <p:sp>
          <p:nvSpPr>
            <p:cNvPr id="315" name="Freeform 63"/>
            <p:cNvSpPr>
              <a:spLocks/>
            </p:cNvSpPr>
            <p:nvPr/>
          </p:nvSpPr>
          <p:spPr bwMode="auto">
            <a:xfrm>
              <a:off x="3071" y="191"/>
              <a:ext cx="157" cy="85"/>
            </a:xfrm>
            <a:custGeom>
              <a:avLst/>
              <a:gdLst>
                <a:gd name="T0" fmla="*/ 218 w 237"/>
                <a:gd name="T1" fmla="*/ 4 h 129"/>
                <a:gd name="T2" fmla="*/ 119 w 237"/>
                <a:gd name="T3" fmla="*/ 103 h 129"/>
                <a:gd name="T4" fmla="*/ 20 w 237"/>
                <a:gd name="T5" fmla="*/ 4 h 129"/>
                <a:gd name="T6" fmla="*/ 4 w 237"/>
                <a:gd name="T7" fmla="*/ 4 h 129"/>
                <a:gd name="T8" fmla="*/ 4 w 237"/>
                <a:gd name="T9" fmla="*/ 19 h 129"/>
                <a:gd name="T10" fmla="*/ 111 w 237"/>
                <a:gd name="T11" fmla="*/ 126 h 129"/>
                <a:gd name="T12" fmla="*/ 119 w 237"/>
                <a:gd name="T13" fmla="*/ 129 h 129"/>
                <a:gd name="T14" fmla="*/ 126 w 237"/>
                <a:gd name="T15" fmla="*/ 126 h 129"/>
                <a:gd name="T16" fmla="*/ 233 w 237"/>
                <a:gd name="T17" fmla="*/ 19 h 129"/>
                <a:gd name="T18" fmla="*/ 233 w 237"/>
                <a:gd name="T19" fmla="*/ 4 h 129"/>
                <a:gd name="T20" fmla="*/ 218 w 237"/>
                <a:gd name="T21"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29">
                  <a:moveTo>
                    <a:pt x="218" y="4"/>
                  </a:moveTo>
                  <a:cubicBezTo>
                    <a:pt x="119" y="103"/>
                    <a:pt x="119" y="103"/>
                    <a:pt x="119" y="103"/>
                  </a:cubicBezTo>
                  <a:cubicBezTo>
                    <a:pt x="20" y="4"/>
                    <a:pt x="20" y="4"/>
                    <a:pt x="20" y="4"/>
                  </a:cubicBezTo>
                  <a:cubicBezTo>
                    <a:pt x="15" y="0"/>
                    <a:pt x="9" y="0"/>
                    <a:pt x="4" y="4"/>
                  </a:cubicBezTo>
                  <a:cubicBezTo>
                    <a:pt x="0" y="8"/>
                    <a:pt x="0" y="15"/>
                    <a:pt x="4" y="19"/>
                  </a:cubicBezTo>
                  <a:cubicBezTo>
                    <a:pt x="111" y="126"/>
                    <a:pt x="111" y="126"/>
                    <a:pt x="111" y="126"/>
                  </a:cubicBezTo>
                  <a:cubicBezTo>
                    <a:pt x="113" y="128"/>
                    <a:pt x="116" y="129"/>
                    <a:pt x="119" y="129"/>
                  </a:cubicBezTo>
                  <a:cubicBezTo>
                    <a:pt x="121" y="129"/>
                    <a:pt x="124" y="128"/>
                    <a:pt x="126" y="126"/>
                  </a:cubicBezTo>
                  <a:cubicBezTo>
                    <a:pt x="233" y="19"/>
                    <a:pt x="233" y="19"/>
                    <a:pt x="233" y="19"/>
                  </a:cubicBezTo>
                  <a:cubicBezTo>
                    <a:pt x="237" y="15"/>
                    <a:pt x="237" y="8"/>
                    <a:pt x="233" y="4"/>
                  </a:cubicBezTo>
                  <a:cubicBezTo>
                    <a:pt x="229" y="0"/>
                    <a:pt x="222" y="0"/>
                    <a:pt x="2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64"/>
            <p:cNvSpPr>
              <a:spLocks/>
            </p:cNvSpPr>
            <p:nvPr/>
          </p:nvSpPr>
          <p:spPr bwMode="auto">
            <a:xfrm>
              <a:off x="3071" y="63"/>
              <a:ext cx="157" cy="86"/>
            </a:xfrm>
            <a:custGeom>
              <a:avLst/>
              <a:gdLst>
                <a:gd name="T0" fmla="*/ 20 w 237"/>
                <a:gd name="T1" fmla="*/ 126 h 130"/>
                <a:gd name="T2" fmla="*/ 119 w 237"/>
                <a:gd name="T3" fmla="*/ 26 h 130"/>
                <a:gd name="T4" fmla="*/ 218 w 237"/>
                <a:gd name="T5" fmla="*/ 126 h 130"/>
                <a:gd name="T6" fmla="*/ 225 w 237"/>
                <a:gd name="T7" fmla="*/ 129 h 130"/>
                <a:gd name="T8" fmla="*/ 233 w 237"/>
                <a:gd name="T9" fmla="*/ 126 h 130"/>
                <a:gd name="T10" fmla="*/ 233 w 237"/>
                <a:gd name="T11" fmla="*/ 110 h 130"/>
                <a:gd name="T12" fmla="*/ 126 w 237"/>
                <a:gd name="T13" fmla="*/ 4 h 130"/>
                <a:gd name="T14" fmla="*/ 111 w 237"/>
                <a:gd name="T15" fmla="*/ 4 h 130"/>
                <a:gd name="T16" fmla="*/ 4 w 237"/>
                <a:gd name="T17" fmla="*/ 110 h 130"/>
                <a:gd name="T18" fmla="*/ 4 w 237"/>
                <a:gd name="T19" fmla="*/ 126 h 130"/>
                <a:gd name="T20" fmla="*/ 20 w 237"/>
                <a:gd name="T21"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30">
                  <a:moveTo>
                    <a:pt x="20" y="126"/>
                  </a:moveTo>
                  <a:cubicBezTo>
                    <a:pt x="119" y="26"/>
                    <a:pt x="119" y="26"/>
                    <a:pt x="119" y="26"/>
                  </a:cubicBezTo>
                  <a:cubicBezTo>
                    <a:pt x="218" y="126"/>
                    <a:pt x="218" y="126"/>
                    <a:pt x="218" y="126"/>
                  </a:cubicBezTo>
                  <a:cubicBezTo>
                    <a:pt x="220" y="128"/>
                    <a:pt x="223" y="129"/>
                    <a:pt x="225" y="129"/>
                  </a:cubicBezTo>
                  <a:cubicBezTo>
                    <a:pt x="228" y="129"/>
                    <a:pt x="231" y="128"/>
                    <a:pt x="233" y="126"/>
                  </a:cubicBezTo>
                  <a:cubicBezTo>
                    <a:pt x="237" y="121"/>
                    <a:pt x="237" y="115"/>
                    <a:pt x="233" y="110"/>
                  </a:cubicBezTo>
                  <a:cubicBezTo>
                    <a:pt x="126" y="4"/>
                    <a:pt x="126" y="4"/>
                    <a:pt x="126" y="4"/>
                  </a:cubicBezTo>
                  <a:cubicBezTo>
                    <a:pt x="122" y="0"/>
                    <a:pt x="115" y="0"/>
                    <a:pt x="111" y="4"/>
                  </a:cubicBezTo>
                  <a:cubicBezTo>
                    <a:pt x="4" y="110"/>
                    <a:pt x="4" y="110"/>
                    <a:pt x="4" y="110"/>
                  </a:cubicBezTo>
                  <a:cubicBezTo>
                    <a:pt x="0" y="115"/>
                    <a:pt x="0" y="121"/>
                    <a:pt x="4" y="126"/>
                  </a:cubicBezTo>
                  <a:cubicBezTo>
                    <a:pt x="9" y="130"/>
                    <a:pt x="15" y="130"/>
                    <a:pt x="20" y="1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65"/>
            <p:cNvSpPr>
              <a:spLocks noEditPoints="1"/>
            </p:cNvSpPr>
            <p:nvPr/>
          </p:nvSpPr>
          <p:spPr bwMode="auto">
            <a:xfrm>
              <a:off x="2980"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8" name="Freeform 69"/>
          <p:cNvSpPr>
            <a:spLocks noChangeAspect="1" noEditPoints="1"/>
          </p:cNvSpPr>
          <p:nvPr/>
        </p:nvSpPr>
        <p:spPr bwMode="auto">
          <a:xfrm>
            <a:off x="2096084"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06 h 512"/>
              <a:gd name="T12" fmla="*/ 263 w 512"/>
              <a:gd name="T13" fmla="*/ 413 h 512"/>
              <a:gd name="T14" fmla="*/ 256 w 512"/>
              <a:gd name="T15" fmla="*/ 416 h 512"/>
              <a:gd name="T16" fmla="*/ 248 w 512"/>
              <a:gd name="T17" fmla="*/ 413 h 512"/>
              <a:gd name="T18" fmla="*/ 141 w 512"/>
              <a:gd name="T19" fmla="*/ 306 h 512"/>
              <a:gd name="T20" fmla="*/ 141 w 512"/>
              <a:gd name="T21" fmla="*/ 291 h 512"/>
              <a:gd name="T22" fmla="*/ 157 w 512"/>
              <a:gd name="T23" fmla="*/ 291 h 512"/>
              <a:gd name="T24" fmla="*/ 256 w 512"/>
              <a:gd name="T25" fmla="*/ 390 h 512"/>
              <a:gd name="T26" fmla="*/ 355 w 512"/>
              <a:gd name="T27" fmla="*/ 291 h 512"/>
              <a:gd name="T28" fmla="*/ 370 w 512"/>
              <a:gd name="T29" fmla="*/ 291 h 512"/>
              <a:gd name="T30" fmla="*/ 370 w 512"/>
              <a:gd name="T31" fmla="*/ 306 h 512"/>
              <a:gd name="T32" fmla="*/ 370 w 512"/>
              <a:gd name="T33" fmla="*/ 221 h 512"/>
              <a:gd name="T34" fmla="*/ 362 w 512"/>
              <a:gd name="T35" fmla="*/ 224 h 512"/>
              <a:gd name="T36" fmla="*/ 355 w 512"/>
              <a:gd name="T37" fmla="*/ 221 h 512"/>
              <a:gd name="T38" fmla="*/ 256 w 512"/>
              <a:gd name="T39" fmla="*/ 121 h 512"/>
              <a:gd name="T40" fmla="*/ 157 w 512"/>
              <a:gd name="T41" fmla="*/ 221 h 512"/>
              <a:gd name="T42" fmla="*/ 141 w 512"/>
              <a:gd name="T43" fmla="*/ 221 h 512"/>
              <a:gd name="T44" fmla="*/ 141 w 512"/>
              <a:gd name="T45" fmla="*/ 205 h 512"/>
              <a:gd name="T46" fmla="*/ 248 w 512"/>
              <a:gd name="T47" fmla="*/ 99 h 512"/>
              <a:gd name="T48" fmla="*/ 263 w 512"/>
              <a:gd name="T49" fmla="*/ 99 h 512"/>
              <a:gd name="T50" fmla="*/ 370 w 512"/>
              <a:gd name="T51" fmla="*/ 205 h 512"/>
              <a:gd name="T52" fmla="*/ 370 w 512"/>
              <a:gd name="T53"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06"/>
                </a:moveTo>
                <a:cubicBezTo>
                  <a:pt x="263" y="413"/>
                  <a:pt x="263" y="413"/>
                  <a:pt x="263" y="413"/>
                </a:cubicBezTo>
                <a:cubicBezTo>
                  <a:pt x="261" y="415"/>
                  <a:pt x="258" y="416"/>
                  <a:pt x="256" y="416"/>
                </a:cubicBezTo>
                <a:cubicBezTo>
                  <a:pt x="253" y="416"/>
                  <a:pt x="250" y="415"/>
                  <a:pt x="248" y="413"/>
                </a:cubicBezTo>
                <a:cubicBezTo>
                  <a:pt x="141" y="306"/>
                  <a:pt x="141" y="306"/>
                  <a:pt x="141" y="306"/>
                </a:cubicBezTo>
                <a:cubicBezTo>
                  <a:pt x="137" y="302"/>
                  <a:pt x="137" y="295"/>
                  <a:pt x="141" y="291"/>
                </a:cubicBezTo>
                <a:cubicBezTo>
                  <a:pt x="146" y="287"/>
                  <a:pt x="152" y="287"/>
                  <a:pt x="157" y="291"/>
                </a:cubicBezTo>
                <a:cubicBezTo>
                  <a:pt x="256" y="390"/>
                  <a:pt x="256" y="390"/>
                  <a:pt x="256" y="390"/>
                </a:cubicBezTo>
                <a:cubicBezTo>
                  <a:pt x="355" y="291"/>
                  <a:pt x="355" y="291"/>
                  <a:pt x="355" y="291"/>
                </a:cubicBezTo>
                <a:cubicBezTo>
                  <a:pt x="359" y="287"/>
                  <a:pt x="366" y="287"/>
                  <a:pt x="370" y="291"/>
                </a:cubicBezTo>
                <a:cubicBezTo>
                  <a:pt x="374" y="295"/>
                  <a:pt x="374" y="302"/>
                  <a:pt x="370" y="306"/>
                </a:cubicBezTo>
                <a:close/>
                <a:moveTo>
                  <a:pt x="370" y="221"/>
                </a:moveTo>
                <a:cubicBezTo>
                  <a:pt x="368" y="223"/>
                  <a:pt x="365" y="224"/>
                  <a:pt x="362" y="224"/>
                </a:cubicBezTo>
                <a:cubicBezTo>
                  <a:pt x="360" y="224"/>
                  <a:pt x="357" y="223"/>
                  <a:pt x="355" y="221"/>
                </a:cubicBezTo>
                <a:cubicBezTo>
                  <a:pt x="256" y="121"/>
                  <a:pt x="256" y="121"/>
                  <a:pt x="256" y="121"/>
                </a:cubicBezTo>
                <a:cubicBezTo>
                  <a:pt x="157" y="221"/>
                  <a:pt x="157" y="221"/>
                  <a:pt x="157" y="221"/>
                </a:cubicBezTo>
                <a:cubicBezTo>
                  <a:pt x="152" y="225"/>
                  <a:pt x="146" y="225"/>
                  <a:pt x="141" y="221"/>
                </a:cubicBezTo>
                <a:cubicBezTo>
                  <a:pt x="137" y="216"/>
                  <a:pt x="137" y="210"/>
                  <a:pt x="141" y="205"/>
                </a:cubicBezTo>
                <a:cubicBezTo>
                  <a:pt x="248" y="99"/>
                  <a:pt x="248" y="99"/>
                  <a:pt x="248" y="99"/>
                </a:cubicBezTo>
                <a:cubicBezTo>
                  <a:pt x="252" y="95"/>
                  <a:pt x="259" y="95"/>
                  <a:pt x="263" y="99"/>
                </a:cubicBezTo>
                <a:cubicBezTo>
                  <a:pt x="370" y="205"/>
                  <a:pt x="370" y="205"/>
                  <a:pt x="370" y="205"/>
                </a:cubicBezTo>
                <a:cubicBezTo>
                  <a:pt x="374" y="210"/>
                  <a:pt x="374" y="216"/>
                  <a:pt x="370" y="2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9" name="Group 72"/>
          <p:cNvGrpSpPr>
            <a:grpSpLocks noChangeAspect="1"/>
          </p:cNvGrpSpPr>
          <p:nvPr/>
        </p:nvGrpSpPr>
        <p:grpSpPr bwMode="auto">
          <a:xfrm>
            <a:off x="1673663" y="3365814"/>
            <a:ext cx="369676" cy="369676"/>
            <a:chOff x="2246" y="6"/>
            <a:chExt cx="340" cy="340"/>
          </a:xfrm>
          <a:solidFill>
            <a:schemeClr val="accent1"/>
          </a:solidFill>
        </p:grpSpPr>
        <p:sp>
          <p:nvSpPr>
            <p:cNvPr id="320" name="Freeform 73"/>
            <p:cNvSpPr>
              <a:spLocks/>
            </p:cNvSpPr>
            <p:nvPr/>
          </p:nvSpPr>
          <p:spPr bwMode="auto">
            <a:xfrm>
              <a:off x="2437" y="97"/>
              <a:ext cx="86" cy="157"/>
            </a:xfrm>
            <a:custGeom>
              <a:avLst/>
              <a:gdLst>
                <a:gd name="T0" fmla="*/ 126 w 130"/>
                <a:gd name="T1" fmla="*/ 111 h 236"/>
                <a:gd name="T2" fmla="*/ 19 w 130"/>
                <a:gd name="T3" fmla="*/ 4 h 236"/>
                <a:gd name="T4" fmla="*/ 4 w 130"/>
                <a:gd name="T5" fmla="*/ 4 h 236"/>
                <a:gd name="T6" fmla="*/ 4 w 130"/>
                <a:gd name="T7" fmla="*/ 20 h 236"/>
                <a:gd name="T8" fmla="*/ 103 w 130"/>
                <a:gd name="T9" fmla="*/ 119 h 236"/>
                <a:gd name="T10" fmla="*/ 4 w 130"/>
                <a:gd name="T11" fmla="*/ 218 h 236"/>
                <a:gd name="T12" fmla="*/ 4 w 130"/>
                <a:gd name="T13" fmla="*/ 233 h 236"/>
                <a:gd name="T14" fmla="*/ 11 w 130"/>
                <a:gd name="T15" fmla="*/ 236 h 236"/>
                <a:gd name="T16" fmla="*/ 19 w 130"/>
                <a:gd name="T17" fmla="*/ 233 h 236"/>
                <a:gd name="T18" fmla="*/ 126 w 130"/>
                <a:gd name="T19" fmla="*/ 126 h 236"/>
                <a:gd name="T20" fmla="*/ 126 w 130"/>
                <a:gd name="T2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111"/>
                  </a:moveTo>
                  <a:cubicBezTo>
                    <a:pt x="19" y="4"/>
                    <a:pt x="19" y="4"/>
                    <a:pt x="19" y="4"/>
                  </a:cubicBezTo>
                  <a:cubicBezTo>
                    <a:pt x="15" y="0"/>
                    <a:pt x="8" y="0"/>
                    <a:pt x="4" y="4"/>
                  </a:cubicBezTo>
                  <a:cubicBezTo>
                    <a:pt x="0" y="9"/>
                    <a:pt x="0" y="15"/>
                    <a:pt x="4" y="20"/>
                  </a:cubicBezTo>
                  <a:cubicBezTo>
                    <a:pt x="103" y="119"/>
                    <a:pt x="103" y="119"/>
                    <a:pt x="103" y="119"/>
                  </a:cubicBezTo>
                  <a:cubicBezTo>
                    <a:pt x="4" y="218"/>
                    <a:pt x="4" y="218"/>
                    <a:pt x="4" y="218"/>
                  </a:cubicBezTo>
                  <a:cubicBezTo>
                    <a:pt x="0" y="222"/>
                    <a:pt x="0" y="229"/>
                    <a:pt x="4" y="233"/>
                  </a:cubicBezTo>
                  <a:cubicBezTo>
                    <a:pt x="6" y="235"/>
                    <a:pt x="9" y="236"/>
                    <a:pt x="11" y="236"/>
                  </a:cubicBezTo>
                  <a:cubicBezTo>
                    <a:pt x="14" y="236"/>
                    <a:pt x="17" y="235"/>
                    <a:pt x="19" y="233"/>
                  </a:cubicBezTo>
                  <a:cubicBezTo>
                    <a:pt x="126" y="126"/>
                    <a:pt x="126" y="126"/>
                    <a:pt x="126" y="126"/>
                  </a:cubicBezTo>
                  <a:cubicBezTo>
                    <a:pt x="130" y="122"/>
                    <a:pt x="130" y="115"/>
                    <a:pt x="126" y="1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74"/>
            <p:cNvSpPr>
              <a:spLocks/>
            </p:cNvSpPr>
            <p:nvPr/>
          </p:nvSpPr>
          <p:spPr bwMode="auto">
            <a:xfrm>
              <a:off x="2309" y="97"/>
              <a:ext cx="86" cy="157"/>
            </a:xfrm>
            <a:custGeom>
              <a:avLst/>
              <a:gdLst>
                <a:gd name="T0" fmla="*/ 126 w 130"/>
                <a:gd name="T1" fmla="*/ 4 h 236"/>
                <a:gd name="T2" fmla="*/ 110 w 130"/>
                <a:gd name="T3" fmla="*/ 4 h 236"/>
                <a:gd name="T4" fmla="*/ 4 w 130"/>
                <a:gd name="T5" fmla="*/ 111 h 236"/>
                <a:gd name="T6" fmla="*/ 4 w 130"/>
                <a:gd name="T7" fmla="*/ 126 h 236"/>
                <a:gd name="T8" fmla="*/ 110 w 130"/>
                <a:gd name="T9" fmla="*/ 233 h 236"/>
                <a:gd name="T10" fmla="*/ 118 w 130"/>
                <a:gd name="T11" fmla="*/ 236 h 236"/>
                <a:gd name="T12" fmla="*/ 126 w 130"/>
                <a:gd name="T13" fmla="*/ 233 h 236"/>
                <a:gd name="T14" fmla="*/ 126 w 130"/>
                <a:gd name="T15" fmla="*/ 218 h 236"/>
                <a:gd name="T16" fmla="*/ 26 w 130"/>
                <a:gd name="T17" fmla="*/ 119 h 236"/>
                <a:gd name="T18" fmla="*/ 126 w 130"/>
                <a:gd name="T19" fmla="*/ 20 h 236"/>
                <a:gd name="T20" fmla="*/ 126 w 130"/>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4"/>
                  </a:moveTo>
                  <a:cubicBezTo>
                    <a:pt x="121" y="0"/>
                    <a:pt x="115" y="0"/>
                    <a:pt x="110" y="4"/>
                  </a:cubicBezTo>
                  <a:cubicBezTo>
                    <a:pt x="4" y="111"/>
                    <a:pt x="4" y="111"/>
                    <a:pt x="4" y="111"/>
                  </a:cubicBezTo>
                  <a:cubicBezTo>
                    <a:pt x="0" y="115"/>
                    <a:pt x="0" y="122"/>
                    <a:pt x="4" y="126"/>
                  </a:cubicBezTo>
                  <a:cubicBezTo>
                    <a:pt x="110" y="233"/>
                    <a:pt x="110" y="233"/>
                    <a:pt x="110" y="233"/>
                  </a:cubicBezTo>
                  <a:cubicBezTo>
                    <a:pt x="113" y="235"/>
                    <a:pt x="115" y="236"/>
                    <a:pt x="118" y="236"/>
                  </a:cubicBezTo>
                  <a:cubicBezTo>
                    <a:pt x="121" y="236"/>
                    <a:pt x="123" y="235"/>
                    <a:pt x="126" y="233"/>
                  </a:cubicBezTo>
                  <a:cubicBezTo>
                    <a:pt x="130" y="229"/>
                    <a:pt x="130" y="222"/>
                    <a:pt x="126" y="218"/>
                  </a:cubicBezTo>
                  <a:cubicBezTo>
                    <a:pt x="26" y="119"/>
                    <a:pt x="26" y="119"/>
                    <a:pt x="26" y="119"/>
                  </a:cubicBezTo>
                  <a:cubicBezTo>
                    <a:pt x="126" y="20"/>
                    <a:pt x="126" y="20"/>
                    <a:pt x="126" y="20"/>
                  </a:cubicBezTo>
                  <a:cubicBezTo>
                    <a:pt x="130" y="15"/>
                    <a:pt x="130" y="9"/>
                    <a:pt x="12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75"/>
            <p:cNvSpPr>
              <a:spLocks noEditPoints="1"/>
            </p:cNvSpPr>
            <p:nvPr/>
          </p:nvSpPr>
          <p:spPr bwMode="auto">
            <a:xfrm>
              <a:off x="2246"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3" name="Freeform 79"/>
          <p:cNvSpPr>
            <a:spLocks noChangeAspect="1" noEditPoints="1"/>
          </p:cNvSpPr>
          <p:nvPr/>
        </p:nvSpPr>
        <p:spPr bwMode="auto">
          <a:xfrm>
            <a:off x="1251242"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355 h 512"/>
              <a:gd name="T12" fmla="*/ 221 w 512"/>
              <a:gd name="T13" fmla="*/ 370 h 512"/>
              <a:gd name="T14" fmla="*/ 213 w 512"/>
              <a:gd name="T15" fmla="*/ 373 h 512"/>
              <a:gd name="T16" fmla="*/ 205 w 512"/>
              <a:gd name="T17" fmla="*/ 370 h 512"/>
              <a:gd name="T18" fmla="*/ 99 w 512"/>
              <a:gd name="T19" fmla="*/ 263 h 512"/>
              <a:gd name="T20" fmla="*/ 99 w 512"/>
              <a:gd name="T21" fmla="*/ 248 h 512"/>
              <a:gd name="T22" fmla="*/ 205 w 512"/>
              <a:gd name="T23" fmla="*/ 141 h 512"/>
              <a:gd name="T24" fmla="*/ 221 w 512"/>
              <a:gd name="T25" fmla="*/ 141 h 512"/>
              <a:gd name="T26" fmla="*/ 221 w 512"/>
              <a:gd name="T27" fmla="*/ 157 h 512"/>
              <a:gd name="T28" fmla="*/ 121 w 512"/>
              <a:gd name="T29" fmla="*/ 256 h 512"/>
              <a:gd name="T30" fmla="*/ 221 w 512"/>
              <a:gd name="T31" fmla="*/ 355 h 512"/>
              <a:gd name="T32" fmla="*/ 413 w 512"/>
              <a:gd name="T33" fmla="*/ 263 h 512"/>
              <a:gd name="T34" fmla="*/ 306 w 512"/>
              <a:gd name="T35" fmla="*/ 370 h 512"/>
              <a:gd name="T36" fmla="*/ 298 w 512"/>
              <a:gd name="T37" fmla="*/ 373 h 512"/>
              <a:gd name="T38" fmla="*/ 291 w 512"/>
              <a:gd name="T39" fmla="*/ 370 h 512"/>
              <a:gd name="T40" fmla="*/ 291 w 512"/>
              <a:gd name="T41" fmla="*/ 355 h 512"/>
              <a:gd name="T42" fmla="*/ 390 w 512"/>
              <a:gd name="T43" fmla="*/ 256 h 512"/>
              <a:gd name="T44" fmla="*/ 291 w 512"/>
              <a:gd name="T45" fmla="*/ 157 h 512"/>
              <a:gd name="T46" fmla="*/ 291 w 512"/>
              <a:gd name="T47" fmla="*/ 141 h 512"/>
              <a:gd name="T48" fmla="*/ 306 w 512"/>
              <a:gd name="T49" fmla="*/ 141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55"/>
                </a:moveTo>
                <a:cubicBezTo>
                  <a:pt x="225" y="359"/>
                  <a:pt x="225" y="366"/>
                  <a:pt x="221" y="370"/>
                </a:cubicBezTo>
                <a:cubicBezTo>
                  <a:pt x="218" y="372"/>
                  <a:pt x="216" y="373"/>
                  <a:pt x="213" y="373"/>
                </a:cubicBezTo>
                <a:cubicBezTo>
                  <a:pt x="210" y="373"/>
                  <a:pt x="208" y="372"/>
                  <a:pt x="205" y="370"/>
                </a:cubicBezTo>
                <a:cubicBezTo>
                  <a:pt x="99" y="263"/>
                  <a:pt x="99" y="263"/>
                  <a:pt x="99" y="263"/>
                </a:cubicBezTo>
                <a:cubicBezTo>
                  <a:pt x="95" y="259"/>
                  <a:pt x="95" y="252"/>
                  <a:pt x="99" y="248"/>
                </a:cubicBezTo>
                <a:cubicBezTo>
                  <a:pt x="205" y="141"/>
                  <a:pt x="205" y="141"/>
                  <a:pt x="205" y="141"/>
                </a:cubicBezTo>
                <a:cubicBezTo>
                  <a:pt x="210" y="137"/>
                  <a:pt x="216" y="137"/>
                  <a:pt x="221" y="141"/>
                </a:cubicBezTo>
                <a:cubicBezTo>
                  <a:pt x="225" y="146"/>
                  <a:pt x="225" y="152"/>
                  <a:pt x="221" y="157"/>
                </a:cubicBezTo>
                <a:cubicBezTo>
                  <a:pt x="121" y="256"/>
                  <a:pt x="121" y="256"/>
                  <a:pt x="121" y="256"/>
                </a:cubicBezTo>
                <a:lnTo>
                  <a:pt x="221" y="355"/>
                </a:lnTo>
                <a:close/>
                <a:moveTo>
                  <a:pt x="413" y="263"/>
                </a:moveTo>
                <a:cubicBezTo>
                  <a:pt x="306" y="370"/>
                  <a:pt x="306" y="370"/>
                  <a:pt x="306" y="370"/>
                </a:cubicBezTo>
                <a:cubicBezTo>
                  <a:pt x="304" y="372"/>
                  <a:pt x="301" y="373"/>
                  <a:pt x="298" y="373"/>
                </a:cubicBezTo>
                <a:cubicBezTo>
                  <a:pt x="296" y="373"/>
                  <a:pt x="293" y="372"/>
                  <a:pt x="291" y="370"/>
                </a:cubicBezTo>
                <a:cubicBezTo>
                  <a:pt x="287" y="366"/>
                  <a:pt x="287" y="359"/>
                  <a:pt x="291" y="355"/>
                </a:cubicBezTo>
                <a:cubicBezTo>
                  <a:pt x="390" y="256"/>
                  <a:pt x="390" y="256"/>
                  <a:pt x="390" y="256"/>
                </a:cubicBezTo>
                <a:cubicBezTo>
                  <a:pt x="291" y="157"/>
                  <a:pt x="291" y="157"/>
                  <a:pt x="291" y="157"/>
                </a:cubicBezTo>
                <a:cubicBezTo>
                  <a:pt x="287" y="152"/>
                  <a:pt x="287" y="146"/>
                  <a:pt x="291" y="141"/>
                </a:cubicBezTo>
                <a:cubicBezTo>
                  <a:pt x="295" y="137"/>
                  <a:pt x="302" y="137"/>
                  <a:pt x="306" y="141"/>
                </a:cubicBezTo>
                <a:cubicBezTo>
                  <a:pt x="413" y="248"/>
                  <a:pt x="413" y="248"/>
                  <a:pt x="413" y="248"/>
                </a:cubicBezTo>
                <a:cubicBezTo>
                  <a:pt x="417" y="252"/>
                  <a:pt x="417" y="259"/>
                  <a:pt x="413" y="26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4" name="Group 82"/>
          <p:cNvGrpSpPr>
            <a:grpSpLocks noChangeAspect="1"/>
          </p:cNvGrpSpPr>
          <p:nvPr/>
        </p:nvGrpSpPr>
        <p:grpSpPr bwMode="auto">
          <a:xfrm>
            <a:off x="828821" y="3365814"/>
            <a:ext cx="369676" cy="369676"/>
            <a:chOff x="1539" y="0"/>
            <a:chExt cx="340" cy="340"/>
          </a:xfrm>
          <a:solidFill>
            <a:schemeClr val="accent1"/>
          </a:solidFill>
        </p:grpSpPr>
        <p:sp>
          <p:nvSpPr>
            <p:cNvPr id="325" name="Freeform 83"/>
            <p:cNvSpPr>
              <a:spLocks/>
            </p:cNvSpPr>
            <p:nvPr/>
          </p:nvSpPr>
          <p:spPr bwMode="auto">
            <a:xfrm>
              <a:off x="1659" y="63"/>
              <a:ext cx="114" cy="213"/>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Freeform 84"/>
            <p:cNvSpPr>
              <a:spLocks noEditPoints="1"/>
            </p:cNvSpPr>
            <p:nvPr/>
          </p:nvSpPr>
          <p:spPr bwMode="auto">
            <a:xfrm>
              <a:off x="1539"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7" name="Freeform 88"/>
          <p:cNvSpPr>
            <a:spLocks noChangeAspect="1" noEditPoints="1"/>
          </p:cNvSpPr>
          <p:nvPr/>
        </p:nvSpPr>
        <p:spPr bwMode="auto">
          <a:xfrm>
            <a:off x="406400"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8" name="Group 91"/>
          <p:cNvGrpSpPr>
            <a:grpSpLocks noChangeAspect="1"/>
          </p:cNvGrpSpPr>
          <p:nvPr/>
        </p:nvGrpSpPr>
        <p:grpSpPr bwMode="auto">
          <a:xfrm>
            <a:off x="8402939" y="2533203"/>
            <a:ext cx="369676" cy="369676"/>
            <a:chOff x="805" y="6"/>
            <a:chExt cx="340" cy="340"/>
          </a:xfrm>
          <a:solidFill>
            <a:schemeClr val="accent1"/>
          </a:solidFill>
        </p:grpSpPr>
        <p:sp>
          <p:nvSpPr>
            <p:cNvPr id="329" name="Freeform 328"/>
            <p:cNvSpPr>
              <a:spLocks/>
            </p:cNvSpPr>
            <p:nvPr/>
          </p:nvSpPr>
          <p:spPr bwMode="auto">
            <a:xfrm>
              <a:off x="911" y="69"/>
              <a:ext cx="114" cy="213"/>
            </a:xfrm>
            <a:custGeom>
              <a:avLst/>
              <a:gdLst>
                <a:gd name="T0" fmla="*/ 161 w 172"/>
                <a:gd name="T1" fmla="*/ 321 h 321"/>
                <a:gd name="T2" fmla="*/ 153 w 172"/>
                <a:gd name="T3" fmla="*/ 318 h 321"/>
                <a:gd name="T4" fmla="*/ 4 w 172"/>
                <a:gd name="T5" fmla="*/ 168 h 321"/>
                <a:gd name="T6" fmla="*/ 4 w 172"/>
                <a:gd name="T7" fmla="*/ 153 h 321"/>
                <a:gd name="T8" fmla="*/ 153 w 172"/>
                <a:gd name="T9" fmla="*/ 4 h 321"/>
                <a:gd name="T10" fmla="*/ 168 w 172"/>
                <a:gd name="T11" fmla="*/ 4 h 321"/>
                <a:gd name="T12" fmla="*/ 168 w 172"/>
                <a:gd name="T13" fmla="*/ 19 h 321"/>
                <a:gd name="T14" fmla="*/ 26 w 172"/>
                <a:gd name="T15" fmla="*/ 161 h 321"/>
                <a:gd name="T16" fmla="*/ 168 w 172"/>
                <a:gd name="T17" fmla="*/ 302 h 321"/>
                <a:gd name="T18" fmla="*/ 168 w 172"/>
                <a:gd name="T19" fmla="*/ 318 h 321"/>
                <a:gd name="T20" fmla="*/ 161 w 172"/>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321">
                  <a:moveTo>
                    <a:pt x="161" y="321"/>
                  </a:moveTo>
                  <a:cubicBezTo>
                    <a:pt x="158" y="321"/>
                    <a:pt x="155" y="320"/>
                    <a:pt x="153" y="318"/>
                  </a:cubicBezTo>
                  <a:cubicBezTo>
                    <a:pt x="4" y="168"/>
                    <a:pt x="4" y="168"/>
                    <a:pt x="4" y="168"/>
                  </a:cubicBezTo>
                  <a:cubicBezTo>
                    <a:pt x="0" y="164"/>
                    <a:pt x="0" y="157"/>
                    <a:pt x="4" y="153"/>
                  </a:cubicBezTo>
                  <a:cubicBezTo>
                    <a:pt x="153" y="4"/>
                    <a:pt x="153" y="4"/>
                    <a:pt x="153" y="4"/>
                  </a:cubicBezTo>
                  <a:cubicBezTo>
                    <a:pt x="157" y="0"/>
                    <a:pt x="164" y="0"/>
                    <a:pt x="168" y="4"/>
                  </a:cubicBezTo>
                  <a:cubicBezTo>
                    <a:pt x="172" y="8"/>
                    <a:pt x="172" y="15"/>
                    <a:pt x="168" y="19"/>
                  </a:cubicBezTo>
                  <a:cubicBezTo>
                    <a:pt x="26" y="161"/>
                    <a:pt x="26" y="161"/>
                    <a:pt x="26" y="161"/>
                  </a:cubicBezTo>
                  <a:cubicBezTo>
                    <a:pt x="168" y="302"/>
                    <a:pt x="168" y="302"/>
                    <a:pt x="168" y="302"/>
                  </a:cubicBezTo>
                  <a:cubicBezTo>
                    <a:pt x="172" y="307"/>
                    <a:pt x="172" y="313"/>
                    <a:pt x="168" y="318"/>
                  </a:cubicBezTo>
                  <a:cubicBezTo>
                    <a:pt x="166" y="320"/>
                    <a:pt x="163" y="321"/>
                    <a:pt x="161" y="3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329"/>
            <p:cNvSpPr>
              <a:spLocks noEditPoints="1"/>
            </p:cNvSpPr>
            <p:nvPr/>
          </p:nvSpPr>
          <p:spPr bwMode="auto">
            <a:xfrm>
              <a:off x="80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1" name="Freeform 97"/>
          <p:cNvSpPr>
            <a:spLocks noChangeAspect="1" noEditPoints="1"/>
          </p:cNvSpPr>
          <p:nvPr/>
        </p:nvSpPr>
        <p:spPr bwMode="auto">
          <a:xfrm>
            <a:off x="7980777" y="2533203"/>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2" name="Freeform 383"/>
          <p:cNvSpPr>
            <a:spLocks noChangeAspect="1" noEditPoints="1"/>
          </p:cNvSpPr>
          <p:nvPr/>
        </p:nvSpPr>
        <p:spPr bwMode="auto">
          <a:xfrm>
            <a:off x="4626420" y="33658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31 h 512"/>
              <a:gd name="T12" fmla="*/ 224 w 512"/>
              <a:gd name="T13" fmla="*/ 234 h 512"/>
              <a:gd name="T14" fmla="*/ 216 w 512"/>
              <a:gd name="T15" fmla="*/ 231 h 512"/>
              <a:gd name="T16" fmla="*/ 160 w 512"/>
              <a:gd name="T17" fmla="*/ 175 h 512"/>
              <a:gd name="T18" fmla="*/ 160 w 512"/>
              <a:gd name="T19" fmla="*/ 213 h 512"/>
              <a:gd name="T20" fmla="*/ 149 w 512"/>
              <a:gd name="T21" fmla="*/ 224 h 512"/>
              <a:gd name="T22" fmla="*/ 138 w 512"/>
              <a:gd name="T23" fmla="*/ 213 h 512"/>
              <a:gd name="T24" fmla="*/ 138 w 512"/>
              <a:gd name="T25" fmla="*/ 149 h 512"/>
              <a:gd name="T26" fmla="*/ 145 w 512"/>
              <a:gd name="T27" fmla="*/ 139 h 512"/>
              <a:gd name="T28" fmla="*/ 149 w 512"/>
              <a:gd name="T29" fmla="*/ 138 h 512"/>
              <a:gd name="T30" fmla="*/ 213 w 512"/>
              <a:gd name="T31" fmla="*/ 138 h 512"/>
              <a:gd name="T32" fmla="*/ 224 w 512"/>
              <a:gd name="T33" fmla="*/ 149 h 512"/>
              <a:gd name="T34" fmla="*/ 213 w 512"/>
              <a:gd name="T35" fmla="*/ 160 h 512"/>
              <a:gd name="T36" fmla="*/ 175 w 512"/>
              <a:gd name="T37" fmla="*/ 160 h 512"/>
              <a:gd name="T38" fmla="*/ 231 w 512"/>
              <a:gd name="T39" fmla="*/ 216 h 512"/>
              <a:gd name="T40" fmla="*/ 231 w 512"/>
              <a:gd name="T41" fmla="*/ 231 h 512"/>
              <a:gd name="T42" fmla="*/ 373 w 512"/>
              <a:gd name="T43" fmla="*/ 362 h 512"/>
              <a:gd name="T44" fmla="*/ 366 w 512"/>
              <a:gd name="T45" fmla="*/ 372 h 512"/>
              <a:gd name="T46" fmla="*/ 362 w 512"/>
              <a:gd name="T47" fmla="*/ 373 h 512"/>
              <a:gd name="T48" fmla="*/ 298 w 512"/>
              <a:gd name="T49" fmla="*/ 373 h 512"/>
              <a:gd name="T50" fmla="*/ 288 w 512"/>
              <a:gd name="T51" fmla="*/ 362 h 512"/>
              <a:gd name="T52" fmla="*/ 298 w 512"/>
              <a:gd name="T53" fmla="*/ 352 h 512"/>
              <a:gd name="T54" fmla="*/ 337 w 512"/>
              <a:gd name="T55" fmla="*/ 352 h 512"/>
              <a:gd name="T56" fmla="*/ 280 w 512"/>
              <a:gd name="T57" fmla="*/ 295 h 512"/>
              <a:gd name="T58" fmla="*/ 280 w 512"/>
              <a:gd name="T59" fmla="*/ 280 h 512"/>
              <a:gd name="T60" fmla="*/ 288 w 512"/>
              <a:gd name="T61" fmla="*/ 277 h 512"/>
              <a:gd name="T62" fmla="*/ 295 w 512"/>
              <a:gd name="T63" fmla="*/ 280 h 512"/>
              <a:gd name="T64" fmla="*/ 352 w 512"/>
              <a:gd name="T65" fmla="*/ 337 h 512"/>
              <a:gd name="T66" fmla="*/ 352 w 512"/>
              <a:gd name="T67" fmla="*/ 298 h 512"/>
              <a:gd name="T68" fmla="*/ 362 w 512"/>
              <a:gd name="T69" fmla="*/ 288 h 512"/>
              <a:gd name="T70" fmla="*/ 373 w 512"/>
              <a:gd name="T71" fmla="*/ 298 h 512"/>
              <a:gd name="T72" fmla="*/ 373 w 512"/>
              <a:gd name="T7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31"/>
                </a:moveTo>
                <a:cubicBezTo>
                  <a:pt x="229" y="233"/>
                  <a:pt x="226" y="234"/>
                  <a:pt x="224" y="234"/>
                </a:cubicBezTo>
                <a:cubicBezTo>
                  <a:pt x="221" y="234"/>
                  <a:pt x="218" y="233"/>
                  <a:pt x="216" y="231"/>
                </a:cubicBezTo>
                <a:cubicBezTo>
                  <a:pt x="160" y="175"/>
                  <a:pt x="160" y="175"/>
                  <a:pt x="160" y="175"/>
                </a:cubicBezTo>
                <a:cubicBezTo>
                  <a:pt x="160" y="213"/>
                  <a:pt x="160" y="213"/>
                  <a:pt x="160" y="213"/>
                </a:cubicBezTo>
                <a:cubicBezTo>
                  <a:pt x="160" y="219"/>
                  <a:pt x="155" y="224"/>
                  <a:pt x="149" y="224"/>
                </a:cubicBezTo>
                <a:cubicBezTo>
                  <a:pt x="143" y="224"/>
                  <a:pt x="138" y="219"/>
                  <a:pt x="138" y="213"/>
                </a:cubicBezTo>
                <a:cubicBezTo>
                  <a:pt x="138" y="149"/>
                  <a:pt x="138" y="149"/>
                  <a:pt x="138" y="149"/>
                </a:cubicBezTo>
                <a:cubicBezTo>
                  <a:pt x="138" y="145"/>
                  <a:pt x="141" y="141"/>
                  <a:pt x="145" y="139"/>
                </a:cubicBezTo>
                <a:cubicBezTo>
                  <a:pt x="146" y="139"/>
                  <a:pt x="148" y="138"/>
                  <a:pt x="149" y="138"/>
                </a:cubicBezTo>
                <a:cubicBezTo>
                  <a:pt x="213" y="138"/>
                  <a:pt x="213" y="138"/>
                  <a:pt x="213" y="138"/>
                </a:cubicBezTo>
                <a:cubicBezTo>
                  <a:pt x="219" y="138"/>
                  <a:pt x="224" y="143"/>
                  <a:pt x="224" y="149"/>
                </a:cubicBezTo>
                <a:cubicBezTo>
                  <a:pt x="224" y="155"/>
                  <a:pt x="219" y="160"/>
                  <a:pt x="213" y="160"/>
                </a:cubicBezTo>
                <a:cubicBezTo>
                  <a:pt x="175" y="160"/>
                  <a:pt x="175" y="160"/>
                  <a:pt x="175" y="160"/>
                </a:cubicBezTo>
                <a:cubicBezTo>
                  <a:pt x="231" y="216"/>
                  <a:pt x="231" y="216"/>
                  <a:pt x="231" y="216"/>
                </a:cubicBezTo>
                <a:cubicBezTo>
                  <a:pt x="235" y="220"/>
                  <a:pt x="235" y="227"/>
                  <a:pt x="231" y="231"/>
                </a:cubicBezTo>
                <a:close/>
                <a:moveTo>
                  <a:pt x="373" y="362"/>
                </a:moveTo>
                <a:cubicBezTo>
                  <a:pt x="373" y="367"/>
                  <a:pt x="370" y="371"/>
                  <a:pt x="366" y="372"/>
                </a:cubicBezTo>
                <a:cubicBezTo>
                  <a:pt x="365" y="373"/>
                  <a:pt x="364" y="373"/>
                  <a:pt x="362" y="373"/>
                </a:cubicBezTo>
                <a:cubicBezTo>
                  <a:pt x="298" y="373"/>
                  <a:pt x="298" y="373"/>
                  <a:pt x="298" y="373"/>
                </a:cubicBezTo>
                <a:cubicBezTo>
                  <a:pt x="292" y="373"/>
                  <a:pt x="288" y="368"/>
                  <a:pt x="288" y="362"/>
                </a:cubicBezTo>
                <a:cubicBezTo>
                  <a:pt x="288" y="356"/>
                  <a:pt x="292" y="352"/>
                  <a:pt x="298" y="352"/>
                </a:cubicBezTo>
                <a:cubicBezTo>
                  <a:pt x="337" y="352"/>
                  <a:pt x="337" y="352"/>
                  <a:pt x="337" y="352"/>
                </a:cubicBezTo>
                <a:cubicBezTo>
                  <a:pt x="280" y="295"/>
                  <a:pt x="280" y="295"/>
                  <a:pt x="280" y="295"/>
                </a:cubicBezTo>
                <a:cubicBezTo>
                  <a:pt x="276" y="291"/>
                  <a:pt x="276" y="284"/>
                  <a:pt x="280" y="280"/>
                </a:cubicBezTo>
                <a:cubicBezTo>
                  <a:pt x="282" y="278"/>
                  <a:pt x="285" y="277"/>
                  <a:pt x="288" y="277"/>
                </a:cubicBezTo>
                <a:cubicBezTo>
                  <a:pt x="290" y="277"/>
                  <a:pt x="293" y="278"/>
                  <a:pt x="295" y="280"/>
                </a:cubicBezTo>
                <a:cubicBezTo>
                  <a:pt x="352" y="337"/>
                  <a:pt x="352" y="337"/>
                  <a:pt x="352" y="337"/>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3" name="Group 386"/>
          <p:cNvGrpSpPr>
            <a:grpSpLocks noChangeAspect="1"/>
          </p:cNvGrpSpPr>
          <p:nvPr/>
        </p:nvGrpSpPr>
        <p:grpSpPr bwMode="auto">
          <a:xfrm>
            <a:off x="5046206" y="3365814"/>
            <a:ext cx="367041" cy="367041"/>
            <a:chOff x="1863" y="1867"/>
            <a:chExt cx="340" cy="340"/>
          </a:xfrm>
          <a:solidFill>
            <a:schemeClr val="accent5"/>
          </a:solidFill>
        </p:grpSpPr>
        <p:sp>
          <p:nvSpPr>
            <p:cNvPr id="334" name="Freeform 387"/>
            <p:cNvSpPr>
              <a:spLocks noEditPoints="1"/>
            </p:cNvSpPr>
            <p:nvPr/>
          </p:nvSpPr>
          <p:spPr bwMode="auto">
            <a:xfrm>
              <a:off x="1863" y="18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388"/>
            <p:cNvSpPr>
              <a:spLocks noEditPoints="1"/>
            </p:cNvSpPr>
            <p:nvPr/>
          </p:nvSpPr>
          <p:spPr bwMode="auto">
            <a:xfrm>
              <a:off x="1955" y="1959"/>
              <a:ext cx="156" cy="156"/>
            </a:xfrm>
            <a:custGeom>
              <a:avLst/>
              <a:gdLst>
                <a:gd name="T0" fmla="*/ 235 w 235"/>
                <a:gd name="T1" fmla="*/ 160 h 235"/>
                <a:gd name="T2" fmla="*/ 235 w 235"/>
                <a:gd name="T3" fmla="*/ 224 h 235"/>
                <a:gd name="T4" fmla="*/ 228 w 235"/>
                <a:gd name="T5" fmla="*/ 234 h 235"/>
                <a:gd name="T6" fmla="*/ 224 w 235"/>
                <a:gd name="T7" fmla="*/ 235 h 235"/>
                <a:gd name="T8" fmla="*/ 160 w 235"/>
                <a:gd name="T9" fmla="*/ 235 h 235"/>
                <a:gd name="T10" fmla="*/ 150 w 235"/>
                <a:gd name="T11" fmla="*/ 224 h 235"/>
                <a:gd name="T12" fmla="*/ 160 w 235"/>
                <a:gd name="T13" fmla="*/ 214 h 235"/>
                <a:gd name="T14" fmla="*/ 199 w 235"/>
                <a:gd name="T15" fmla="*/ 214 h 235"/>
                <a:gd name="T16" fmla="*/ 142 w 235"/>
                <a:gd name="T17" fmla="*/ 157 h 235"/>
                <a:gd name="T18" fmla="*/ 142 w 235"/>
                <a:gd name="T19" fmla="*/ 142 h 235"/>
                <a:gd name="T20" fmla="*/ 150 w 235"/>
                <a:gd name="T21" fmla="*/ 139 h 235"/>
                <a:gd name="T22" fmla="*/ 157 w 235"/>
                <a:gd name="T23" fmla="*/ 142 h 235"/>
                <a:gd name="T24" fmla="*/ 214 w 235"/>
                <a:gd name="T25" fmla="*/ 199 h 235"/>
                <a:gd name="T26" fmla="*/ 214 w 235"/>
                <a:gd name="T27" fmla="*/ 160 h 235"/>
                <a:gd name="T28" fmla="*/ 224 w 235"/>
                <a:gd name="T29" fmla="*/ 150 h 235"/>
                <a:gd name="T30" fmla="*/ 235 w 235"/>
                <a:gd name="T31" fmla="*/ 160 h 235"/>
                <a:gd name="T32" fmla="*/ 37 w 235"/>
                <a:gd name="T33" fmla="*/ 22 h 235"/>
                <a:gd name="T34" fmla="*/ 75 w 235"/>
                <a:gd name="T35" fmla="*/ 22 h 235"/>
                <a:gd name="T36" fmla="*/ 86 w 235"/>
                <a:gd name="T37" fmla="*/ 11 h 235"/>
                <a:gd name="T38" fmla="*/ 75 w 235"/>
                <a:gd name="T39" fmla="*/ 0 h 235"/>
                <a:gd name="T40" fmla="*/ 11 w 235"/>
                <a:gd name="T41" fmla="*/ 0 h 235"/>
                <a:gd name="T42" fmla="*/ 7 w 235"/>
                <a:gd name="T43" fmla="*/ 1 h 235"/>
                <a:gd name="T44" fmla="*/ 0 w 235"/>
                <a:gd name="T45" fmla="*/ 11 h 235"/>
                <a:gd name="T46" fmla="*/ 0 w 235"/>
                <a:gd name="T47" fmla="*/ 75 h 235"/>
                <a:gd name="T48" fmla="*/ 11 w 235"/>
                <a:gd name="T49" fmla="*/ 86 h 235"/>
                <a:gd name="T50" fmla="*/ 22 w 235"/>
                <a:gd name="T51" fmla="*/ 75 h 235"/>
                <a:gd name="T52" fmla="*/ 22 w 235"/>
                <a:gd name="T53" fmla="*/ 37 h 235"/>
                <a:gd name="T54" fmla="*/ 78 w 235"/>
                <a:gd name="T55" fmla="*/ 93 h 235"/>
                <a:gd name="T56" fmla="*/ 86 w 235"/>
                <a:gd name="T57" fmla="*/ 96 h 235"/>
                <a:gd name="T58" fmla="*/ 93 w 235"/>
                <a:gd name="T59" fmla="*/ 93 h 235"/>
                <a:gd name="T60" fmla="*/ 93 w 235"/>
                <a:gd name="T61" fmla="*/ 78 h 235"/>
                <a:gd name="T62" fmla="*/ 37 w 235"/>
                <a:gd name="T63"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5" h="235">
                  <a:moveTo>
                    <a:pt x="235" y="160"/>
                  </a:moveTo>
                  <a:cubicBezTo>
                    <a:pt x="235" y="224"/>
                    <a:pt x="235" y="224"/>
                    <a:pt x="235" y="224"/>
                  </a:cubicBezTo>
                  <a:cubicBezTo>
                    <a:pt x="235" y="229"/>
                    <a:pt x="232" y="233"/>
                    <a:pt x="228" y="234"/>
                  </a:cubicBezTo>
                  <a:cubicBezTo>
                    <a:pt x="227" y="235"/>
                    <a:pt x="226" y="235"/>
                    <a:pt x="224" y="235"/>
                  </a:cubicBezTo>
                  <a:cubicBezTo>
                    <a:pt x="160" y="235"/>
                    <a:pt x="160" y="235"/>
                    <a:pt x="160" y="235"/>
                  </a:cubicBezTo>
                  <a:cubicBezTo>
                    <a:pt x="154" y="235"/>
                    <a:pt x="150" y="230"/>
                    <a:pt x="150" y="224"/>
                  </a:cubicBezTo>
                  <a:cubicBezTo>
                    <a:pt x="150" y="218"/>
                    <a:pt x="154" y="214"/>
                    <a:pt x="160" y="214"/>
                  </a:cubicBezTo>
                  <a:cubicBezTo>
                    <a:pt x="199" y="214"/>
                    <a:pt x="199" y="214"/>
                    <a:pt x="199" y="214"/>
                  </a:cubicBezTo>
                  <a:cubicBezTo>
                    <a:pt x="142" y="157"/>
                    <a:pt x="142" y="157"/>
                    <a:pt x="142" y="157"/>
                  </a:cubicBezTo>
                  <a:cubicBezTo>
                    <a:pt x="138" y="153"/>
                    <a:pt x="138" y="146"/>
                    <a:pt x="142" y="142"/>
                  </a:cubicBezTo>
                  <a:cubicBezTo>
                    <a:pt x="144" y="140"/>
                    <a:pt x="147" y="139"/>
                    <a:pt x="150" y="139"/>
                  </a:cubicBezTo>
                  <a:cubicBezTo>
                    <a:pt x="152" y="139"/>
                    <a:pt x="155" y="140"/>
                    <a:pt x="157" y="142"/>
                  </a:cubicBezTo>
                  <a:cubicBezTo>
                    <a:pt x="214" y="199"/>
                    <a:pt x="214" y="199"/>
                    <a:pt x="214" y="199"/>
                  </a:cubicBezTo>
                  <a:cubicBezTo>
                    <a:pt x="214" y="160"/>
                    <a:pt x="214" y="160"/>
                    <a:pt x="214" y="160"/>
                  </a:cubicBezTo>
                  <a:cubicBezTo>
                    <a:pt x="214" y="154"/>
                    <a:pt x="218" y="150"/>
                    <a:pt x="224" y="150"/>
                  </a:cubicBezTo>
                  <a:cubicBezTo>
                    <a:pt x="230" y="150"/>
                    <a:pt x="235" y="154"/>
                    <a:pt x="235" y="160"/>
                  </a:cubicBezTo>
                  <a:close/>
                  <a:moveTo>
                    <a:pt x="37" y="22"/>
                  </a:moveTo>
                  <a:cubicBezTo>
                    <a:pt x="75" y="22"/>
                    <a:pt x="75" y="22"/>
                    <a:pt x="75" y="22"/>
                  </a:cubicBezTo>
                  <a:cubicBezTo>
                    <a:pt x="81" y="22"/>
                    <a:pt x="86" y="17"/>
                    <a:pt x="86" y="11"/>
                  </a:cubicBezTo>
                  <a:cubicBezTo>
                    <a:pt x="86" y="5"/>
                    <a:pt x="81" y="0"/>
                    <a:pt x="75" y="0"/>
                  </a:cubicBezTo>
                  <a:cubicBezTo>
                    <a:pt x="11" y="0"/>
                    <a:pt x="11" y="0"/>
                    <a:pt x="11" y="0"/>
                  </a:cubicBezTo>
                  <a:cubicBezTo>
                    <a:pt x="10" y="0"/>
                    <a:pt x="8" y="1"/>
                    <a:pt x="7" y="1"/>
                  </a:cubicBezTo>
                  <a:cubicBezTo>
                    <a:pt x="3" y="3"/>
                    <a:pt x="0" y="7"/>
                    <a:pt x="0" y="11"/>
                  </a:cubicBezTo>
                  <a:cubicBezTo>
                    <a:pt x="0" y="75"/>
                    <a:pt x="0" y="75"/>
                    <a:pt x="0" y="75"/>
                  </a:cubicBezTo>
                  <a:cubicBezTo>
                    <a:pt x="0" y="81"/>
                    <a:pt x="5" y="86"/>
                    <a:pt x="11" y="86"/>
                  </a:cubicBezTo>
                  <a:cubicBezTo>
                    <a:pt x="17" y="86"/>
                    <a:pt x="22" y="81"/>
                    <a:pt x="22" y="75"/>
                  </a:cubicBezTo>
                  <a:cubicBezTo>
                    <a:pt x="22" y="37"/>
                    <a:pt x="22" y="37"/>
                    <a:pt x="22" y="37"/>
                  </a:cubicBezTo>
                  <a:cubicBezTo>
                    <a:pt x="78" y="93"/>
                    <a:pt x="78" y="93"/>
                    <a:pt x="78" y="93"/>
                  </a:cubicBezTo>
                  <a:cubicBezTo>
                    <a:pt x="80" y="95"/>
                    <a:pt x="83" y="96"/>
                    <a:pt x="86" y="96"/>
                  </a:cubicBezTo>
                  <a:cubicBezTo>
                    <a:pt x="88" y="96"/>
                    <a:pt x="91" y="95"/>
                    <a:pt x="93" y="93"/>
                  </a:cubicBezTo>
                  <a:cubicBezTo>
                    <a:pt x="97" y="89"/>
                    <a:pt x="97" y="82"/>
                    <a:pt x="93" y="78"/>
                  </a:cubicBezTo>
                  <a:lnTo>
                    <a:pt x="37"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6" name="Freeform 392"/>
          <p:cNvSpPr>
            <a:spLocks noChangeAspect="1" noEditPoints="1"/>
          </p:cNvSpPr>
          <p:nvPr/>
        </p:nvSpPr>
        <p:spPr bwMode="auto">
          <a:xfrm>
            <a:off x="5465992" y="33658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70 h 512"/>
              <a:gd name="T12" fmla="*/ 263 w 512"/>
              <a:gd name="T13" fmla="*/ 413 h 512"/>
              <a:gd name="T14" fmla="*/ 256 w 512"/>
              <a:gd name="T15" fmla="*/ 416 h 512"/>
              <a:gd name="T16" fmla="*/ 248 w 512"/>
              <a:gd name="T17" fmla="*/ 413 h 512"/>
              <a:gd name="T18" fmla="*/ 205 w 512"/>
              <a:gd name="T19" fmla="*/ 370 h 512"/>
              <a:gd name="T20" fmla="*/ 205 w 512"/>
              <a:gd name="T21" fmla="*/ 355 h 512"/>
              <a:gd name="T22" fmla="*/ 221 w 512"/>
              <a:gd name="T23" fmla="*/ 355 h 512"/>
              <a:gd name="T24" fmla="*/ 245 w 512"/>
              <a:gd name="T25" fmla="*/ 379 h 512"/>
              <a:gd name="T26" fmla="*/ 245 w 512"/>
              <a:gd name="T27" fmla="*/ 298 h 512"/>
              <a:gd name="T28" fmla="*/ 256 w 512"/>
              <a:gd name="T29" fmla="*/ 288 h 512"/>
              <a:gd name="T30" fmla="*/ 266 w 512"/>
              <a:gd name="T31" fmla="*/ 298 h 512"/>
              <a:gd name="T32" fmla="*/ 266 w 512"/>
              <a:gd name="T33" fmla="*/ 379 h 512"/>
              <a:gd name="T34" fmla="*/ 291 w 512"/>
              <a:gd name="T35" fmla="*/ 355 h 512"/>
              <a:gd name="T36" fmla="*/ 306 w 512"/>
              <a:gd name="T37" fmla="*/ 355 h 512"/>
              <a:gd name="T38" fmla="*/ 306 w 512"/>
              <a:gd name="T39" fmla="*/ 370 h 512"/>
              <a:gd name="T40" fmla="*/ 306 w 512"/>
              <a:gd name="T41" fmla="*/ 157 h 512"/>
              <a:gd name="T42" fmla="*/ 298 w 512"/>
              <a:gd name="T43" fmla="*/ 160 h 512"/>
              <a:gd name="T44" fmla="*/ 291 w 512"/>
              <a:gd name="T45" fmla="*/ 157 h 512"/>
              <a:gd name="T46" fmla="*/ 266 w 512"/>
              <a:gd name="T47" fmla="*/ 132 h 512"/>
              <a:gd name="T48" fmla="*/ 266 w 512"/>
              <a:gd name="T49" fmla="*/ 213 h 512"/>
              <a:gd name="T50" fmla="*/ 256 w 512"/>
              <a:gd name="T51" fmla="*/ 224 h 512"/>
              <a:gd name="T52" fmla="*/ 245 w 512"/>
              <a:gd name="T53" fmla="*/ 213 h 512"/>
              <a:gd name="T54" fmla="*/ 245 w 512"/>
              <a:gd name="T55" fmla="*/ 132 h 512"/>
              <a:gd name="T56" fmla="*/ 221 w 512"/>
              <a:gd name="T57" fmla="*/ 157 h 512"/>
              <a:gd name="T58" fmla="*/ 205 w 512"/>
              <a:gd name="T59" fmla="*/ 157 h 512"/>
              <a:gd name="T60" fmla="*/ 205 w 512"/>
              <a:gd name="T61" fmla="*/ 141 h 512"/>
              <a:gd name="T62" fmla="*/ 248 w 512"/>
              <a:gd name="T63" fmla="*/ 99 h 512"/>
              <a:gd name="T64" fmla="*/ 263 w 512"/>
              <a:gd name="T65" fmla="*/ 99 h 512"/>
              <a:gd name="T66" fmla="*/ 306 w 512"/>
              <a:gd name="T67" fmla="*/ 141 h 512"/>
              <a:gd name="T68" fmla="*/ 306 w 512"/>
              <a:gd name="T6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70"/>
                </a:moveTo>
                <a:cubicBezTo>
                  <a:pt x="263" y="413"/>
                  <a:pt x="263" y="413"/>
                  <a:pt x="263" y="413"/>
                </a:cubicBezTo>
                <a:cubicBezTo>
                  <a:pt x="261" y="415"/>
                  <a:pt x="258" y="416"/>
                  <a:pt x="256" y="416"/>
                </a:cubicBezTo>
                <a:cubicBezTo>
                  <a:pt x="253" y="416"/>
                  <a:pt x="250" y="415"/>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98"/>
                  <a:pt x="245" y="298"/>
                  <a:pt x="245" y="298"/>
                </a:cubicBezTo>
                <a:cubicBezTo>
                  <a:pt x="245" y="292"/>
                  <a:pt x="250" y="288"/>
                  <a:pt x="256" y="288"/>
                </a:cubicBezTo>
                <a:cubicBezTo>
                  <a:pt x="262" y="288"/>
                  <a:pt x="266" y="292"/>
                  <a:pt x="266" y="298"/>
                </a:cubicBezTo>
                <a:cubicBezTo>
                  <a:pt x="266" y="379"/>
                  <a:pt x="266" y="379"/>
                  <a:pt x="266" y="379"/>
                </a:cubicBezTo>
                <a:cubicBezTo>
                  <a:pt x="291" y="355"/>
                  <a:pt x="291" y="355"/>
                  <a:pt x="291" y="355"/>
                </a:cubicBezTo>
                <a:cubicBezTo>
                  <a:pt x="295" y="351"/>
                  <a:pt x="302" y="351"/>
                  <a:pt x="306" y="355"/>
                </a:cubicBezTo>
                <a:cubicBezTo>
                  <a:pt x="310" y="359"/>
                  <a:pt x="310" y="366"/>
                  <a:pt x="306" y="370"/>
                </a:cubicBezTo>
                <a:close/>
                <a:moveTo>
                  <a:pt x="306" y="157"/>
                </a:moveTo>
                <a:cubicBezTo>
                  <a:pt x="304" y="159"/>
                  <a:pt x="301" y="160"/>
                  <a:pt x="298" y="160"/>
                </a:cubicBezTo>
                <a:cubicBezTo>
                  <a:pt x="296" y="160"/>
                  <a:pt x="293" y="159"/>
                  <a:pt x="291" y="157"/>
                </a:cubicBezTo>
                <a:cubicBezTo>
                  <a:pt x="266" y="132"/>
                  <a:pt x="266" y="132"/>
                  <a:pt x="266" y="132"/>
                </a:cubicBezTo>
                <a:cubicBezTo>
                  <a:pt x="266" y="213"/>
                  <a:pt x="266" y="213"/>
                  <a:pt x="266" y="213"/>
                </a:cubicBezTo>
                <a:cubicBezTo>
                  <a:pt x="266" y="219"/>
                  <a:pt x="262" y="224"/>
                  <a:pt x="256" y="224"/>
                </a:cubicBezTo>
                <a:cubicBezTo>
                  <a:pt x="250" y="224"/>
                  <a:pt x="245" y="219"/>
                  <a:pt x="245" y="213"/>
                </a:cubicBezTo>
                <a:cubicBezTo>
                  <a:pt x="245" y="132"/>
                  <a:pt x="245" y="132"/>
                  <a:pt x="245" y="132"/>
                </a:cubicBezTo>
                <a:cubicBezTo>
                  <a:pt x="221" y="157"/>
                  <a:pt x="221" y="157"/>
                  <a:pt x="221" y="157"/>
                </a:cubicBezTo>
                <a:cubicBezTo>
                  <a:pt x="216" y="161"/>
                  <a:pt x="210" y="161"/>
                  <a:pt x="205" y="157"/>
                </a:cubicBezTo>
                <a:cubicBezTo>
                  <a:pt x="201" y="152"/>
                  <a:pt x="201" y="146"/>
                  <a:pt x="205" y="141"/>
                </a:cubicBezTo>
                <a:cubicBezTo>
                  <a:pt x="248" y="99"/>
                  <a:pt x="248" y="99"/>
                  <a:pt x="248" y="99"/>
                </a:cubicBezTo>
                <a:cubicBezTo>
                  <a:pt x="252" y="95"/>
                  <a:pt x="259" y="95"/>
                  <a:pt x="263" y="99"/>
                </a:cubicBezTo>
                <a:cubicBezTo>
                  <a:pt x="306" y="141"/>
                  <a:pt x="306" y="141"/>
                  <a:pt x="306" y="141"/>
                </a:cubicBezTo>
                <a:cubicBezTo>
                  <a:pt x="310" y="146"/>
                  <a:pt x="310" y="152"/>
                  <a:pt x="306" y="157"/>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7" name="Group 395"/>
          <p:cNvGrpSpPr>
            <a:grpSpLocks noChangeAspect="1"/>
          </p:cNvGrpSpPr>
          <p:nvPr/>
        </p:nvGrpSpPr>
        <p:grpSpPr bwMode="auto">
          <a:xfrm>
            <a:off x="5885778" y="3365814"/>
            <a:ext cx="367041" cy="367041"/>
            <a:chOff x="2637" y="2053"/>
            <a:chExt cx="340" cy="340"/>
          </a:xfrm>
          <a:solidFill>
            <a:schemeClr val="accent5"/>
          </a:solidFill>
        </p:grpSpPr>
        <p:sp>
          <p:nvSpPr>
            <p:cNvPr id="338" name="Freeform 396"/>
            <p:cNvSpPr>
              <a:spLocks noEditPoints="1"/>
            </p:cNvSpPr>
            <p:nvPr/>
          </p:nvSpPr>
          <p:spPr bwMode="auto">
            <a:xfrm>
              <a:off x="2637" y="20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397"/>
            <p:cNvSpPr>
              <a:spLocks/>
            </p:cNvSpPr>
            <p:nvPr/>
          </p:nvSpPr>
          <p:spPr bwMode="auto">
            <a:xfrm>
              <a:off x="2770" y="2116"/>
              <a:ext cx="73" cy="86"/>
            </a:xfrm>
            <a:custGeom>
              <a:avLst/>
              <a:gdLst>
                <a:gd name="T0" fmla="*/ 20 w 109"/>
                <a:gd name="T1" fmla="*/ 62 h 129"/>
                <a:gd name="T2" fmla="*/ 44 w 109"/>
                <a:gd name="T3" fmla="*/ 37 h 129"/>
                <a:gd name="T4" fmla="*/ 44 w 109"/>
                <a:gd name="T5" fmla="*/ 118 h 129"/>
                <a:gd name="T6" fmla="*/ 55 w 109"/>
                <a:gd name="T7" fmla="*/ 129 h 129"/>
                <a:gd name="T8" fmla="*/ 65 w 109"/>
                <a:gd name="T9" fmla="*/ 118 h 129"/>
                <a:gd name="T10" fmla="*/ 65 w 109"/>
                <a:gd name="T11" fmla="*/ 37 h 129"/>
                <a:gd name="T12" fmla="*/ 90 w 109"/>
                <a:gd name="T13" fmla="*/ 62 h 129"/>
                <a:gd name="T14" fmla="*/ 97 w 109"/>
                <a:gd name="T15" fmla="*/ 65 h 129"/>
                <a:gd name="T16" fmla="*/ 105 w 109"/>
                <a:gd name="T17" fmla="*/ 62 h 129"/>
                <a:gd name="T18" fmla="*/ 105 w 109"/>
                <a:gd name="T19" fmla="*/ 46 h 129"/>
                <a:gd name="T20" fmla="*/ 62 w 109"/>
                <a:gd name="T21" fmla="*/ 4 h 129"/>
                <a:gd name="T22" fmla="*/ 47 w 109"/>
                <a:gd name="T23" fmla="*/ 4 h 129"/>
                <a:gd name="T24" fmla="*/ 4 w 109"/>
                <a:gd name="T25" fmla="*/ 46 h 129"/>
                <a:gd name="T26" fmla="*/ 4 w 109"/>
                <a:gd name="T27" fmla="*/ 62 h 129"/>
                <a:gd name="T28" fmla="*/ 20 w 109"/>
                <a:gd name="T29"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9">
                  <a:moveTo>
                    <a:pt x="20" y="62"/>
                  </a:moveTo>
                  <a:cubicBezTo>
                    <a:pt x="44" y="37"/>
                    <a:pt x="44" y="37"/>
                    <a:pt x="44" y="37"/>
                  </a:cubicBezTo>
                  <a:cubicBezTo>
                    <a:pt x="44" y="118"/>
                    <a:pt x="44" y="118"/>
                    <a:pt x="44" y="118"/>
                  </a:cubicBezTo>
                  <a:cubicBezTo>
                    <a:pt x="44" y="124"/>
                    <a:pt x="49" y="129"/>
                    <a:pt x="55" y="129"/>
                  </a:cubicBezTo>
                  <a:cubicBezTo>
                    <a:pt x="61" y="129"/>
                    <a:pt x="65" y="124"/>
                    <a:pt x="65" y="118"/>
                  </a:cubicBezTo>
                  <a:cubicBezTo>
                    <a:pt x="65" y="37"/>
                    <a:pt x="65" y="37"/>
                    <a:pt x="65" y="37"/>
                  </a:cubicBezTo>
                  <a:cubicBezTo>
                    <a:pt x="90" y="62"/>
                    <a:pt x="90" y="62"/>
                    <a:pt x="90" y="62"/>
                  </a:cubicBezTo>
                  <a:cubicBezTo>
                    <a:pt x="92" y="64"/>
                    <a:pt x="95" y="65"/>
                    <a:pt x="97" y="65"/>
                  </a:cubicBezTo>
                  <a:cubicBezTo>
                    <a:pt x="100" y="65"/>
                    <a:pt x="103" y="64"/>
                    <a:pt x="105" y="62"/>
                  </a:cubicBezTo>
                  <a:cubicBezTo>
                    <a:pt x="109" y="57"/>
                    <a:pt x="109" y="51"/>
                    <a:pt x="105" y="46"/>
                  </a:cubicBezTo>
                  <a:cubicBezTo>
                    <a:pt x="62" y="4"/>
                    <a:pt x="62" y="4"/>
                    <a:pt x="62" y="4"/>
                  </a:cubicBezTo>
                  <a:cubicBezTo>
                    <a:pt x="58" y="0"/>
                    <a:pt x="51" y="0"/>
                    <a:pt x="47" y="4"/>
                  </a:cubicBezTo>
                  <a:cubicBezTo>
                    <a:pt x="4" y="46"/>
                    <a:pt x="4" y="46"/>
                    <a:pt x="4" y="46"/>
                  </a:cubicBezTo>
                  <a:cubicBezTo>
                    <a:pt x="0" y="51"/>
                    <a:pt x="0" y="57"/>
                    <a:pt x="4" y="62"/>
                  </a:cubicBezTo>
                  <a:cubicBezTo>
                    <a:pt x="9" y="66"/>
                    <a:pt x="15" y="66"/>
                    <a:pt x="20"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Freeform 398"/>
            <p:cNvSpPr>
              <a:spLocks/>
            </p:cNvSpPr>
            <p:nvPr/>
          </p:nvSpPr>
          <p:spPr bwMode="auto">
            <a:xfrm>
              <a:off x="2770" y="2244"/>
              <a:ext cx="73" cy="85"/>
            </a:xfrm>
            <a:custGeom>
              <a:avLst/>
              <a:gdLst>
                <a:gd name="T0" fmla="*/ 90 w 109"/>
                <a:gd name="T1" fmla="*/ 67 h 128"/>
                <a:gd name="T2" fmla="*/ 65 w 109"/>
                <a:gd name="T3" fmla="*/ 91 h 128"/>
                <a:gd name="T4" fmla="*/ 65 w 109"/>
                <a:gd name="T5" fmla="*/ 10 h 128"/>
                <a:gd name="T6" fmla="*/ 55 w 109"/>
                <a:gd name="T7" fmla="*/ 0 h 128"/>
                <a:gd name="T8" fmla="*/ 44 w 109"/>
                <a:gd name="T9" fmla="*/ 10 h 128"/>
                <a:gd name="T10" fmla="*/ 44 w 109"/>
                <a:gd name="T11" fmla="*/ 91 h 128"/>
                <a:gd name="T12" fmla="*/ 20 w 109"/>
                <a:gd name="T13" fmla="*/ 67 h 128"/>
                <a:gd name="T14" fmla="*/ 4 w 109"/>
                <a:gd name="T15" fmla="*/ 67 h 128"/>
                <a:gd name="T16" fmla="*/ 4 w 109"/>
                <a:gd name="T17" fmla="*/ 82 h 128"/>
                <a:gd name="T18" fmla="*/ 47 w 109"/>
                <a:gd name="T19" fmla="*/ 125 h 128"/>
                <a:gd name="T20" fmla="*/ 55 w 109"/>
                <a:gd name="T21" fmla="*/ 128 h 128"/>
                <a:gd name="T22" fmla="*/ 62 w 109"/>
                <a:gd name="T23" fmla="*/ 125 h 128"/>
                <a:gd name="T24" fmla="*/ 105 w 109"/>
                <a:gd name="T25" fmla="*/ 82 h 128"/>
                <a:gd name="T26" fmla="*/ 105 w 109"/>
                <a:gd name="T27" fmla="*/ 67 h 128"/>
                <a:gd name="T28" fmla="*/ 90 w 109"/>
                <a:gd name="T29"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8">
                  <a:moveTo>
                    <a:pt x="90" y="67"/>
                  </a:moveTo>
                  <a:cubicBezTo>
                    <a:pt x="65" y="91"/>
                    <a:pt x="65" y="91"/>
                    <a:pt x="65" y="91"/>
                  </a:cubicBezTo>
                  <a:cubicBezTo>
                    <a:pt x="65" y="10"/>
                    <a:pt x="65" y="10"/>
                    <a:pt x="65" y="10"/>
                  </a:cubicBezTo>
                  <a:cubicBezTo>
                    <a:pt x="65" y="4"/>
                    <a:pt x="61" y="0"/>
                    <a:pt x="55" y="0"/>
                  </a:cubicBezTo>
                  <a:cubicBezTo>
                    <a:pt x="49" y="0"/>
                    <a:pt x="44" y="4"/>
                    <a:pt x="44" y="10"/>
                  </a:cubicBezTo>
                  <a:cubicBezTo>
                    <a:pt x="44" y="91"/>
                    <a:pt x="44" y="91"/>
                    <a:pt x="44" y="91"/>
                  </a:cubicBezTo>
                  <a:cubicBezTo>
                    <a:pt x="20" y="67"/>
                    <a:pt x="20" y="67"/>
                    <a:pt x="20" y="67"/>
                  </a:cubicBezTo>
                  <a:cubicBezTo>
                    <a:pt x="15" y="63"/>
                    <a:pt x="9" y="63"/>
                    <a:pt x="4" y="67"/>
                  </a:cubicBezTo>
                  <a:cubicBezTo>
                    <a:pt x="0" y="71"/>
                    <a:pt x="0" y="78"/>
                    <a:pt x="4" y="82"/>
                  </a:cubicBezTo>
                  <a:cubicBezTo>
                    <a:pt x="47" y="125"/>
                    <a:pt x="47" y="125"/>
                    <a:pt x="47" y="125"/>
                  </a:cubicBezTo>
                  <a:cubicBezTo>
                    <a:pt x="49" y="127"/>
                    <a:pt x="52" y="128"/>
                    <a:pt x="55" y="128"/>
                  </a:cubicBezTo>
                  <a:cubicBezTo>
                    <a:pt x="57" y="128"/>
                    <a:pt x="60" y="127"/>
                    <a:pt x="62" y="125"/>
                  </a:cubicBezTo>
                  <a:cubicBezTo>
                    <a:pt x="105" y="82"/>
                    <a:pt x="105" y="82"/>
                    <a:pt x="105" y="82"/>
                  </a:cubicBezTo>
                  <a:cubicBezTo>
                    <a:pt x="109" y="78"/>
                    <a:pt x="109" y="71"/>
                    <a:pt x="105" y="67"/>
                  </a:cubicBezTo>
                  <a:cubicBezTo>
                    <a:pt x="101" y="63"/>
                    <a:pt x="94" y="63"/>
                    <a:pt x="9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1" name="Freeform 402"/>
          <p:cNvSpPr>
            <a:spLocks noChangeAspect="1" noEditPoints="1"/>
          </p:cNvSpPr>
          <p:nvPr/>
        </p:nvSpPr>
        <p:spPr bwMode="auto">
          <a:xfrm>
            <a:off x="6305564" y="33658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95 h 512"/>
              <a:gd name="T12" fmla="*/ 175 w 512"/>
              <a:gd name="T13" fmla="*/ 352 h 512"/>
              <a:gd name="T14" fmla="*/ 213 w 512"/>
              <a:gd name="T15" fmla="*/ 352 h 512"/>
              <a:gd name="T16" fmla="*/ 224 w 512"/>
              <a:gd name="T17" fmla="*/ 362 h 512"/>
              <a:gd name="T18" fmla="*/ 213 w 512"/>
              <a:gd name="T19" fmla="*/ 373 h 512"/>
              <a:gd name="T20" fmla="*/ 149 w 512"/>
              <a:gd name="T21" fmla="*/ 373 h 512"/>
              <a:gd name="T22" fmla="*/ 138 w 512"/>
              <a:gd name="T23" fmla="*/ 362 h 512"/>
              <a:gd name="T24" fmla="*/ 138 w 512"/>
              <a:gd name="T25" fmla="*/ 298 h 512"/>
              <a:gd name="T26" fmla="*/ 149 w 512"/>
              <a:gd name="T27" fmla="*/ 288 h 512"/>
              <a:gd name="T28" fmla="*/ 160 w 512"/>
              <a:gd name="T29" fmla="*/ 298 h 512"/>
              <a:gd name="T30" fmla="*/ 160 w 512"/>
              <a:gd name="T31" fmla="*/ 337 h 512"/>
              <a:gd name="T32" fmla="*/ 216 w 512"/>
              <a:gd name="T33" fmla="*/ 280 h 512"/>
              <a:gd name="T34" fmla="*/ 231 w 512"/>
              <a:gd name="T35" fmla="*/ 280 h 512"/>
              <a:gd name="T36" fmla="*/ 231 w 512"/>
              <a:gd name="T37" fmla="*/ 295 h 512"/>
              <a:gd name="T38" fmla="*/ 373 w 512"/>
              <a:gd name="T39" fmla="*/ 213 h 512"/>
              <a:gd name="T40" fmla="*/ 362 w 512"/>
              <a:gd name="T41" fmla="*/ 224 h 512"/>
              <a:gd name="T42" fmla="*/ 352 w 512"/>
              <a:gd name="T43" fmla="*/ 213 h 512"/>
              <a:gd name="T44" fmla="*/ 352 w 512"/>
              <a:gd name="T45" fmla="*/ 175 h 512"/>
              <a:gd name="T46" fmla="*/ 295 w 512"/>
              <a:gd name="T47" fmla="*/ 231 h 512"/>
              <a:gd name="T48" fmla="*/ 288 w 512"/>
              <a:gd name="T49" fmla="*/ 234 h 512"/>
              <a:gd name="T50" fmla="*/ 280 w 512"/>
              <a:gd name="T51" fmla="*/ 231 h 512"/>
              <a:gd name="T52" fmla="*/ 280 w 512"/>
              <a:gd name="T53" fmla="*/ 216 h 512"/>
              <a:gd name="T54" fmla="*/ 337 w 512"/>
              <a:gd name="T55" fmla="*/ 160 h 512"/>
              <a:gd name="T56" fmla="*/ 298 w 512"/>
              <a:gd name="T57" fmla="*/ 160 h 512"/>
              <a:gd name="T58" fmla="*/ 288 w 512"/>
              <a:gd name="T59" fmla="*/ 149 h 512"/>
              <a:gd name="T60" fmla="*/ 298 w 512"/>
              <a:gd name="T61" fmla="*/ 138 h 512"/>
              <a:gd name="T62" fmla="*/ 362 w 512"/>
              <a:gd name="T63" fmla="*/ 138 h 512"/>
              <a:gd name="T64" fmla="*/ 366 w 512"/>
              <a:gd name="T65" fmla="*/ 139 h 512"/>
              <a:gd name="T66" fmla="*/ 373 w 512"/>
              <a:gd name="T67" fmla="*/ 149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95"/>
                </a:moveTo>
                <a:cubicBezTo>
                  <a:pt x="175" y="352"/>
                  <a:pt x="175" y="352"/>
                  <a:pt x="175" y="352"/>
                </a:cubicBezTo>
                <a:cubicBezTo>
                  <a:pt x="213" y="352"/>
                  <a:pt x="213" y="352"/>
                  <a:pt x="213" y="352"/>
                </a:cubicBezTo>
                <a:cubicBezTo>
                  <a:pt x="219" y="352"/>
                  <a:pt x="224" y="356"/>
                  <a:pt x="224" y="362"/>
                </a:cubicBezTo>
                <a:cubicBezTo>
                  <a:pt x="224" y="368"/>
                  <a:pt x="219" y="373"/>
                  <a:pt x="213"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37"/>
                  <a:pt x="160" y="337"/>
                  <a:pt x="160" y="337"/>
                </a:cubicBezTo>
                <a:cubicBezTo>
                  <a:pt x="216" y="280"/>
                  <a:pt x="216" y="280"/>
                  <a:pt x="216" y="280"/>
                </a:cubicBezTo>
                <a:cubicBezTo>
                  <a:pt x="220" y="276"/>
                  <a:pt x="227" y="276"/>
                  <a:pt x="231" y="280"/>
                </a:cubicBezTo>
                <a:cubicBezTo>
                  <a:pt x="235" y="284"/>
                  <a:pt x="235" y="291"/>
                  <a:pt x="231" y="295"/>
                </a:cubicBezTo>
                <a:close/>
                <a:moveTo>
                  <a:pt x="373" y="213"/>
                </a:moveTo>
                <a:cubicBezTo>
                  <a:pt x="373" y="219"/>
                  <a:pt x="368" y="224"/>
                  <a:pt x="362" y="224"/>
                </a:cubicBezTo>
                <a:cubicBezTo>
                  <a:pt x="356" y="224"/>
                  <a:pt x="352" y="219"/>
                  <a:pt x="352" y="213"/>
                </a:cubicBezTo>
                <a:cubicBezTo>
                  <a:pt x="352" y="175"/>
                  <a:pt x="352" y="175"/>
                  <a:pt x="352" y="175"/>
                </a:cubicBezTo>
                <a:cubicBezTo>
                  <a:pt x="295" y="231"/>
                  <a:pt x="295" y="231"/>
                  <a:pt x="295" y="231"/>
                </a:cubicBezTo>
                <a:cubicBezTo>
                  <a:pt x="293" y="233"/>
                  <a:pt x="290" y="234"/>
                  <a:pt x="288" y="234"/>
                </a:cubicBezTo>
                <a:cubicBezTo>
                  <a:pt x="285" y="234"/>
                  <a:pt x="282" y="233"/>
                  <a:pt x="280" y="231"/>
                </a:cubicBezTo>
                <a:cubicBezTo>
                  <a:pt x="276" y="227"/>
                  <a:pt x="276" y="220"/>
                  <a:pt x="280" y="216"/>
                </a:cubicBezTo>
                <a:cubicBezTo>
                  <a:pt x="337" y="160"/>
                  <a:pt x="337" y="160"/>
                  <a:pt x="337" y="160"/>
                </a:cubicBezTo>
                <a:cubicBezTo>
                  <a:pt x="298" y="160"/>
                  <a:pt x="298" y="160"/>
                  <a:pt x="298" y="160"/>
                </a:cubicBezTo>
                <a:cubicBezTo>
                  <a:pt x="292" y="160"/>
                  <a:pt x="288" y="155"/>
                  <a:pt x="288" y="149"/>
                </a:cubicBezTo>
                <a:cubicBezTo>
                  <a:pt x="288" y="143"/>
                  <a:pt x="292" y="138"/>
                  <a:pt x="298" y="138"/>
                </a:cubicBezTo>
                <a:cubicBezTo>
                  <a:pt x="362" y="138"/>
                  <a:pt x="362" y="138"/>
                  <a:pt x="362" y="138"/>
                </a:cubicBezTo>
                <a:cubicBezTo>
                  <a:pt x="364" y="138"/>
                  <a:pt x="365" y="139"/>
                  <a:pt x="366" y="139"/>
                </a:cubicBezTo>
                <a:cubicBezTo>
                  <a:pt x="370" y="141"/>
                  <a:pt x="373" y="145"/>
                  <a:pt x="373" y="149"/>
                </a:cubicBezTo>
                <a:lnTo>
                  <a:pt x="373" y="21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2" name="Group 405"/>
          <p:cNvGrpSpPr>
            <a:grpSpLocks noChangeAspect="1"/>
          </p:cNvGrpSpPr>
          <p:nvPr/>
        </p:nvGrpSpPr>
        <p:grpSpPr bwMode="auto">
          <a:xfrm>
            <a:off x="6725350" y="3365814"/>
            <a:ext cx="368121" cy="367041"/>
            <a:chOff x="1918" y="1516"/>
            <a:chExt cx="341" cy="340"/>
          </a:xfrm>
          <a:solidFill>
            <a:schemeClr val="accent5"/>
          </a:solidFill>
        </p:grpSpPr>
        <p:sp>
          <p:nvSpPr>
            <p:cNvPr id="343" name="Freeform 406"/>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Freeform 407"/>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408"/>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6" name="Freeform 412"/>
          <p:cNvSpPr>
            <a:spLocks noChangeAspect="1" noEditPoints="1"/>
          </p:cNvSpPr>
          <p:nvPr/>
        </p:nvSpPr>
        <p:spPr bwMode="auto">
          <a:xfrm>
            <a:off x="7146216" y="3365814"/>
            <a:ext cx="367041" cy="368120"/>
          </a:xfrm>
          <a:custGeom>
            <a:avLst/>
            <a:gdLst>
              <a:gd name="T0" fmla="*/ 0 w 512"/>
              <a:gd name="T1" fmla="*/ 256 h 512"/>
              <a:gd name="T2" fmla="*/ 512 w 512"/>
              <a:gd name="T3" fmla="*/ 256 h 512"/>
              <a:gd name="T4" fmla="*/ 232 w 512"/>
              <a:gd name="T5" fmla="*/ 296 h 512"/>
              <a:gd name="T6" fmla="*/ 203 w 512"/>
              <a:gd name="T7" fmla="*/ 352 h 512"/>
              <a:gd name="T8" fmla="*/ 203 w 512"/>
              <a:gd name="T9" fmla="*/ 374 h 512"/>
              <a:gd name="T10" fmla="*/ 139 w 512"/>
              <a:gd name="T11" fmla="*/ 367 h 512"/>
              <a:gd name="T12" fmla="*/ 139 w 512"/>
              <a:gd name="T13" fmla="*/ 363 h 512"/>
              <a:gd name="T14" fmla="*/ 149 w 512"/>
              <a:gd name="T15" fmla="*/ 299 h 512"/>
              <a:gd name="T16" fmla="*/ 160 w 512"/>
              <a:gd name="T17" fmla="*/ 337 h 512"/>
              <a:gd name="T18" fmla="*/ 232 w 512"/>
              <a:gd name="T19" fmla="*/ 281 h 512"/>
              <a:gd name="T20" fmla="*/ 232 w 512"/>
              <a:gd name="T21" fmla="*/ 232 h 512"/>
              <a:gd name="T22" fmla="*/ 216 w 512"/>
              <a:gd name="T23" fmla="*/ 232 h 512"/>
              <a:gd name="T24" fmla="*/ 160 w 512"/>
              <a:gd name="T25" fmla="*/ 203 h 512"/>
              <a:gd name="T26" fmla="*/ 139 w 512"/>
              <a:gd name="T27" fmla="*/ 203 h 512"/>
              <a:gd name="T28" fmla="*/ 145 w 512"/>
              <a:gd name="T29" fmla="*/ 140 h 512"/>
              <a:gd name="T30" fmla="*/ 149 w 512"/>
              <a:gd name="T31" fmla="*/ 139 h 512"/>
              <a:gd name="T32" fmla="*/ 213 w 512"/>
              <a:gd name="T33" fmla="*/ 150 h 512"/>
              <a:gd name="T34" fmla="*/ 175 w 512"/>
              <a:gd name="T35" fmla="*/ 160 h 512"/>
              <a:gd name="T36" fmla="*/ 232 w 512"/>
              <a:gd name="T37" fmla="*/ 232 h 512"/>
              <a:gd name="T38" fmla="*/ 373 w 512"/>
              <a:gd name="T39" fmla="*/ 363 h 512"/>
              <a:gd name="T40" fmla="*/ 363 w 512"/>
              <a:gd name="T41" fmla="*/ 374 h 512"/>
              <a:gd name="T42" fmla="*/ 299 w 512"/>
              <a:gd name="T43" fmla="*/ 363 h 512"/>
              <a:gd name="T44" fmla="*/ 337 w 512"/>
              <a:gd name="T45" fmla="*/ 352 h 512"/>
              <a:gd name="T46" fmla="*/ 280 w 512"/>
              <a:gd name="T47" fmla="*/ 281 h 512"/>
              <a:gd name="T48" fmla="*/ 352 w 512"/>
              <a:gd name="T49" fmla="*/ 337 h 512"/>
              <a:gd name="T50" fmla="*/ 363 w 512"/>
              <a:gd name="T51" fmla="*/ 299 h 512"/>
              <a:gd name="T52" fmla="*/ 373 w 512"/>
              <a:gd name="T53" fmla="*/ 363 h 512"/>
              <a:gd name="T54" fmla="*/ 363 w 512"/>
              <a:gd name="T55" fmla="*/ 214 h 512"/>
              <a:gd name="T56" fmla="*/ 352 w 512"/>
              <a:gd name="T57" fmla="*/ 175 h 512"/>
              <a:gd name="T58" fmla="*/ 288 w 512"/>
              <a:gd name="T59" fmla="*/ 235 h 512"/>
              <a:gd name="T60" fmla="*/ 280 w 512"/>
              <a:gd name="T61" fmla="*/ 217 h 512"/>
              <a:gd name="T62" fmla="*/ 309 w 512"/>
              <a:gd name="T63" fmla="*/ 160 h 512"/>
              <a:gd name="T64" fmla="*/ 309 w 512"/>
              <a:gd name="T65" fmla="*/ 139 h 512"/>
              <a:gd name="T66" fmla="*/ 363 w 512"/>
              <a:gd name="T67" fmla="*/ 139 h 512"/>
              <a:gd name="T68" fmla="*/ 373 w 512"/>
              <a:gd name="T69"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32" y="296"/>
                </a:moveTo>
                <a:cubicBezTo>
                  <a:pt x="175" y="352"/>
                  <a:pt x="175" y="352"/>
                  <a:pt x="175" y="352"/>
                </a:cubicBezTo>
                <a:cubicBezTo>
                  <a:pt x="203" y="352"/>
                  <a:pt x="203" y="352"/>
                  <a:pt x="203" y="352"/>
                </a:cubicBezTo>
                <a:cubicBezTo>
                  <a:pt x="209" y="352"/>
                  <a:pt x="213" y="357"/>
                  <a:pt x="213" y="363"/>
                </a:cubicBezTo>
                <a:cubicBezTo>
                  <a:pt x="213" y="369"/>
                  <a:pt x="209" y="374"/>
                  <a:pt x="203" y="374"/>
                </a:cubicBezTo>
                <a:cubicBezTo>
                  <a:pt x="149" y="374"/>
                  <a:pt x="149" y="374"/>
                  <a:pt x="149" y="374"/>
                </a:cubicBezTo>
                <a:cubicBezTo>
                  <a:pt x="145" y="374"/>
                  <a:pt x="141" y="371"/>
                  <a:pt x="139" y="367"/>
                </a:cubicBezTo>
                <a:cubicBezTo>
                  <a:pt x="139" y="366"/>
                  <a:pt x="139" y="365"/>
                  <a:pt x="139" y="363"/>
                </a:cubicBezTo>
                <a:cubicBezTo>
                  <a:pt x="139" y="363"/>
                  <a:pt x="139" y="363"/>
                  <a:pt x="139" y="363"/>
                </a:cubicBezTo>
                <a:cubicBezTo>
                  <a:pt x="139" y="310"/>
                  <a:pt x="139" y="310"/>
                  <a:pt x="139" y="310"/>
                </a:cubicBezTo>
                <a:cubicBezTo>
                  <a:pt x="139" y="304"/>
                  <a:pt x="143" y="299"/>
                  <a:pt x="149" y="299"/>
                </a:cubicBezTo>
                <a:cubicBezTo>
                  <a:pt x="155" y="299"/>
                  <a:pt x="160" y="304"/>
                  <a:pt x="160" y="310"/>
                </a:cubicBezTo>
                <a:cubicBezTo>
                  <a:pt x="160" y="337"/>
                  <a:pt x="160" y="337"/>
                  <a:pt x="160" y="337"/>
                </a:cubicBezTo>
                <a:cubicBezTo>
                  <a:pt x="216" y="281"/>
                  <a:pt x="216" y="281"/>
                  <a:pt x="216" y="281"/>
                </a:cubicBezTo>
                <a:cubicBezTo>
                  <a:pt x="221" y="277"/>
                  <a:pt x="227" y="277"/>
                  <a:pt x="232" y="281"/>
                </a:cubicBezTo>
                <a:cubicBezTo>
                  <a:pt x="236" y="285"/>
                  <a:pt x="236" y="292"/>
                  <a:pt x="232" y="296"/>
                </a:cubicBezTo>
                <a:close/>
                <a:moveTo>
                  <a:pt x="232" y="232"/>
                </a:moveTo>
                <a:cubicBezTo>
                  <a:pt x="229" y="234"/>
                  <a:pt x="227" y="235"/>
                  <a:pt x="224" y="235"/>
                </a:cubicBezTo>
                <a:cubicBezTo>
                  <a:pt x="221" y="235"/>
                  <a:pt x="219" y="234"/>
                  <a:pt x="216" y="232"/>
                </a:cubicBezTo>
                <a:cubicBezTo>
                  <a:pt x="160" y="175"/>
                  <a:pt x="160" y="175"/>
                  <a:pt x="160" y="175"/>
                </a:cubicBezTo>
                <a:cubicBezTo>
                  <a:pt x="160" y="203"/>
                  <a:pt x="160" y="203"/>
                  <a:pt x="160" y="203"/>
                </a:cubicBezTo>
                <a:cubicBezTo>
                  <a:pt x="160" y="209"/>
                  <a:pt x="155" y="214"/>
                  <a:pt x="149" y="214"/>
                </a:cubicBezTo>
                <a:cubicBezTo>
                  <a:pt x="143" y="214"/>
                  <a:pt x="139" y="209"/>
                  <a:pt x="139" y="203"/>
                </a:cubicBezTo>
                <a:cubicBezTo>
                  <a:pt x="139" y="150"/>
                  <a:pt x="139" y="150"/>
                  <a:pt x="139" y="150"/>
                </a:cubicBezTo>
                <a:cubicBezTo>
                  <a:pt x="139" y="145"/>
                  <a:pt x="141" y="141"/>
                  <a:pt x="145" y="140"/>
                </a:cubicBezTo>
                <a:cubicBezTo>
                  <a:pt x="147" y="139"/>
                  <a:pt x="148" y="139"/>
                  <a:pt x="149" y="139"/>
                </a:cubicBezTo>
                <a:cubicBezTo>
                  <a:pt x="149" y="139"/>
                  <a:pt x="149" y="139"/>
                  <a:pt x="149" y="139"/>
                </a:cubicBezTo>
                <a:cubicBezTo>
                  <a:pt x="203" y="139"/>
                  <a:pt x="203" y="139"/>
                  <a:pt x="203" y="139"/>
                </a:cubicBezTo>
                <a:cubicBezTo>
                  <a:pt x="209" y="139"/>
                  <a:pt x="213" y="144"/>
                  <a:pt x="213" y="150"/>
                </a:cubicBezTo>
                <a:cubicBezTo>
                  <a:pt x="213" y="156"/>
                  <a:pt x="209" y="160"/>
                  <a:pt x="203" y="160"/>
                </a:cubicBezTo>
                <a:cubicBezTo>
                  <a:pt x="175" y="160"/>
                  <a:pt x="175" y="160"/>
                  <a:pt x="175" y="160"/>
                </a:cubicBezTo>
                <a:cubicBezTo>
                  <a:pt x="232" y="217"/>
                  <a:pt x="232" y="217"/>
                  <a:pt x="232" y="217"/>
                </a:cubicBezTo>
                <a:cubicBezTo>
                  <a:pt x="236" y="221"/>
                  <a:pt x="236" y="228"/>
                  <a:pt x="232" y="232"/>
                </a:cubicBezTo>
                <a:close/>
                <a:moveTo>
                  <a:pt x="373" y="363"/>
                </a:moveTo>
                <a:cubicBezTo>
                  <a:pt x="373" y="363"/>
                  <a:pt x="373" y="363"/>
                  <a:pt x="373" y="363"/>
                </a:cubicBezTo>
                <a:cubicBezTo>
                  <a:pt x="373" y="365"/>
                  <a:pt x="373" y="366"/>
                  <a:pt x="373" y="367"/>
                </a:cubicBezTo>
                <a:cubicBezTo>
                  <a:pt x="371" y="371"/>
                  <a:pt x="367" y="374"/>
                  <a:pt x="363" y="374"/>
                </a:cubicBezTo>
                <a:cubicBezTo>
                  <a:pt x="309" y="374"/>
                  <a:pt x="309" y="374"/>
                  <a:pt x="309" y="374"/>
                </a:cubicBezTo>
                <a:cubicBezTo>
                  <a:pt x="303" y="374"/>
                  <a:pt x="299" y="369"/>
                  <a:pt x="299" y="363"/>
                </a:cubicBezTo>
                <a:cubicBezTo>
                  <a:pt x="299" y="357"/>
                  <a:pt x="303" y="352"/>
                  <a:pt x="309" y="352"/>
                </a:cubicBezTo>
                <a:cubicBezTo>
                  <a:pt x="337" y="352"/>
                  <a:pt x="337" y="352"/>
                  <a:pt x="337" y="352"/>
                </a:cubicBezTo>
                <a:cubicBezTo>
                  <a:pt x="280" y="296"/>
                  <a:pt x="280" y="296"/>
                  <a:pt x="280" y="296"/>
                </a:cubicBezTo>
                <a:cubicBezTo>
                  <a:pt x="276" y="292"/>
                  <a:pt x="276" y="285"/>
                  <a:pt x="280" y="281"/>
                </a:cubicBezTo>
                <a:cubicBezTo>
                  <a:pt x="285" y="277"/>
                  <a:pt x="291" y="277"/>
                  <a:pt x="296" y="281"/>
                </a:cubicBezTo>
                <a:cubicBezTo>
                  <a:pt x="352" y="337"/>
                  <a:pt x="352" y="337"/>
                  <a:pt x="352" y="337"/>
                </a:cubicBezTo>
                <a:cubicBezTo>
                  <a:pt x="352" y="310"/>
                  <a:pt x="352" y="310"/>
                  <a:pt x="352" y="310"/>
                </a:cubicBezTo>
                <a:cubicBezTo>
                  <a:pt x="352" y="304"/>
                  <a:pt x="357" y="299"/>
                  <a:pt x="363" y="299"/>
                </a:cubicBezTo>
                <a:cubicBezTo>
                  <a:pt x="369" y="299"/>
                  <a:pt x="373" y="304"/>
                  <a:pt x="373" y="310"/>
                </a:cubicBezTo>
                <a:lnTo>
                  <a:pt x="373" y="363"/>
                </a:lnTo>
                <a:close/>
                <a:moveTo>
                  <a:pt x="373" y="203"/>
                </a:moveTo>
                <a:cubicBezTo>
                  <a:pt x="373" y="209"/>
                  <a:pt x="369" y="214"/>
                  <a:pt x="363" y="214"/>
                </a:cubicBezTo>
                <a:cubicBezTo>
                  <a:pt x="357" y="214"/>
                  <a:pt x="352" y="209"/>
                  <a:pt x="352" y="203"/>
                </a:cubicBezTo>
                <a:cubicBezTo>
                  <a:pt x="352" y="175"/>
                  <a:pt x="352" y="175"/>
                  <a:pt x="352" y="175"/>
                </a:cubicBezTo>
                <a:cubicBezTo>
                  <a:pt x="296" y="232"/>
                  <a:pt x="296" y="232"/>
                  <a:pt x="296" y="232"/>
                </a:cubicBezTo>
                <a:cubicBezTo>
                  <a:pt x="293" y="234"/>
                  <a:pt x="291" y="235"/>
                  <a:pt x="288" y="235"/>
                </a:cubicBezTo>
                <a:cubicBezTo>
                  <a:pt x="285" y="235"/>
                  <a:pt x="283" y="234"/>
                  <a:pt x="280" y="232"/>
                </a:cubicBezTo>
                <a:cubicBezTo>
                  <a:pt x="276" y="228"/>
                  <a:pt x="276" y="221"/>
                  <a:pt x="280" y="217"/>
                </a:cubicBezTo>
                <a:cubicBezTo>
                  <a:pt x="337" y="160"/>
                  <a:pt x="337" y="160"/>
                  <a:pt x="337" y="160"/>
                </a:cubicBezTo>
                <a:cubicBezTo>
                  <a:pt x="309" y="160"/>
                  <a:pt x="309" y="160"/>
                  <a:pt x="309" y="160"/>
                </a:cubicBezTo>
                <a:cubicBezTo>
                  <a:pt x="303" y="160"/>
                  <a:pt x="299" y="156"/>
                  <a:pt x="299" y="150"/>
                </a:cubicBezTo>
                <a:cubicBezTo>
                  <a:pt x="299" y="144"/>
                  <a:pt x="303" y="139"/>
                  <a:pt x="309" y="139"/>
                </a:cubicBezTo>
                <a:cubicBezTo>
                  <a:pt x="363" y="139"/>
                  <a:pt x="363" y="139"/>
                  <a:pt x="363" y="139"/>
                </a:cubicBezTo>
                <a:cubicBezTo>
                  <a:pt x="363" y="139"/>
                  <a:pt x="363" y="139"/>
                  <a:pt x="363" y="139"/>
                </a:cubicBezTo>
                <a:cubicBezTo>
                  <a:pt x="364" y="139"/>
                  <a:pt x="365" y="139"/>
                  <a:pt x="367" y="140"/>
                </a:cubicBezTo>
                <a:cubicBezTo>
                  <a:pt x="371" y="141"/>
                  <a:pt x="373" y="145"/>
                  <a:pt x="373" y="150"/>
                </a:cubicBezTo>
                <a:lnTo>
                  <a:pt x="373" y="20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7" name="Group 415"/>
          <p:cNvGrpSpPr>
            <a:grpSpLocks noChangeAspect="1"/>
          </p:cNvGrpSpPr>
          <p:nvPr/>
        </p:nvGrpSpPr>
        <p:grpSpPr bwMode="auto">
          <a:xfrm>
            <a:off x="7566002" y="3365814"/>
            <a:ext cx="367041" cy="367041"/>
            <a:chOff x="3342" y="1878"/>
            <a:chExt cx="340" cy="340"/>
          </a:xfrm>
          <a:solidFill>
            <a:schemeClr val="accent5"/>
          </a:solidFill>
        </p:grpSpPr>
        <p:sp>
          <p:nvSpPr>
            <p:cNvPr id="348" name="Freeform 416"/>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417"/>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0" name="Freeform 421"/>
          <p:cNvSpPr>
            <a:spLocks noChangeAspect="1" noEditPoints="1"/>
          </p:cNvSpPr>
          <p:nvPr/>
        </p:nvSpPr>
        <p:spPr bwMode="auto">
          <a:xfrm>
            <a:off x="7985788" y="33658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1" name="Group 424"/>
          <p:cNvGrpSpPr>
            <a:grpSpLocks noChangeAspect="1"/>
          </p:cNvGrpSpPr>
          <p:nvPr/>
        </p:nvGrpSpPr>
        <p:grpSpPr bwMode="auto">
          <a:xfrm>
            <a:off x="8405574" y="3365814"/>
            <a:ext cx="367041" cy="368121"/>
            <a:chOff x="3859" y="1900"/>
            <a:chExt cx="340" cy="341"/>
          </a:xfrm>
          <a:solidFill>
            <a:schemeClr val="accent5"/>
          </a:solidFill>
        </p:grpSpPr>
        <p:sp>
          <p:nvSpPr>
            <p:cNvPr id="352" name="Freeform 425"/>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Freeform 426"/>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4" name="Freeform 268"/>
          <p:cNvSpPr>
            <a:spLocks noChangeAspect="1" noEditPoints="1"/>
          </p:cNvSpPr>
          <p:nvPr/>
        </p:nvSpPr>
        <p:spPr bwMode="auto">
          <a:xfrm>
            <a:off x="1246220" y="41853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24 h 512"/>
              <a:gd name="T12" fmla="*/ 413 w 512"/>
              <a:gd name="T13" fmla="*/ 327 h 512"/>
              <a:gd name="T14" fmla="*/ 370 w 512"/>
              <a:gd name="T15" fmla="*/ 370 h 512"/>
              <a:gd name="T16" fmla="*/ 362 w 512"/>
              <a:gd name="T17" fmla="*/ 373 h 512"/>
              <a:gd name="T18" fmla="*/ 355 w 512"/>
              <a:gd name="T19" fmla="*/ 370 h 512"/>
              <a:gd name="T20" fmla="*/ 355 w 512"/>
              <a:gd name="T21" fmla="*/ 355 h 512"/>
              <a:gd name="T22" fmla="*/ 379 w 512"/>
              <a:gd name="T23" fmla="*/ 330 h 512"/>
              <a:gd name="T24" fmla="*/ 106 w 512"/>
              <a:gd name="T25" fmla="*/ 330 h 512"/>
              <a:gd name="T26" fmla="*/ 96 w 512"/>
              <a:gd name="T27" fmla="*/ 320 h 512"/>
              <a:gd name="T28" fmla="*/ 106 w 512"/>
              <a:gd name="T29" fmla="*/ 309 h 512"/>
              <a:gd name="T30" fmla="*/ 379 w 512"/>
              <a:gd name="T31" fmla="*/ 309 h 512"/>
              <a:gd name="T32" fmla="*/ 355 w 512"/>
              <a:gd name="T33" fmla="*/ 285 h 512"/>
              <a:gd name="T34" fmla="*/ 355 w 512"/>
              <a:gd name="T35" fmla="*/ 269 h 512"/>
              <a:gd name="T36" fmla="*/ 370 w 512"/>
              <a:gd name="T37" fmla="*/ 269 h 512"/>
              <a:gd name="T38" fmla="*/ 413 w 512"/>
              <a:gd name="T39" fmla="*/ 312 h 512"/>
              <a:gd name="T40" fmla="*/ 415 w 512"/>
              <a:gd name="T41" fmla="*/ 316 h 512"/>
              <a:gd name="T42" fmla="*/ 415 w 512"/>
              <a:gd name="T43" fmla="*/ 324 h 512"/>
              <a:gd name="T44" fmla="*/ 405 w 512"/>
              <a:gd name="T45" fmla="*/ 202 h 512"/>
              <a:gd name="T46" fmla="*/ 132 w 512"/>
              <a:gd name="T47" fmla="*/ 202 h 512"/>
              <a:gd name="T48" fmla="*/ 157 w 512"/>
              <a:gd name="T49" fmla="*/ 227 h 512"/>
              <a:gd name="T50" fmla="*/ 157 w 512"/>
              <a:gd name="T51" fmla="*/ 242 h 512"/>
              <a:gd name="T52" fmla="*/ 149 w 512"/>
              <a:gd name="T53" fmla="*/ 245 h 512"/>
              <a:gd name="T54" fmla="*/ 141 w 512"/>
              <a:gd name="T55" fmla="*/ 242 h 512"/>
              <a:gd name="T56" fmla="*/ 99 w 512"/>
              <a:gd name="T57" fmla="*/ 199 h 512"/>
              <a:gd name="T58" fmla="*/ 96 w 512"/>
              <a:gd name="T59" fmla="*/ 196 h 512"/>
              <a:gd name="T60" fmla="*/ 96 w 512"/>
              <a:gd name="T61" fmla="*/ 188 h 512"/>
              <a:gd name="T62" fmla="*/ 99 w 512"/>
              <a:gd name="T63" fmla="*/ 184 h 512"/>
              <a:gd name="T64" fmla="*/ 141 w 512"/>
              <a:gd name="T65" fmla="*/ 141 h 512"/>
              <a:gd name="T66" fmla="*/ 157 w 512"/>
              <a:gd name="T67" fmla="*/ 141 h 512"/>
              <a:gd name="T68" fmla="*/ 157 w 512"/>
              <a:gd name="T69" fmla="*/ 157 h 512"/>
              <a:gd name="T70" fmla="*/ 132 w 512"/>
              <a:gd name="T71" fmla="*/ 181 h 512"/>
              <a:gd name="T72" fmla="*/ 405 w 512"/>
              <a:gd name="T73" fmla="*/ 181 h 512"/>
              <a:gd name="T74" fmla="*/ 416 w 512"/>
              <a:gd name="T75" fmla="*/ 192 h 512"/>
              <a:gd name="T76" fmla="*/ 405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24"/>
                </a:moveTo>
                <a:cubicBezTo>
                  <a:pt x="414" y="325"/>
                  <a:pt x="414" y="326"/>
                  <a:pt x="413" y="327"/>
                </a:cubicBezTo>
                <a:cubicBezTo>
                  <a:pt x="370" y="370"/>
                  <a:pt x="370" y="370"/>
                  <a:pt x="370" y="370"/>
                </a:cubicBezTo>
                <a:cubicBezTo>
                  <a:pt x="368" y="372"/>
                  <a:pt x="365" y="373"/>
                  <a:pt x="362" y="373"/>
                </a:cubicBezTo>
                <a:cubicBezTo>
                  <a:pt x="360" y="373"/>
                  <a:pt x="357" y="372"/>
                  <a:pt x="355" y="370"/>
                </a:cubicBezTo>
                <a:cubicBezTo>
                  <a:pt x="351" y="366"/>
                  <a:pt x="351" y="359"/>
                  <a:pt x="355" y="355"/>
                </a:cubicBezTo>
                <a:cubicBezTo>
                  <a:pt x="379" y="330"/>
                  <a:pt x="379" y="330"/>
                  <a:pt x="379" y="330"/>
                </a:cubicBezTo>
                <a:cubicBezTo>
                  <a:pt x="106" y="330"/>
                  <a:pt x="106" y="330"/>
                  <a:pt x="106" y="330"/>
                </a:cubicBezTo>
                <a:cubicBezTo>
                  <a:pt x="100" y="330"/>
                  <a:pt x="96" y="326"/>
                  <a:pt x="96" y="320"/>
                </a:cubicBezTo>
                <a:cubicBezTo>
                  <a:pt x="96" y="314"/>
                  <a:pt x="100" y="309"/>
                  <a:pt x="106" y="309"/>
                </a:cubicBezTo>
                <a:cubicBezTo>
                  <a:pt x="379" y="309"/>
                  <a:pt x="379" y="309"/>
                  <a:pt x="379" y="309"/>
                </a:cubicBezTo>
                <a:cubicBezTo>
                  <a:pt x="355" y="285"/>
                  <a:pt x="355" y="285"/>
                  <a:pt x="355" y="285"/>
                </a:cubicBezTo>
                <a:cubicBezTo>
                  <a:pt x="351" y="280"/>
                  <a:pt x="351" y="274"/>
                  <a:pt x="355" y="269"/>
                </a:cubicBezTo>
                <a:cubicBezTo>
                  <a:pt x="359" y="265"/>
                  <a:pt x="366" y="265"/>
                  <a:pt x="370" y="269"/>
                </a:cubicBezTo>
                <a:cubicBezTo>
                  <a:pt x="413" y="312"/>
                  <a:pt x="413" y="312"/>
                  <a:pt x="413" y="312"/>
                </a:cubicBezTo>
                <a:cubicBezTo>
                  <a:pt x="414" y="313"/>
                  <a:pt x="414" y="314"/>
                  <a:pt x="415" y="316"/>
                </a:cubicBezTo>
                <a:cubicBezTo>
                  <a:pt x="416" y="318"/>
                  <a:pt x="416" y="321"/>
                  <a:pt x="415" y="324"/>
                </a:cubicBezTo>
                <a:close/>
                <a:moveTo>
                  <a:pt x="405" y="202"/>
                </a:move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8" y="198"/>
                  <a:pt x="97" y="197"/>
                  <a:pt x="96" y="196"/>
                </a:cubicBezTo>
                <a:cubicBezTo>
                  <a:pt x="95" y="193"/>
                  <a:pt x="95" y="190"/>
                  <a:pt x="96" y="188"/>
                </a:cubicBezTo>
                <a:cubicBezTo>
                  <a:pt x="97" y="186"/>
                  <a:pt x="98" y="185"/>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405" y="181"/>
                  <a:pt x="405" y="181"/>
                  <a:pt x="405" y="181"/>
                </a:cubicBezTo>
                <a:cubicBezTo>
                  <a:pt x="411" y="181"/>
                  <a:pt x="416" y="186"/>
                  <a:pt x="416" y="192"/>
                </a:cubicBezTo>
                <a:cubicBezTo>
                  <a:pt x="416" y="198"/>
                  <a:pt x="411" y="202"/>
                  <a:pt x="405"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5" name="Group 271"/>
          <p:cNvGrpSpPr>
            <a:grpSpLocks noChangeAspect="1"/>
          </p:cNvGrpSpPr>
          <p:nvPr/>
        </p:nvGrpSpPr>
        <p:grpSpPr bwMode="auto">
          <a:xfrm>
            <a:off x="1666130" y="4185376"/>
            <a:ext cx="367631" cy="367631"/>
            <a:chOff x="6585" y="783"/>
            <a:chExt cx="340" cy="340"/>
          </a:xfrm>
          <a:solidFill>
            <a:schemeClr val="accent3"/>
          </a:solidFill>
        </p:grpSpPr>
        <p:sp>
          <p:nvSpPr>
            <p:cNvPr id="356" name="Freeform 272"/>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Freeform 273"/>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8" name="Freeform 277"/>
          <p:cNvSpPr>
            <a:spLocks noChangeAspect="1" noEditPoints="1"/>
          </p:cNvSpPr>
          <p:nvPr/>
        </p:nvSpPr>
        <p:spPr bwMode="auto">
          <a:xfrm>
            <a:off x="2086040" y="41853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181 h 512"/>
              <a:gd name="T12" fmla="*/ 379 w 512"/>
              <a:gd name="T13" fmla="*/ 181 h 512"/>
              <a:gd name="T14" fmla="*/ 355 w 512"/>
              <a:gd name="T15" fmla="*/ 157 h 512"/>
              <a:gd name="T16" fmla="*/ 355 w 512"/>
              <a:gd name="T17" fmla="*/ 141 h 512"/>
              <a:gd name="T18" fmla="*/ 370 w 512"/>
              <a:gd name="T19" fmla="*/ 141 h 512"/>
              <a:gd name="T20" fmla="*/ 413 w 512"/>
              <a:gd name="T21" fmla="*/ 184 h 512"/>
              <a:gd name="T22" fmla="*/ 415 w 512"/>
              <a:gd name="T23" fmla="*/ 188 h 512"/>
              <a:gd name="T24" fmla="*/ 415 w 512"/>
              <a:gd name="T25" fmla="*/ 196 h 512"/>
              <a:gd name="T26" fmla="*/ 413 w 512"/>
              <a:gd name="T27" fmla="*/ 199 h 512"/>
              <a:gd name="T28" fmla="*/ 370 w 512"/>
              <a:gd name="T29" fmla="*/ 242 h 512"/>
              <a:gd name="T30" fmla="*/ 362 w 512"/>
              <a:gd name="T31" fmla="*/ 245 h 512"/>
              <a:gd name="T32" fmla="*/ 355 w 512"/>
              <a:gd name="T33" fmla="*/ 242 h 512"/>
              <a:gd name="T34" fmla="*/ 355 w 512"/>
              <a:gd name="T35" fmla="*/ 227 h 512"/>
              <a:gd name="T36" fmla="*/ 379 w 512"/>
              <a:gd name="T37" fmla="*/ 202 h 512"/>
              <a:gd name="T38" fmla="*/ 106 w 512"/>
              <a:gd name="T39" fmla="*/ 202 h 512"/>
              <a:gd name="T40" fmla="*/ 96 w 512"/>
              <a:gd name="T41" fmla="*/ 192 h 512"/>
              <a:gd name="T42" fmla="*/ 106 w 512"/>
              <a:gd name="T43" fmla="*/ 181 h 512"/>
              <a:gd name="T44" fmla="*/ 405 w 512"/>
              <a:gd name="T45" fmla="*/ 330 h 512"/>
              <a:gd name="T46" fmla="*/ 132 w 512"/>
              <a:gd name="T47" fmla="*/ 330 h 512"/>
              <a:gd name="T48" fmla="*/ 157 w 512"/>
              <a:gd name="T49" fmla="*/ 355 h 512"/>
              <a:gd name="T50" fmla="*/ 157 w 512"/>
              <a:gd name="T51" fmla="*/ 370 h 512"/>
              <a:gd name="T52" fmla="*/ 149 w 512"/>
              <a:gd name="T53" fmla="*/ 373 h 512"/>
              <a:gd name="T54" fmla="*/ 141 w 512"/>
              <a:gd name="T55" fmla="*/ 370 h 512"/>
              <a:gd name="T56" fmla="*/ 99 w 512"/>
              <a:gd name="T57" fmla="*/ 327 h 512"/>
              <a:gd name="T58" fmla="*/ 96 w 512"/>
              <a:gd name="T59" fmla="*/ 324 h 512"/>
              <a:gd name="T60" fmla="*/ 96 w 512"/>
              <a:gd name="T61" fmla="*/ 316 h 512"/>
              <a:gd name="T62" fmla="*/ 99 w 512"/>
              <a:gd name="T63" fmla="*/ 312 h 512"/>
              <a:gd name="T64" fmla="*/ 141 w 512"/>
              <a:gd name="T65" fmla="*/ 269 h 512"/>
              <a:gd name="T66" fmla="*/ 157 w 512"/>
              <a:gd name="T67" fmla="*/ 269 h 512"/>
              <a:gd name="T68" fmla="*/ 157 w 512"/>
              <a:gd name="T69" fmla="*/ 285 h 512"/>
              <a:gd name="T70" fmla="*/ 132 w 512"/>
              <a:gd name="T71" fmla="*/ 309 h 512"/>
              <a:gd name="T72" fmla="*/ 405 w 512"/>
              <a:gd name="T73" fmla="*/ 309 h 512"/>
              <a:gd name="T74" fmla="*/ 416 w 512"/>
              <a:gd name="T75" fmla="*/ 320 h 512"/>
              <a:gd name="T76" fmla="*/ 405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181"/>
                </a:moveTo>
                <a:cubicBezTo>
                  <a:pt x="379" y="181"/>
                  <a:pt x="379" y="181"/>
                  <a:pt x="379" y="181"/>
                </a:cubicBezTo>
                <a:cubicBezTo>
                  <a:pt x="355" y="157"/>
                  <a:pt x="355" y="157"/>
                  <a:pt x="355" y="157"/>
                </a:cubicBezTo>
                <a:cubicBezTo>
                  <a:pt x="351" y="152"/>
                  <a:pt x="351" y="146"/>
                  <a:pt x="355" y="141"/>
                </a:cubicBezTo>
                <a:cubicBezTo>
                  <a:pt x="359" y="137"/>
                  <a:pt x="366" y="137"/>
                  <a:pt x="370" y="141"/>
                </a:cubicBezTo>
                <a:cubicBezTo>
                  <a:pt x="413" y="184"/>
                  <a:pt x="413" y="184"/>
                  <a:pt x="413" y="184"/>
                </a:cubicBezTo>
                <a:cubicBezTo>
                  <a:pt x="414" y="185"/>
                  <a:pt x="414" y="186"/>
                  <a:pt x="415" y="188"/>
                </a:cubicBezTo>
                <a:cubicBezTo>
                  <a:pt x="416" y="190"/>
                  <a:pt x="416" y="193"/>
                  <a:pt x="415" y="196"/>
                </a:cubicBezTo>
                <a:cubicBezTo>
                  <a:pt x="414" y="197"/>
                  <a:pt x="414" y="198"/>
                  <a:pt x="413" y="199"/>
                </a:cubicBezTo>
                <a:cubicBezTo>
                  <a:pt x="370" y="242"/>
                  <a:pt x="370" y="242"/>
                  <a:pt x="370" y="242"/>
                </a:cubicBezTo>
                <a:cubicBezTo>
                  <a:pt x="368" y="244"/>
                  <a:pt x="365" y="245"/>
                  <a:pt x="362" y="245"/>
                </a:cubicBezTo>
                <a:cubicBezTo>
                  <a:pt x="360" y="245"/>
                  <a:pt x="357" y="244"/>
                  <a:pt x="355" y="242"/>
                </a:cubicBezTo>
                <a:cubicBezTo>
                  <a:pt x="351" y="238"/>
                  <a:pt x="351" y="231"/>
                  <a:pt x="355" y="227"/>
                </a:cubicBezTo>
                <a:cubicBezTo>
                  <a:pt x="379" y="202"/>
                  <a:pt x="379" y="202"/>
                  <a:pt x="379" y="202"/>
                </a:cubicBezTo>
                <a:cubicBezTo>
                  <a:pt x="106" y="202"/>
                  <a:pt x="106" y="202"/>
                  <a:pt x="106" y="202"/>
                </a:cubicBezTo>
                <a:cubicBezTo>
                  <a:pt x="100" y="202"/>
                  <a:pt x="96" y="198"/>
                  <a:pt x="96" y="192"/>
                </a:cubicBezTo>
                <a:cubicBezTo>
                  <a:pt x="96" y="186"/>
                  <a:pt x="100" y="181"/>
                  <a:pt x="106" y="181"/>
                </a:cubicBezTo>
                <a:close/>
                <a:moveTo>
                  <a:pt x="405" y="330"/>
                </a:moveTo>
                <a:cubicBezTo>
                  <a:pt x="132" y="330"/>
                  <a:pt x="132" y="330"/>
                  <a:pt x="132" y="330"/>
                </a:cubicBezTo>
                <a:cubicBezTo>
                  <a:pt x="157" y="355"/>
                  <a:pt x="157" y="355"/>
                  <a:pt x="157" y="355"/>
                </a:cubicBezTo>
                <a:cubicBezTo>
                  <a:pt x="161" y="359"/>
                  <a:pt x="161" y="366"/>
                  <a:pt x="157" y="370"/>
                </a:cubicBezTo>
                <a:cubicBezTo>
                  <a:pt x="154" y="372"/>
                  <a:pt x="152" y="373"/>
                  <a:pt x="149" y="373"/>
                </a:cubicBezTo>
                <a:cubicBezTo>
                  <a:pt x="146" y="373"/>
                  <a:pt x="144" y="372"/>
                  <a:pt x="141" y="370"/>
                </a:cubicBezTo>
                <a:cubicBezTo>
                  <a:pt x="99" y="327"/>
                  <a:pt x="99" y="327"/>
                  <a:pt x="99" y="327"/>
                </a:cubicBezTo>
                <a:cubicBezTo>
                  <a:pt x="98" y="326"/>
                  <a:pt x="97" y="325"/>
                  <a:pt x="96" y="324"/>
                </a:cubicBezTo>
                <a:cubicBezTo>
                  <a:pt x="95" y="321"/>
                  <a:pt x="95" y="318"/>
                  <a:pt x="96" y="316"/>
                </a:cubicBezTo>
                <a:cubicBezTo>
                  <a:pt x="97" y="314"/>
                  <a:pt x="98" y="313"/>
                  <a:pt x="99" y="312"/>
                </a:cubicBezTo>
                <a:cubicBezTo>
                  <a:pt x="141" y="269"/>
                  <a:pt x="141" y="269"/>
                  <a:pt x="141" y="269"/>
                </a:cubicBezTo>
                <a:cubicBezTo>
                  <a:pt x="146" y="265"/>
                  <a:pt x="152" y="265"/>
                  <a:pt x="157" y="269"/>
                </a:cubicBezTo>
                <a:cubicBezTo>
                  <a:pt x="161" y="274"/>
                  <a:pt x="161" y="280"/>
                  <a:pt x="157" y="285"/>
                </a:cubicBezTo>
                <a:cubicBezTo>
                  <a:pt x="132" y="309"/>
                  <a:pt x="132" y="309"/>
                  <a:pt x="132" y="309"/>
                </a:cubicBezTo>
                <a:cubicBezTo>
                  <a:pt x="405" y="309"/>
                  <a:pt x="405" y="309"/>
                  <a:pt x="405" y="309"/>
                </a:cubicBezTo>
                <a:cubicBezTo>
                  <a:pt x="411" y="309"/>
                  <a:pt x="416" y="314"/>
                  <a:pt x="416" y="320"/>
                </a:cubicBezTo>
                <a:cubicBezTo>
                  <a:pt x="416" y="326"/>
                  <a:pt x="411" y="330"/>
                  <a:pt x="405" y="33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9" name="Group 280"/>
          <p:cNvGrpSpPr>
            <a:grpSpLocks noChangeAspect="1"/>
          </p:cNvGrpSpPr>
          <p:nvPr/>
        </p:nvGrpSpPr>
        <p:grpSpPr bwMode="auto">
          <a:xfrm>
            <a:off x="2505950" y="4185376"/>
            <a:ext cx="367631" cy="367631"/>
            <a:chOff x="7350" y="739"/>
            <a:chExt cx="340" cy="340"/>
          </a:xfrm>
          <a:solidFill>
            <a:schemeClr val="accent3"/>
          </a:solidFill>
        </p:grpSpPr>
        <p:sp>
          <p:nvSpPr>
            <p:cNvPr id="360"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2" name="Freeform 250"/>
          <p:cNvSpPr>
            <a:spLocks noChangeAspect="1" noEditPoints="1"/>
          </p:cNvSpPr>
          <p:nvPr/>
        </p:nvSpPr>
        <p:spPr bwMode="auto">
          <a:xfrm>
            <a:off x="406400" y="41853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70 w 512"/>
              <a:gd name="T15" fmla="*/ 306 h 512"/>
              <a:gd name="T16" fmla="*/ 362 w 512"/>
              <a:gd name="T17" fmla="*/ 309 h 512"/>
              <a:gd name="T18" fmla="*/ 355 w 512"/>
              <a:gd name="T19" fmla="*/ 306 h 512"/>
              <a:gd name="T20" fmla="*/ 355 w 512"/>
              <a:gd name="T21" fmla="*/ 291 h 512"/>
              <a:gd name="T22" fmla="*/ 379 w 512"/>
              <a:gd name="T23" fmla="*/ 266 h 512"/>
              <a:gd name="T24" fmla="*/ 266 w 512"/>
              <a:gd name="T25" fmla="*/ 266 h 512"/>
              <a:gd name="T26" fmla="*/ 266 w 512"/>
              <a:gd name="T27" fmla="*/ 379 h 512"/>
              <a:gd name="T28" fmla="*/ 291 w 512"/>
              <a:gd name="T29" fmla="*/ 355 h 512"/>
              <a:gd name="T30" fmla="*/ 306 w 512"/>
              <a:gd name="T31" fmla="*/ 355 h 512"/>
              <a:gd name="T32" fmla="*/ 306 w 512"/>
              <a:gd name="T33" fmla="*/ 370 h 512"/>
              <a:gd name="T34" fmla="*/ 263 w 512"/>
              <a:gd name="T35" fmla="*/ 413 h 512"/>
              <a:gd name="T36" fmla="*/ 260 w 512"/>
              <a:gd name="T37" fmla="*/ 415 h 512"/>
              <a:gd name="T38" fmla="*/ 256 w 512"/>
              <a:gd name="T39" fmla="*/ 416 h 512"/>
              <a:gd name="T40" fmla="*/ 252 w 512"/>
              <a:gd name="T41" fmla="*/ 415 h 512"/>
              <a:gd name="T42" fmla="*/ 248 w 512"/>
              <a:gd name="T43" fmla="*/ 413 h 512"/>
              <a:gd name="T44" fmla="*/ 205 w 512"/>
              <a:gd name="T45" fmla="*/ 370 h 512"/>
              <a:gd name="T46" fmla="*/ 205 w 512"/>
              <a:gd name="T47" fmla="*/ 355 h 512"/>
              <a:gd name="T48" fmla="*/ 221 w 512"/>
              <a:gd name="T49" fmla="*/ 355 h 512"/>
              <a:gd name="T50" fmla="*/ 245 w 512"/>
              <a:gd name="T51" fmla="*/ 379 h 512"/>
              <a:gd name="T52" fmla="*/ 245 w 512"/>
              <a:gd name="T53" fmla="*/ 266 h 512"/>
              <a:gd name="T54" fmla="*/ 132 w 512"/>
              <a:gd name="T55" fmla="*/ 266 h 512"/>
              <a:gd name="T56" fmla="*/ 157 w 512"/>
              <a:gd name="T57" fmla="*/ 291 h 512"/>
              <a:gd name="T58" fmla="*/ 157 w 512"/>
              <a:gd name="T59" fmla="*/ 306 h 512"/>
              <a:gd name="T60" fmla="*/ 149 w 512"/>
              <a:gd name="T61" fmla="*/ 309 h 512"/>
              <a:gd name="T62" fmla="*/ 141 w 512"/>
              <a:gd name="T63" fmla="*/ 306 h 512"/>
              <a:gd name="T64" fmla="*/ 99 w 512"/>
              <a:gd name="T65" fmla="*/ 263 h 512"/>
              <a:gd name="T66" fmla="*/ 96 w 512"/>
              <a:gd name="T67" fmla="*/ 260 h 512"/>
              <a:gd name="T68" fmla="*/ 96 w 512"/>
              <a:gd name="T69" fmla="*/ 252 h 512"/>
              <a:gd name="T70" fmla="*/ 99 w 512"/>
              <a:gd name="T71" fmla="*/ 248 h 512"/>
              <a:gd name="T72" fmla="*/ 141 w 512"/>
              <a:gd name="T73" fmla="*/ 205 h 512"/>
              <a:gd name="T74" fmla="*/ 157 w 512"/>
              <a:gd name="T75" fmla="*/ 205 h 512"/>
              <a:gd name="T76" fmla="*/ 157 w 512"/>
              <a:gd name="T77" fmla="*/ 221 h 512"/>
              <a:gd name="T78" fmla="*/ 132 w 512"/>
              <a:gd name="T79" fmla="*/ 245 h 512"/>
              <a:gd name="T80" fmla="*/ 245 w 512"/>
              <a:gd name="T81" fmla="*/ 245 h 512"/>
              <a:gd name="T82" fmla="*/ 245 w 512"/>
              <a:gd name="T83" fmla="*/ 132 h 512"/>
              <a:gd name="T84" fmla="*/ 221 w 512"/>
              <a:gd name="T85" fmla="*/ 157 h 512"/>
              <a:gd name="T86" fmla="*/ 213 w 512"/>
              <a:gd name="T87" fmla="*/ 160 h 512"/>
              <a:gd name="T88" fmla="*/ 205 w 512"/>
              <a:gd name="T89" fmla="*/ 157 h 512"/>
              <a:gd name="T90" fmla="*/ 205 w 512"/>
              <a:gd name="T91" fmla="*/ 141 h 512"/>
              <a:gd name="T92" fmla="*/ 248 w 512"/>
              <a:gd name="T93" fmla="*/ 99 h 512"/>
              <a:gd name="T94" fmla="*/ 252 w 512"/>
              <a:gd name="T95" fmla="*/ 96 h 512"/>
              <a:gd name="T96" fmla="*/ 260 w 512"/>
              <a:gd name="T97" fmla="*/ 96 h 512"/>
              <a:gd name="T98" fmla="*/ 263 w 512"/>
              <a:gd name="T99" fmla="*/ 99 h 512"/>
              <a:gd name="T100" fmla="*/ 306 w 512"/>
              <a:gd name="T101" fmla="*/ 141 h 512"/>
              <a:gd name="T102" fmla="*/ 306 w 512"/>
              <a:gd name="T103" fmla="*/ 157 h 512"/>
              <a:gd name="T104" fmla="*/ 298 w 512"/>
              <a:gd name="T105" fmla="*/ 160 h 512"/>
              <a:gd name="T106" fmla="*/ 291 w 512"/>
              <a:gd name="T107" fmla="*/ 157 h 512"/>
              <a:gd name="T108" fmla="*/ 266 w 512"/>
              <a:gd name="T109" fmla="*/ 132 h 512"/>
              <a:gd name="T110" fmla="*/ 266 w 512"/>
              <a:gd name="T111" fmla="*/ 245 h 512"/>
              <a:gd name="T112" fmla="*/ 379 w 512"/>
              <a:gd name="T113" fmla="*/ 245 h 512"/>
              <a:gd name="T114" fmla="*/ 355 w 512"/>
              <a:gd name="T115" fmla="*/ 221 h 512"/>
              <a:gd name="T116" fmla="*/ 355 w 512"/>
              <a:gd name="T117" fmla="*/ 205 h 512"/>
              <a:gd name="T118" fmla="*/ 370 w 512"/>
              <a:gd name="T119" fmla="*/ 205 h 512"/>
              <a:gd name="T120" fmla="*/ 413 w 512"/>
              <a:gd name="T121" fmla="*/ 248 h 512"/>
              <a:gd name="T122" fmla="*/ 415 w 512"/>
              <a:gd name="T123" fmla="*/ 252 h 512"/>
              <a:gd name="T124" fmla="*/ 415 w 512"/>
              <a:gd name="T12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66" y="266"/>
                  <a:pt x="266" y="266"/>
                  <a:pt x="266" y="266"/>
                </a:cubicBezTo>
                <a:cubicBezTo>
                  <a:pt x="266" y="379"/>
                  <a:pt x="266" y="379"/>
                  <a:pt x="266" y="379"/>
                </a:cubicBezTo>
                <a:cubicBezTo>
                  <a:pt x="291" y="355"/>
                  <a:pt x="291" y="355"/>
                  <a:pt x="291" y="355"/>
                </a:cubicBezTo>
                <a:cubicBezTo>
                  <a:pt x="295" y="351"/>
                  <a:pt x="302" y="351"/>
                  <a:pt x="306" y="355"/>
                </a:cubicBezTo>
                <a:cubicBezTo>
                  <a:pt x="310" y="359"/>
                  <a:pt x="310" y="366"/>
                  <a:pt x="306" y="370"/>
                </a:cubicBez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66"/>
                  <a:pt x="245" y="266"/>
                  <a:pt x="245" y="266"/>
                </a:cubicBez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45" y="245"/>
                  <a:pt x="245" y="245"/>
                  <a:pt x="245" y="245"/>
                </a:cubicBezTo>
                <a:cubicBezTo>
                  <a:pt x="245" y="132"/>
                  <a:pt x="245" y="132"/>
                  <a:pt x="245" y="132"/>
                </a:cubicBezTo>
                <a:cubicBezTo>
                  <a:pt x="221" y="157"/>
                  <a:pt x="221" y="157"/>
                  <a:pt x="221" y="157"/>
                </a:cubicBezTo>
                <a:cubicBezTo>
                  <a:pt x="218" y="159"/>
                  <a:pt x="216" y="160"/>
                  <a:pt x="213" y="160"/>
                </a:cubicBezTo>
                <a:cubicBezTo>
                  <a:pt x="210" y="160"/>
                  <a:pt x="208" y="159"/>
                  <a:pt x="205" y="157"/>
                </a:cubicBezTo>
                <a:cubicBezTo>
                  <a:pt x="201" y="152"/>
                  <a:pt x="201" y="146"/>
                  <a:pt x="205" y="141"/>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06" y="141"/>
                  <a:pt x="306" y="141"/>
                  <a:pt x="306" y="141"/>
                </a:cubicBezTo>
                <a:cubicBezTo>
                  <a:pt x="310" y="146"/>
                  <a:pt x="310" y="152"/>
                  <a:pt x="306" y="157"/>
                </a:cubicBezTo>
                <a:cubicBezTo>
                  <a:pt x="304" y="159"/>
                  <a:pt x="301" y="160"/>
                  <a:pt x="298" y="160"/>
                </a:cubicBezTo>
                <a:cubicBezTo>
                  <a:pt x="296" y="160"/>
                  <a:pt x="293" y="159"/>
                  <a:pt x="291" y="157"/>
                </a:cubicBezTo>
                <a:cubicBezTo>
                  <a:pt x="266" y="132"/>
                  <a:pt x="266" y="132"/>
                  <a:pt x="266" y="132"/>
                </a:cubicBezTo>
                <a:cubicBezTo>
                  <a:pt x="266" y="245"/>
                  <a:pt x="266" y="245"/>
                  <a:pt x="266"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3" name="Group 253"/>
          <p:cNvGrpSpPr>
            <a:grpSpLocks noChangeAspect="1"/>
          </p:cNvGrpSpPr>
          <p:nvPr/>
        </p:nvGrpSpPr>
        <p:grpSpPr bwMode="auto">
          <a:xfrm>
            <a:off x="826310" y="4185376"/>
            <a:ext cx="367631" cy="367631"/>
            <a:chOff x="4266" y="1820"/>
            <a:chExt cx="340" cy="340"/>
          </a:xfrm>
          <a:solidFill>
            <a:schemeClr val="accent3"/>
          </a:solidFill>
        </p:grpSpPr>
        <p:sp>
          <p:nvSpPr>
            <p:cNvPr id="364" name="Freeform 254"/>
            <p:cNvSpPr>
              <a:spLocks/>
            </p:cNvSpPr>
            <p:nvPr/>
          </p:nvSpPr>
          <p:spPr bwMode="auto">
            <a:xfrm>
              <a:off x="4329" y="1883"/>
              <a:ext cx="213" cy="213"/>
            </a:xfrm>
            <a:custGeom>
              <a:avLst/>
              <a:gdLst>
                <a:gd name="T0" fmla="*/ 320 w 321"/>
                <a:gd name="T1" fmla="*/ 165 h 321"/>
                <a:gd name="T2" fmla="*/ 320 w 321"/>
                <a:gd name="T3" fmla="*/ 157 h 321"/>
                <a:gd name="T4" fmla="*/ 318 w 321"/>
                <a:gd name="T5" fmla="*/ 153 h 321"/>
                <a:gd name="T6" fmla="*/ 275 w 321"/>
                <a:gd name="T7" fmla="*/ 110 h 321"/>
                <a:gd name="T8" fmla="*/ 260 w 321"/>
                <a:gd name="T9" fmla="*/ 110 h 321"/>
                <a:gd name="T10" fmla="*/ 260 w 321"/>
                <a:gd name="T11" fmla="*/ 126 h 321"/>
                <a:gd name="T12" fmla="*/ 284 w 321"/>
                <a:gd name="T13" fmla="*/ 150 h 321"/>
                <a:gd name="T14" fmla="*/ 171 w 321"/>
                <a:gd name="T15" fmla="*/ 150 h 321"/>
                <a:gd name="T16" fmla="*/ 171 w 321"/>
                <a:gd name="T17" fmla="*/ 37 h 321"/>
                <a:gd name="T18" fmla="*/ 196 w 321"/>
                <a:gd name="T19" fmla="*/ 62 h 321"/>
                <a:gd name="T20" fmla="*/ 203 w 321"/>
                <a:gd name="T21" fmla="*/ 65 h 321"/>
                <a:gd name="T22" fmla="*/ 211 w 321"/>
                <a:gd name="T23" fmla="*/ 62 h 321"/>
                <a:gd name="T24" fmla="*/ 211 w 321"/>
                <a:gd name="T25" fmla="*/ 46 h 321"/>
                <a:gd name="T26" fmla="*/ 168 w 321"/>
                <a:gd name="T27" fmla="*/ 4 h 321"/>
                <a:gd name="T28" fmla="*/ 165 w 321"/>
                <a:gd name="T29" fmla="*/ 1 h 321"/>
                <a:gd name="T30" fmla="*/ 157 w 321"/>
                <a:gd name="T31" fmla="*/ 1 h 321"/>
                <a:gd name="T32" fmla="*/ 153 w 321"/>
                <a:gd name="T33" fmla="*/ 4 h 321"/>
                <a:gd name="T34" fmla="*/ 110 w 321"/>
                <a:gd name="T35" fmla="*/ 46 h 321"/>
                <a:gd name="T36" fmla="*/ 110 w 321"/>
                <a:gd name="T37" fmla="*/ 62 h 321"/>
                <a:gd name="T38" fmla="*/ 118 w 321"/>
                <a:gd name="T39" fmla="*/ 65 h 321"/>
                <a:gd name="T40" fmla="*/ 126 w 321"/>
                <a:gd name="T41" fmla="*/ 62 h 321"/>
                <a:gd name="T42" fmla="*/ 150 w 321"/>
                <a:gd name="T43" fmla="*/ 37 h 321"/>
                <a:gd name="T44" fmla="*/ 150 w 321"/>
                <a:gd name="T45" fmla="*/ 150 h 321"/>
                <a:gd name="T46" fmla="*/ 37 w 321"/>
                <a:gd name="T47" fmla="*/ 150 h 321"/>
                <a:gd name="T48" fmla="*/ 62 w 321"/>
                <a:gd name="T49" fmla="*/ 126 h 321"/>
                <a:gd name="T50" fmla="*/ 62 w 321"/>
                <a:gd name="T51" fmla="*/ 110 h 321"/>
                <a:gd name="T52" fmla="*/ 46 w 321"/>
                <a:gd name="T53" fmla="*/ 110 h 321"/>
                <a:gd name="T54" fmla="*/ 4 w 321"/>
                <a:gd name="T55" fmla="*/ 153 h 321"/>
                <a:gd name="T56" fmla="*/ 1 w 321"/>
                <a:gd name="T57" fmla="*/ 157 h 321"/>
                <a:gd name="T58" fmla="*/ 1 w 321"/>
                <a:gd name="T59" fmla="*/ 165 h 321"/>
                <a:gd name="T60" fmla="*/ 4 w 321"/>
                <a:gd name="T61" fmla="*/ 168 h 321"/>
                <a:gd name="T62" fmla="*/ 46 w 321"/>
                <a:gd name="T63" fmla="*/ 211 h 321"/>
                <a:gd name="T64" fmla="*/ 54 w 321"/>
                <a:gd name="T65" fmla="*/ 214 h 321"/>
                <a:gd name="T66" fmla="*/ 62 w 321"/>
                <a:gd name="T67" fmla="*/ 211 h 321"/>
                <a:gd name="T68" fmla="*/ 62 w 321"/>
                <a:gd name="T69" fmla="*/ 196 h 321"/>
                <a:gd name="T70" fmla="*/ 37 w 321"/>
                <a:gd name="T71" fmla="*/ 171 h 321"/>
                <a:gd name="T72" fmla="*/ 150 w 321"/>
                <a:gd name="T73" fmla="*/ 171 h 321"/>
                <a:gd name="T74" fmla="*/ 150 w 321"/>
                <a:gd name="T75" fmla="*/ 284 h 321"/>
                <a:gd name="T76" fmla="*/ 126 w 321"/>
                <a:gd name="T77" fmla="*/ 260 h 321"/>
                <a:gd name="T78" fmla="*/ 110 w 321"/>
                <a:gd name="T79" fmla="*/ 260 h 321"/>
                <a:gd name="T80" fmla="*/ 110 w 321"/>
                <a:gd name="T81" fmla="*/ 275 h 321"/>
                <a:gd name="T82" fmla="*/ 153 w 321"/>
                <a:gd name="T83" fmla="*/ 318 h 321"/>
                <a:gd name="T84" fmla="*/ 157 w 321"/>
                <a:gd name="T85" fmla="*/ 320 h 321"/>
                <a:gd name="T86" fmla="*/ 161 w 321"/>
                <a:gd name="T87" fmla="*/ 321 h 321"/>
                <a:gd name="T88" fmla="*/ 165 w 321"/>
                <a:gd name="T89" fmla="*/ 320 h 321"/>
                <a:gd name="T90" fmla="*/ 168 w 321"/>
                <a:gd name="T91" fmla="*/ 318 h 321"/>
                <a:gd name="T92" fmla="*/ 211 w 321"/>
                <a:gd name="T93" fmla="*/ 275 h 321"/>
                <a:gd name="T94" fmla="*/ 211 w 321"/>
                <a:gd name="T95" fmla="*/ 260 h 321"/>
                <a:gd name="T96" fmla="*/ 196 w 321"/>
                <a:gd name="T97" fmla="*/ 260 h 321"/>
                <a:gd name="T98" fmla="*/ 171 w 321"/>
                <a:gd name="T99" fmla="*/ 284 h 321"/>
                <a:gd name="T100" fmla="*/ 171 w 321"/>
                <a:gd name="T101" fmla="*/ 171 h 321"/>
                <a:gd name="T102" fmla="*/ 284 w 321"/>
                <a:gd name="T103" fmla="*/ 171 h 321"/>
                <a:gd name="T104" fmla="*/ 260 w 321"/>
                <a:gd name="T105" fmla="*/ 196 h 321"/>
                <a:gd name="T106" fmla="*/ 260 w 321"/>
                <a:gd name="T107" fmla="*/ 211 h 321"/>
                <a:gd name="T108" fmla="*/ 267 w 321"/>
                <a:gd name="T109" fmla="*/ 214 h 321"/>
                <a:gd name="T110" fmla="*/ 275 w 321"/>
                <a:gd name="T111" fmla="*/ 211 h 321"/>
                <a:gd name="T112" fmla="*/ 318 w 321"/>
                <a:gd name="T113" fmla="*/ 168 h 321"/>
                <a:gd name="T114" fmla="*/ 320 w 321"/>
                <a:gd name="T115" fmla="*/ 16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321">
                  <a:moveTo>
                    <a:pt x="320" y="165"/>
                  </a:moveTo>
                  <a:cubicBezTo>
                    <a:pt x="321" y="162"/>
                    <a:pt x="321" y="159"/>
                    <a:pt x="320" y="157"/>
                  </a:cubicBezTo>
                  <a:cubicBezTo>
                    <a:pt x="319" y="155"/>
                    <a:pt x="319" y="154"/>
                    <a:pt x="318" y="153"/>
                  </a:cubicBezTo>
                  <a:cubicBezTo>
                    <a:pt x="275" y="110"/>
                    <a:pt x="275" y="110"/>
                    <a:pt x="275" y="110"/>
                  </a:cubicBezTo>
                  <a:cubicBezTo>
                    <a:pt x="271" y="106"/>
                    <a:pt x="264" y="106"/>
                    <a:pt x="260" y="110"/>
                  </a:cubicBezTo>
                  <a:cubicBezTo>
                    <a:pt x="256" y="115"/>
                    <a:pt x="256" y="121"/>
                    <a:pt x="260" y="126"/>
                  </a:cubicBezTo>
                  <a:cubicBezTo>
                    <a:pt x="284" y="150"/>
                    <a:pt x="284" y="150"/>
                    <a:pt x="284" y="150"/>
                  </a:cubicBezTo>
                  <a:cubicBezTo>
                    <a:pt x="171" y="150"/>
                    <a:pt x="171" y="150"/>
                    <a:pt x="171" y="150"/>
                  </a:cubicBezTo>
                  <a:cubicBezTo>
                    <a:pt x="171" y="37"/>
                    <a:pt x="171" y="37"/>
                    <a:pt x="171" y="37"/>
                  </a:cubicBezTo>
                  <a:cubicBezTo>
                    <a:pt x="196" y="62"/>
                    <a:pt x="196" y="62"/>
                    <a:pt x="196" y="62"/>
                  </a:cubicBezTo>
                  <a:cubicBezTo>
                    <a:pt x="198" y="64"/>
                    <a:pt x="201" y="65"/>
                    <a:pt x="203" y="65"/>
                  </a:cubicBezTo>
                  <a:cubicBezTo>
                    <a:pt x="206" y="65"/>
                    <a:pt x="209" y="64"/>
                    <a:pt x="211" y="62"/>
                  </a:cubicBezTo>
                  <a:cubicBezTo>
                    <a:pt x="215" y="57"/>
                    <a:pt x="215" y="51"/>
                    <a:pt x="211" y="46"/>
                  </a:cubicBezTo>
                  <a:cubicBezTo>
                    <a:pt x="168" y="4"/>
                    <a:pt x="168" y="4"/>
                    <a:pt x="168" y="4"/>
                  </a:cubicBezTo>
                  <a:cubicBezTo>
                    <a:pt x="167" y="3"/>
                    <a:pt x="166" y="2"/>
                    <a:pt x="165" y="1"/>
                  </a:cubicBezTo>
                  <a:cubicBezTo>
                    <a:pt x="162" y="0"/>
                    <a:pt x="159" y="0"/>
                    <a:pt x="157" y="1"/>
                  </a:cubicBezTo>
                  <a:cubicBezTo>
                    <a:pt x="155" y="2"/>
                    <a:pt x="154" y="3"/>
                    <a:pt x="153" y="4"/>
                  </a:cubicBezTo>
                  <a:cubicBezTo>
                    <a:pt x="110" y="46"/>
                    <a:pt x="110" y="46"/>
                    <a:pt x="110" y="46"/>
                  </a:cubicBezTo>
                  <a:cubicBezTo>
                    <a:pt x="106" y="51"/>
                    <a:pt x="106" y="57"/>
                    <a:pt x="110" y="62"/>
                  </a:cubicBezTo>
                  <a:cubicBezTo>
                    <a:pt x="113" y="64"/>
                    <a:pt x="115" y="65"/>
                    <a:pt x="118" y="65"/>
                  </a:cubicBezTo>
                  <a:cubicBezTo>
                    <a:pt x="121" y="65"/>
                    <a:pt x="123" y="64"/>
                    <a:pt x="126" y="62"/>
                  </a:cubicBezTo>
                  <a:cubicBezTo>
                    <a:pt x="150" y="37"/>
                    <a:pt x="150" y="37"/>
                    <a:pt x="150" y="37"/>
                  </a:cubicBezTo>
                  <a:cubicBezTo>
                    <a:pt x="150" y="150"/>
                    <a:pt x="150" y="150"/>
                    <a:pt x="150" y="150"/>
                  </a:cubicBezTo>
                  <a:cubicBezTo>
                    <a:pt x="37" y="150"/>
                    <a:pt x="37" y="150"/>
                    <a:pt x="37" y="150"/>
                  </a:cubicBezTo>
                  <a:cubicBezTo>
                    <a:pt x="62" y="126"/>
                    <a:pt x="62" y="126"/>
                    <a:pt x="62" y="126"/>
                  </a:cubicBezTo>
                  <a:cubicBezTo>
                    <a:pt x="66" y="121"/>
                    <a:pt x="66" y="115"/>
                    <a:pt x="62" y="110"/>
                  </a:cubicBezTo>
                  <a:cubicBezTo>
                    <a:pt x="57" y="106"/>
                    <a:pt x="51" y="106"/>
                    <a:pt x="46" y="110"/>
                  </a:cubicBezTo>
                  <a:cubicBezTo>
                    <a:pt x="4" y="153"/>
                    <a:pt x="4" y="153"/>
                    <a:pt x="4" y="153"/>
                  </a:cubicBezTo>
                  <a:cubicBezTo>
                    <a:pt x="3" y="154"/>
                    <a:pt x="2" y="155"/>
                    <a:pt x="1" y="157"/>
                  </a:cubicBezTo>
                  <a:cubicBezTo>
                    <a:pt x="0" y="159"/>
                    <a:pt x="0" y="162"/>
                    <a:pt x="1" y="165"/>
                  </a:cubicBezTo>
                  <a:cubicBezTo>
                    <a:pt x="2" y="166"/>
                    <a:pt x="3" y="167"/>
                    <a:pt x="4" y="168"/>
                  </a:cubicBezTo>
                  <a:cubicBezTo>
                    <a:pt x="46" y="211"/>
                    <a:pt x="46" y="211"/>
                    <a:pt x="46" y="211"/>
                  </a:cubicBezTo>
                  <a:cubicBezTo>
                    <a:pt x="49" y="213"/>
                    <a:pt x="51" y="214"/>
                    <a:pt x="54" y="214"/>
                  </a:cubicBezTo>
                  <a:cubicBezTo>
                    <a:pt x="57" y="214"/>
                    <a:pt x="59" y="213"/>
                    <a:pt x="62" y="211"/>
                  </a:cubicBezTo>
                  <a:cubicBezTo>
                    <a:pt x="66" y="207"/>
                    <a:pt x="66" y="200"/>
                    <a:pt x="62" y="196"/>
                  </a:cubicBezTo>
                  <a:cubicBezTo>
                    <a:pt x="37" y="171"/>
                    <a:pt x="37" y="171"/>
                    <a:pt x="37" y="171"/>
                  </a:cubicBezTo>
                  <a:cubicBezTo>
                    <a:pt x="150" y="171"/>
                    <a:pt x="150" y="171"/>
                    <a:pt x="150" y="171"/>
                  </a:cubicBezTo>
                  <a:cubicBezTo>
                    <a:pt x="150" y="284"/>
                    <a:pt x="150" y="284"/>
                    <a:pt x="150" y="284"/>
                  </a:cubicBezTo>
                  <a:cubicBezTo>
                    <a:pt x="126" y="260"/>
                    <a:pt x="126" y="260"/>
                    <a:pt x="126" y="260"/>
                  </a:cubicBezTo>
                  <a:cubicBezTo>
                    <a:pt x="121" y="256"/>
                    <a:pt x="115" y="256"/>
                    <a:pt x="110" y="260"/>
                  </a:cubicBezTo>
                  <a:cubicBezTo>
                    <a:pt x="106" y="264"/>
                    <a:pt x="106" y="271"/>
                    <a:pt x="110" y="275"/>
                  </a:cubicBezTo>
                  <a:cubicBezTo>
                    <a:pt x="153" y="318"/>
                    <a:pt x="153" y="318"/>
                    <a:pt x="153" y="318"/>
                  </a:cubicBezTo>
                  <a:cubicBezTo>
                    <a:pt x="154" y="319"/>
                    <a:pt x="155" y="319"/>
                    <a:pt x="157" y="320"/>
                  </a:cubicBezTo>
                  <a:cubicBezTo>
                    <a:pt x="158" y="320"/>
                    <a:pt x="159" y="321"/>
                    <a:pt x="161" y="321"/>
                  </a:cubicBezTo>
                  <a:cubicBezTo>
                    <a:pt x="162" y="321"/>
                    <a:pt x="163" y="320"/>
                    <a:pt x="165" y="320"/>
                  </a:cubicBezTo>
                  <a:cubicBezTo>
                    <a:pt x="166" y="319"/>
                    <a:pt x="167" y="319"/>
                    <a:pt x="168" y="318"/>
                  </a:cubicBezTo>
                  <a:cubicBezTo>
                    <a:pt x="211" y="275"/>
                    <a:pt x="211" y="275"/>
                    <a:pt x="211" y="275"/>
                  </a:cubicBezTo>
                  <a:cubicBezTo>
                    <a:pt x="215" y="271"/>
                    <a:pt x="215" y="264"/>
                    <a:pt x="211" y="260"/>
                  </a:cubicBezTo>
                  <a:cubicBezTo>
                    <a:pt x="207" y="256"/>
                    <a:pt x="200" y="256"/>
                    <a:pt x="196" y="260"/>
                  </a:cubicBezTo>
                  <a:cubicBezTo>
                    <a:pt x="171" y="284"/>
                    <a:pt x="171" y="284"/>
                    <a:pt x="171" y="284"/>
                  </a:cubicBezTo>
                  <a:cubicBezTo>
                    <a:pt x="171" y="171"/>
                    <a:pt x="171" y="171"/>
                    <a:pt x="171" y="171"/>
                  </a:cubicBezTo>
                  <a:cubicBezTo>
                    <a:pt x="284" y="171"/>
                    <a:pt x="284" y="171"/>
                    <a:pt x="284" y="171"/>
                  </a:cubicBezTo>
                  <a:cubicBezTo>
                    <a:pt x="260" y="196"/>
                    <a:pt x="260" y="196"/>
                    <a:pt x="260" y="196"/>
                  </a:cubicBezTo>
                  <a:cubicBezTo>
                    <a:pt x="256" y="200"/>
                    <a:pt x="256" y="207"/>
                    <a:pt x="260" y="211"/>
                  </a:cubicBezTo>
                  <a:cubicBezTo>
                    <a:pt x="262" y="213"/>
                    <a:pt x="265" y="214"/>
                    <a:pt x="267" y="214"/>
                  </a:cubicBezTo>
                  <a:cubicBezTo>
                    <a:pt x="270" y="214"/>
                    <a:pt x="273" y="213"/>
                    <a:pt x="275" y="211"/>
                  </a:cubicBezTo>
                  <a:cubicBezTo>
                    <a:pt x="318" y="168"/>
                    <a:pt x="318" y="168"/>
                    <a:pt x="318" y="168"/>
                  </a:cubicBezTo>
                  <a:cubicBezTo>
                    <a:pt x="319" y="167"/>
                    <a:pt x="319" y="166"/>
                    <a:pt x="320" y="1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Freeform 255"/>
            <p:cNvSpPr>
              <a:spLocks noEditPoints="1"/>
            </p:cNvSpPr>
            <p:nvPr/>
          </p:nvSpPr>
          <p:spPr bwMode="auto">
            <a:xfrm>
              <a:off x="4266" y="18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6" name="TextBox 365"/>
          <p:cNvSpPr txBox="1"/>
          <p:nvPr/>
        </p:nvSpPr>
        <p:spPr>
          <a:xfrm>
            <a:off x="372434" y="4621129"/>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rections</a:t>
            </a:r>
          </a:p>
        </p:txBody>
      </p:sp>
      <p:sp>
        <p:nvSpPr>
          <p:cNvPr id="371" name="Freeform 196"/>
          <p:cNvSpPr>
            <a:spLocks noChangeAspect="1" noEditPoints="1"/>
          </p:cNvSpPr>
          <p:nvPr/>
        </p:nvSpPr>
        <p:spPr bwMode="auto">
          <a:xfrm>
            <a:off x="2929396" y="5019052"/>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352 h 512"/>
              <a:gd name="T12" fmla="*/ 224 w 512"/>
              <a:gd name="T13" fmla="*/ 362 h 512"/>
              <a:gd name="T14" fmla="*/ 213 w 512"/>
              <a:gd name="T15" fmla="*/ 352 h 512"/>
              <a:gd name="T16" fmla="*/ 213 w 512"/>
              <a:gd name="T17" fmla="*/ 313 h 512"/>
              <a:gd name="T18" fmla="*/ 157 w 512"/>
              <a:gd name="T19" fmla="*/ 370 h 512"/>
              <a:gd name="T20" fmla="*/ 149 w 512"/>
              <a:gd name="T21" fmla="*/ 373 h 512"/>
              <a:gd name="T22" fmla="*/ 141 w 512"/>
              <a:gd name="T23" fmla="*/ 370 h 512"/>
              <a:gd name="T24" fmla="*/ 141 w 512"/>
              <a:gd name="T25" fmla="*/ 355 h 512"/>
              <a:gd name="T26" fmla="*/ 198 w 512"/>
              <a:gd name="T27" fmla="*/ 298 h 512"/>
              <a:gd name="T28" fmla="*/ 160 w 512"/>
              <a:gd name="T29" fmla="*/ 298 h 512"/>
              <a:gd name="T30" fmla="*/ 149 w 512"/>
              <a:gd name="T31" fmla="*/ 288 h 512"/>
              <a:gd name="T32" fmla="*/ 160 w 512"/>
              <a:gd name="T33" fmla="*/ 277 h 512"/>
              <a:gd name="T34" fmla="*/ 224 w 512"/>
              <a:gd name="T35" fmla="*/ 277 h 512"/>
              <a:gd name="T36" fmla="*/ 234 w 512"/>
              <a:gd name="T37" fmla="*/ 288 h 512"/>
              <a:gd name="T38" fmla="*/ 234 w 512"/>
              <a:gd name="T39" fmla="*/ 352 h 512"/>
              <a:gd name="T40" fmla="*/ 370 w 512"/>
              <a:gd name="T41" fmla="*/ 157 h 512"/>
              <a:gd name="T42" fmla="*/ 313 w 512"/>
              <a:gd name="T43" fmla="*/ 213 h 512"/>
              <a:gd name="T44" fmla="*/ 352 w 512"/>
              <a:gd name="T45" fmla="*/ 213 h 512"/>
              <a:gd name="T46" fmla="*/ 362 w 512"/>
              <a:gd name="T47" fmla="*/ 224 h 512"/>
              <a:gd name="T48" fmla="*/ 352 w 512"/>
              <a:gd name="T49" fmla="*/ 234 h 512"/>
              <a:gd name="T50" fmla="*/ 288 w 512"/>
              <a:gd name="T51" fmla="*/ 234 h 512"/>
              <a:gd name="T52" fmla="*/ 277 w 512"/>
              <a:gd name="T53" fmla="*/ 224 h 512"/>
              <a:gd name="T54" fmla="*/ 277 w 512"/>
              <a:gd name="T55" fmla="*/ 160 h 512"/>
              <a:gd name="T56" fmla="*/ 288 w 512"/>
              <a:gd name="T57" fmla="*/ 149 h 512"/>
              <a:gd name="T58" fmla="*/ 298 w 512"/>
              <a:gd name="T59" fmla="*/ 160 h 512"/>
              <a:gd name="T60" fmla="*/ 298 w 512"/>
              <a:gd name="T61" fmla="*/ 198 h 512"/>
              <a:gd name="T62" fmla="*/ 355 w 512"/>
              <a:gd name="T63" fmla="*/ 141 h 512"/>
              <a:gd name="T64" fmla="*/ 370 w 512"/>
              <a:gd name="T65" fmla="*/ 141 h 512"/>
              <a:gd name="T66" fmla="*/ 370 w 512"/>
              <a:gd name="T6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52"/>
                </a:moveTo>
                <a:cubicBezTo>
                  <a:pt x="234" y="358"/>
                  <a:pt x="230" y="362"/>
                  <a:pt x="224" y="362"/>
                </a:cubicBezTo>
                <a:cubicBezTo>
                  <a:pt x="218" y="362"/>
                  <a:pt x="213" y="358"/>
                  <a:pt x="213" y="352"/>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60" y="298"/>
                  <a:pt x="160" y="298"/>
                  <a:pt x="160" y="298"/>
                </a:cubicBezTo>
                <a:cubicBezTo>
                  <a:pt x="154" y="298"/>
                  <a:pt x="149" y="294"/>
                  <a:pt x="149" y="288"/>
                </a:cubicBezTo>
                <a:cubicBezTo>
                  <a:pt x="149" y="282"/>
                  <a:pt x="154" y="277"/>
                  <a:pt x="160" y="277"/>
                </a:cubicBezTo>
                <a:cubicBezTo>
                  <a:pt x="224" y="277"/>
                  <a:pt x="224" y="277"/>
                  <a:pt x="224" y="277"/>
                </a:cubicBezTo>
                <a:cubicBezTo>
                  <a:pt x="230" y="277"/>
                  <a:pt x="234" y="282"/>
                  <a:pt x="234" y="288"/>
                </a:cubicBezTo>
                <a:lnTo>
                  <a:pt x="234" y="352"/>
                </a:lnTo>
                <a:close/>
                <a:moveTo>
                  <a:pt x="370" y="157"/>
                </a:moveTo>
                <a:cubicBezTo>
                  <a:pt x="313" y="213"/>
                  <a:pt x="313" y="213"/>
                  <a:pt x="313" y="213"/>
                </a:cubicBezTo>
                <a:cubicBezTo>
                  <a:pt x="352" y="213"/>
                  <a:pt x="352" y="213"/>
                  <a:pt x="352" y="213"/>
                </a:cubicBezTo>
                <a:cubicBezTo>
                  <a:pt x="358" y="213"/>
                  <a:pt x="362" y="218"/>
                  <a:pt x="362" y="224"/>
                </a:cubicBezTo>
                <a:cubicBezTo>
                  <a:pt x="362" y="230"/>
                  <a:pt x="358" y="234"/>
                  <a:pt x="352" y="234"/>
                </a:cubicBezTo>
                <a:cubicBezTo>
                  <a:pt x="288" y="234"/>
                  <a:pt x="288" y="234"/>
                  <a:pt x="288" y="234"/>
                </a:cubicBezTo>
                <a:cubicBezTo>
                  <a:pt x="282" y="234"/>
                  <a:pt x="277" y="230"/>
                  <a:pt x="277" y="224"/>
                </a:cubicBezTo>
                <a:cubicBezTo>
                  <a:pt x="277" y="160"/>
                  <a:pt x="277" y="160"/>
                  <a:pt x="277" y="160"/>
                </a:cubicBezTo>
                <a:cubicBezTo>
                  <a:pt x="277" y="154"/>
                  <a:pt x="282" y="149"/>
                  <a:pt x="288" y="149"/>
                </a:cubicBezTo>
                <a:cubicBezTo>
                  <a:pt x="294" y="149"/>
                  <a:pt x="298" y="154"/>
                  <a:pt x="298" y="16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2" name="Group 199"/>
          <p:cNvGrpSpPr>
            <a:grpSpLocks noChangeAspect="1"/>
          </p:cNvGrpSpPr>
          <p:nvPr/>
        </p:nvGrpSpPr>
        <p:grpSpPr bwMode="auto">
          <a:xfrm>
            <a:off x="3349716" y="5019052"/>
            <a:ext cx="367631" cy="368713"/>
            <a:chOff x="1172" y="1056"/>
            <a:chExt cx="340" cy="341"/>
          </a:xfrm>
          <a:solidFill>
            <a:schemeClr val="accent3"/>
          </a:solidFill>
        </p:grpSpPr>
        <p:sp>
          <p:nvSpPr>
            <p:cNvPr id="373" name="Freeform 200"/>
            <p:cNvSpPr>
              <a:spLocks noEditPoints="1"/>
            </p:cNvSpPr>
            <p:nvPr/>
          </p:nvSpPr>
          <p:spPr bwMode="auto">
            <a:xfrm>
              <a:off x="1172" y="105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201"/>
            <p:cNvSpPr>
              <a:spLocks noEditPoints="1"/>
            </p:cNvSpPr>
            <p:nvPr/>
          </p:nvSpPr>
          <p:spPr bwMode="auto">
            <a:xfrm>
              <a:off x="1263" y="1147"/>
              <a:ext cx="157" cy="157"/>
            </a:xfrm>
            <a:custGeom>
              <a:avLst/>
              <a:gdLst>
                <a:gd name="T0" fmla="*/ 233 w 237"/>
                <a:gd name="T1" fmla="*/ 20 h 236"/>
                <a:gd name="T2" fmla="*/ 176 w 237"/>
                <a:gd name="T3" fmla="*/ 76 h 236"/>
                <a:gd name="T4" fmla="*/ 215 w 237"/>
                <a:gd name="T5" fmla="*/ 76 h 236"/>
                <a:gd name="T6" fmla="*/ 225 w 237"/>
                <a:gd name="T7" fmla="*/ 87 h 236"/>
                <a:gd name="T8" fmla="*/ 215 w 237"/>
                <a:gd name="T9" fmla="*/ 97 h 236"/>
                <a:gd name="T10" fmla="*/ 151 w 237"/>
                <a:gd name="T11" fmla="*/ 97 h 236"/>
                <a:gd name="T12" fmla="*/ 140 w 237"/>
                <a:gd name="T13" fmla="*/ 87 h 236"/>
                <a:gd name="T14" fmla="*/ 140 w 237"/>
                <a:gd name="T15" fmla="*/ 23 h 236"/>
                <a:gd name="T16" fmla="*/ 151 w 237"/>
                <a:gd name="T17" fmla="*/ 12 h 236"/>
                <a:gd name="T18" fmla="*/ 161 w 237"/>
                <a:gd name="T19" fmla="*/ 23 h 236"/>
                <a:gd name="T20" fmla="*/ 161 w 237"/>
                <a:gd name="T21" fmla="*/ 61 h 236"/>
                <a:gd name="T22" fmla="*/ 218 w 237"/>
                <a:gd name="T23" fmla="*/ 4 h 236"/>
                <a:gd name="T24" fmla="*/ 233 w 237"/>
                <a:gd name="T25" fmla="*/ 4 h 236"/>
                <a:gd name="T26" fmla="*/ 233 w 237"/>
                <a:gd name="T27" fmla="*/ 20 h 236"/>
                <a:gd name="T28" fmla="*/ 87 w 237"/>
                <a:gd name="T29" fmla="*/ 140 h 236"/>
                <a:gd name="T30" fmla="*/ 23 w 237"/>
                <a:gd name="T31" fmla="*/ 140 h 236"/>
                <a:gd name="T32" fmla="*/ 12 w 237"/>
                <a:gd name="T33" fmla="*/ 151 h 236"/>
                <a:gd name="T34" fmla="*/ 23 w 237"/>
                <a:gd name="T35" fmla="*/ 161 h 236"/>
                <a:gd name="T36" fmla="*/ 61 w 237"/>
                <a:gd name="T37" fmla="*/ 161 h 236"/>
                <a:gd name="T38" fmla="*/ 4 w 237"/>
                <a:gd name="T39" fmla="*/ 218 h 236"/>
                <a:gd name="T40" fmla="*/ 4 w 237"/>
                <a:gd name="T41" fmla="*/ 233 h 236"/>
                <a:gd name="T42" fmla="*/ 12 w 237"/>
                <a:gd name="T43" fmla="*/ 236 h 236"/>
                <a:gd name="T44" fmla="*/ 20 w 237"/>
                <a:gd name="T45" fmla="*/ 233 h 236"/>
                <a:gd name="T46" fmla="*/ 76 w 237"/>
                <a:gd name="T47" fmla="*/ 176 h 236"/>
                <a:gd name="T48" fmla="*/ 76 w 237"/>
                <a:gd name="T49" fmla="*/ 215 h 236"/>
                <a:gd name="T50" fmla="*/ 87 w 237"/>
                <a:gd name="T51" fmla="*/ 225 h 236"/>
                <a:gd name="T52" fmla="*/ 97 w 237"/>
                <a:gd name="T53" fmla="*/ 215 h 236"/>
                <a:gd name="T54" fmla="*/ 97 w 237"/>
                <a:gd name="T55" fmla="*/ 151 h 236"/>
                <a:gd name="T56" fmla="*/ 87 w 237"/>
                <a:gd name="T57"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36">
                  <a:moveTo>
                    <a:pt x="233" y="20"/>
                  </a:moveTo>
                  <a:cubicBezTo>
                    <a:pt x="176" y="76"/>
                    <a:pt x="176" y="76"/>
                    <a:pt x="176" y="76"/>
                  </a:cubicBezTo>
                  <a:cubicBezTo>
                    <a:pt x="215" y="76"/>
                    <a:pt x="215" y="76"/>
                    <a:pt x="215" y="76"/>
                  </a:cubicBezTo>
                  <a:cubicBezTo>
                    <a:pt x="221" y="76"/>
                    <a:pt x="225" y="81"/>
                    <a:pt x="225" y="87"/>
                  </a:cubicBezTo>
                  <a:cubicBezTo>
                    <a:pt x="225" y="93"/>
                    <a:pt x="221" y="97"/>
                    <a:pt x="215" y="97"/>
                  </a:cubicBezTo>
                  <a:cubicBezTo>
                    <a:pt x="151" y="97"/>
                    <a:pt x="151" y="97"/>
                    <a:pt x="151" y="97"/>
                  </a:cubicBezTo>
                  <a:cubicBezTo>
                    <a:pt x="145" y="97"/>
                    <a:pt x="140" y="93"/>
                    <a:pt x="140" y="87"/>
                  </a:cubicBezTo>
                  <a:cubicBezTo>
                    <a:pt x="140" y="23"/>
                    <a:pt x="140" y="23"/>
                    <a:pt x="140" y="23"/>
                  </a:cubicBezTo>
                  <a:cubicBezTo>
                    <a:pt x="140" y="17"/>
                    <a:pt x="145" y="12"/>
                    <a:pt x="151" y="12"/>
                  </a:cubicBezTo>
                  <a:cubicBezTo>
                    <a:pt x="157" y="12"/>
                    <a:pt x="161" y="17"/>
                    <a:pt x="161" y="23"/>
                  </a:cubicBezTo>
                  <a:cubicBezTo>
                    <a:pt x="161" y="61"/>
                    <a:pt x="161" y="61"/>
                    <a:pt x="161" y="61"/>
                  </a:cubicBezTo>
                  <a:cubicBezTo>
                    <a:pt x="218" y="4"/>
                    <a:pt x="218" y="4"/>
                    <a:pt x="218" y="4"/>
                  </a:cubicBezTo>
                  <a:cubicBezTo>
                    <a:pt x="222" y="0"/>
                    <a:pt x="229" y="0"/>
                    <a:pt x="233" y="4"/>
                  </a:cubicBezTo>
                  <a:cubicBezTo>
                    <a:pt x="237" y="9"/>
                    <a:pt x="237" y="15"/>
                    <a:pt x="233" y="20"/>
                  </a:cubicBezTo>
                  <a:close/>
                  <a:moveTo>
                    <a:pt x="87" y="140"/>
                  </a:moveTo>
                  <a:cubicBezTo>
                    <a:pt x="23" y="140"/>
                    <a:pt x="23" y="140"/>
                    <a:pt x="23" y="140"/>
                  </a:cubicBezTo>
                  <a:cubicBezTo>
                    <a:pt x="17" y="140"/>
                    <a:pt x="12" y="145"/>
                    <a:pt x="12" y="151"/>
                  </a:cubicBezTo>
                  <a:cubicBezTo>
                    <a:pt x="12" y="157"/>
                    <a:pt x="17" y="161"/>
                    <a:pt x="2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15"/>
                    <a:pt x="76" y="215"/>
                    <a:pt x="76" y="215"/>
                  </a:cubicBezTo>
                  <a:cubicBezTo>
                    <a:pt x="76" y="221"/>
                    <a:pt x="81" y="225"/>
                    <a:pt x="87" y="225"/>
                  </a:cubicBezTo>
                  <a:cubicBezTo>
                    <a:pt x="93" y="225"/>
                    <a:pt x="97" y="221"/>
                    <a:pt x="97" y="215"/>
                  </a:cubicBezTo>
                  <a:cubicBezTo>
                    <a:pt x="97" y="151"/>
                    <a:pt x="97" y="151"/>
                    <a:pt x="97" y="151"/>
                  </a:cubicBezTo>
                  <a:cubicBezTo>
                    <a:pt x="97" y="145"/>
                    <a:pt x="93" y="140"/>
                    <a:pt x="87"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5" name="Freeform 205"/>
          <p:cNvSpPr>
            <a:spLocks noChangeAspect="1" noEditPoints="1"/>
          </p:cNvSpPr>
          <p:nvPr/>
        </p:nvSpPr>
        <p:spPr bwMode="auto">
          <a:xfrm>
            <a:off x="3770035" y="5019052"/>
            <a:ext cx="367631" cy="367631"/>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6" name="Group 208"/>
          <p:cNvGrpSpPr>
            <a:grpSpLocks noChangeAspect="1"/>
          </p:cNvGrpSpPr>
          <p:nvPr/>
        </p:nvGrpSpPr>
        <p:grpSpPr bwMode="auto">
          <a:xfrm>
            <a:off x="4190354" y="5019052"/>
            <a:ext cx="368713" cy="367631"/>
            <a:chOff x="1818" y="1193"/>
            <a:chExt cx="341" cy="340"/>
          </a:xfrm>
          <a:solidFill>
            <a:schemeClr val="accent3"/>
          </a:solidFill>
        </p:grpSpPr>
        <p:sp>
          <p:nvSpPr>
            <p:cNvPr id="377" name="Freeform 209"/>
            <p:cNvSpPr>
              <a:spLocks noEditPoints="1"/>
            </p:cNvSpPr>
            <p:nvPr/>
          </p:nvSpPr>
          <p:spPr bwMode="auto">
            <a:xfrm>
              <a:off x="1909" y="1284"/>
              <a:ext cx="158" cy="15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Freeform 210"/>
            <p:cNvSpPr>
              <a:spLocks noEditPoints="1"/>
            </p:cNvSpPr>
            <p:nvPr/>
          </p:nvSpPr>
          <p:spPr bwMode="auto">
            <a:xfrm>
              <a:off x="1818"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9" name="Group 948"/>
          <p:cNvGrpSpPr>
            <a:grpSpLocks noChangeAspect="1"/>
          </p:cNvGrpSpPr>
          <p:nvPr/>
        </p:nvGrpSpPr>
        <p:grpSpPr bwMode="auto">
          <a:xfrm>
            <a:off x="7559682" y="4185376"/>
            <a:ext cx="369021" cy="369021"/>
            <a:chOff x="7353" y="3999"/>
            <a:chExt cx="340" cy="340"/>
          </a:xfrm>
          <a:solidFill>
            <a:schemeClr val="accent5"/>
          </a:solidFill>
        </p:grpSpPr>
        <p:sp>
          <p:nvSpPr>
            <p:cNvPr id="380" name="Freeform 949"/>
            <p:cNvSpPr>
              <a:spLocks/>
            </p:cNvSpPr>
            <p:nvPr/>
          </p:nvSpPr>
          <p:spPr bwMode="auto">
            <a:xfrm>
              <a:off x="7445" y="4148"/>
              <a:ext cx="99"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950"/>
            <p:cNvSpPr>
              <a:spLocks/>
            </p:cNvSpPr>
            <p:nvPr/>
          </p:nvSpPr>
          <p:spPr bwMode="auto">
            <a:xfrm>
              <a:off x="7502" y="409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Freeform 951"/>
            <p:cNvSpPr>
              <a:spLocks noEditPoints="1"/>
            </p:cNvSpPr>
            <p:nvPr/>
          </p:nvSpPr>
          <p:spPr bwMode="auto">
            <a:xfrm>
              <a:off x="7353" y="39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3" name="Freeform 955"/>
          <p:cNvSpPr>
            <a:spLocks noChangeAspect="1" noEditPoints="1"/>
          </p:cNvSpPr>
          <p:nvPr/>
        </p:nvSpPr>
        <p:spPr bwMode="auto">
          <a:xfrm>
            <a:off x="7138382" y="41853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77 w 512"/>
              <a:gd name="T11" fmla="*/ 373 h 512"/>
              <a:gd name="T12" fmla="*/ 149 w 512"/>
              <a:gd name="T13" fmla="*/ 373 h 512"/>
              <a:gd name="T14" fmla="*/ 138 w 512"/>
              <a:gd name="T15" fmla="*/ 362 h 512"/>
              <a:gd name="T16" fmla="*/ 138 w 512"/>
              <a:gd name="T17" fmla="*/ 234 h 512"/>
              <a:gd name="T18" fmla="*/ 149 w 512"/>
              <a:gd name="T19" fmla="*/ 224 h 512"/>
              <a:gd name="T20" fmla="*/ 160 w 512"/>
              <a:gd name="T21" fmla="*/ 234 h 512"/>
              <a:gd name="T22" fmla="*/ 160 w 512"/>
              <a:gd name="T23" fmla="*/ 352 h 512"/>
              <a:gd name="T24" fmla="*/ 277 w 512"/>
              <a:gd name="T25" fmla="*/ 352 h 512"/>
              <a:gd name="T26" fmla="*/ 288 w 512"/>
              <a:gd name="T27" fmla="*/ 362 h 512"/>
              <a:gd name="T28" fmla="*/ 277 w 512"/>
              <a:gd name="T29" fmla="*/ 373 h 512"/>
              <a:gd name="T30" fmla="*/ 373 w 512"/>
              <a:gd name="T31" fmla="*/ 277 h 512"/>
              <a:gd name="T32" fmla="*/ 362 w 512"/>
              <a:gd name="T33" fmla="*/ 288 h 512"/>
              <a:gd name="T34" fmla="*/ 352 w 512"/>
              <a:gd name="T35" fmla="*/ 277 h 512"/>
              <a:gd name="T36" fmla="*/ 352 w 512"/>
              <a:gd name="T37" fmla="*/ 160 h 512"/>
              <a:gd name="T38" fmla="*/ 234 w 512"/>
              <a:gd name="T39" fmla="*/ 160 h 512"/>
              <a:gd name="T40" fmla="*/ 224 w 512"/>
              <a:gd name="T41" fmla="*/ 149 h 512"/>
              <a:gd name="T42" fmla="*/ 234 w 512"/>
              <a:gd name="T43" fmla="*/ 138 h 512"/>
              <a:gd name="T44" fmla="*/ 362 w 512"/>
              <a:gd name="T45" fmla="*/ 138 h 512"/>
              <a:gd name="T46" fmla="*/ 373 w 512"/>
              <a:gd name="T47" fmla="*/ 149 h 512"/>
              <a:gd name="T48" fmla="*/ 373 w 512"/>
              <a:gd name="T4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73"/>
                </a:moveTo>
                <a:cubicBezTo>
                  <a:pt x="149" y="373"/>
                  <a:pt x="149" y="373"/>
                  <a:pt x="149" y="373"/>
                </a:cubicBezTo>
                <a:cubicBezTo>
                  <a:pt x="143" y="373"/>
                  <a:pt x="138" y="368"/>
                  <a:pt x="138" y="362"/>
                </a:cubicBezTo>
                <a:cubicBezTo>
                  <a:pt x="138" y="234"/>
                  <a:pt x="138" y="234"/>
                  <a:pt x="138" y="234"/>
                </a:cubicBezTo>
                <a:cubicBezTo>
                  <a:pt x="138" y="228"/>
                  <a:pt x="143" y="224"/>
                  <a:pt x="149" y="224"/>
                </a:cubicBezTo>
                <a:cubicBezTo>
                  <a:pt x="155" y="224"/>
                  <a:pt x="160" y="228"/>
                  <a:pt x="160" y="234"/>
                </a:cubicBezTo>
                <a:cubicBezTo>
                  <a:pt x="160" y="352"/>
                  <a:pt x="160" y="352"/>
                  <a:pt x="160" y="352"/>
                </a:cubicBezTo>
                <a:cubicBezTo>
                  <a:pt x="277" y="352"/>
                  <a:pt x="277" y="352"/>
                  <a:pt x="277" y="352"/>
                </a:cubicBezTo>
                <a:cubicBezTo>
                  <a:pt x="283" y="352"/>
                  <a:pt x="288" y="356"/>
                  <a:pt x="288" y="362"/>
                </a:cubicBezTo>
                <a:cubicBezTo>
                  <a:pt x="288" y="368"/>
                  <a:pt x="283" y="373"/>
                  <a:pt x="277" y="373"/>
                </a:cubicBezTo>
                <a:close/>
                <a:moveTo>
                  <a:pt x="373" y="277"/>
                </a:moveTo>
                <a:cubicBezTo>
                  <a:pt x="373" y="283"/>
                  <a:pt x="368" y="288"/>
                  <a:pt x="362" y="288"/>
                </a:cubicBezTo>
                <a:cubicBezTo>
                  <a:pt x="356" y="288"/>
                  <a:pt x="352" y="283"/>
                  <a:pt x="352" y="277"/>
                </a:cubicBezTo>
                <a:cubicBezTo>
                  <a:pt x="352" y="160"/>
                  <a:pt x="352" y="160"/>
                  <a:pt x="352" y="160"/>
                </a:cubicBezTo>
                <a:cubicBezTo>
                  <a:pt x="234" y="160"/>
                  <a:pt x="234" y="160"/>
                  <a:pt x="234" y="160"/>
                </a:cubicBezTo>
                <a:cubicBezTo>
                  <a:pt x="228" y="160"/>
                  <a:pt x="224" y="155"/>
                  <a:pt x="224" y="149"/>
                </a:cubicBezTo>
                <a:cubicBezTo>
                  <a:pt x="224" y="143"/>
                  <a:pt x="228" y="138"/>
                  <a:pt x="234" y="138"/>
                </a:cubicBezTo>
                <a:cubicBezTo>
                  <a:pt x="362" y="138"/>
                  <a:pt x="362" y="138"/>
                  <a:pt x="362" y="138"/>
                </a:cubicBezTo>
                <a:cubicBezTo>
                  <a:pt x="368" y="138"/>
                  <a:pt x="373" y="143"/>
                  <a:pt x="373" y="149"/>
                </a:cubicBezTo>
                <a:lnTo>
                  <a:pt x="373" y="277"/>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4" name="Group 958"/>
          <p:cNvGrpSpPr>
            <a:grpSpLocks noChangeAspect="1"/>
          </p:cNvGrpSpPr>
          <p:nvPr/>
        </p:nvGrpSpPr>
        <p:grpSpPr bwMode="auto">
          <a:xfrm>
            <a:off x="6717082" y="4185376"/>
            <a:ext cx="369021" cy="369021"/>
            <a:chOff x="6627" y="3991"/>
            <a:chExt cx="340" cy="340"/>
          </a:xfrm>
          <a:solidFill>
            <a:schemeClr val="accent5"/>
          </a:solidFill>
        </p:grpSpPr>
        <p:sp>
          <p:nvSpPr>
            <p:cNvPr id="385" name="Freeform 959"/>
            <p:cNvSpPr>
              <a:spLocks/>
            </p:cNvSpPr>
            <p:nvPr/>
          </p:nvSpPr>
          <p:spPr bwMode="auto">
            <a:xfrm>
              <a:off x="6690" y="4111"/>
              <a:ext cx="214" cy="114"/>
            </a:xfrm>
            <a:custGeom>
              <a:avLst/>
              <a:gdLst>
                <a:gd name="T0" fmla="*/ 161 w 322"/>
                <a:gd name="T1" fmla="*/ 172 h 172"/>
                <a:gd name="T2" fmla="*/ 153 w 322"/>
                <a:gd name="T3" fmla="*/ 169 h 172"/>
                <a:gd name="T4" fmla="*/ 4 w 322"/>
                <a:gd name="T5" fmla="*/ 19 h 172"/>
                <a:gd name="T6" fmla="*/ 4 w 322"/>
                <a:gd name="T7" fmla="*/ 4 h 172"/>
                <a:gd name="T8" fmla="*/ 19 w 322"/>
                <a:gd name="T9" fmla="*/ 4 h 172"/>
                <a:gd name="T10" fmla="*/ 161 w 322"/>
                <a:gd name="T11" fmla="*/ 146 h 172"/>
                <a:gd name="T12" fmla="*/ 302 w 322"/>
                <a:gd name="T13" fmla="*/ 4 h 172"/>
                <a:gd name="T14" fmla="*/ 318 w 322"/>
                <a:gd name="T15" fmla="*/ 4 h 172"/>
                <a:gd name="T16" fmla="*/ 318 w 322"/>
                <a:gd name="T17" fmla="*/ 19 h 172"/>
                <a:gd name="T18" fmla="*/ 168 w 322"/>
                <a:gd name="T19" fmla="*/ 169 h 172"/>
                <a:gd name="T20" fmla="*/ 161 w 322"/>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161" y="172"/>
                  </a:moveTo>
                  <a:cubicBezTo>
                    <a:pt x="158" y="172"/>
                    <a:pt x="155" y="171"/>
                    <a:pt x="153" y="169"/>
                  </a:cubicBezTo>
                  <a:cubicBezTo>
                    <a:pt x="4" y="19"/>
                    <a:pt x="4" y="19"/>
                    <a:pt x="4" y="19"/>
                  </a:cubicBezTo>
                  <a:cubicBezTo>
                    <a:pt x="0" y="15"/>
                    <a:pt x="0" y="8"/>
                    <a:pt x="4" y="4"/>
                  </a:cubicBezTo>
                  <a:cubicBezTo>
                    <a:pt x="8" y="0"/>
                    <a:pt x="15" y="0"/>
                    <a:pt x="19" y="4"/>
                  </a:cubicBezTo>
                  <a:cubicBezTo>
                    <a:pt x="161" y="146"/>
                    <a:pt x="161" y="146"/>
                    <a:pt x="161" y="146"/>
                  </a:cubicBezTo>
                  <a:cubicBezTo>
                    <a:pt x="302" y="4"/>
                    <a:pt x="302" y="4"/>
                    <a:pt x="302" y="4"/>
                  </a:cubicBezTo>
                  <a:cubicBezTo>
                    <a:pt x="307" y="0"/>
                    <a:pt x="313" y="0"/>
                    <a:pt x="318" y="4"/>
                  </a:cubicBezTo>
                  <a:cubicBezTo>
                    <a:pt x="322" y="8"/>
                    <a:pt x="322" y="15"/>
                    <a:pt x="318" y="19"/>
                  </a:cubicBezTo>
                  <a:cubicBezTo>
                    <a:pt x="168" y="169"/>
                    <a:pt x="168" y="169"/>
                    <a:pt x="168" y="169"/>
                  </a:cubicBezTo>
                  <a:cubicBezTo>
                    <a:pt x="166" y="171"/>
                    <a:pt x="163" y="172"/>
                    <a:pt x="161"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Freeform 960"/>
            <p:cNvSpPr>
              <a:spLocks noEditPoints="1"/>
            </p:cNvSpPr>
            <p:nvPr/>
          </p:nvSpPr>
          <p:spPr bwMode="auto">
            <a:xfrm>
              <a:off x="6627"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7" name="Freeform 964"/>
          <p:cNvSpPr>
            <a:spLocks noChangeAspect="1" noEditPoints="1"/>
          </p:cNvSpPr>
          <p:nvPr/>
        </p:nvSpPr>
        <p:spPr bwMode="auto">
          <a:xfrm>
            <a:off x="6295782" y="41853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8" name="Group 967"/>
          <p:cNvGrpSpPr>
            <a:grpSpLocks noChangeAspect="1"/>
          </p:cNvGrpSpPr>
          <p:nvPr/>
        </p:nvGrpSpPr>
        <p:grpSpPr bwMode="auto">
          <a:xfrm>
            <a:off x="5873397" y="4185376"/>
            <a:ext cx="370106" cy="369021"/>
            <a:chOff x="5832" y="3984"/>
            <a:chExt cx="341" cy="340"/>
          </a:xfrm>
          <a:solidFill>
            <a:schemeClr val="accent5"/>
          </a:solidFill>
        </p:grpSpPr>
        <p:sp>
          <p:nvSpPr>
            <p:cNvPr id="389" name="Freeform 968"/>
            <p:cNvSpPr>
              <a:spLocks/>
            </p:cNvSpPr>
            <p:nvPr/>
          </p:nvSpPr>
          <p:spPr bwMode="auto">
            <a:xfrm>
              <a:off x="5896" y="416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Freeform 969"/>
            <p:cNvSpPr>
              <a:spLocks/>
            </p:cNvSpPr>
            <p:nvPr/>
          </p:nvSpPr>
          <p:spPr bwMode="auto">
            <a:xfrm>
              <a:off x="6009" y="4048"/>
              <a:ext cx="100"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970"/>
            <p:cNvSpPr>
              <a:spLocks noEditPoints="1"/>
            </p:cNvSpPr>
            <p:nvPr/>
          </p:nvSpPr>
          <p:spPr bwMode="auto">
            <a:xfrm>
              <a:off x="5832" y="39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2" name="Freeform 974"/>
          <p:cNvSpPr>
            <a:spLocks noChangeAspect="1" noEditPoints="1"/>
          </p:cNvSpPr>
          <p:nvPr/>
        </p:nvSpPr>
        <p:spPr bwMode="auto">
          <a:xfrm>
            <a:off x="5452097" y="41853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405 h 512"/>
              <a:gd name="T12" fmla="*/ 234 w 512"/>
              <a:gd name="T13" fmla="*/ 416 h 512"/>
              <a:gd name="T14" fmla="*/ 224 w 512"/>
              <a:gd name="T15" fmla="*/ 405 h 512"/>
              <a:gd name="T16" fmla="*/ 224 w 512"/>
              <a:gd name="T17" fmla="*/ 288 h 512"/>
              <a:gd name="T18" fmla="*/ 106 w 512"/>
              <a:gd name="T19" fmla="*/ 288 h 512"/>
              <a:gd name="T20" fmla="*/ 96 w 512"/>
              <a:gd name="T21" fmla="*/ 277 h 512"/>
              <a:gd name="T22" fmla="*/ 106 w 512"/>
              <a:gd name="T23" fmla="*/ 266 h 512"/>
              <a:gd name="T24" fmla="*/ 234 w 512"/>
              <a:gd name="T25" fmla="*/ 266 h 512"/>
              <a:gd name="T26" fmla="*/ 245 w 512"/>
              <a:gd name="T27" fmla="*/ 277 h 512"/>
              <a:gd name="T28" fmla="*/ 245 w 512"/>
              <a:gd name="T29" fmla="*/ 405 h 512"/>
              <a:gd name="T30" fmla="*/ 405 w 512"/>
              <a:gd name="T31" fmla="*/ 245 h 512"/>
              <a:gd name="T32" fmla="*/ 277 w 512"/>
              <a:gd name="T33" fmla="*/ 245 h 512"/>
              <a:gd name="T34" fmla="*/ 266 w 512"/>
              <a:gd name="T35" fmla="*/ 234 h 512"/>
              <a:gd name="T36" fmla="*/ 266 w 512"/>
              <a:gd name="T37" fmla="*/ 106 h 512"/>
              <a:gd name="T38" fmla="*/ 277 w 512"/>
              <a:gd name="T39" fmla="*/ 96 h 512"/>
              <a:gd name="T40" fmla="*/ 288 w 512"/>
              <a:gd name="T41" fmla="*/ 106 h 512"/>
              <a:gd name="T42" fmla="*/ 288 w 512"/>
              <a:gd name="T43" fmla="*/ 224 h 512"/>
              <a:gd name="T44" fmla="*/ 405 w 512"/>
              <a:gd name="T45" fmla="*/ 224 h 512"/>
              <a:gd name="T46" fmla="*/ 416 w 512"/>
              <a:gd name="T47" fmla="*/ 234 h 512"/>
              <a:gd name="T48" fmla="*/ 405 w 512"/>
              <a:gd name="T4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405"/>
                </a:moveTo>
                <a:cubicBezTo>
                  <a:pt x="245" y="411"/>
                  <a:pt x="240" y="416"/>
                  <a:pt x="234" y="416"/>
                </a:cubicBezTo>
                <a:cubicBezTo>
                  <a:pt x="228" y="416"/>
                  <a:pt x="224" y="411"/>
                  <a:pt x="224" y="405"/>
                </a:cubicBezTo>
                <a:cubicBezTo>
                  <a:pt x="224" y="288"/>
                  <a:pt x="224" y="288"/>
                  <a:pt x="224" y="288"/>
                </a:cubicBezTo>
                <a:cubicBezTo>
                  <a:pt x="106" y="288"/>
                  <a:pt x="106" y="288"/>
                  <a:pt x="106" y="288"/>
                </a:cubicBezTo>
                <a:cubicBezTo>
                  <a:pt x="100" y="288"/>
                  <a:pt x="96" y="283"/>
                  <a:pt x="96" y="277"/>
                </a:cubicBezTo>
                <a:cubicBezTo>
                  <a:pt x="96" y="271"/>
                  <a:pt x="100" y="266"/>
                  <a:pt x="106" y="266"/>
                </a:cubicBezTo>
                <a:cubicBezTo>
                  <a:pt x="234" y="266"/>
                  <a:pt x="234" y="266"/>
                  <a:pt x="234" y="266"/>
                </a:cubicBezTo>
                <a:cubicBezTo>
                  <a:pt x="240" y="266"/>
                  <a:pt x="245" y="271"/>
                  <a:pt x="245" y="277"/>
                </a:cubicBezTo>
                <a:lnTo>
                  <a:pt x="245" y="405"/>
                </a:lnTo>
                <a:close/>
                <a:moveTo>
                  <a:pt x="405" y="245"/>
                </a:moveTo>
                <a:cubicBezTo>
                  <a:pt x="277" y="245"/>
                  <a:pt x="277" y="245"/>
                  <a:pt x="277" y="245"/>
                </a:cubicBezTo>
                <a:cubicBezTo>
                  <a:pt x="271" y="245"/>
                  <a:pt x="266" y="240"/>
                  <a:pt x="266" y="234"/>
                </a:cubicBezTo>
                <a:cubicBezTo>
                  <a:pt x="266" y="106"/>
                  <a:pt x="266" y="106"/>
                  <a:pt x="266" y="106"/>
                </a:cubicBezTo>
                <a:cubicBezTo>
                  <a:pt x="266" y="100"/>
                  <a:pt x="271" y="96"/>
                  <a:pt x="277" y="96"/>
                </a:cubicBezTo>
                <a:cubicBezTo>
                  <a:pt x="283" y="96"/>
                  <a:pt x="288" y="100"/>
                  <a:pt x="288" y="106"/>
                </a:cubicBezTo>
                <a:cubicBezTo>
                  <a:pt x="288" y="224"/>
                  <a:pt x="288" y="224"/>
                  <a:pt x="288" y="224"/>
                </a:cubicBezTo>
                <a:cubicBezTo>
                  <a:pt x="405" y="224"/>
                  <a:pt x="405" y="224"/>
                  <a:pt x="405" y="224"/>
                </a:cubicBezTo>
                <a:cubicBezTo>
                  <a:pt x="411" y="224"/>
                  <a:pt x="416" y="228"/>
                  <a:pt x="416" y="234"/>
                </a:cubicBezTo>
                <a:cubicBezTo>
                  <a:pt x="416" y="240"/>
                  <a:pt x="411" y="245"/>
                  <a:pt x="405" y="2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05" name="Freeform 168"/>
          <p:cNvSpPr>
            <a:spLocks noChangeAspect="1" noEditPoints="1"/>
          </p:cNvSpPr>
          <p:nvPr/>
        </p:nvSpPr>
        <p:spPr bwMode="auto">
          <a:xfrm>
            <a:off x="406400" y="501905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263 h 512"/>
              <a:gd name="T12" fmla="*/ 178 w 512"/>
              <a:gd name="T13" fmla="*/ 306 h 512"/>
              <a:gd name="T14" fmla="*/ 170 w 512"/>
              <a:gd name="T15" fmla="*/ 309 h 512"/>
              <a:gd name="T16" fmla="*/ 163 w 512"/>
              <a:gd name="T17" fmla="*/ 306 h 512"/>
              <a:gd name="T18" fmla="*/ 163 w 512"/>
              <a:gd name="T19" fmla="*/ 291 h 512"/>
              <a:gd name="T20" fmla="*/ 187 w 512"/>
              <a:gd name="T21" fmla="*/ 266 h 512"/>
              <a:gd name="T22" fmla="*/ 106 w 512"/>
              <a:gd name="T23" fmla="*/ 266 h 512"/>
              <a:gd name="T24" fmla="*/ 96 w 512"/>
              <a:gd name="T25" fmla="*/ 256 h 512"/>
              <a:gd name="T26" fmla="*/ 106 w 512"/>
              <a:gd name="T27" fmla="*/ 245 h 512"/>
              <a:gd name="T28" fmla="*/ 187 w 512"/>
              <a:gd name="T29" fmla="*/ 245 h 512"/>
              <a:gd name="T30" fmla="*/ 163 w 512"/>
              <a:gd name="T31" fmla="*/ 221 h 512"/>
              <a:gd name="T32" fmla="*/ 163 w 512"/>
              <a:gd name="T33" fmla="*/ 205 h 512"/>
              <a:gd name="T34" fmla="*/ 178 w 512"/>
              <a:gd name="T35" fmla="*/ 205 h 512"/>
              <a:gd name="T36" fmla="*/ 221 w 512"/>
              <a:gd name="T37" fmla="*/ 248 h 512"/>
              <a:gd name="T38" fmla="*/ 221 w 512"/>
              <a:gd name="T39" fmla="*/ 263 h 512"/>
              <a:gd name="T40" fmla="*/ 405 w 512"/>
              <a:gd name="T41" fmla="*/ 266 h 512"/>
              <a:gd name="T42" fmla="*/ 324 w 512"/>
              <a:gd name="T43" fmla="*/ 266 h 512"/>
              <a:gd name="T44" fmla="*/ 349 w 512"/>
              <a:gd name="T45" fmla="*/ 291 h 512"/>
              <a:gd name="T46" fmla="*/ 349 w 512"/>
              <a:gd name="T47" fmla="*/ 306 h 512"/>
              <a:gd name="T48" fmla="*/ 341 w 512"/>
              <a:gd name="T49" fmla="*/ 309 h 512"/>
              <a:gd name="T50" fmla="*/ 333 w 512"/>
              <a:gd name="T51" fmla="*/ 306 h 512"/>
              <a:gd name="T52" fmla="*/ 291 w 512"/>
              <a:gd name="T53" fmla="*/ 263 h 512"/>
              <a:gd name="T54" fmla="*/ 291 w 512"/>
              <a:gd name="T55" fmla="*/ 248 h 512"/>
              <a:gd name="T56" fmla="*/ 333 w 512"/>
              <a:gd name="T57" fmla="*/ 205 h 512"/>
              <a:gd name="T58" fmla="*/ 349 w 512"/>
              <a:gd name="T59" fmla="*/ 205 h 512"/>
              <a:gd name="T60" fmla="*/ 349 w 512"/>
              <a:gd name="T61" fmla="*/ 221 h 512"/>
              <a:gd name="T62" fmla="*/ 324 w 512"/>
              <a:gd name="T63" fmla="*/ 245 h 512"/>
              <a:gd name="T64" fmla="*/ 405 w 512"/>
              <a:gd name="T65" fmla="*/ 245 h 512"/>
              <a:gd name="T66" fmla="*/ 416 w 512"/>
              <a:gd name="T67" fmla="*/ 256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263"/>
                </a:moveTo>
                <a:cubicBezTo>
                  <a:pt x="178" y="306"/>
                  <a:pt x="178" y="306"/>
                  <a:pt x="178" y="306"/>
                </a:cubicBezTo>
                <a:cubicBezTo>
                  <a:pt x="176" y="308"/>
                  <a:pt x="173" y="309"/>
                  <a:pt x="170" y="309"/>
                </a:cubicBezTo>
                <a:cubicBezTo>
                  <a:pt x="168" y="309"/>
                  <a:pt x="165" y="308"/>
                  <a:pt x="163" y="306"/>
                </a:cubicBezTo>
                <a:cubicBezTo>
                  <a:pt x="159" y="302"/>
                  <a:pt x="159" y="295"/>
                  <a:pt x="163" y="291"/>
                </a:cubicBezTo>
                <a:cubicBezTo>
                  <a:pt x="187" y="266"/>
                  <a:pt x="187" y="266"/>
                  <a:pt x="187" y="266"/>
                </a:cubicBezTo>
                <a:cubicBezTo>
                  <a:pt x="106" y="266"/>
                  <a:pt x="106" y="266"/>
                  <a:pt x="106" y="266"/>
                </a:cubicBezTo>
                <a:cubicBezTo>
                  <a:pt x="100" y="266"/>
                  <a:pt x="96" y="262"/>
                  <a:pt x="96" y="256"/>
                </a:cubicBezTo>
                <a:cubicBezTo>
                  <a:pt x="96" y="250"/>
                  <a:pt x="100" y="245"/>
                  <a:pt x="106" y="245"/>
                </a:cubicBezTo>
                <a:cubicBezTo>
                  <a:pt x="187" y="245"/>
                  <a:pt x="187" y="245"/>
                  <a:pt x="187" y="245"/>
                </a:cubicBezTo>
                <a:cubicBezTo>
                  <a:pt x="163" y="221"/>
                  <a:pt x="163" y="221"/>
                  <a:pt x="163" y="221"/>
                </a:cubicBezTo>
                <a:cubicBezTo>
                  <a:pt x="159" y="216"/>
                  <a:pt x="159" y="210"/>
                  <a:pt x="163" y="205"/>
                </a:cubicBezTo>
                <a:cubicBezTo>
                  <a:pt x="167" y="201"/>
                  <a:pt x="174" y="201"/>
                  <a:pt x="178" y="205"/>
                </a:cubicBezTo>
                <a:cubicBezTo>
                  <a:pt x="221" y="248"/>
                  <a:pt x="221" y="248"/>
                  <a:pt x="221" y="248"/>
                </a:cubicBezTo>
                <a:cubicBezTo>
                  <a:pt x="225" y="252"/>
                  <a:pt x="225" y="259"/>
                  <a:pt x="221" y="263"/>
                </a:cubicBezTo>
                <a:close/>
                <a:moveTo>
                  <a:pt x="405" y="266"/>
                </a:moveTo>
                <a:cubicBezTo>
                  <a:pt x="324" y="266"/>
                  <a:pt x="324" y="266"/>
                  <a:pt x="324" y="266"/>
                </a:cubicBezTo>
                <a:cubicBezTo>
                  <a:pt x="349" y="291"/>
                  <a:pt x="349" y="291"/>
                  <a:pt x="349" y="291"/>
                </a:cubicBezTo>
                <a:cubicBezTo>
                  <a:pt x="353" y="295"/>
                  <a:pt x="353" y="302"/>
                  <a:pt x="349" y="306"/>
                </a:cubicBezTo>
                <a:cubicBezTo>
                  <a:pt x="346" y="308"/>
                  <a:pt x="344" y="309"/>
                  <a:pt x="341" y="309"/>
                </a:cubicBezTo>
                <a:cubicBezTo>
                  <a:pt x="338" y="309"/>
                  <a:pt x="336" y="308"/>
                  <a:pt x="333" y="306"/>
                </a:cubicBezTo>
                <a:cubicBezTo>
                  <a:pt x="291" y="263"/>
                  <a:pt x="291" y="263"/>
                  <a:pt x="291" y="263"/>
                </a:cubicBezTo>
                <a:cubicBezTo>
                  <a:pt x="287" y="259"/>
                  <a:pt x="287" y="252"/>
                  <a:pt x="291" y="248"/>
                </a:cubicBezTo>
                <a:cubicBezTo>
                  <a:pt x="333" y="205"/>
                  <a:pt x="333" y="205"/>
                  <a:pt x="333" y="205"/>
                </a:cubicBezTo>
                <a:cubicBezTo>
                  <a:pt x="338" y="201"/>
                  <a:pt x="344" y="201"/>
                  <a:pt x="349" y="205"/>
                </a:cubicBezTo>
                <a:cubicBezTo>
                  <a:pt x="353" y="210"/>
                  <a:pt x="353" y="216"/>
                  <a:pt x="349" y="221"/>
                </a:cubicBezTo>
                <a:cubicBezTo>
                  <a:pt x="324" y="245"/>
                  <a:pt x="324" y="245"/>
                  <a:pt x="32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6" name="Group 171"/>
          <p:cNvGrpSpPr>
            <a:grpSpLocks noChangeAspect="1"/>
          </p:cNvGrpSpPr>
          <p:nvPr/>
        </p:nvGrpSpPr>
        <p:grpSpPr bwMode="auto">
          <a:xfrm>
            <a:off x="826719" y="5019052"/>
            <a:ext cx="367631" cy="367631"/>
            <a:chOff x="4146" y="1371"/>
            <a:chExt cx="340" cy="340"/>
          </a:xfrm>
          <a:solidFill>
            <a:schemeClr val="accent2"/>
          </a:solidFill>
        </p:grpSpPr>
        <p:sp>
          <p:nvSpPr>
            <p:cNvPr id="407" name="Freeform 172"/>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Freeform 173"/>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9" name="Freeform 177"/>
          <p:cNvSpPr>
            <a:spLocks noChangeAspect="1" noEditPoints="1"/>
          </p:cNvSpPr>
          <p:nvPr/>
        </p:nvSpPr>
        <p:spPr bwMode="auto">
          <a:xfrm>
            <a:off x="1247038" y="501905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0" name="Group 409"/>
          <p:cNvGrpSpPr>
            <a:grpSpLocks noChangeAspect="1"/>
          </p:cNvGrpSpPr>
          <p:nvPr/>
        </p:nvGrpSpPr>
        <p:grpSpPr bwMode="auto">
          <a:xfrm>
            <a:off x="1667357" y="5019052"/>
            <a:ext cx="367631" cy="367631"/>
            <a:chOff x="4629" y="1679"/>
            <a:chExt cx="340" cy="340"/>
          </a:xfrm>
          <a:solidFill>
            <a:schemeClr val="accent2"/>
          </a:solidFill>
        </p:grpSpPr>
        <p:sp>
          <p:nvSpPr>
            <p:cNvPr id="411" name="Freeform 181"/>
            <p:cNvSpPr>
              <a:spLocks noEditPoints="1"/>
            </p:cNvSpPr>
            <p:nvPr/>
          </p:nvSpPr>
          <p:spPr bwMode="auto">
            <a:xfrm>
              <a:off x="4629" y="16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Freeform 182"/>
            <p:cNvSpPr>
              <a:spLocks/>
            </p:cNvSpPr>
            <p:nvPr/>
          </p:nvSpPr>
          <p:spPr bwMode="auto">
            <a:xfrm>
              <a:off x="4813" y="1863"/>
              <a:ext cx="64" cy="64"/>
            </a:xfrm>
            <a:custGeom>
              <a:avLst/>
              <a:gdLst>
                <a:gd name="T0" fmla="*/ 93 w 97"/>
                <a:gd name="T1" fmla="*/ 78 h 96"/>
                <a:gd name="T2" fmla="*/ 36 w 97"/>
                <a:gd name="T3" fmla="*/ 21 h 96"/>
                <a:gd name="T4" fmla="*/ 75 w 97"/>
                <a:gd name="T5" fmla="*/ 21 h 96"/>
                <a:gd name="T6" fmla="*/ 85 w 97"/>
                <a:gd name="T7" fmla="*/ 11 h 96"/>
                <a:gd name="T8" fmla="*/ 75 w 97"/>
                <a:gd name="T9" fmla="*/ 0 h 96"/>
                <a:gd name="T10" fmla="*/ 11 w 97"/>
                <a:gd name="T11" fmla="*/ 0 h 96"/>
                <a:gd name="T12" fmla="*/ 0 w 97"/>
                <a:gd name="T13" fmla="*/ 11 h 96"/>
                <a:gd name="T14" fmla="*/ 0 w 97"/>
                <a:gd name="T15" fmla="*/ 75 h 96"/>
                <a:gd name="T16" fmla="*/ 11 w 97"/>
                <a:gd name="T17" fmla="*/ 85 h 96"/>
                <a:gd name="T18" fmla="*/ 21 w 97"/>
                <a:gd name="T19" fmla="*/ 75 h 96"/>
                <a:gd name="T20" fmla="*/ 21 w 97"/>
                <a:gd name="T21" fmla="*/ 36 h 96"/>
                <a:gd name="T22" fmla="*/ 78 w 97"/>
                <a:gd name="T23" fmla="*/ 93 h 96"/>
                <a:gd name="T24" fmla="*/ 85 w 97"/>
                <a:gd name="T25" fmla="*/ 96 h 96"/>
                <a:gd name="T26" fmla="*/ 93 w 97"/>
                <a:gd name="T27" fmla="*/ 93 h 96"/>
                <a:gd name="T28" fmla="*/ 93 w 97"/>
                <a:gd name="T2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6">
                  <a:moveTo>
                    <a:pt x="93" y="78"/>
                  </a:moveTo>
                  <a:cubicBezTo>
                    <a:pt x="36" y="21"/>
                    <a:pt x="36" y="21"/>
                    <a:pt x="36" y="21"/>
                  </a:cubicBezTo>
                  <a:cubicBezTo>
                    <a:pt x="75" y="21"/>
                    <a:pt x="75" y="21"/>
                    <a:pt x="75" y="21"/>
                  </a:cubicBezTo>
                  <a:cubicBezTo>
                    <a:pt x="81" y="21"/>
                    <a:pt x="85" y="17"/>
                    <a:pt x="85" y="11"/>
                  </a:cubicBezTo>
                  <a:cubicBezTo>
                    <a:pt x="85" y="5"/>
                    <a:pt x="81" y="0"/>
                    <a:pt x="75" y="0"/>
                  </a:cubicBezTo>
                  <a:cubicBezTo>
                    <a:pt x="11" y="0"/>
                    <a:pt x="11" y="0"/>
                    <a:pt x="11" y="0"/>
                  </a:cubicBezTo>
                  <a:cubicBezTo>
                    <a:pt x="5" y="0"/>
                    <a:pt x="0" y="5"/>
                    <a:pt x="0" y="11"/>
                  </a:cubicBezTo>
                  <a:cubicBezTo>
                    <a:pt x="0" y="75"/>
                    <a:pt x="0" y="75"/>
                    <a:pt x="0" y="75"/>
                  </a:cubicBezTo>
                  <a:cubicBezTo>
                    <a:pt x="0" y="81"/>
                    <a:pt x="5" y="85"/>
                    <a:pt x="11" y="85"/>
                  </a:cubicBezTo>
                  <a:cubicBezTo>
                    <a:pt x="17" y="85"/>
                    <a:pt x="21" y="81"/>
                    <a:pt x="21" y="75"/>
                  </a:cubicBezTo>
                  <a:cubicBezTo>
                    <a:pt x="21" y="36"/>
                    <a:pt x="21" y="36"/>
                    <a:pt x="21" y="36"/>
                  </a:cubicBezTo>
                  <a:cubicBezTo>
                    <a:pt x="78" y="93"/>
                    <a:pt x="78" y="93"/>
                    <a:pt x="78" y="93"/>
                  </a:cubicBezTo>
                  <a:cubicBezTo>
                    <a:pt x="80" y="95"/>
                    <a:pt x="83" y="96"/>
                    <a:pt x="85" y="96"/>
                  </a:cubicBezTo>
                  <a:cubicBezTo>
                    <a:pt x="88" y="96"/>
                    <a:pt x="91" y="95"/>
                    <a:pt x="93" y="93"/>
                  </a:cubicBezTo>
                  <a:cubicBezTo>
                    <a:pt x="97" y="89"/>
                    <a:pt x="97" y="82"/>
                    <a:pt x="93"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Freeform 183"/>
            <p:cNvSpPr>
              <a:spLocks/>
            </p:cNvSpPr>
            <p:nvPr/>
          </p:nvSpPr>
          <p:spPr bwMode="auto">
            <a:xfrm>
              <a:off x="4720" y="1770"/>
              <a:ext cx="64" cy="64"/>
            </a:xfrm>
            <a:custGeom>
              <a:avLst/>
              <a:gdLst>
                <a:gd name="T0" fmla="*/ 87 w 97"/>
                <a:gd name="T1" fmla="*/ 12 h 97"/>
                <a:gd name="T2" fmla="*/ 76 w 97"/>
                <a:gd name="T3" fmla="*/ 23 h 97"/>
                <a:gd name="T4" fmla="*/ 76 w 97"/>
                <a:gd name="T5" fmla="*/ 61 h 97"/>
                <a:gd name="T6" fmla="*/ 20 w 97"/>
                <a:gd name="T7" fmla="*/ 4 h 97"/>
                <a:gd name="T8" fmla="*/ 4 w 97"/>
                <a:gd name="T9" fmla="*/ 4 h 97"/>
                <a:gd name="T10" fmla="*/ 4 w 97"/>
                <a:gd name="T11" fmla="*/ 20 h 97"/>
                <a:gd name="T12" fmla="*/ 61 w 97"/>
                <a:gd name="T13" fmla="*/ 76 h 97"/>
                <a:gd name="T14" fmla="*/ 23 w 97"/>
                <a:gd name="T15" fmla="*/ 76 h 97"/>
                <a:gd name="T16" fmla="*/ 12 w 97"/>
                <a:gd name="T17" fmla="*/ 87 h 97"/>
                <a:gd name="T18" fmla="*/ 23 w 97"/>
                <a:gd name="T19" fmla="*/ 97 h 97"/>
                <a:gd name="T20" fmla="*/ 87 w 97"/>
                <a:gd name="T21" fmla="*/ 97 h 97"/>
                <a:gd name="T22" fmla="*/ 97 w 97"/>
                <a:gd name="T23" fmla="*/ 87 h 97"/>
                <a:gd name="T24" fmla="*/ 97 w 97"/>
                <a:gd name="T25" fmla="*/ 23 h 97"/>
                <a:gd name="T26" fmla="*/ 87 w 97"/>
                <a:gd name="T27"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87" y="12"/>
                  </a:moveTo>
                  <a:cubicBezTo>
                    <a:pt x="81" y="12"/>
                    <a:pt x="76" y="17"/>
                    <a:pt x="76" y="2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23" y="76"/>
                    <a:pt x="23" y="76"/>
                    <a:pt x="23" y="76"/>
                  </a:cubicBezTo>
                  <a:cubicBezTo>
                    <a:pt x="17" y="76"/>
                    <a:pt x="12" y="81"/>
                    <a:pt x="12" y="87"/>
                  </a:cubicBezTo>
                  <a:cubicBezTo>
                    <a:pt x="12" y="93"/>
                    <a:pt x="17" y="97"/>
                    <a:pt x="23" y="97"/>
                  </a:cubicBezTo>
                  <a:cubicBezTo>
                    <a:pt x="87" y="97"/>
                    <a:pt x="87" y="97"/>
                    <a:pt x="87" y="97"/>
                  </a:cubicBezTo>
                  <a:cubicBezTo>
                    <a:pt x="93" y="97"/>
                    <a:pt x="97" y="93"/>
                    <a:pt x="97" y="87"/>
                  </a:cubicBezTo>
                  <a:cubicBezTo>
                    <a:pt x="97" y="23"/>
                    <a:pt x="97" y="23"/>
                    <a:pt x="97" y="23"/>
                  </a:cubicBezTo>
                  <a:cubicBezTo>
                    <a:pt x="97" y="17"/>
                    <a:pt x="93" y="12"/>
                    <a:pt x="8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4" name="Freeform 413"/>
          <p:cNvSpPr>
            <a:spLocks noChangeAspect="1" noEditPoints="1"/>
          </p:cNvSpPr>
          <p:nvPr/>
        </p:nvSpPr>
        <p:spPr bwMode="auto">
          <a:xfrm>
            <a:off x="2087676" y="5019052"/>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49 h 512"/>
              <a:gd name="T12" fmla="*/ 291 w 512"/>
              <a:gd name="T13" fmla="*/ 349 h 512"/>
              <a:gd name="T14" fmla="*/ 266 w 512"/>
              <a:gd name="T15" fmla="*/ 324 h 512"/>
              <a:gd name="T16" fmla="*/ 266 w 512"/>
              <a:gd name="T17" fmla="*/ 405 h 512"/>
              <a:gd name="T18" fmla="*/ 256 w 512"/>
              <a:gd name="T19" fmla="*/ 416 h 512"/>
              <a:gd name="T20" fmla="*/ 245 w 512"/>
              <a:gd name="T21" fmla="*/ 405 h 512"/>
              <a:gd name="T22" fmla="*/ 245 w 512"/>
              <a:gd name="T23" fmla="*/ 324 h 512"/>
              <a:gd name="T24" fmla="*/ 221 w 512"/>
              <a:gd name="T25" fmla="*/ 349 h 512"/>
              <a:gd name="T26" fmla="*/ 213 w 512"/>
              <a:gd name="T27" fmla="*/ 352 h 512"/>
              <a:gd name="T28" fmla="*/ 205 w 512"/>
              <a:gd name="T29" fmla="*/ 349 h 512"/>
              <a:gd name="T30" fmla="*/ 205 w 512"/>
              <a:gd name="T31" fmla="*/ 333 h 512"/>
              <a:gd name="T32" fmla="*/ 248 w 512"/>
              <a:gd name="T33" fmla="*/ 291 h 512"/>
              <a:gd name="T34" fmla="*/ 263 w 512"/>
              <a:gd name="T35" fmla="*/ 291 h 512"/>
              <a:gd name="T36" fmla="*/ 306 w 512"/>
              <a:gd name="T37" fmla="*/ 333 h 512"/>
              <a:gd name="T38" fmla="*/ 306 w 512"/>
              <a:gd name="T39" fmla="*/ 349 h 512"/>
              <a:gd name="T40" fmla="*/ 306 w 512"/>
              <a:gd name="T41" fmla="*/ 178 h 512"/>
              <a:gd name="T42" fmla="*/ 263 w 512"/>
              <a:gd name="T43" fmla="*/ 221 h 512"/>
              <a:gd name="T44" fmla="*/ 256 w 512"/>
              <a:gd name="T45" fmla="*/ 224 h 512"/>
              <a:gd name="T46" fmla="*/ 248 w 512"/>
              <a:gd name="T47" fmla="*/ 221 h 512"/>
              <a:gd name="T48" fmla="*/ 205 w 512"/>
              <a:gd name="T49" fmla="*/ 178 h 512"/>
              <a:gd name="T50" fmla="*/ 205 w 512"/>
              <a:gd name="T51" fmla="*/ 163 h 512"/>
              <a:gd name="T52" fmla="*/ 221 w 512"/>
              <a:gd name="T53" fmla="*/ 163 h 512"/>
              <a:gd name="T54" fmla="*/ 245 w 512"/>
              <a:gd name="T55" fmla="*/ 187 h 512"/>
              <a:gd name="T56" fmla="*/ 245 w 512"/>
              <a:gd name="T57" fmla="*/ 106 h 512"/>
              <a:gd name="T58" fmla="*/ 256 w 512"/>
              <a:gd name="T59" fmla="*/ 96 h 512"/>
              <a:gd name="T60" fmla="*/ 266 w 512"/>
              <a:gd name="T61" fmla="*/ 106 h 512"/>
              <a:gd name="T62" fmla="*/ 266 w 512"/>
              <a:gd name="T63" fmla="*/ 187 h 512"/>
              <a:gd name="T64" fmla="*/ 291 w 512"/>
              <a:gd name="T65" fmla="*/ 163 h 512"/>
              <a:gd name="T66" fmla="*/ 306 w 512"/>
              <a:gd name="T67" fmla="*/ 163 h 512"/>
              <a:gd name="T68" fmla="*/ 306 w 512"/>
              <a:gd name="T69"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49"/>
                </a:moveTo>
                <a:cubicBezTo>
                  <a:pt x="302" y="353"/>
                  <a:pt x="295" y="353"/>
                  <a:pt x="291" y="349"/>
                </a:cubicBezTo>
                <a:cubicBezTo>
                  <a:pt x="266" y="324"/>
                  <a:pt x="266" y="324"/>
                  <a:pt x="266" y="324"/>
                </a:cubicBezTo>
                <a:cubicBezTo>
                  <a:pt x="266" y="405"/>
                  <a:pt x="266" y="405"/>
                  <a:pt x="266" y="405"/>
                </a:cubicBezTo>
                <a:cubicBezTo>
                  <a:pt x="266" y="411"/>
                  <a:pt x="262" y="416"/>
                  <a:pt x="256" y="416"/>
                </a:cubicBezTo>
                <a:cubicBezTo>
                  <a:pt x="250" y="416"/>
                  <a:pt x="245" y="411"/>
                  <a:pt x="245" y="405"/>
                </a:cubicBezTo>
                <a:cubicBezTo>
                  <a:pt x="245" y="324"/>
                  <a:pt x="245" y="324"/>
                  <a:pt x="245" y="324"/>
                </a:cubicBezTo>
                <a:cubicBezTo>
                  <a:pt x="221" y="349"/>
                  <a:pt x="221" y="349"/>
                  <a:pt x="221" y="349"/>
                </a:cubicBezTo>
                <a:cubicBezTo>
                  <a:pt x="218" y="351"/>
                  <a:pt x="216" y="352"/>
                  <a:pt x="213" y="352"/>
                </a:cubicBezTo>
                <a:cubicBezTo>
                  <a:pt x="210" y="352"/>
                  <a:pt x="208" y="351"/>
                  <a:pt x="205" y="349"/>
                </a:cubicBezTo>
                <a:cubicBezTo>
                  <a:pt x="201" y="344"/>
                  <a:pt x="201" y="338"/>
                  <a:pt x="205" y="333"/>
                </a:cubicBezTo>
                <a:cubicBezTo>
                  <a:pt x="248" y="291"/>
                  <a:pt x="248" y="291"/>
                  <a:pt x="248" y="291"/>
                </a:cubicBezTo>
                <a:cubicBezTo>
                  <a:pt x="252" y="287"/>
                  <a:pt x="259" y="287"/>
                  <a:pt x="263" y="291"/>
                </a:cubicBezTo>
                <a:cubicBezTo>
                  <a:pt x="306" y="333"/>
                  <a:pt x="306" y="333"/>
                  <a:pt x="306" y="333"/>
                </a:cubicBezTo>
                <a:cubicBezTo>
                  <a:pt x="310" y="338"/>
                  <a:pt x="310" y="344"/>
                  <a:pt x="306" y="349"/>
                </a:cubicBezTo>
                <a:close/>
                <a:moveTo>
                  <a:pt x="306" y="178"/>
                </a:moveTo>
                <a:cubicBezTo>
                  <a:pt x="263" y="221"/>
                  <a:pt x="263" y="221"/>
                  <a:pt x="263" y="221"/>
                </a:cubicBezTo>
                <a:cubicBezTo>
                  <a:pt x="261" y="223"/>
                  <a:pt x="258" y="224"/>
                  <a:pt x="256" y="224"/>
                </a:cubicBezTo>
                <a:cubicBezTo>
                  <a:pt x="253" y="224"/>
                  <a:pt x="250" y="223"/>
                  <a:pt x="248" y="221"/>
                </a:cubicBezTo>
                <a:cubicBezTo>
                  <a:pt x="205" y="178"/>
                  <a:pt x="205" y="178"/>
                  <a:pt x="205" y="178"/>
                </a:cubicBezTo>
                <a:cubicBezTo>
                  <a:pt x="201" y="174"/>
                  <a:pt x="201" y="167"/>
                  <a:pt x="205" y="163"/>
                </a:cubicBezTo>
                <a:cubicBezTo>
                  <a:pt x="210" y="159"/>
                  <a:pt x="216" y="159"/>
                  <a:pt x="221" y="163"/>
                </a:cubicBezTo>
                <a:cubicBezTo>
                  <a:pt x="245" y="187"/>
                  <a:pt x="245" y="187"/>
                  <a:pt x="245" y="187"/>
                </a:cubicBezTo>
                <a:cubicBezTo>
                  <a:pt x="245" y="106"/>
                  <a:pt x="245" y="106"/>
                  <a:pt x="245" y="106"/>
                </a:cubicBezTo>
                <a:cubicBezTo>
                  <a:pt x="245" y="100"/>
                  <a:pt x="250" y="96"/>
                  <a:pt x="256" y="96"/>
                </a:cubicBezTo>
                <a:cubicBezTo>
                  <a:pt x="262" y="96"/>
                  <a:pt x="266" y="100"/>
                  <a:pt x="266" y="106"/>
                </a:cubicBezTo>
                <a:cubicBezTo>
                  <a:pt x="266" y="187"/>
                  <a:pt x="266" y="187"/>
                  <a:pt x="266" y="187"/>
                </a:cubicBezTo>
                <a:cubicBezTo>
                  <a:pt x="291" y="163"/>
                  <a:pt x="291" y="163"/>
                  <a:pt x="291" y="163"/>
                </a:cubicBezTo>
                <a:cubicBezTo>
                  <a:pt x="295" y="159"/>
                  <a:pt x="302" y="159"/>
                  <a:pt x="306" y="163"/>
                </a:cubicBezTo>
                <a:cubicBezTo>
                  <a:pt x="310" y="167"/>
                  <a:pt x="310" y="174"/>
                  <a:pt x="306" y="17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5" name="Group 190"/>
          <p:cNvGrpSpPr>
            <a:grpSpLocks noChangeAspect="1"/>
          </p:cNvGrpSpPr>
          <p:nvPr/>
        </p:nvGrpSpPr>
        <p:grpSpPr bwMode="auto">
          <a:xfrm>
            <a:off x="2509077" y="5019052"/>
            <a:ext cx="367631" cy="367631"/>
            <a:chOff x="4898" y="1582"/>
            <a:chExt cx="340" cy="340"/>
          </a:xfrm>
          <a:solidFill>
            <a:schemeClr val="accent2"/>
          </a:solidFill>
        </p:grpSpPr>
        <p:sp>
          <p:nvSpPr>
            <p:cNvPr id="416" name="Freeform 191"/>
            <p:cNvSpPr>
              <a:spLocks noEditPoints="1"/>
            </p:cNvSpPr>
            <p:nvPr/>
          </p:nvSpPr>
          <p:spPr bwMode="auto">
            <a:xfrm>
              <a:off x="4898" y="15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192"/>
            <p:cNvSpPr>
              <a:spLocks noEditPoints="1"/>
            </p:cNvSpPr>
            <p:nvPr/>
          </p:nvSpPr>
          <p:spPr bwMode="auto">
            <a:xfrm>
              <a:off x="5031" y="1646"/>
              <a:ext cx="73" cy="212"/>
            </a:xfrm>
            <a:custGeom>
              <a:avLst/>
              <a:gdLst>
                <a:gd name="T0" fmla="*/ 105 w 109"/>
                <a:gd name="T1" fmla="*/ 82 h 320"/>
                <a:gd name="T2" fmla="*/ 62 w 109"/>
                <a:gd name="T3" fmla="*/ 125 h 320"/>
                <a:gd name="T4" fmla="*/ 55 w 109"/>
                <a:gd name="T5" fmla="*/ 128 h 320"/>
                <a:gd name="T6" fmla="*/ 47 w 109"/>
                <a:gd name="T7" fmla="*/ 125 h 320"/>
                <a:gd name="T8" fmla="*/ 4 w 109"/>
                <a:gd name="T9" fmla="*/ 82 h 320"/>
                <a:gd name="T10" fmla="*/ 4 w 109"/>
                <a:gd name="T11" fmla="*/ 67 h 320"/>
                <a:gd name="T12" fmla="*/ 20 w 109"/>
                <a:gd name="T13" fmla="*/ 67 h 320"/>
                <a:gd name="T14" fmla="*/ 44 w 109"/>
                <a:gd name="T15" fmla="*/ 91 h 320"/>
                <a:gd name="T16" fmla="*/ 44 w 109"/>
                <a:gd name="T17" fmla="*/ 10 h 320"/>
                <a:gd name="T18" fmla="*/ 55 w 109"/>
                <a:gd name="T19" fmla="*/ 0 h 320"/>
                <a:gd name="T20" fmla="*/ 65 w 109"/>
                <a:gd name="T21" fmla="*/ 10 h 320"/>
                <a:gd name="T22" fmla="*/ 65 w 109"/>
                <a:gd name="T23" fmla="*/ 91 h 320"/>
                <a:gd name="T24" fmla="*/ 90 w 109"/>
                <a:gd name="T25" fmla="*/ 67 h 320"/>
                <a:gd name="T26" fmla="*/ 105 w 109"/>
                <a:gd name="T27" fmla="*/ 67 h 320"/>
                <a:gd name="T28" fmla="*/ 105 w 109"/>
                <a:gd name="T29" fmla="*/ 82 h 320"/>
                <a:gd name="T30" fmla="*/ 105 w 109"/>
                <a:gd name="T31" fmla="*/ 237 h 320"/>
                <a:gd name="T32" fmla="*/ 62 w 109"/>
                <a:gd name="T33" fmla="*/ 195 h 320"/>
                <a:gd name="T34" fmla="*/ 47 w 109"/>
                <a:gd name="T35" fmla="*/ 195 h 320"/>
                <a:gd name="T36" fmla="*/ 4 w 109"/>
                <a:gd name="T37" fmla="*/ 237 h 320"/>
                <a:gd name="T38" fmla="*/ 4 w 109"/>
                <a:gd name="T39" fmla="*/ 253 h 320"/>
                <a:gd name="T40" fmla="*/ 12 w 109"/>
                <a:gd name="T41" fmla="*/ 256 h 320"/>
                <a:gd name="T42" fmla="*/ 20 w 109"/>
                <a:gd name="T43" fmla="*/ 253 h 320"/>
                <a:gd name="T44" fmla="*/ 44 w 109"/>
                <a:gd name="T45" fmla="*/ 228 h 320"/>
                <a:gd name="T46" fmla="*/ 44 w 109"/>
                <a:gd name="T47" fmla="*/ 309 h 320"/>
                <a:gd name="T48" fmla="*/ 55 w 109"/>
                <a:gd name="T49" fmla="*/ 320 h 320"/>
                <a:gd name="T50" fmla="*/ 65 w 109"/>
                <a:gd name="T51" fmla="*/ 309 h 320"/>
                <a:gd name="T52" fmla="*/ 65 w 109"/>
                <a:gd name="T53" fmla="*/ 228 h 320"/>
                <a:gd name="T54" fmla="*/ 90 w 109"/>
                <a:gd name="T55" fmla="*/ 253 h 320"/>
                <a:gd name="T56" fmla="*/ 105 w 109"/>
                <a:gd name="T57" fmla="*/ 253 h 320"/>
                <a:gd name="T58" fmla="*/ 105 w 109"/>
                <a:gd name="T59" fmla="*/ 23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320">
                  <a:moveTo>
                    <a:pt x="105" y="82"/>
                  </a:moveTo>
                  <a:cubicBezTo>
                    <a:pt x="62" y="125"/>
                    <a:pt x="62" y="125"/>
                    <a:pt x="62" y="125"/>
                  </a:cubicBezTo>
                  <a:cubicBezTo>
                    <a:pt x="60" y="127"/>
                    <a:pt x="57" y="128"/>
                    <a:pt x="55" y="128"/>
                  </a:cubicBezTo>
                  <a:cubicBezTo>
                    <a:pt x="52" y="128"/>
                    <a:pt x="49" y="127"/>
                    <a:pt x="47" y="125"/>
                  </a:cubicBezTo>
                  <a:cubicBezTo>
                    <a:pt x="4" y="82"/>
                    <a:pt x="4" y="82"/>
                    <a:pt x="4" y="82"/>
                  </a:cubicBezTo>
                  <a:cubicBezTo>
                    <a:pt x="0" y="78"/>
                    <a:pt x="0" y="71"/>
                    <a:pt x="4" y="67"/>
                  </a:cubicBezTo>
                  <a:cubicBezTo>
                    <a:pt x="9" y="63"/>
                    <a:pt x="15" y="63"/>
                    <a:pt x="20" y="67"/>
                  </a:cubicBezTo>
                  <a:cubicBezTo>
                    <a:pt x="44" y="91"/>
                    <a:pt x="44" y="91"/>
                    <a:pt x="44" y="91"/>
                  </a:cubicBezTo>
                  <a:cubicBezTo>
                    <a:pt x="44" y="10"/>
                    <a:pt x="44" y="10"/>
                    <a:pt x="44" y="10"/>
                  </a:cubicBezTo>
                  <a:cubicBezTo>
                    <a:pt x="44" y="4"/>
                    <a:pt x="49" y="0"/>
                    <a:pt x="55" y="0"/>
                  </a:cubicBezTo>
                  <a:cubicBezTo>
                    <a:pt x="61" y="0"/>
                    <a:pt x="65" y="4"/>
                    <a:pt x="65" y="10"/>
                  </a:cubicBezTo>
                  <a:cubicBezTo>
                    <a:pt x="65" y="91"/>
                    <a:pt x="65" y="91"/>
                    <a:pt x="65" y="91"/>
                  </a:cubicBezTo>
                  <a:cubicBezTo>
                    <a:pt x="90" y="67"/>
                    <a:pt x="90" y="67"/>
                    <a:pt x="90" y="67"/>
                  </a:cubicBezTo>
                  <a:cubicBezTo>
                    <a:pt x="94" y="63"/>
                    <a:pt x="101" y="63"/>
                    <a:pt x="105" y="67"/>
                  </a:cubicBezTo>
                  <a:cubicBezTo>
                    <a:pt x="109" y="71"/>
                    <a:pt x="109" y="78"/>
                    <a:pt x="105" y="82"/>
                  </a:cubicBezTo>
                  <a:close/>
                  <a:moveTo>
                    <a:pt x="105" y="237"/>
                  </a:moveTo>
                  <a:cubicBezTo>
                    <a:pt x="62" y="195"/>
                    <a:pt x="62" y="195"/>
                    <a:pt x="62" y="195"/>
                  </a:cubicBezTo>
                  <a:cubicBezTo>
                    <a:pt x="58" y="191"/>
                    <a:pt x="51" y="191"/>
                    <a:pt x="47" y="195"/>
                  </a:cubicBezTo>
                  <a:cubicBezTo>
                    <a:pt x="4" y="237"/>
                    <a:pt x="4" y="237"/>
                    <a:pt x="4" y="237"/>
                  </a:cubicBezTo>
                  <a:cubicBezTo>
                    <a:pt x="0" y="242"/>
                    <a:pt x="0" y="248"/>
                    <a:pt x="4" y="253"/>
                  </a:cubicBezTo>
                  <a:cubicBezTo>
                    <a:pt x="7" y="255"/>
                    <a:pt x="9" y="256"/>
                    <a:pt x="12" y="256"/>
                  </a:cubicBezTo>
                  <a:cubicBezTo>
                    <a:pt x="15" y="256"/>
                    <a:pt x="17" y="255"/>
                    <a:pt x="20" y="253"/>
                  </a:cubicBezTo>
                  <a:cubicBezTo>
                    <a:pt x="44" y="228"/>
                    <a:pt x="44" y="228"/>
                    <a:pt x="44" y="228"/>
                  </a:cubicBezTo>
                  <a:cubicBezTo>
                    <a:pt x="44" y="309"/>
                    <a:pt x="44" y="309"/>
                    <a:pt x="44" y="309"/>
                  </a:cubicBezTo>
                  <a:cubicBezTo>
                    <a:pt x="44" y="315"/>
                    <a:pt x="49" y="320"/>
                    <a:pt x="55" y="320"/>
                  </a:cubicBezTo>
                  <a:cubicBezTo>
                    <a:pt x="61" y="320"/>
                    <a:pt x="65" y="315"/>
                    <a:pt x="65" y="309"/>
                  </a:cubicBezTo>
                  <a:cubicBezTo>
                    <a:pt x="65" y="228"/>
                    <a:pt x="65" y="228"/>
                    <a:pt x="65" y="228"/>
                  </a:cubicBezTo>
                  <a:cubicBezTo>
                    <a:pt x="90" y="253"/>
                    <a:pt x="90" y="253"/>
                    <a:pt x="90" y="253"/>
                  </a:cubicBezTo>
                  <a:cubicBezTo>
                    <a:pt x="94" y="257"/>
                    <a:pt x="101" y="257"/>
                    <a:pt x="105" y="253"/>
                  </a:cubicBezTo>
                  <a:cubicBezTo>
                    <a:pt x="109" y="248"/>
                    <a:pt x="109" y="242"/>
                    <a:pt x="105" y="2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5" name="Group 217"/>
          <p:cNvGrpSpPr>
            <a:grpSpLocks noChangeAspect="1"/>
          </p:cNvGrpSpPr>
          <p:nvPr/>
        </p:nvGrpSpPr>
        <p:grpSpPr bwMode="auto">
          <a:xfrm>
            <a:off x="8402939" y="4185376"/>
            <a:ext cx="369676" cy="369676"/>
            <a:chOff x="5807" y="746"/>
            <a:chExt cx="340" cy="340"/>
          </a:xfrm>
          <a:solidFill>
            <a:schemeClr val="accent3"/>
          </a:solidFill>
        </p:grpSpPr>
        <p:sp>
          <p:nvSpPr>
            <p:cNvPr id="216"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8" name="Freeform 223"/>
          <p:cNvSpPr>
            <a:spLocks noChangeAspect="1" noEditPoints="1"/>
          </p:cNvSpPr>
          <p:nvPr/>
        </p:nvSpPr>
        <p:spPr bwMode="auto">
          <a:xfrm>
            <a:off x="7980982" y="418537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23" name="Group 666"/>
          <p:cNvGrpSpPr>
            <a:grpSpLocks noChangeAspect="1"/>
          </p:cNvGrpSpPr>
          <p:nvPr/>
        </p:nvGrpSpPr>
        <p:grpSpPr bwMode="auto">
          <a:xfrm>
            <a:off x="5033464" y="5019052"/>
            <a:ext cx="369021" cy="369021"/>
            <a:chOff x="7340" y="2694"/>
            <a:chExt cx="340" cy="340"/>
          </a:xfrm>
          <a:solidFill>
            <a:schemeClr val="accent2"/>
          </a:solidFill>
        </p:grpSpPr>
        <p:sp>
          <p:nvSpPr>
            <p:cNvPr id="224" name="Freeform 667"/>
            <p:cNvSpPr>
              <a:spLocks/>
            </p:cNvSpPr>
            <p:nvPr/>
          </p:nvSpPr>
          <p:spPr bwMode="auto">
            <a:xfrm>
              <a:off x="7418" y="2779"/>
              <a:ext cx="177" cy="170"/>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668"/>
            <p:cNvSpPr>
              <a:spLocks noEditPoints="1"/>
            </p:cNvSpPr>
            <p:nvPr/>
          </p:nvSpPr>
          <p:spPr bwMode="auto">
            <a:xfrm>
              <a:off x="7340"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6" name="Freeform 672"/>
          <p:cNvSpPr>
            <a:spLocks noChangeAspect="1" noEditPoints="1"/>
          </p:cNvSpPr>
          <p:nvPr/>
        </p:nvSpPr>
        <p:spPr bwMode="auto">
          <a:xfrm>
            <a:off x="4611755" y="5019052"/>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27" name="Group 724"/>
          <p:cNvGrpSpPr>
            <a:grpSpLocks noChangeAspect="1"/>
          </p:cNvGrpSpPr>
          <p:nvPr/>
        </p:nvGrpSpPr>
        <p:grpSpPr bwMode="auto">
          <a:xfrm>
            <a:off x="5030797" y="4185376"/>
            <a:ext cx="369021" cy="370106"/>
            <a:chOff x="2637" y="2702"/>
            <a:chExt cx="340" cy="341"/>
          </a:xfrm>
          <a:solidFill>
            <a:schemeClr val="accent2"/>
          </a:solidFill>
        </p:grpSpPr>
        <p:sp>
          <p:nvSpPr>
            <p:cNvPr id="228" name="Freeform 725"/>
            <p:cNvSpPr>
              <a:spLocks noEditPoints="1"/>
            </p:cNvSpPr>
            <p:nvPr/>
          </p:nvSpPr>
          <p:spPr bwMode="auto">
            <a:xfrm>
              <a:off x="2637" y="270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Freeform 726"/>
            <p:cNvSpPr>
              <a:spLocks/>
            </p:cNvSpPr>
            <p:nvPr/>
          </p:nvSpPr>
          <p:spPr bwMode="auto">
            <a:xfrm>
              <a:off x="2700" y="2793"/>
              <a:ext cx="213" cy="129"/>
            </a:xfrm>
            <a:custGeom>
              <a:avLst/>
              <a:gdLst>
                <a:gd name="T0" fmla="*/ 246 w 321"/>
                <a:gd name="T1" fmla="*/ 44 h 193"/>
                <a:gd name="T2" fmla="*/ 37 w 321"/>
                <a:gd name="T3" fmla="*/ 44 h 193"/>
                <a:gd name="T4" fmla="*/ 62 w 321"/>
                <a:gd name="T5" fmla="*/ 20 h 193"/>
                <a:gd name="T6" fmla="*/ 62 w 321"/>
                <a:gd name="T7" fmla="*/ 4 h 193"/>
                <a:gd name="T8" fmla="*/ 46 w 321"/>
                <a:gd name="T9" fmla="*/ 4 h 193"/>
                <a:gd name="T10" fmla="*/ 4 w 321"/>
                <a:gd name="T11" fmla="*/ 47 h 193"/>
                <a:gd name="T12" fmla="*/ 4 w 321"/>
                <a:gd name="T13" fmla="*/ 62 h 193"/>
                <a:gd name="T14" fmla="*/ 46 w 321"/>
                <a:gd name="T15" fmla="*/ 105 h 193"/>
                <a:gd name="T16" fmla="*/ 54 w 321"/>
                <a:gd name="T17" fmla="*/ 108 h 193"/>
                <a:gd name="T18" fmla="*/ 62 w 321"/>
                <a:gd name="T19" fmla="*/ 105 h 193"/>
                <a:gd name="T20" fmla="*/ 62 w 321"/>
                <a:gd name="T21" fmla="*/ 90 h 193"/>
                <a:gd name="T22" fmla="*/ 37 w 321"/>
                <a:gd name="T23" fmla="*/ 65 h 193"/>
                <a:gd name="T24" fmla="*/ 246 w 321"/>
                <a:gd name="T25" fmla="*/ 65 h 193"/>
                <a:gd name="T26" fmla="*/ 299 w 321"/>
                <a:gd name="T27" fmla="*/ 119 h 193"/>
                <a:gd name="T28" fmla="*/ 246 w 321"/>
                <a:gd name="T29" fmla="*/ 172 h 193"/>
                <a:gd name="T30" fmla="*/ 33 w 321"/>
                <a:gd name="T31" fmla="*/ 172 h 193"/>
                <a:gd name="T32" fmla="*/ 22 w 321"/>
                <a:gd name="T33" fmla="*/ 183 h 193"/>
                <a:gd name="T34" fmla="*/ 33 w 321"/>
                <a:gd name="T35" fmla="*/ 193 h 193"/>
                <a:gd name="T36" fmla="*/ 246 w 321"/>
                <a:gd name="T37" fmla="*/ 193 h 193"/>
                <a:gd name="T38" fmla="*/ 321 w 321"/>
                <a:gd name="T39" fmla="*/ 119 h 193"/>
                <a:gd name="T40" fmla="*/ 246 w 321"/>
                <a:gd name="T41"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1" h="193">
                  <a:moveTo>
                    <a:pt x="246"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246" y="65"/>
                    <a:pt x="246" y="65"/>
                    <a:pt x="246" y="65"/>
                  </a:cubicBezTo>
                  <a:cubicBezTo>
                    <a:pt x="275" y="65"/>
                    <a:pt x="299" y="89"/>
                    <a:pt x="299" y="119"/>
                  </a:cubicBezTo>
                  <a:cubicBezTo>
                    <a:pt x="299" y="148"/>
                    <a:pt x="275" y="172"/>
                    <a:pt x="246" y="172"/>
                  </a:cubicBezTo>
                  <a:cubicBezTo>
                    <a:pt x="33" y="172"/>
                    <a:pt x="33" y="172"/>
                    <a:pt x="33" y="172"/>
                  </a:cubicBezTo>
                  <a:cubicBezTo>
                    <a:pt x="27" y="172"/>
                    <a:pt x="22" y="177"/>
                    <a:pt x="22" y="183"/>
                  </a:cubicBezTo>
                  <a:cubicBezTo>
                    <a:pt x="22" y="189"/>
                    <a:pt x="27" y="193"/>
                    <a:pt x="33" y="193"/>
                  </a:cubicBezTo>
                  <a:cubicBezTo>
                    <a:pt x="246" y="193"/>
                    <a:pt x="246" y="193"/>
                    <a:pt x="246" y="193"/>
                  </a:cubicBezTo>
                  <a:cubicBezTo>
                    <a:pt x="287" y="193"/>
                    <a:pt x="321" y="160"/>
                    <a:pt x="321" y="119"/>
                  </a:cubicBezTo>
                  <a:cubicBezTo>
                    <a:pt x="321" y="77"/>
                    <a:pt x="287" y="44"/>
                    <a:pt x="246"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0" name="Freeform 730"/>
          <p:cNvSpPr>
            <a:spLocks noChangeAspect="1" noEditPoints="1"/>
          </p:cNvSpPr>
          <p:nvPr/>
        </p:nvSpPr>
        <p:spPr bwMode="auto">
          <a:xfrm>
            <a:off x="4609497" y="41853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30 h 512"/>
              <a:gd name="T12" fmla="*/ 128 w 512"/>
              <a:gd name="T13" fmla="*/ 330 h 512"/>
              <a:gd name="T14" fmla="*/ 117 w 512"/>
              <a:gd name="T15" fmla="*/ 320 h 512"/>
              <a:gd name="T16" fmla="*/ 128 w 512"/>
              <a:gd name="T17" fmla="*/ 309 h 512"/>
              <a:gd name="T18" fmla="*/ 341 w 512"/>
              <a:gd name="T19" fmla="*/ 309 h 512"/>
              <a:gd name="T20" fmla="*/ 394 w 512"/>
              <a:gd name="T21" fmla="*/ 256 h 512"/>
              <a:gd name="T22" fmla="*/ 341 w 512"/>
              <a:gd name="T23" fmla="*/ 202 h 512"/>
              <a:gd name="T24" fmla="*/ 132 w 512"/>
              <a:gd name="T25" fmla="*/ 202 h 512"/>
              <a:gd name="T26" fmla="*/ 157 w 512"/>
              <a:gd name="T27" fmla="*/ 227 h 512"/>
              <a:gd name="T28" fmla="*/ 157 w 512"/>
              <a:gd name="T29" fmla="*/ 242 h 512"/>
              <a:gd name="T30" fmla="*/ 149 w 512"/>
              <a:gd name="T31" fmla="*/ 245 h 512"/>
              <a:gd name="T32" fmla="*/ 141 w 512"/>
              <a:gd name="T33" fmla="*/ 242 h 512"/>
              <a:gd name="T34" fmla="*/ 99 w 512"/>
              <a:gd name="T35" fmla="*/ 199 h 512"/>
              <a:gd name="T36" fmla="*/ 99 w 512"/>
              <a:gd name="T37" fmla="*/ 184 h 512"/>
              <a:gd name="T38" fmla="*/ 141 w 512"/>
              <a:gd name="T39" fmla="*/ 141 h 512"/>
              <a:gd name="T40" fmla="*/ 157 w 512"/>
              <a:gd name="T41" fmla="*/ 141 h 512"/>
              <a:gd name="T42" fmla="*/ 157 w 512"/>
              <a:gd name="T43" fmla="*/ 157 h 512"/>
              <a:gd name="T44" fmla="*/ 132 w 512"/>
              <a:gd name="T45" fmla="*/ 181 h 512"/>
              <a:gd name="T46" fmla="*/ 341 w 512"/>
              <a:gd name="T47" fmla="*/ 181 h 512"/>
              <a:gd name="T48" fmla="*/ 416 w 512"/>
              <a:gd name="T49" fmla="*/ 256 h 512"/>
              <a:gd name="T50" fmla="*/ 341 w 512"/>
              <a:gd name="T5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30"/>
                </a:moveTo>
                <a:cubicBezTo>
                  <a:pt x="128" y="330"/>
                  <a:pt x="128" y="330"/>
                  <a:pt x="128" y="330"/>
                </a:cubicBezTo>
                <a:cubicBezTo>
                  <a:pt x="122" y="330"/>
                  <a:pt x="117" y="326"/>
                  <a:pt x="117" y="320"/>
                </a:cubicBezTo>
                <a:cubicBezTo>
                  <a:pt x="117" y="314"/>
                  <a:pt x="122" y="309"/>
                  <a:pt x="128" y="309"/>
                </a:cubicBezTo>
                <a:cubicBezTo>
                  <a:pt x="341" y="309"/>
                  <a:pt x="341" y="309"/>
                  <a:pt x="341" y="309"/>
                </a:cubicBezTo>
                <a:cubicBezTo>
                  <a:pt x="370" y="309"/>
                  <a:pt x="394" y="285"/>
                  <a:pt x="394" y="256"/>
                </a:cubicBezTo>
                <a:cubicBezTo>
                  <a:pt x="394" y="226"/>
                  <a:pt x="370" y="202"/>
                  <a:pt x="341" y="202"/>
                </a:cubicBez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5" y="195"/>
                  <a:pt x="95" y="188"/>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341" y="181"/>
                  <a:pt x="341" y="181"/>
                  <a:pt x="341" y="181"/>
                </a:cubicBezTo>
                <a:cubicBezTo>
                  <a:pt x="382" y="181"/>
                  <a:pt x="416" y="214"/>
                  <a:pt x="416" y="256"/>
                </a:cubicBezTo>
                <a:cubicBezTo>
                  <a:pt x="416" y="297"/>
                  <a:pt x="382" y="330"/>
                  <a:pt x="341" y="33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1" name="Freeform 734"/>
          <p:cNvSpPr>
            <a:spLocks noChangeAspect="1" noEditPoints="1"/>
          </p:cNvSpPr>
          <p:nvPr/>
        </p:nvSpPr>
        <p:spPr bwMode="auto">
          <a:xfrm>
            <a:off x="5876879" y="5019052"/>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2" name="Freeform 738"/>
          <p:cNvSpPr>
            <a:spLocks noChangeAspect="1" noEditPoints="1"/>
          </p:cNvSpPr>
          <p:nvPr/>
        </p:nvSpPr>
        <p:spPr bwMode="auto">
          <a:xfrm>
            <a:off x="5455173" y="5019052"/>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3" name="Freeform 374"/>
          <p:cNvSpPr>
            <a:spLocks noChangeAspect="1" noEditPoints="1"/>
          </p:cNvSpPr>
          <p:nvPr/>
        </p:nvSpPr>
        <p:spPr bwMode="auto">
          <a:xfrm>
            <a:off x="3785768" y="3365814"/>
            <a:ext cx="367041"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34" name="Group 377"/>
          <p:cNvGrpSpPr>
            <a:grpSpLocks noChangeAspect="1"/>
          </p:cNvGrpSpPr>
          <p:nvPr/>
        </p:nvGrpSpPr>
        <p:grpSpPr bwMode="auto">
          <a:xfrm>
            <a:off x="4205554" y="3365814"/>
            <a:ext cx="368121" cy="367041"/>
            <a:chOff x="7130" y="1796"/>
            <a:chExt cx="341" cy="340"/>
          </a:xfrm>
          <a:solidFill>
            <a:schemeClr val="accent4"/>
          </a:solidFill>
        </p:grpSpPr>
        <p:sp>
          <p:nvSpPr>
            <p:cNvPr id="235" name="Freeform 234"/>
            <p:cNvSpPr>
              <a:spLocks noEditPoints="1"/>
            </p:cNvSpPr>
            <p:nvPr/>
          </p:nvSpPr>
          <p:spPr bwMode="auto">
            <a:xfrm>
              <a:off x="7130" y="179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235"/>
            <p:cNvSpPr>
              <a:spLocks noEditPoints="1"/>
            </p:cNvSpPr>
            <p:nvPr/>
          </p:nvSpPr>
          <p:spPr bwMode="auto">
            <a:xfrm>
              <a:off x="7193" y="1929"/>
              <a:ext cx="215" cy="72"/>
            </a:xfrm>
            <a:custGeom>
              <a:avLst/>
              <a:gdLst>
                <a:gd name="T0" fmla="*/ 318 w 322"/>
                <a:gd name="T1" fmla="*/ 62 h 108"/>
                <a:gd name="T2" fmla="*/ 275 w 322"/>
                <a:gd name="T3" fmla="*/ 105 h 108"/>
                <a:gd name="T4" fmla="*/ 267 w 322"/>
                <a:gd name="T5" fmla="*/ 108 h 108"/>
                <a:gd name="T6" fmla="*/ 260 w 322"/>
                <a:gd name="T7" fmla="*/ 105 h 108"/>
                <a:gd name="T8" fmla="*/ 260 w 322"/>
                <a:gd name="T9" fmla="*/ 90 h 108"/>
                <a:gd name="T10" fmla="*/ 284 w 322"/>
                <a:gd name="T11" fmla="*/ 65 h 108"/>
                <a:gd name="T12" fmla="*/ 203 w 322"/>
                <a:gd name="T13" fmla="*/ 65 h 108"/>
                <a:gd name="T14" fmla="*/ 193 w 322"/>
                <a:gd name="T15" fmla="*/ 55 h 108"/>
                <a:gd name="T16" fmla="*/ 203 w 322"/>
                <a:gd name="T17" fmla="*/ 44 h 108"/>
                <a:gd name="T18" fmla="*/ 284 w 322"/>
                <a:gd name="T19" fmla="*/ 44 h 108"/>
                <a:gd name="T20" fmla="*/ 260 w 322"/>
                <a:gd name="T21" fmla="*/ 20 h 108"/>
                <a:gd name="T22" fmla="*/ 260 w 322"/>
                <a:gd name="T23" fmla="*/ 4 h 108"/>
                <a:gd name="T24" fmla="*/ 275 w 322"/>
                <a:gd name="T25" fmla="*/ 4 h 108"/>
                <a:gd name="T26" fmla="*/ 318 w 322"/>
                <a:gd name="T27" fmla="*/ 47 h 108"/>
                <a:gd name="T28" fmla="*/ 318 w 322"/>
                <a:gd name="T29" fmla="*/ 62 h 108"/>
                <a:gd name="T30" fmla="*/ 118 w 322"/>
                <a:gd name="T31" fmla="*/ 44 h 108"/>
                <a:gd name="T32" fmla="*/ 37 w 322"/>
                <a:gd name="T33" fmla="*/ 44 h 108"/>
                <a:gd name="T34" fmla="*/ 62 w 322"/>
                <a:gd name="T35" fmla="*/ 20 h 108"/>
                <a:gd name="T36" fmla="*/ 62 w 322"/>
                <a:gd name="T37" fmla="*/ 4 h 108"/>
                <a:gd name="T38" fmla="*/ 46 w 322"/>
                <a:gd name="T39" fmla="*/ 4 h 108"/>
                <a:gd name="T40" fmla="*/ 4 w 322"/>
                <a:gd name="T41" fmla="*/ 47 h 108"/>
                <a:gd name="T42" fmla="*/ 4 w 322"/>
                <a:gd name="T43" fmla="*/ 62 h 108"/>
                <a:gd name="T44" fmla="*/ 9 w 322"/>
                <a:gd name="T45" fmla="*/ 68 h 108"/>
                <a:gd name="T46" fmla="*/ 46 w 322"/>
                <a:gd name="T47" fmla="*/ 105 h 108"/>
                <a:gd name="T48" fmla="*/ 54 w 322"/>
                <a:gd name="T49" fmla="*/ 108 h 108"/>
                <a:gd name="T50" fmla="*/ 62 w 322"/>
                <a:gd name="T51" fmla="*/ 105 h 108"/>
                <a:gd name="T52" fmla="*/ 62 w 322"/>
                <a:gd name="T53" fmla="*/ 90 h 108"/>
                <a:gd name="T54" fmla="*/ 37 w 322"/>
                <a:gd name="T55" fmla="*/ 65 h 108"/>
                <a:gd name="T56" fmla="*/ 118 w 322"/>
                <a:gd name="T57" fmla="*/ 65 h 108"/>
                <a:gd name="T58" fmla="*/ 129 w 322"/>
                <a:gd name="T59" fmla="*/ 55 h 108"/>
                <a:gd name="T60" fmla="*/ 118 w 322"/>
                <a:gd name="T6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108">
                  <a:moveTo>
                    <a:pt x="318" y="62"/>
                  </a:move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203" y="65"/>
                    <a:pt x="203" y="65"/>
                    <a:pt x="203" y="65"/>
                  </a:cubicBezTo>
                  <a:cubicBezTo>
                    <a:pt x="197" y="65"/>
                    <a:pt x="193" y="61"/>
                    <a:pt x="193" y="55"/>
                  </a:cubicBezTo>
                  <a:cubicBezTo>
                    <a:pt x="193" y="49"/>
                    <a:pt x="197" y="44"/>
                    <a:pt x="203"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22" y="51"/>
                    <a:pt x="322" y="58"/>
                    <a:pt x="318" y="62"/>
                  </a:cubicBezTo>
                  <a:close/>
                  <a:moveTo>
                    <a:pt x="118"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9" y="68"/>
                    <a:pt x="9" y="68"/>
                    <a:pt x="9" y="68"/>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118" y="65"/>
                    <a:pt x="118" y="65"/>
                    <a:pt x="118" y="65"/>
                  </a:cubicBezTo>
                  <a:cubicBezTo>
                    <a:pt x="124" y="65"/>
                    <a:pt x="129" y="61"/>
                    <a:pt x="129" y="55"/>
                  </a:cubicBezTo>
                  <a:cubicBezTo>
                    <a:pt x="129" y="49"/>
                    <a:pt x="124" y="44"/>
                    <a:pt x="118"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7" name="TextBox 236"/>
          <p:cNvSpPr txBox="1"/>
          <p:nvPr/>
        </p:nvSpPr>
        <p:spPr>
          <a:xfrm>
            <a:off x="3748853" y="38081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crease 1</a:t>
            </a:r>
          </a:p>
        </p:txBody>
      </p:sp>
      <p:sp>
        <p:nvSpPr>
          <p:cNvPr id="238" name="Freeform 822"/>
          <p:cNvSpPr>
            <a:spLocks noChangeAspect="1" noEditPoints="1"/>
          </p:cNvSpPr>
          <p:nvPr/>
        </p:nvSpPr>
        <p:spPr bwMode="auto">
          <a:xfrm>
            <a:off x="2925860" y="4185376"/>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39" name="Group 825"/>
          <p:cNvGrpSpPr>
            <a:grpSpLocks noChangeAspect="1"/>
          </p:cNvGrpSpPr>
          <p:nvPr/>
        </p:nvGrpSpPr>
        <p:grpSpPr bwMode="auto">
          <a:xfrm>
            <a:off x="3345180" y="4185376"/>
            <a:ext cx="367041" cy="367041"/>
            <a:chOff x="5231" y="3496"/>
            <a:chExt cx="340" cy="340"/>
          </a:xfrm>
          <a:solidFill>
            <a:schemeClr val="accent3"/>
          </a:solidFill>
        </p:grpSpPr>
        <p:sp>
          <p:nvSpPr>
            <p:cNvPr id="240" name="Freeform 826"/>
            <p:cNvSpPr>
              <a:spLocks noEditPoints="1"/>
            </p:cNvSpPr>
            <p:nvPr/>
          </p:nvSpPr>
          <p:spPr bwMode="auto">
            <a:xfrm>
              <a:off x="5231" y="34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Freeform 827"/>
            <p:cNvSpPr>
              <a:spLocks/>
            </p:cNvSpPr>
            <p:nvPr/>
          </p:nvSpPr>
          <p:spPr bwMode="auto">
            <a:xfrm>
              <a:off x="5329" y="3559"/>
              <a:ext cx="144" cy="211"/>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2" name="TextBox 241"/>
          <p:cNvSpPr txBox="1"/>
          <p:nvPr/>
        </p:nvSpPr>
        <p:spPr>
          <a:xfrm>
            <a:off x="2888924" y="462112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erge</a:t>
            </a:r>
          </a:p>
        </p:txBody>
      </p:sp>
      <p:grpSp>
        <p:nvGrpSpPr>
          <p:cNvPr id="243" name="Group 208"/>
          <p:cNvGrpSpPr>
            <a:grpSpLocks noChangeAspect="1"/>
          </p:cNvGrpSpPr>
          <p:nvPr/>
        </p:nvGrpSpPr>
        <p:grpSpPr bwMode="auto">
          <a:xfrm>
            <a:off x="4186455" y="4185376"/>
            <a:ext cx="370763" cy="369676"/>
            <a:chOff x="6586" y="729"/>
            <a:chExt cx="341" cy="340"/>
          </a:xfrm>
          <a:solidFill>
            <a:schemeClr val="accent3"/>
          </a:solidFill>
        </p:grpSpPr>
        <p:sp>
          <p:nvSpPr>
            <p:cNvPr id="244" name="Freeform 209"/>
            <p:cNvSpPr>
              <a:spLocks/>
            </p:cNvSpPr>
            <p:nvPr/>
          </p:nvSpPr>
          <p:spPr bwMode="auto">
            <a:xfrm>
              <a:off x="6671" y="792"/>
              <a:ext cx="171" cy="213"/>
            </a:xfrm>
            <a:custGeom>
              <a:avLst/>
              <a:gdLst>
                <a:gd name="T0" fmla="*/ 254 w 258"/>
                <a:gd name="T1" fmla="*/ 62 h 321"/>
                <a:gd name="T2" fmla="*/ 246 w 258"/>
                <a:gd name="T3" fmla="*/ 65 h 321"/>
                <a:gd name="T4" fmla="*/ 238 w 258"/>
                <a:gd name="T5" fmla="*/ 62 h 321"/>
                <a:gd name="T6" fmla="*/ 214 w 258"/>
                <a:gd name="T7" fmla="*/ 37 h 321"/>
                <a:gd name="T8" fmla="*/ 214 w 258"/>
                <a:gd name="T9" fmla="*/ 107 h 321"/>
                <a:gd name="T10" fmla="*/ 153 w 258"/>
                <a:gd name="T11" fmla="*/ 207 h 321"/>
                <a:gd name="T12" fmla="*/ 148 w 258"/>
                <a:gd name="T13" fmla="*/ 211 h 321"/>
                <a:gd name="T14" fmla="*/ 139 w 258"/>
                <a:gd name="T15" fmla="*/ 225 h 321"/>
                <a:gd name="T16" fmla="*/ 139 w 258"/>
                <a:gd name="T17" fmla="*/ 225 h 321"/>
                <a:gd name="T18" fmla="*/ 139 w 258"/>
                <a:gd name="T19" fmla="*/ 310 h 321"/>
                <a:gd name="T20" fmla="*/ 129 w 258"/>
                <a:gd name="T21" fmla="*/ 321 h 321"/>
                <a:gd name="T22" fmla="*/ 118 w 258"/>
                <a:gd name="T23" fmla="*/ 310 h 321"/>
                <a:gd name="T24" fmla="*/ 118 w 258"/>
                <a:gd name="T25" fmla="*/ 225 h 321"/>
                <a:gd name="T26" fmla="*/ 118 w 258"/>
                <a:gd name="T27" fmla="*/ 224 h 321"/>
                <a:gd name="T28" fmla="*/ 109 w 258"/>
                <a:gd name="T29" fmla="*/ 211 h 321"/>
                <a:gd name="T30" fmla="*/ 104 w 258"/>
                <a:gd name="T31" fmla="*/ 207 h 321"/>
                <a:gd name="T32" fmla="*/ 43 w 258"/>
                <a:gd name="T33" fmla="*/ 107 h 321"/>
                <a:gd name="T34" fmla="*/ 43 w 258"/>
                <a:gd name="T35" fmla="*/ 37 h 321"/>
                <a:gd name="T36" fmla="*/ 19 w 258"/>
                <a:gd name="T37" fmla="*/ 62 h 321"/>
                <a:gd name="T38" fmla="*/ 11 w 258"/>
                <a:gd name="T39" fmla="*/ 65 h 321"/>
                <a:gd name="T40" fmla="*/ 4 w 258"/>
                <a:gd name="T41" fmla="*/ 62 h 321"/>
                <a:gd name="T42" fmla="*/ 4 w 258"/>
                <a:gd name="T43" fmla="*/ 46 h 321"/>
                <a:gd name="T44" fmla="*/ 46 w 258"/>
                <a:gd name="T45" fmla="*/ 4 h 321"/>
                <a:gd name="T46" fmla="*/ 50 w 258"/>
                <a:gd name="T47" fmla="*/ 1 h 321"/>
                <a:gd name="T48" fmla="*/ 58 w 258"/>
                <a:gd name="T49" fmla="*/ 1 h 321"/>
                <a:gd name="T50" fmla="*/ 62 w 258"/>
                <a:gd name="T51" fmla="*/ 4 h 321"/>
                <a:gd name="T52" fmla="*/ 104 w 258"/>
                <a:gd name="T53" fmla="*/ 46 h 321"/>
                <a:gd name="T54" fmla="*/ 104 w 258"/>
                <a:gd name="T55" fmla="*/ 62 h 321"/>
                <a:gd name="T56" fmla="*/ 97 w 258"/>
                <a:gd name="T57" fmla="*/ 65 h 321"/>
                <a:gd name="T58" fmla="*/ 89 w 258"/>
                <a:gd name="T59" fmla="*/ 62 h 321"/>
                <a:gd name="T60" fmla="*/ 65 w 258"/>
                <a:gd name="T61" fmla="*/ 37 h 321"/>
                <a:gd name="T62" fmla="*/ 65 w 258"/>
                <a:gd name="T63" fmla="*/ 107 h 321"/>
                <a:gd name="T64" fmla="*/ 118 w 258"/>
                <a:gd name="T65" fmla="*/ 191 h 321"/>
                <a:gd name="T66" fmla="*/ 124 w 258"/>
                <a:gd name="T67" fmla="*/ 195 h 321"/>
                <a:gd name="T68" fmla="*/ 129 w 258"/>
                <a:gd name="T69" fmla="*/ 200 h 321"/>
                <a:gd name="T70" fmla="*/ 134 w 258"/>
                <a:gd name="T71" fmla="*/ 195 h 321"/>
                <a:gd name="T72" fmla="*/ 139 w 258"/>
                <a:gd name="T73" fmla="*/ 191 h 321"/>
                <a:gd name="T74" fmla="*/ 193 w 258"/>
                <a:gd name="T75" fmla="*/ 107 h 321"/>
                <a:gd name="T76" fmla="*/ 193 w 258"/>
                <a:gd name="T77" fmla="*/ 37 h 321"/>
                <a:gd name="T78" fmla="*/ 168 w 258"/>
                <a:gd name="T79" fmla="*/ 62 h 321"/>
                <a:gd name="T80" fmla="*/ 161 w 258"/>
                <a:gd name="T81" fmla="*/ 65 h 321"/>
                <a:gd name="T82" fmla="*/ 153 w 258"/>
                <a:gd name="T83" fmla="*/ 62 h 321"/>
                <a:gd name="T84" fmla="*/ 153 w 258"/>
                <a:gd name="T85" fmla="*/ 46 h 321"/>
                <a:gd name="T86" fmla="*/ 196 w 258"/>
                <a:gd name="T87" fmla="*/ 4 h 321"/>
                <a:gd name="T88" fmla="*/ 199 w 258"/>
                <a:gd name="T89" fmla="*/ 1 h 321"/>
                <a:gd name="T90" fmla="*/ 207 w 258"/>
                <a:gd name="T91" fmla="*/ 1 h 321"/>
                <a:gd name="T92" fmla="*/ 211 w 258"/>
                <a:gd name="T93" fmla="*/ 4 h 321"/>
                <a:gd name="T94" fmla="*/ 254 w 258"/>
                <a:gd name="T95" fmla="*/ 46 h 321"/>
                <a:gd name="T96" fmla="*/ 254 w 258"/>
                <a:gd name="T97" fmla="*/ 6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321">
                  <a:moveTo>
                    <a:pt x="254" y="62"/>
                  </a:moveTo>
                  <a:cubicBezTo>
                    <a:pt x="251" y="64"/>
                    <a:pt x="249" y="65"/>
                    <a:pt x="246" y="65"/>
                  </a:cubicBezTo>
                  <a:cubicBezTo>
                    <a:pt x="243" y="65"/>
                    <a:pt x="241" y="64"/>
                    <a:pt x="238" y="62"/>
                  </a:cubicBezTo>
                  <a:cubicBezTo>
                    <a:pt x="214" y="37"/>
                    <a:pt x="214" y="37"/>
                    <a:pt x="214" y="37"/>
                  </a:cubicBezTo>
                  <a:cubicBezTo>
                    <a:pt x="214" y="107"/>
                    <a:pt x="214" y="107"/>
                    <a:pt x="214" y="107"/>
                  </a:cubicBezTo>
                  <a:cubicBezTo>
                    <a:pt x="214" y="153"/>
                    <a:pt x="176" y="187"/>
                    <a:pt x="153" y="207"/>
                  </a:cubicBezTo>
                  <a:cubicBezTo>
                    <a:pt x="148" y="211"/>
                    <a:pt x="148" y="211"/>
                    <a:pt x="148" y="211"/>
                  </a:cubicBezTo>
                  <a:cubicBezTo>
                    <a:pt x="139" y="219"/>
                    <a:pt x="139" y="223"/>
                    <a:pt x="139" y="225"/>
                  </a:cubicBezTo>
                  <a:cubicBezTo>
                    <a:pt x="139" y="225"/>
                    <a:pt x="139" y="225"/>
                    <a:pt x="139" y="225"/>
                  </a:cubicBezTo>
                  <a:cubicBezTo>
                    <a:pt x="139" y="310"/>
                    <a:pt x="139" y="310"/>
                    <a:pt x="139" y="310"/>
                  </a:cubicBezTo>
                  <a:cubicBezTo>
                    <a:pt x="139" y="316"/>
                    <a:pt x="135" y="321"/>
                    <a:pt x="129" y="321"/>
                  </a:cubicBezTo>
                  <a:cubicBezTo>
                    <a:pt x="123" y="321"/>
                    <a:pt x="118" y="316"/>
                    <a:pt x="118" y="310"/>
                  </a:cubicBezTo>
                  <a:cubicBezTo>
                    <a:pt x="118" y="225"/>
                    <a:pt x="118" y="225"/>
                    <a:pt x="118" y="225"/>
                  </a:cubicBezTo>
                  <a:cubicBezTo>
                    <a:pt x="118" y="224"/>
                    <a:pt x="118" y="224"/>
                    <a:pt x="118" y="224"/>
                  </a:cubicBezTo>
                  <a:cubicBezTo>
                    <a:pt x="118" y="223"/>
                    <a:pt x="118" y="219"/>
                    <a:pt x="109" y="211"/>
                  </a:cubicBezTo>
                  <a:cubicBezTo>
                    <a:pt x="104" y="207"/>
                    <a:pt x="104" y="207"/>
                    <a:pt x="104" y="207"/>
                  </a:cubicBezTo>
                  <a:cubicBezTo>
                    <a:pt x="81" y="187"/>
                    <a:pt x="43" y="153"/>
                    <a:pt x="43" y="107"/>
                  </a:cubicBezTo>
                  <a:cubicBezTo>
                    <a:pt x="43" y="37"/>
                    <a:pt x="43" y="37"/>
                    <a:pt x="43" y="37"/>
                  </a:cubicBezTo>
                  <a:cubicBezTo>
                    <a:pt x="19" y="62"/>
                    <a:pt x="19" y="62"/>
                    <a:pt x="19" y="62"/>
                  </a:cubicBezTo>
                  <a:cubicBezTo>
                    <a:pt x="17" y="64"/>
                    <a:pt x="14" y="65"/>
                    <a:pt x="11" y="65"/>
                  </a:cubicBezTo>
                  <a:cubicBezTo>
                    <a:pt x="9" y="65"/>
                    <a:pt x="6" y="64"/>
                    <a:pt x="4" y="62"/>
                  </a:cubicBezTo>
                  <a:cubicBezTo>
                    <a:pt x="0" y="57"/>
                    <a:pt x="0" y="51"/>
                    <a:pt x="4" y="46"/>
                  </a:cubicBezTo>
                  <a:cubicBezTo>
                    <a:pt x="46" y="4"/>
                    <a:pt x="46" y="4"/>
                    <a:pt x="46" y="4"/>
                  </a:cubicBezTo>
                  <a:cubicBezTo>
                    <a:pt x="47" y="3"/>
                    <a:pt x="49" y="2"/>
                    <a:pt x="50" y="1"/>
                  </a:cubicBezTo>
                  <a:cubicBezTo>
                    <a:pt x="53" y="0"/>
                    <a:pt x="55" y="0"/>
                    <a:pt x="58" y="1"/>
                  </a:cubicBezTo>
                  <a:cubicBezTo>
                    <a:pt x="59" y="2"/>
                    <a:pt x="61" y="3"/>
                    <a:pt x="62" y="4"/>
                  </a:cubicBezTo>
                  <a:cubicBezTo>
                    <a:pt x="104" y="46"/>
                    <a:pt x="104" y="46"/>
                    <a:pt x="104" y="46"/>
                  </a:cubicBezTo>
                  <a:cubicBezTo>
                    <a:pt x="108" y="51"/>
                    <a:pt x="108" y="57"/>
                    <a:pt x="104" y="62"/>
                  </a:cubicBezTo>
                  <a:cubicBezTo>
                    <a:pt x="102" y="64"/>
                    <a:pt x="99" y="65"/>
                    <a:pt x="97" y="65"/>
                  </a:cubicBezTo>
                  <a:cubicBezTo>
                    <a:pt x="94" y="65"/>
                    <a:pt x="91" y="64"/>
                    <a:pt x="89" y="62"/>
                  </a:cubicBezTo>
                  <a:cubicBezTo>
                    <a:pt x="65" y="37"/>
                    <a:pt x="65" y="37"/>
                    <a:pt x="65" y="37"/>
                  </a:cubicBezTo>
                  <a:cubicBezTo>
                    <a:pt x="65" y="107"/>
                    <a:pt x="65" y="107"/>
                    <a:pt x="65" y="107"/>
                  </a:cubicBezTo>
                  <a:cubicBezTo>
                    <a:pt x="65" y="143"/>
                    <a:pt x="97" y="172"/>
                    <a:pt x="118" y="191"/>
                  </a:cubicBezTo>
                  <a:cubicBezTo>
                    <a:pt x="124" y="195"/>
                    <a:pt x="124" y="195"/>
                    <a:pt x="124" y="195"/>
                  </a:cubicBezTo>
                  <a:cubicBezTo>
                    <a:pt x="125" y="197"/>
                    <a:pt x="127" y="199"/>
                    <a:pt x="129" y="200"/>
                  </a:cubicBezTo>
                  <a:cubicBezTo>
                    <a:pt x="130" y="199"/>
                    <a:pt x="132" y="197"/>
                    <a:pt x="134" y="195"/>
                  </a:cubicBezTo>
                  <a:cubicBezTo>
                    <a:pt x="139" y="191"/>
                    <a:pt x="139" y="191"/>
                    <a:pt x="139" y="191"/>
                  </a:cubicBezTo>
                  <a:cubicBezTo>
                    <a:pt x="160" y="172"/>
                    <a:pt x="193" y="143"/>
                    <a:pt x="193" y="107"/>
                  </a:cubicBezTo>
                  <a:cubicBezTo>
                    <a:pt x="193" y="37"/>
                    <a:pt x="193" y="37"/>
                    <a:pt x="193" y="37"/>
                  </a:cubicBezTo>
                  <a:cubicBezTo>
                    <a:pt x="168" y="62"/>
                    <a:pt x="168" y="62"/>
                    <a:pt x="168" y="62"/>
                  </a:cubicBezTo>
                  <a:cubicBezTo>
                    <a:pt x="166" y="64"/>
                    <a:pt x="163" y="65"/>
                    <a:pt x="161" y="65"/>
                  </a:cubicBezTo>
                  <a:cubicBezTo>
                    <a:pt x="158" y="65"/>
                    <a:pt x="155" y="64"/>
                    <a:pt x="153" y="62"/>
                  </a:cubicBezTo>
                  <a:cubicBezTo>
                    <a:pt x="149" y="57"/>
                    <a:pt x="149" y="51"/>
                    <a:pt x="153" y="46"/>
                  </a:cubicBezTo>
                  <a:cubicBezTo>
                    <a:pt x="196" y="4"/>
                    <a:pt x="196" y="4"/>
                    <a:pt x="196" y="4"/>
                  </a:cubicBezTo>
                  <a:cubicBezTo>
                    <a:pt x="197" y="3"/>
                    <a:pt x="198" y="2"/>
                    <a:pt x="199" y="1"/>
                  </a:cubicBezTo>
                  <a:cubicBezTo>
                    <a:pt x="202" y="0"/>
                    <a:pt x="205" y="0"/>
                    <a:pt x="207" y="1"/>
                  </a:cubicBezTo>
                  <a:cubicBezTo>
                    <a:pt x="209" y="2"/>
                    <a:pt x="210" y="3"/>
                    <a:pt x="211" y="4"/>
                  </a:cubicBezTo>
                  <a:cubicBezTo>
                    <a:pt x="254" y="46"/>
                    <a:pt x="254" y="46"/>
                    <a:pt x="254" y="46"/>
                  </a:cubicBezTo>
                  <a:cubicBezTo>
                    <a:pt x="258" y="51"/>
                    <a:pt x="258" y="57"/>
                    <a:pt x="254"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5" name="Freeform 210"/>
            <p:cNvSpPr>
              <a:spLocks noEditPoints="1"/>
            </p:cNvSpPr>
            <p:nvPr/>
          </p:nvSpPr>
          <p:spPr bwMode="auto">
            <a:xfrm>
              <a:off x="6586" y="72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6" name="Freeform 214"/>
          <p:cNvSpPr>
            <a:spLocks noChangeAspect="1" noEditPoints="1"/>
          </p:cNvSpPr>
          <p:nvPr/>
        </p:nvSpPr>
        <p:spPr bwMode="auto">
          <a:xfrm>
            <a:off x="3764500" y="418537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47" name="TextBox 246"/>
          <p:cNvSpPr txBox="1"/>
          <p:nvPr/>
        </p:nvSpPr>
        <p:spPr>
          <a:xfrm>
            <a:off x="3734457" y="462112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lit</a:t>
            </a:r>
          </a:p>
        </p:txBody>
      </p:sp>
      <p:sp>
        <p:nvSpPr>
          <p:cNvPr id="280" name="Freeform 179"/>
          <p:cNvSpPr>
            <a:spLocks/>
          </p:cNvSpPr>
          <p:nvPr/>
        </p:nvSpPr>
        <p:spPr bwMode="auto">
          <a:xfrm>
            <a:off x="6113796" y="1771908"/>
            <a:ext cx="206663" cy="172713"/>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p:cNvSpPr/>
          <p:nvPr/>
        </p:nvSpPr>
        <p:spPr bwMode="gray">
          <a:xfrm>
            <a:off x="5717902" y="1687513"/>
            <a:ext cx="355601" cy="355601"/>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912888539"/>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Life science/Healthcare</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406400" y="212123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by bottle</a:t>
            </a:r>
          </a:p>
        </p:txBody>
      </p:sp>
      <p:sp>
        <p:nvSpPr>
          <p:cNvPr id="423" name="TextBox 422"/>
          <p:cNvSpPr txBox="1"/>
          <p:nvPr/>
        </p:nvSpPr>
        <p:spPr>
          <a:xfrm>
            <a:off x="1233355" y="212123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by</a:t>
            </a:r>
          </a:p>
        </p:txBody>
      </p:sp>
      <p:sp>
        <p:nvSpPr>
          <p:cNvPr id="424" name="TextBox 423"/>
          <p:cNvSpPr txBox="1"/>
          <p:nvPr/>
        </p:nvSpPr>
        <p:spPr>
          <a:xfrm>
            <a:off x="2075127"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by stroller</a:t>
            </a:r>
          </a:p>
        </p:txBody>
      </p:sp>
      <p:sp>
        <p:nvSpPr>
          <p:cNvPr id="425" name="TextBox 424"/>
          <p:cNvSpPr txBox="1"/>
          <p:nvPr/>
        </p:nvSpPr>
        <p:spPr>
          <a:xfrm>
            <a:off x="3752321"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eaker</a:t>
            </a:r>
          </a:p>
        </p:txBody>
      </p:sp>
      <p:sp>
        <p:nvSpPr>
          <p:cNvPr id="427" name="TextBox 426"/>
          <p:cNvSpPr txBox="1"/>
          <p:nvPr/>
        </p:nvSpPr>
        <p:spPr>
          <a:xfrm>
            <a:off x="2913724"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nd Aid</a:t>
            </a:r>
          </a:p>
        </p:txBody>
      </p:sp>
      <p:sp>
        <p:nvSpPr>
          <p:cNvPr id="428" name="TextBox 427"/>
          <p:cNvSpPr txBox="1"/>
          <p:nvPr/>
        </p:nvSpPr>
        <p:spPr>
          <a:xfrm>
            <a:off x="4590918"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st aid kit</a:t>
            </a:r>
          </a:p>
        </p:txBody>
      </p:sp>
      <p:sp>
        <p:nvSpPr>
          <p:cNvPr id="430" name="TextBox 429"/>
          <p:cNvSpPr txBox="1"/>
          <p:nvPr/>
        </p:nvSpPr>
        <p:spPr>
          <a:xfrm>
            <a:off x="6268112"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ll</a:t>
            </a:r>
          </a:p>
        </p:txBody>
      </p:sp>
      <p:sp>
        <p:nvSpPr>
          <p:cNvPr id="431" name="TextBox 430"/>
          <p:cNvSpPr txBox="1"/>
          <p:nvPr/>
        </p:nvSpPr>
        <p:spPr>
          <a:xfrm>
            <a:off x="5429515"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st aid</a:t>
            </a:r>
          </a:p>
        </p:txBody>
      </p:sp>
      <p:sp>
        <p:nvSpPr>
          <p:cNvPr id="473" name="TextBox 472"/>
          <p:cNvSpPr txBox="1"/>
          <p:nvPr/>
        </p:nvSpPr>
        <p:spPr>
          <a:xfrm>
            <a:off x="363868" y="295674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est tube</a:t>
            </a:r>
          </a:p>
        </p:txBody>
      </p:sp>
      <p:sp>
        <p:nvSpPr>
          <p:cNvPr id="474" name="TextBox 473"/>
          <p:cNvSpPr txBox="1"/>
          <p:nvPr/>
        </p:nvSpPr>
        <p:spPr>
          <a:xfrm>
            <a:off x="1210427" y="29567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est tubes</a:t>
            </a:r>
          </a:p>
        </p:txBody>
      </p:sp>
      <p:sp>
        <p:nvSpPr>
          <p:cNvPr id="475" name="TextBox 474"/>
          <p:cNvSpPr txBox="1"/>
          <p:nvPr/>
        </p:nvSpPr>
        <p:spPr>
          <a:xfrm>
            <a:off x="2897195" y="295192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kull &amp; bones</a:t>
            </a:r>
          </a:p>
        </p:txBody>
      </p:sp>
      <p:sp>
        <p:nvSpPr>
          <p:cNvPr id="476" name="TextBox 475"/>
          <p:cNvSpPr txBox="1"/>
          <p:nvPr/>
        </p:nvSpPr>
        <p:spPr>
          <a:xfrm>
            <a:off x="3740579" y="2951923"/>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ethoscope</a:t>
            </a:r>
          </a:p>
        </p:txBody>
      </p:sp>
      <p:sp>
        <p:nvSpPr>
          <p:cNvPr id="477" name="TextBox 476"/>
          <p:cNvSpPr txBox="1"/>
          <p:nvPr/>
        </p:nvSpPr>
        <p:spPr>
          <a:xfrm>
            <a:off x="2053811" y="29567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mbulance</a:t>
            </a:r>
          </a:p>
        </p:txBody>
      </p:sp>
      <p:sp>
        <p:nvSpPr>
          <p:cNvPr id="478" name="TextBox 477"/>
          <p:cNvSpPr txBox="1"/>
          <p:nvPr/>
        </p:nvSpPr>
        <p:spPr>
          <a:xfrm>
            <a:off x="4583963" y="29535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yringe</a:t>
            </a:r>
          </a:p>
        </p:txBody>
      </p:sp>
      <p:sp>
        <p:nvSpPr>
          <p:cNvPr id="479" name="TextBox 478"/>
          <p:cNvSpPr txBox="1"/>
          <p:nvPr/>
        </p:nvSpPr>
        <p:spPr>
          <a:xfrm>
            <a:off x="7114118" y="295090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NA</a:t>
            </a:r>
          </a:p>
        </p:txBody>
      </p:sp>
      <p:sp>
        <p:nvSpPr>
          <p:cNvPr id="480" name="TextBox 479"/>
          <p:cNvSpPr txBox="1"/>
          <p:nvPr/>
        </p:nvSpPr>
        <p:spPr>
          <a:xfrm>
            <a:off x="6270731" y="29535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croscope</a:t>
            </a:r>
          </a:p>
        </p:txBody>
      </p:sp>
      <p:sp>
        <p:nvSpPr>
          <p:cNvPr id="481" name="TextBox 480"/>
          <p:cNvSpPr txBox="1"/>
          <p:nvPr/>
        </p:nvSpPr>
        <p:spPr>
          <a:xfrm>
            <a:off x="5427347" y="295356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ll bottle</a:t>
            </a:r>
          </a:p>
        </p:txBody>
      </p:sp>
      <p:sp>
        <p:nvSpPr>
          <p:cNvPr id="522" name="TextBox 521"/>
          <p:cNvSpPr txBox="1"/>
          <p:nvPr/>
        </p:nvSpPr>
        <p:spPr>
          <a:xfrm>
            <a:off x="374501" y="378134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heelchair</a:t>
            </a:r>
          </a:p>
        </p:txBody>
      </p:sp>
      <p:sp>
        <p:nvSpPr>
          <p:cNvPr id="523" name="TextBox 522"/>
          <p:cNvSpPr txBox="1"/>
          <p:nvPr/>
        </p:nvSpPr>
        <p:spPr>
          <a:xfrm>
            <a:off x="1205670" y="378208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art rate</a:t>
            </a:r>
          </a:p>
        </p:txBody>
      </p:sp>
      <p:sp>
        <p:nvSpPr>
          <p:cNvPr id="524" name="TextBox 523"/>
          <p:cNvSpPr txBox="1"/>
          <p:nvPr/>
        </p:nvSpPr>
        <p:spPr>
          <a:xfrm>
            <a:off x="2051656" y="378208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cifier</a:t>
            </a:r>
          </a:p>
        </p:txBody>
      </p:sp>
      <p:sp>
        <p:nvSpPr>
          <p:cNvPr id="525" name="TextBox 524"/>
          <p:cNvSpPr txBox="1"/>
          <p:nvPr/>
        </p:nvSpPr>
        <p:spPr>
          <a:xfrm>
            <a:off x="3737278" y="378208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ar of life</a:t>
            </a:r>
          </a:p>
        </p:txBody>
      </p:sp>
      <p:sp>
        <p:nvSpPr>
          <p:cNvPr id="526" name="TextBox 525"/>
          <p:cNvSpPr txBox="1"/>
          <p:nvPr/>
        </p:nvSpPr>
        <p:spPr>
          <a:xfrm>
            <a:off x="4580089" y="378208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ospital </a:t>
            </a:r>
          </a:p>
        </p:txBody>
      </p:sp>
      <p:sp>
        <p:nvSpPr>
          <p:cNvPr id="527" name="TextBox 526"/>
          <p:cNvSpPr txBox="1"/>
          <p:nvPr/>
        </p:nvSpPr>
        <p:spPr>
          <a:xfrm>
            <a:off x="2894467" y="378208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ain</a:t>
            </a:r>
          </a:p>
        </p:txBody>
      </p:sp>
      <p:sp>
        <p:nvSpPr>
          <p:cNvPr id="682" name="TextBox 681"/>
          <p:cNvSpPr txBox="1"/>
          <p:nvPr/>
        </p:nvSpPr>
        <p:spPr>
          <a:xfrm>
            <a:off x="7106708" y="212123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oken heart</a:t>
            </a:r>
          </a:p>
        </p:txBody>
      </p:sp>
      <p:sp>
        <p:nvSpPr>
          <p:cNvPr id="256" name="Freeform 255"/>
          <p:cNvSpPr>
            <a:spLocks noChangeAspect="1" noEditPoints="1"/>
          </p:cNvSpPr>
          <p:nvPr/>
        </p:nvSpPr>
        <p:spPr bwMode="auto">
          <a:xfrm>
            <a:off x="406400" y="1712544"/>
            <a:ext cx="369064" cy="367982"/>
          </a:xfrm>
          <a:custGeom>
            <a:avLst/>
            <a:gdLst>
              <a:gd name="T0" fmla="*/ 192 w 512"/>
              <a:gd name="T1" fmla="*/ 202 h 512"/>
              <a:gd name="T2" fmla="*/ 320 w 512"/>
              <a:gd name="T3" fmla="*/ 202 h 512"/>
              <a:gd name="T4" fmla="*/ 320 w 512"/>
              <a:gd name="T5" fmla="*/ 224 h 512"/>
              <a:gd name="T6" fmla="*/ 192 w 512"/>
              <a:gd name="T7" fmla="*/ 224 h 512"/>
              <a:gd name="T8" fmla="*/ 192 w 512"/>
              <a:gd name="T9" fmla="*/ 202 h 512"/>
              <a:gd name="T10" fmla="*/ 273 w 512"/>
              <a:gd name="T11" fmla="*/ 153 h 512"/>
              <a:gd name="T12" fmla="*/ 266 w 512"/>
              <a:gd name="T13" fmla="*/ 143 h 512"/>
              <a:gd name="T14" fmla="*/ 266 w 512"/>
              <a:gd name="T15" fmla="*/ 128 h 512"/>
              <a:gd name="T16" fmla="*/ 256 w 512"/>
              <a:gd name="T17" fmla="*/ 117 h 512"/>
              <a:gd name="T18" fmla="*/ 245 w 512"/>
              <a:gd name="T19" fmla="*/ 128 h 512"/>
              <a:gd name="T20" fmla="*/ 245 w 512"/>
              <a:gd name="T21" fmla="*/ 143 h 512"/>
              <a:gd name="T22" fmla="*/ 239 w 512"/>
              <a:gd name="T23" fmla="*/ 153 h 512"/>
              <a:gd name="T24" fmla="*/ 214 w 512"/>
              <a:gd name="T25" fmla="*/ 181 h 512"/>
              <a:gd name="T26" fmla="*/ 297 w 512"/>
              <a:gd name="T27" fmla="*/ 181 h 512"/>
              <a:gd name="T28" fmla="*/ 273 w 512"/>
              <a:gd name="T29" fmla="*/ 153 h 512"/>
              <a:gd name="T30" fmla="*/ 213 w 512"/>
              <a:gd name="T31" fmla="*/ 394 h 512"/>
              <a:gd name="T32" fmla="*/ 298 w 512"/>
              <a:gd name="T33" fmla="*/ 394 h 512"/>
              <a:gd name="T34" fmla="*/ 298 w 512"/>
              <a:gd name="T35" fmla="*/ 373 h 512"/>
              <a:gd name="T36" fmla="*/ 266 w 512"/>
              <a:gd name="T37" fmla="*/ 373 h 512"/>
              <a:gd name="T38" fmla="*/ 256 w 512"/>
              <a:gd name="T39" fmla="*/ 362 h 512"/>
              <a:gd name="T40" fmla="*/ 266 w 512"/>
              <a:gd name="T41" fmla="*/ 352 h 512"/>
              <a:gd name="T42" fmla="*/ 298 w 512"/>
              <a:gd name="T43" fmla="*/ 352 h 512"/>
              <a:gd name="T44" fmla="*/ 298 w 512"/>
              <a:gd name="T45" fmla="*/ 330 h 512"/>
              <a:gd name="T46" fmla="*/ 266 w 512"/>
              <a:gd name="T47" fmla="*/ 330 h 512"/>
              <a:gd name="T48" fmla="*/ 256 w 512"/>
              <a:gd name="T49" fmla="*/ 320 h 512"/>
              <a:gd name="T50" fmla="*/ 266 w 512"/>
              <a:gd name="T51" fmla="*/ 309 h 512"/>
              <a:gd name="T52" fmla="*/ 298 w 512"/>
              <a:gd name="T53" fmla="*/ 309 h 512"/>
              <a:gd name="T54" fmla="*/ 298 w 512"/>
              <a:gd name="T55" fmla="*/ 288 h 512"/>
              <a:gd name="T56" fmla="*/ 266 w 512"/>
              <a:gd name="T57" fmla="*/ 288 h 512"/>
              <a:gd name="T58" fmla="*/ 256 w 512"/>
              <a:gd name="T59" fmla="*/ 277 h 512"/>
              <a:gd name="T60" fmla="*/ 266 w 512"/>
              <a:gd name="T61" fmla="*/ 266 h 512"/>
              <a:gd name="T62" fmla="*/ 298 w 512"/>
              <a:gd name="T63" fmla="*/ 266 h 512"/>
              <a:gd name="T64" fmla="*/ 298 w 512"/>
              <a:gd name="T65" fmla="*/ 245 h 512"/>
              <a:gd name="T66" fmla="*/ 213 w 512"/>
              <a:gd name="T67" fmla="*/ 245 h 512"/>
              <a:gd name="T68" fmla="*/ 213 w 512"/>
              <a:gd name="T69" fmla="*/ 394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41 w 512"/>
              <a:gd name="T81" fmla="*/ 192 h 512"/>
              <a:gd name="T82" fmla="*/ 330 w 512"/>
              <a:gd name="T83" fmla="*/ 181 h 512"/>
              <a:gd name="T84" fmla="*/ 319 w 512"/>
              <a:gd name="T85" fmla="*/ 181 h 512"/>
              <a:gd name="T86" fmla="*/ 288 w 512"/>
              <a:gd name="T87" fmla="*/ 136 h 512"/>
              <a:gd name="T88" fmla="*/ 288 w 512"/>
              <a:gd name="T89" fmla="*/ 128 h 512"/>
              <a:gd name="T90" fmla="*/ 256 w 512"/>
              <a:gd name="T91" fmla="*/ 96 h 512"/>
              <a:gd name="T92" fmla="*/ 224 w 512"/>
              <a:gd name="T93" fmla="*/ 128 h 512"/>
              <a:gd name="T94" fmla="*/ 224 w 512"/>
              <a:gd name="T95" fmla="*/ 136 h 512"/>
              <a:gd name="T96" fmla="*/ 193 w 512"/>
              <a:gd name="T97" fmla="*/ 181 h 512"/>
              <a:gd name="T98" fmla="*/ 181 w 512"/>
              <a:gd name="T99" fmla="*/ 181 h 512"/>
              <a:gd name="T100" fmla="*/ 170 w 512"/>
              <a:gd name="T101" fmla="*/ 192 h 512"/>
              <a:gd name="T102" fmla="*/ 170 w 512"/>
              <a:gd name="T103" fmla="*/ 234 h 512"/>
              <a:gd name="T104" fmla="*/ 181 w 512"/>
              <a:gd name="T105" fmla="*/ 245 h 512"/>
              <a:gd name="T106" fmla="*/ 192 w 512"/>
              <a:gd name="T107" fmla="*/ 245 h 512"/>
              <a:gd name="T108" fmla="*/ 192 w 512"/>
              <a:gd name="T109" fmla="*/ 405 h 512"/>
              <a:gd name="T110" fmla="*/ 202 w 512"/>
              <a:gd name="T111" fmla="*/ 416 h 512"/>
              <a:gd name="T112" fmla="*/ 309 w 512"/>
              <a:gd name="T113" fmla="*/ 416 h 512"/>
              <a:gd name="T114" fmla="*/ 320 w 512"/>
              <a:gd name="T115" fmla="*/ 405 h 512"/>
              <a:gd name="T116" fmla="*/ 320 w 512"/>
              <a:gd name="T117" fmla="*/ 245 h 512"/>
              <a:gd name="T118" fmla="*/ 330 w 512"/>
              <a:gd name="T119" fmla="*/ 245 h 512"/>
              <a:gd name="T120" fmla="*/ 341 w 512"/>
              <a:gd name="T121" fmla="*/ 234 h 512"/>
              <a:gd name="T122" fmla="*/ 341 w 512"/>
              <a:gd name="T12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92" y="202"/>
                </a:moveTo>
                <a:cubicBezTo>
                  <a:pt x="320" y="202"/>
                  <a:pt x="320" y="202"/>
                  <a:pt x="320" y="202"/>
                </a:cubicBezTo>
                <a:cubicBezTo>
                  <a:pt x="320" y="224"/>
                  <a:pt x="320" y="224"/>
                  <a:pt x="320" y="224"/>
                </a:cubicBezTo>
                <a:cubicBezTo>
                  <a:pt x="192" y="224"/>
                  <a:pt x="192" y="224"/>
                  <a:pt x="192" y="224"/>
                </a:cubicBezTo>
                <a:lnTo>
                  <a:pt x="192" y="202"/>
                </a:lnTo>
                <a:close/>
                <a:moveTo>
                  <a:pt x="273" y="153"/>
                </a:moveTo>
                <a:cubicBezTo>
                  <a:pt x="269" y="151"/>
                  <a:pt x="266" y="147"/>
                  <a:pt x="266" y="143"/>
                </a:cubicBezTo>
                <a:cubicBezTo>
                  <a:pt x="266" y="128"/>
                  <a:pt x="266" y="128"/>
                  <a:pt x="266" y="128"/>
                </a:cubicBezTo>
                <a:cubicBezTo>
                  <a:pt x="266" y="122"/>
                  <a:pt x="262" y="117"/>
                  <a:pt x="256" y="117"/>
                </a:cubicBezTo>
                <a:cubicBezTo>
                  <a:pt x="250" y="117"/>
                  <a:pt x="245" y="122"/>
                  <a:pt x="245" y="128"/>
                </a:cubicBezTo>
                <a:cubicBezTo>
                  <a:pt x="245" y="143"/>
                  <a:pt x="245" y="143"/>
                  <a:pt x="245" y="143"/>
                </a:cubicBezTo>
                <a:cubicBezTo>
                  <a:pt x="245" y="147"/>
                  <a:pt x="242" y="151"/>
                  <a:pt x="239" y="153"/>
                </a:cubicBezTo>
                <a:cubicBezTo>
                  <a:pt x="226" y="158"/>
                  <a:pt x="218" y="169"/>
                  <a:pt x="214" y="181"/>
                </a:cubicBezTo>
                <a:cubicBezTo>
                  <a:pt x="297" y="181"/>
                  <a:pt x="297" y="181"/>
                  <a:pt x="297" y="181"/>
                </a:cubicBezTo>
                <a:cubicBezTo>
                  <a:pt x="294" y="169"/>
                  <a:pt x="285" y="158"/>
                  <a:pt x="273" y="153"/>
                </a:cubicBezTo>
                <a:close/>
                <a:moveTo>
                  <a:pt x="213" y="394"/>
                </a:moveTo>
                <a:cubicBezTo>
                  <a:pt x="298" y="394"/>
                  <a:pt x="298" y="394"/>
                  <a:pt x="298" y="394"/>
                </a:cubicBezTo>
                <a:cubicBezTo>
                  <a:pt x="298" y="373"/>
                  <a:pt x="298" y="373"/>
                  <a:pt x="298" y="373"/>
                </a:cubicBezTo>
                <a:cubicBezTo>
                  <a:pt x="266" y="373"/>
                  <a:pt x="266" y="373"/>
                  <a:pt x="266" y="373"/>
                </a:cubicBezTo>
                <a:cubicBezTo>
                  <a:pt x="260" y="373"/>
                  <a:pt x="256" y="368"/>
                  <a:pt x="256" y="362"/>
                </a:cubicBezTo>
                <a:cubicBezTo>
                  <a:pt x="256" y="356"/>
                  <a:pt x="260" y="352"/>
                  <a:pt x="266" y="352"/>
                </a:cubicBezTo>
                <a:cubicBezTo>
                  <a:pt x="298" y="352"/>
                  <a:pt x="298" y="352"/>
                  <a:pt x="298" y="352"/>
                </a:cubicBezTo>
                <a:cubicBezTo>
                  <a:pt x="298" y="330"/>
                  <a:pt x="298" y="330"/>
                  <a:pt x="298" y="330"/>
                </a:cubicBez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298" y="288"/>
                  <a:pt x="298" y="288"/>
                  <a:pt x="298" y="288"/>
                </a:cubicBezTo>
                <a:cubicBezTo>
                  <a:pt x="266" y="288"/>
                  <a:pt x="266" y="288"/>
                  <a:pt x="266" y="288"/>
                </a:cubicBezTo>
                <a:cubicBezTo>
                  <a:pt x="260" y="288"/>
                  <a:pt x="256" y="283"/>
                  <a:pt x="256" y="277"/>
                </a:cubicBezTo>
                <a:cubicBezTo>
                  <a:pt x="256" y="271"/>
                  <a:pt x="260" y="266"/>
                  <a:pt x="266" y="266"/>
                </a:cubicBezTo>
                <a:cubicBezTo>
                  <a:pt x="298" y="266"/>
                  <a:pt x="298" y="266"/>
                  <a:pt x="298" y="266"/>
                </a:cubicBezTo>
                <a:cubicBezTo>
                  <a:pt x="298" y="245"/>
                  <a:pt x="298" y="245"/>
                  <a:pt x="298" y="245"/>
                </a:cubicBezTo>
                <a:cubicBezTo>
                  <a:pt x="213" y="245"/>
                  <a:pt x="213" y="245"/>
                  <a:pt x="213" y="245"/>
                </a:cubicBezTo>
                <a:lnTo>
                  <a:pt x="213"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319" y="181"/>
                  <a:pt x="319" y="181"/>
                  <a:pt x="319" y="181"/>
                </a:cubicBezTo>
                <a:cubicBezTo>
                  <a:pt x="315" y="162"/>
                  <a:pt x="304" y="146"/>
                  <a:pt x="288" y="136"/>
                </a:cubicBezTo>
                <a:cubicBezTo>
                  <a:pt x="288" y="128"/>
                  <a:pt x="288" y="128"/>
                  <a:pt x="288" y="128"/>
                </a:cubicBezTo>
                <a:cubicBezTo>
                  <a:pt x="288" y="110"/>
                  <a:pt x="273" y="96"/>
                  <a:pt x="256" y="96"/>
                </a:cubicBezTo>
                <a:cubicBezTo>
                  <a:pt x="238" y="96"/>
                  <a:pt x="224" y="110"/>
                  <a:pt x="224" y="128"/>
                </a:cubicBezTo>
                <a:cubicBezTo>
                  <a:pt x="224" y="136"/>
                  <a:pt x="224" y="136"/>
                  <a:pt x="224" y="136"/>
                </a:cubicBezTo>
                <a:cubicBezTo>
                  <a:pt x="207" y="146"/>
                  <a:pt x="196" y="162"/>
                  <a:pt x="193" y="181"/>
                </a:cubicBezTo>
                <a:cubicBezTo>
                  <a:pt x="181" y="181"/>
                  <a:pt x="181" y="181"/>
                  <a:pt x="181" y="181"/>
                </a:cubicBezTo>
                <a:cubicBezTo>
                  <a:pt x="175" y="181"/>
                  <a:pt x="170" y="186"/>
                  <a:pt x="170" y="192"/>
                </a:cubicBezTo>
                <a:cubicBezTo>
                  <a:pt x="170" y="234"/>
                  <a:pt x="170" y="234"/>
                  <a:pt x="170" y="234"/>
                </a:cubicBezTo>
                <a:cubicBezTo>
                  <a:pt x="170" y="240"/>
                  <a:pt x="175" y="245"/>
                  <a:pt x="181" y="245"/>
                </a:cubicBezTo>
                <a:cubicBezTo>
                  <a:pt x="192" y="245"/>
                  <a:pt x="192" y="245"/>
                  <a:pt x="192" y="245"/>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245"/>
                  <a:pt x="320" y="245"/>
                  <a:pt x="320" y="245"/>
                </a:cubicBezTo>
                <a:cubicBezTo>
                  <a:pt x="330" y="245"/>
                  <a:pt x="330" y="245"/>
                  <a:pt x="330" y="245"/>
                </a:cubicBezTo>
                <a:cubicBezTo>
                  <a:pt x="336" y="245"/>
                  <a:pt x="341" y="240"/>
                  <a:pt x="341" y="234"/>
                </a:cubicBezTo>
                <a:lnTo>
                  <a:pt x="341" y="1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313"/>
          <p:cNvGrpSpPr>
            <a:grpSpLocks noChangeAspect="1"/>
          </p:cNvGrpSpPr>
          <p:nvPr/>
        </p:nvGrpSpPr>
        <p:grpSpPr bwMode="auto">
          <a:xfrm>
            <a:off x="826390" y="1711462"/>
            <a:ext cx="367982" cy="369064"/>
            <a:chOff x="3467" y="1890"/>
            <a:chExt cx="340" cy="341"/>
          </a:xfrm>
          <a:solidFill>
            <a:schemeClr val="accent4"/>
          </a:solidFill>
        </p:grpSpPr>
        <p:sp>
          <p:nvSpPr>
            <p:cNvPr id="258" name="Freeform 314"/>
            <p:cNvSpPr>
              <a:spLocks noEditPoints="1"/>
            </p:cNvSpPr>
            <p:nvPr/>
          </p:nvSpPr>
          <p:spPr bwMode="auto">
            <a:xfrm>
              <a:off x="3467" y="1890"/>
              <a:ext cx="340" cy="341"/>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315"/>
            <p:cNvSpPr>
              <a:spLocks noEditPoints="1"/>
            </p:cNvSpPr>
            <p:nvPr/>
          </p:nvSpPr>
          <p:spPr bwMode="auto">
            <a:xfrm>
              <a:off x="3581" y="1954"/>
              <a:ext cx="113" cy="214"/>
            </a:xfrm>
            <a:custGeom>
              <a:avLst/>
              <a:gdLst>
                <a:gd name="T0" fmla="*/ 160 w 171"/>
                <a:gd name="T1" fmla="*/ 86 h 321"/>
                <a:gd name="T2" fmla="*/ 148 w 171"/>
                <a:gd name="T3" fmla="*/ 86 h 321"/>
                <a:gd name="T4" fmla="*/ 117 w 171"/>
                <a:gd name="T5" fmla="*/ 41 h 321"/>
                <a:gd name="T6" fmla="*/ 117 w 171"/>
                <a:gd name="T7" fmla="*/ 32 h 321"/>
                <a:gd name="T8" fmla="*/ 85 w 171"/>
                <a:gd name="T9" fmla="*/ 0 h 321"/>
                <a:gd name="T10" fmla="*/ 53 w 171"/>
                <a:gd name="T11" fmla="*/ 32 h 321"/>
                <a:gd name="T12" fmla="*/ 53 w 171"/>
                <a:gd name="T13" fmla="*/ 41 h 321"/>
                <a:gd name="T14" fmla="*/ 22 w 171"/>
                <a:gd name="T15" fmla="*/ 86 h 321"/>
                <a:gd name="T16" fmla="*/ 11 w 171"/>
                <a:gd name="T17" fmla="*/ 86 h 321"/>
                <a:gd name="T18" fmla="*/ 0 w 171"/>
                <a:gd name="T19" fmla="*/ 96 h 321"/>
                <a:gd name="T20" fmla="*/ 0 w 171"/>
                <a:gd name="T21" fmla="*/ 139 h 321"/>
                <a:gd name="T22" fmla="*/ 11 w 171"/>
                <a:gd name="T23" fmla="*/ 150 h 321"/>
                <a:gd name="T24" fmla="*/ 21 w 171"/>
                <a:gd name="T25" fmla="*/ 150 h 321"/>
                <a:gd name="T26" fmla="*/ 21 w 171"/>
                <a:gd name="T27" fmla="*/ 309 h 321"/>
                <a:gd name="T28" fmla="*/ 32 w 171"/>
                <a:gd name="T29" fmla="*/ 321 h 321"/>
                <a:gd name="T30" fmla="*/ 139 w 171"/>
                <a:gd name="T31" fmla="*/ 321 h 321"/>
                <a:gd name="T32" fmla="*/ 149 w 171"/>
                <a:gd name="T33" fmla="*/ 309 h 321"/>
                <a:gd name="T34" fmla="*/ 149 w 171"/>
                <a:gd name="T35" fmla="*/ 150 h 321"/>
                <a:gd name="T36" fmla="*/ 160 w 171"/>
                <a:gd name="T37" fmla="*/ 150 h 321"/>
                <a:gd name="T38" fmla="*/ 171 w 171"/>
                <a:gd name="T39" fmla="*/ 139 h 321"/>
                <a:gd name="T40" fmla="*/ 171 w 171"/>
                <a:gd name="T41" fmla="*/ 96 h 321"/>
                <a:gd name="T42" fmla="*/ 160 w 171"/>
                <a:gd name="T43" fmla="*/ 86 h 321"/>
                <a:gd name="T44" fmla="*/ 68 w 171"/>
                <a:gd name="T45" fmla="*/ 57 h 321"/>
                <a:gd name="T46" fmla="*/ 75 w 171"/>
                <a:gd name="T47" fmla="*/ 47 h 321"/>
                <a:gd name="T48" fmla="*/ 75 w 171"/>
                <a:gd name="T49" fmla="*/ 32 h 321"/>
                <a:gd name="T50" fmla="*/ 85 w 171"/>
                <a:gd name="T51" fmla="*/ 21 h 321"/>
                <a:gd name="T52" fmla="*/ 96 w 171"/>
                <a:gd name="T53" fmla="*/ 32 h 321"/>
                <a:gd name="T54" fmla="*/ 96 w 171"/>
                <a:gd name="T55" fmla="*/ 47 h 321"/>
                <a:gd name="T56" fmla="*/ 102 w 171"/>
                <a:gd name="T57" fmla="*/ 57 h 321"/>
                <a:gd name="T58" fmla="*/ 127 w 171"/>
                <a:gd name="T59" fmla="*/ 86 h 321"/>
                <a:gd name="T60" fmla="*/ 44 w 171"/>
                <a:gd name="T61" fmla="*/ 86 h 321"/>
                <a:gd name="T62" fmla="*/ 68 w 171"/>
                <a:gd name="T63" fmla="*/ 57 h 321"/>
                <a:gd name="T64" fmla="*/ 128 w 171"/>
                <a:gd name="T65" fmla="*/ 171 h 321"/>
                <a:gd name="T66" fmla="*/ 96 w 171"/>
                <a:gd name="T67" fmla="*/ 171 h 321"/>
                <a:gd name="T68" fmla="*/ 85 w 171"/>
                <a:gd name="T69" fmla="*/ 182 h 321"/>
                <a:gd name="T70" fmla="*/ 96 w 171"/>
                <a:gd name="T71" fmla="*/ 193 h 321"/>
                <a:gd name="T72" fmla="*/ 128 w 171"/>
                <a:gd name="T73" fmla="*/ 193 h 321"/>
                <a:gd name="T74" fmla="*/ 128 w 171"/>
                <a:gd name="T75" fmla="*/ 214 h 321"/>
                <a:gd name="T76" fmla="*/ 96 w 171"/>
                <a:gd name="T77" fmla="*/ 214 h 321"/>
                <a:gd name="T78" fmla="*/ 85 w 171"/>
                <a:gd name="T79" fmla="*/ 225 h 321"/>
                <a:gd name="T80" fmla="*/ 96 w 171"/>
                <a:gd name="T81" fmla="*/ 235 h 321"/>
                <a:gd name="T82" fmla="*/ 128 w 171"/>
                <a:gd name="T83" fmla="*/ 235 h 321"/>
                <a:gd name="T84" fmla="*/ 128 w 171"/>
                <a:gd name="T85" fmla="*/ 257 h 321"/>
                <a:gd name="T86" fmla="*/ 96 w 171"/>
                <a:gd name="T87" fmla="*/ 257 h 321"/>
                <a:gd name="T88" fmla="*/ 85 w 171"/>
                <a:gd name="T89" fmla="*/ 267 h 321"/>
                <a:gd name="T90" fmla="*/ 96 w 171"/>
                <a:gd name="T91" fmla="*/ 278 h 321"/>
                <a:gd name="T92" fmla="*/ 128 w 171"/>
                <a:gd name="T93" fmla="*/ 278 h 321"/>
                <a:gd name="T94" fmla="*/ 128 w 171"/>
                <a:gd name="T95" fmla="*/ 299 h 321"/>
                <a:gd name="T96" fmla="*/ 43 w 171"/>
                <a:gd name="T97" fmla="*/ 299 h 321"/>
                <a:gd name="T98" fmla="*/ 43 w 171"/>
                <a:gd name="T99" fmla="*/ 150 h 321"/>
                <a:gd name="T100" fmla="*/ 128 w 171"/>
                <a:gd name="T101" fmla="*/ 150 h 321"/>
                <a:gd name="T102" fmla="*/ 128 w 171"/>
                <a:gd name="T103" fmla="*/ 171 h 321"/>
                <a:gd name="T104" fmla="*/ 149 w 171"/>
                <a:gd name="T105" fmla="*/ 129 h 321"/>
                <a:gd name="T106" fmla="*/ 21 w 171"/>
                <a:gd name="T107" fmla="*/ 129 h 321"/>
                <a:gd name="T108" fmla="*/ 21 w 171"/>
                <a:gd name="T109" fmla="*/ 107 h 321"/>
                <a:gd name="T110" fmla="*/ 149 w 171"/>
                <a:gd name="T111" fmla="*/ 107 h 321"/>
                <a:gd name="T112" fmla="*/ 149 w 171"/>
                <a:gd name="T113" fmla="*/ 12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321">
                  <a:moveTo>
                    <a:pt x="160" y="86"/>
                  </a:moveTo>
                  <a:cubicBezTo>
                    <a:pt x="148" y="86"/>
                    <a:pt x="148" y="86"/>
                    <a:pt x="148" y="86"/>
                  </a:cubicBezTo>
                  <a:cubicBezTo>
                    <a:pt x="145" y="66"/>
                    <a:pt x="134" y="50"/>
                    <a:pt x="117" y="41"/>
                  </a:cubicBezTo>
                  <a:cubicBezTo>
                    <a:pt x="117" y="32"/>
                    <a:pt x="117" y="32"/>
                    <a:pt x="117" y="32"/>
                  </a:cubicBezTo>
                  <a:cubicBezTo>
                    <a:pt x="117" y="14"/>
                    <a:pt x="103" y="0"/>
                    <a:pt x="85" y="0"/>
                  </a:cubicBezTo>
                  <a:cubicBezTo>
                    <a:pt x="68" y="0"/>
                    <a:pt x="53" y="14"/>
                    <a:pt x="53" y="32"/>
                  </a:cubicBezTo>
                  <a:cubicBezTo>
                    <a:pt x="53" y="41"/>
                    <a:pt x="53" y="41"/>
                    <a:pt x="53" y="41"/>
                  </a:cubicBezTo>
                  <a:cubicBezTo>
                    <a:pt x="37" y="50"/>
                    <a:pt x="26" y="66"/>
                    <a:pt x="22" y="86"/>
                  </a:cubicBezTo>
                  <a:cubicBezTo>
                    <a:pt x="11" y="86"/>
                    <a:pt x="11" y="86"/>
                    <a:pt x="11" y="86"/>
                  </a:cubicBezTo>
                  <a:cubicBezTo>
                    <a:pt x="5" y="86"/>
                    <a:pt x="0" y="90"/>
                    <a:pt x="0" y="96"/>
                  </a:cubicBezTo>
                  <a:cubicBezTo>
                    <a:pt x="0" y="139"/>
                    <a:pt x="0" y="139"/>
                    <a:pt x="0" y="139"/>
                  </a:cubicBezTo>
                  <a:cubicBezTo>
                    <a:pt x="0" y="145"/>
                    <a:pt x="5" y="150"/>
                    <a:pt x="11" y="150"/>
                  </a:cubicBezTo>
                  <a:cubicBezTo>
                    <a:pt x="21" y="150"/>
                    <a:pt x="21" y="150"/>
                    <a:pt x="21" y="150"/>
                  </a:cubicBezTo>
                  <a:cubicBezTo>
                    <a:pt x="21" y="309"/>
                    <a:pt x="21" y="309"/>
                    <a:pt x="21" y="309"/>
                  </a:cubicBezTo>
                  <a:cubicBezTo>
                    <a:pt x="21" y="315"/>
                    <a:pt x="26" y="321"/>
                    <a:pt x="32" y="321"/>
                  </a:cubicBezTo>
                  <a:cubicBezTo>
                    <a:pt x="139" y="321"/>
                    <a:pt x="139" y="321"/>
                    <a:pt x="139" y="321"/>
                  </a:cubicBezTo>
                  <a:cubicBezTo>
                    <a:pt x="145" y="321"/>
                    <a:pt x="149" y="315"/>
                    <a:pt x="149" y="309"/>
                  </a:cubicBezTo>
                  <a:cubicBezTo>
                    <a:pt x="149" y="150"/>
                    <a:pt x="149" y="150"/>
                    <a:pt x="149" y="150"/>
                  </a:cubicBezTo>
                  <a:cubicBezTo>
                    <a:pt x="160" y="150"/>
                    <a:pt x="160" y="150"/>
                    <a:pt x="160" y="150"/>
                  </a:cubicBezTo>
                  <a:cubicBezTo>
                    <a:pt x="166" y="150"/>
                    <a:pt x="171" y="145"/>
                    <a:pt x="171" y="139"/>
                  </a:cubicBezTo>
                  <a:cubicBezTo>
                    <a:pt x="171" y="96"/>
                    <a:pt x="171" y="96"/>
                    <a:pt x="171" y="96"/>
                  </a:cubicBezTo>
                  <a:cubicBezTo>
                    <a:pt x="171" y="90"/>
                    <a:pt x="166" y="86"/>
                    <a:pt x="160" y="86"/>
                  </a:cubicBezTo>
                  <a:close/>
                  <a:moveTo>
                    <a:pt x="68" y="57"/>
                  </a:moveTo>
                  <a:cubicBezTo>
                    <a:pt x="72" y="56"/>
                    <a:pt x="75" y="51"/>
                    <a:pt x="75" y="47"/>
                  </a:cubicBezTo>
                  <a:cubicBezTo>
                    <a:pt x="75" y="32"/>
                    <a:pt x="75" y="32"/>
                    <a:pt x="75" y="32"/>
                  </a:cubicBezTo>
                  <a:cubicBezTo>
                    <a:pt x="75" y="26"/>
                    <a:pt x="79" y="21"/>
                    <a:pt x="85" y="21"/>
                  </a:cubicBezTo>
                  <a:cubicBezTo>
                    <a:pt x="91" y="21"/>
                    <a:pt x="96" y="26"/>
                    <a:pt x="96" y="32"/>
                  </a:cubicBezTo>
                  <a:cubicBezTo>
                    <a:pt x="96" y="47"/>
                    <a:pt x="96" y="47"/>
                    <a:pt x="96" y="47"/>
                  </a:cubicBezTo>
                  <a:cubicBezTo>
                    <a:pt x="96" y="51"/>
                    <a:pt x="99" y="56"/>
                    <a:pt x="102" y="57"/>
                  </a:cubicBezTo>
                  <a:cubicBezTo>
                    <a:pt x="115" y="63"/>
                    <a:pt x="123" y="73"/>
                    <a:pt x="127" y="86"/>
                  </a:cubicBezTo>
                  <a:cubicBezTo>
                    <a:pt x="44" y="86"/>
                    <a:pt x="44" y="86"/>
                    <a:pt x="44" y="86"/>
                  </a:cubicBezTo>
                  <a:cubicBezTo>
                    <a:pt x="47" y="73"/>
                    <a:pt x="56" y="63"/>
                    <a:pt x="68" y="57"/>
                  </a:cubicBezTo>
                  <a:close/>
                  <a:moveTo>
                    <a:pt x="128" y="171"/>
                  </a:moveTo>
                  <a:cubicBezTo>
                    <a:pt x="96" y="171"/>
                    <a:pt x="96" y="171"/>
                    <a:pt x="96" y="171"/>
                  </a:cubicBezTo>
                  <a:cubicBezTo>
                    <a:pt x="90" y="171"/>
                    <a:pt x="85" y="176"/>
                    <a:pt x="85" y="182"/>
                  </a:cubicBezTo>
                  <a:cubicBezTo>
                    <a:pt x="85" y="188"/>
                    <a:pt x="90" y="193"/>
                    <a:pt x="96" y="193"/>
                  </a:cubicBezTo>
                  <a:cubicBezTo>
                    <a:pt x="128" y="193"/>
                    <a:pt x="128" y="193"/>
                    <a:pt x="128" y="193"/>
                  </a:cubicBezTo>
                  <a:cubicBezTo>
                    <a:pt x="128" y="214"/>
                    <a:pt x="128" y="214"/>
                    <a:pt x="128" y="214"/>
                  </a:cubicBezTo>
                  <a:cubicBezTo>
                    <a:pt x="96" y="214"/>
                    <a:pt x="96" y="214"/>
                    <a:pt x="96" y="214"/>
                  </a:cubicBezTo>
                  <a:cubicBezTo>
                    <a:pt x="90" y="214"/>
                    <a:pt x="85" y="219"/>
                    <a:pt x="85" y="225"/>
                  </a:cubicBezTo>
                  <a:cubicBezTo>
                    <a:pt x="85" y="231"/>
                    <a:pt x="90" y="235"/>
                    <a:pt x="96" y="235"/>
                  </a:cubicBezTo>
                  <a:cubicBezTo>
                    <a:pt x="128" y="235"/>
                    <a:pt x="128" y="235"/>
                    <a:pt x="128" y="235"/>
                  </a:cubicBezTo>
                  <a:cubicBezTo>
                    <a:pt x="128" y="257"/>
                    <a:pt x="128" y="257"/>
                    <a:pt x="128" y="257"/>
                  </a:cubicBezTo>
                  <a:cubicBezTo>
                    <a:pt x="96" y="257"/>
                    <a:pt x="96" y="257"/>
                    <a:pt x="96" y="257"/>
                  </a:cubicBezTo>
                  <a:cubicBezTo>
                    <a:pt x="90" y="257"/>
                    <a:pt x="85" y="261"/>
                    <a:pt x="85" y="267"/>
                  </a:cubicBezTo>
                  <a:cubicBezTo>
                    <a:pt x="85" y="273"/>
                    <a:pt x="90" y="278"/>
                    <a:pt x="96" y="278"/>
                  </a:cubicBezTo>
                  <a:cubicBezTo>
                    <a:pt x="128" y="278"/>
                    <a:pt x="128" y="278"/>
                    <a:pt x="128" y="278"/>
                  </a:cubicBezTo>
                  <a:cubicBezTo>
                    <a:pt x="128" y="299"/>
                    <a:pt x="128" y="299"/>
                    <a:pt x="128" y="299"/>
                  </a:cubicBezTo>
                  <a:cubicBezTo>
                    <a:pt x="43" y="299"/>
                    <a:pt x="43" y="299"/>
                    <a:pt x="43" y="299"/>
                  </a:cubicBezTo>
                  <a:cubicBezTo>
                    <a:pt x="43" y="150"/>
                    <a:pt x="43" y="150"/>
                    <a:pt x="43" y="150"/>
                  </a:cubicBezTo>
                  <a:cubicBezTo>
                    <a:pt x="128" y="150"/>
                    <a:pt x="128" y="150"/>
                    <a:pt x="128" y="150"/>
                  </a:cubicBezTo>
                  <a:lnTo>
                    <a:pt x="128" y="171"/>
                  </a:lnTo>
                  <a:close/>
                  <a:moveTo>
                    <a:pt x="149" y="129"/>
                  </a:moveTo>
                  <a:cubicBezTo>
                    <a:pt x="21" y="129"/>
                    <a:pt x="21" y="129"/>
                    <a:pt x="21" y="129"/>
                  </a:cubicBezTo>
                  <a:cubicBezTo>
                    <a:pt x="21" y="107"/>
                    <a:pt x="21" y="107"/>
                    <a:pt x="21" y="107"/>
                  </a:cubicBezTo>
                  <a:cubicBezTo>
                    <a:pt x="149" y="107"/>
                    <a:pt x="149" y="107"/>
                    <a:pt x="149" y="107"/>
                  </a:cubicBezTo>
                  <a:lnTo>
                    <a:pt x="149"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319"/>
          <p:cNvSpPr>
            <a:spLocks noChangeAspect="1" noEditPoints="1"/>
          </p:cNvSpPr>
          <p:nvPr/>
        </p:nvSpPr>
        <p:spPr bwMode="auto">
          <a:xfrm>
            <a:off x="1245298" y="1712544"/>
            <a:ext cx="367982" cy="367982"/>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322"/>
          <p:cNvGrpSpPr>
            <a:grpSpLocks noChangeAspect="1"/>
          </p:cNvGrpSpPr>
          <p:nvPr/>
        </p:nvGrpSpPr>
        <p:grpSpPr bwMode="auto">
          <a:xfrm>
            <a:off x="1664206" y="1712544"/>
            <a:ext cx="367982" cy="367982"/>
            <a:chOff x="2874" y="2143"/>
            <a:chExt cx="340" cy="340"/>
          </a:xfrm>
          <a:solidFill>
            <a:schemeClr val="accent4"/>
          </a:solidFill>
        </p:grpSpPr>
        <p:sp>
          <p:nvSpPr>
            <p:cNvPr id="262" name="Freeform 323"/>
            <p:cNvSpPr>
              <a:spLocks noEditPoints="1"/>
            </p:cNvSpPr>
            <p:nvPr/>
          </p:nvSpPr>
          <p:spPr bwMode="auto">
            <a:xfrm>
              <a:off x="2874" y="2143"/>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324"/>
            <p:cNvSpPr>
              <a:spLocks noEditPoints="1"/>
            </p:cNvSpPr>
            <p:nvPr/>
          </p:nvSpPr>
          <p:spPr bwMode="auto">
            <a:xfrm>
              <a:off x="3016" y="2207"/>
              <a:ext cx="57" cy="56"/>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21 h 85"/>
                <a:gd name="T12" fmla="*/ 64 w 85"/>
                <a:gd name="T13" fmla="*/ 43 h 85"/>
                <a:gd name="T14" fmla="*/ 42 w 85"/>
                <a:gd name="T15" fmla="*/ 64 h 85"/>
                <a:gd name="T16" fmla="*/ 21 w 85"/>
                <a:gd name="T17" fmla="*/ 43 h 85"/>
                <a:gd name="T18" fmla="*/ 42 w 85"/>
                <a:gd name="T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6"/>
                    <a:pt x="85" y="43"/>
                  </a:cubicBezTo>
                  <a:cubicBezTo>
                    <a:pt x="85" y="19"/>
                    <a:pt x="66" y="0"/>
                    <a:pt x="42" y="0"/>
                  </a:cubicBezTo>
                  <a:cubicBezTo>
                    <a:pt x="19" y="0"/>
                    <a:pt x="0" y="19"/>
                    <a:pt x="0" y="43"/>
                  </a:cubicBezTo>
                  <a:cubicBezTo>
                    <a:pt x="0" y="66"/>
                    <a:pt x="19" y="85"/>
                    <a:pt x="42" y="85"/>
                  </a:cubicBezTo>
                  <a:close/>
                  <a:moveTo>
                    <a:pt x="42" y="21"/>
                  </a:moveTo>
                  <a:cubicBezTo>
                    <a:pt x="54" y="21"/>
                    <a:pt x="64" y="31"/>
                    <a:pt x="64" y="43"/>
                  </a:cubicBezTo>
                  <a:cubicBezTo>
                    <a:pt x="64" y="54"/>
                    <a:pt x="54" y="64"/>
                    <a:pt x="42" y="64"/>
                  </a:cubicBezTo>
                  <a:cubicBezTo>
                    <a:pt x="31" y="64"/>
                    <a:pt x="21" y="54"/>
                    <a:pt x="21" y="43"/>
                  </a:cubicBezTo>
                  <a:cubicBezTo>
                    <a:pt x="21" y="31"/>
                    <a:pt x="31" y="21"/>
                    <a:pt x="4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325"/>
            <p:cNvSpPr>
              <a:spLocks noEditPoints="1"/>
            </p:cNvSpPr>
            <p:nvPr/>
          </p:nvSpPr>
          <p:spPr bwMode="auto">
            <a:xfrm>
              <a:off x="2972" y="2271"/>
              <a:ext cx="144" cy="148"/>
            </a:xfrm>
            <a:custGeom>
              <a:avLst/>
              <a:gdLst>
                <a:gd name="T0" fmla="*/ 211 w 216"/>
                <a:gd name="T1" fmla="*/ 66 h 224"/>
                <a:gd name="T2" fmla="*/ 158 w 216"/>
                <a:gd name="T3" fmla="*/ 24 h 224"/>
                <a:gd name="T4" fmla="*/ 156 w 216"/>
                <a:gd name="T5" fmla="*/ 23 h 224"/>
                <a:gd name="T6" fmla="*/ 108 w 216"/>
                <a:gd name="T7" fmla="*/ 0 h 224"/>
                <a:gd name="T8" fmla="*/ 60 w 216"/>
                <a:gd name="T9" fmla="*/ 23 h 224"/>
                <a:gd name="T10" fmla="*/ 59 w 216"/>
                <a:gd name="T11" fmla="*/ 24 h 224"/>
                <a:gd name="T12" fmla="*/ 6 w 216"/>
                <a:gd name="T13" fmla="*/ 66 h 224"/>
                <a:gd name="T14" fmla="*/ 4 w 216"/>
                <a:gd name="T15" fmla="*/ 81 h 224"/>
                <a:gd name="T16" fmla="*/ 12 w 216"/>
                <a:gd name="T17" fmla="*/ 85 h 224"/>
                <a:gd name="T18" fmla="*/ 19 w 216"/>
                <a:gd name="T19" fmla="*/ 83 h 224"/>
                <a:gd name="T20" fmla="*/ 55 w 216"/>
                <a:gd name="T21" fmla="*/ 54 h 224"/>
                <a:gd name="T22" fmla="*/ 55 w 216"/>
                <a:gd name="T23" fmla="*/ 85 h 224"/>
                <a:gd name="T24" fmla="*/ 55 w 216"/>
                <a:gd name="T25" fmla="*/ 107 h 224"/>
                <a:gd name="T26" fmla="*/ 58 w 216"/>
                <a:gd name="T27" fmla="*/ 114 h 224"/>
                <a:gd name="T28" fmla="*/ 67 w 216"/>
                <a:gd name="T29" fmla="*/ 123 h 224"/>
                <a:gd name="T30" fmla="*/ 46 w 216"/>
                <a:gd name="T31" fmla="*/ 154 h 224"/>
                <a:gd name="T32" fmla="*/ 45 w 216"/>
                <a:gd name="T33" fmla="*/ 158 h 224"/>
                <a:gd name="T34" fmla="*/ 45 w 216"/>
                <a:gd name="T35" fmla="*/ 162 h 224"/>
                <a:gd name="T36" fmla="*/ 45 w 216"/>
                <a:gd name="T37" fmla="*/ 162 h 224"/>
                <a:gd name="T38" fmla="*/ 55 w 216"/>
                <a:gd name="T39" fmla="*/ 215 h 224"/>
                <a:gd name="T40" fmla="*/ 66 w 216"/>
                <a:gd name="T41" fmla="*/ 224 h 224"/>
                <a:gd name="T42" fmla="*/ 68 w 216"/>
                <a:gd name="T43" fmla="*/ 224 h 224"/>
                <a:gd name="T44" fmla="*/ 76 w 216"/>
                <a:gd name="T45" fmla="*/ 211 h 224"/>
                <a:gd name="T46" fmla="*/ 66 w 216"/>
                <a:gd name="T47" fmla="*/ 162 h 224"/>
                <a:gd name="T48" fmla="*/ 82 w 216"/>
                <a:gd name="T49" fmla="*/ 138 h 224"/>
                <a:gd name="T50" fmla="*/ 90 w 216"/>
                <a:gd name="T51" fmla="*/ 147 h 224"/>
                <a:gd name="T52" fmla="*/ 98 w 216"/>
                <a:gd name="T53" fmla="*/ 150 h 224"/>
                <a:gd name="T54" fmla="*/ 119 w 216"/>
                <a:gd name="T55" fmla="*/ 150 h 224"/>
                <a:gd name="T56" fmla="*/ 127 w 216"/>
                <a:gd name="T57" fmla="*/ 147 h 224"/>
                <a:gd name="T58" fmla="*/ 134 w 216"/>
                <a:gd name="T59" fmla="*/ 139 h 224"/>
                <a:gd name="T60" fmla="*/ 150 w 216"/>
                <a:gd name="T61" fmla="*/ 162 h 224"/>
                <a:gd name="T62" fmla="*/ 141 w 216"/>
                <a:gd name="T63" fmla="*/ 211 h 224"/>
                <a:gd name="T64" fmla="*/ 149 w 216"/>
                <a:gd name="T65" fmla="*/ 224 h 224"/>
                <a:gd name="T66" fmla="*/ 151 w 216"/>
                <a:gd name="T67" fmla="*/ 224 h 224"/>
                <a:gd name="T68" fmla="*/ 161 w 216"/>
                <a:gd name="T69" fmla="*/ 215 h 224"/>
                <a:gd name="T70" fmla="*/ 172 w 216"/>
                <a:gd name="T71" fmla="*/ 162 h 224"/>
                <a:gd name="T72" fmla="*/ 172 w 216"/>
                <a:gd name="T73" fmla="*/ 162 h 224"/>
                <a:gd name="T74" fmla="*/ 172 w 216"/>
                <a:gd name="T75" fmla="*/ 158 h 224"/>
                <a:gd name="T76" fmla="*/ 171 w 216"/>
                <a:gd name="T77" fmla="*/ 154 h 224"/>
                <a:gd name="T78" fmla="*/ 150 w 216"/>
                <a:gd name="T79" fmla="*/ 123 h 224"/>
                <a:gd name="T80" fmla="*/ 159 w 216"/>
                <a:gd name="T81" fmla="*/ 114 h 224"/>
                <a:gd name="T82" fmla="*/ 162 w 216"/>
                <a:gd name="T83" fmla="*/ 107 h 224"/>
                <a:gd name="T84" fmla="*/ 162 w 216"/>
                <a:gd name="T85" fmla="*/ 85 h 224"/>
                <a:gd name="T86" fmla="*/ 162 w 216"/>
                <a:gd name="T87" fmla="*/ 54 h 224"/>
                <a:gd name="T88" fmla="*/ 198 w 216"/>
                <a:gd name="T89" fmla="*/ 83 h 224"/>
                <a:gd name="T90" fmla="*/ 204 w 216"/>
                <a:gd name="T91" fmla="*/ 85 h 224"/>
                <a:gd name="T92" fmla="*/ 213 w 216"/>
                <a:gd name="T93" fmla="*/ 81 h 224"/>
                <a:gd name="T94" fmla="*/ 211 w 216"/>
                <a:gd name="T95" fmla="*/ 66 h 224"/>
                <a:gd name="T96" fmla="*/ 76 w 216"/>
                <a:gd name="T97" fmla="*/ 43 h 224"/>
                <a:gd name="T98" fmla="*/ 108 w 216"/>
                <a:gd name="T99" fmla="*/ 21 h 224"/>
                <a:gd name="T100" fmla="*/ 140 w 216"/>
                <a:gd name="T101" fmla="*/ 43 h 224"/>
                <a:gd name="T102" fmla="*/ 140 w 216"/>
                <a:gd name="T103" fmla="*/ 75 h 224"/>
                <a:gd name="T104" fmla="*/ 76 w 216"/>
                <a:gd name="T105" fmla="*/ 75 h 224"/>
                <a:gd name="T106" fmla="*/ 76 w 216"/>
                <a:gd name="T107" fmla="*/ 43 h 224"/>
                <a:gd name="T108" fmla="*/ 115 w 216"/>
                <a:gd name="T109" fmla="*/ 129 h 224"/>
                <a:gd name="T110" fmla="*/ 102 w 216"/>
                <a:gd name="T111" fmla="*/ 129 h 224"/>
                <a:gd name="T112" fmla="*/ 76 w 216"/>
                <a:gd name="T113" fmla="*/ 102 h 224"/>
                <a:gd name="T114" fmla="*/ 76 w 216"/>
                <a:gd name="T115" fmla="*/ 97 h 224"/>
                <a:gd name="T116" fmla="*/ 140 w 216"/>
                <a:gd name="T117" fmla="*/ 97 h 224"/>
                <a:gd name="T118" fmla="*/ 140 w 216"/>
                <a:gd name="T119" fmla="*/ 102 h 224"/>
                <a:gd name="T120" fmla="*/ 115 w 216"/>
                <a:gd name="T121" fmla="*/ 12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 h="224">
                  <a:moveTo>
                    <a:pt x="211" y="66"/>
                  </a:moveTo>
                  <a:cubicBezTo>
                    <a:pt x="158" y="24"/>
                    <a:pt x="158" y="24"/>
                    <a:pt x="158" y="24"/>
                  </a:cubicBezTo>
                  <a:cubicBezTo>
                    <a:pt x="157" y="23"/>
                    <a:pt x="157" y="23"/>
                    <a:pt x="156" y="23"/>
                  </a:cubicBezTo>
                  <a:cubicBezTo>
                    <a:pt x="149" y="10"/>
                    <a:pt x="135" y="0"/>
                    <a:pt x="108" y="0"/>
                  </a:cubicBezTo>
                  <a:cubicBezTo>
                    <a:pt x="82" y="0"/>
                    <a:pt x="67" y="10"/>
                    <a:pt x="60" y="23"/>
                  </a:cubicBezTo>
                  <a:cubicBezTo>
                    <a:pt x="60" y="23"/>
                    <a:pt x="59" y="23"/>
                    <a:pt x="59" y="24"/>
                  </a:cubicBezTo>
                  <a:cubicBezTo>
                    <a:pt x="6" y="66"/>
                    <a:pt x="6" y="66"/>
                    <a:pt x="6" y="66"/>
                  </a:cubicBezTo>
                  <a:cubicBezTo>
                    <a:pt x="1" y="70"/>
                    <a:pt x="0" y="77"/>
                    <a:pt x="4" y="81"/>
                  </a:cubicBezTo>
                  <a:cubicBezTo>
                    <a:pt x="6" y="84"/>
                    <a:pt x="9" y="85"/>
                    <a:pt x="12" y="85"/>
                  </a:cubicBezTo>
                  <a:cubicBezTo>
                    <a:pt x="15" y="85"/>
                    <a:pt x="17" y="85"/>
                    <a:pt x="19" y="83"/>
                  </a:cubicBezTo>
                  <a:cubicBezTo>
                    <a:pt x="55" y="54"/>
                    <a:pt x="55" y="54"/>
                    <a:pt x="55" y="54"/>
                  </a:cubicBezTo>
                  <a:cubicBezTo>
                    <a:pt x="55" y="85"/>
                    <a:pt x="55" y="85"/>
                    <a:pt x="55" y="85"/>
                  </a:cubicBezTo>
                  <a:cubicBezTo>
                    <a:pt x="55" y="107"/>
                    <a:pt x="55" y="107"/>
                    <a:pt x="55" y="107"/>
                  </a:cubicBezTo>
                  <a:cubicBezTo>
                    <a:pt x="55" y="110"/>
                    <a:pt x="56" y="112"/>
                    <a:pt x="58" y="114"/>
                  </a:cubicBezTo>
                  <a:cubicBezTo>
                    <a:pt x="67" y="123"/>
                    <a:pt x="67" y="123"/>
                    <a:pt x="67" y="123"/>
                  </a:cubicBezTo>
                  <a:cubicBezTo>
                    <a:pt x="46" y="154"/>
                    <a:pt x="46" y="154"/>
                    <a:pt x="46" y="154"/>
                  </a:cubicBezTo>
                  <a:cubicBezTo>
                    <a:pt x="45" y="155"/>
                    <a:pt x="45" y="157"/>
                    <a:pt x="45" y="158"/>
                  </a:cubicBezTo>
                  <a:cubicBezTo>
                    <a:pt x="44" y="159"/>
                    <a:pt x="44" y="161"/>
                    <a:pt x="45" y="162"/>
                  </a:cubicBezTo>
                  <a:cubicBezTo>
                    <a:pt x="45" y="162"/>
                    <a:pt x="45" y="162"/>
                    <a:pt x="45" y="162"/>
                  </a:cubicBezTo>
                  <a:cubicBezTo>
                    <a:pt x="55" y="215"/>
                    <a:pt x="55" y="215"/>
                    <a:pt x="55" y="215"/>
                  </a:cubicBezTo>
                  <a:cubicBezTo>
                    <a:pt x="56" y="221"/>
                    <a:pt x="61" y="224"/>
                    <a:pt x="66" y="224"/>
                  </a:cubicBezTo>
                  <a:cubicBezTo>
                    <a:pt x="66" y="224"/>
                    <a:pt x="67" y="224"/>
                    <a:pt x="68" y="224"/>
                  </a:cubicBezTo>
                  <a:cubicBezTo>
                    <a:pt x="74" y="223"/>
                    <a:pt x="77" y="217"/>
                    <a:pt x="76" y="211"/>
                  </a:cubicBezTo>
                  <a:cubicBezTo>
                    <a:pt x="66" y="162"/>
                    <a:pt x="66" y="162"/>
                    <a:pt x="66" y="162"/>
                  </a:cubicBezTo>
                  <a:cubicBezTo>
                    <a:pt x="82" y="138"/>
                    <a:pt x="82" y="138"/>
                    <a:pt x="82" y="138"/>
                  </a:cubicBezTo>
                  <a:cubicBezTo>
                    <a:pt x="90" y="147"/>
                    <a:pt x="90" y="147"/>
                    <a:pt x="90" y="147"/>
                  </a:cubicBezTo>
                  <a:cubicBezTo>
                    <a:pt x="92" y="149"/>
                    <a:pt x="95" y="150"/>
                    <a:pt x="98" y="150"/>
                  </a:cubicBezTo>
                  <a:cubicBezTo>
                    <a:pt x="119" y="150"/>
                    <a:pt x="119" y="150"/>
                    <a:pt x="119" y="150"/>
                  </a:cubicBezTo>
                  <a:cubicBezTo>
                    <a:pt x="122" y="150"/>
                    <a:pt x="125" y="149"/>
                    <a:pt x="127" y="147"/>
                  </a:cubicBezTo>
                  <a:cubicBezTo>
                    <a:pt x="134" y="139"/>
                    <a:pt x="134" y="139"/>
                    <a:pt x="134" y="139"/>
                  </a:cubicBezTo>
                  <a:cubicBezTo>
                    <a:pt x="150" y="162"/>
                    <a:pt x="150" y="162"/>
                    <a:pt x="150" y="162"/>
                  </a:cubicBezTo>
                  <a:cubicBezTo>
                    <a:pt x="141" y="211"/>
                    <a:pt x="141" y="211"/>
                    <a:pt x="141" y="211"/>
                  </a:cubicBezTo>
                  <a:cubicBezTo>
                    <a:pt x="139" y="217"/>
                    <a:pt x="143" y="223"/>
                    <a:pt x="149" y="224"/>
                  </a:cubicBezTo>
                  <a:cubicBezTo>
                    <a:pt x="150" y="224"/>
                    <a:pt x="150" y="224"/>
                    <a:pt x="151" y="224"/>
                  </a:cubicBezTo>
                  <a:cubicBezTo>
                    <a:pt x="156" y="224"/>
                    <a:pt x="160" y="221"/>
                    <a:pt x="161" y="215"/>
                  </a:cubicBezTo>
                  <a:cubicBezTo>
                    <a:pt x="172" y="162"/>
                    <a:pt x="172" y="162"/>
                    <a:pt x="172" y="162"/>
                  </a:cubicBezTo>
                  <a:cubicBezTo>
                    <a:pt x="172" y="162"/>
                    <a:pt x="172" y="162"/>
                    <a:pt x="172" y="162"/>
                  </a:cubicBezTo>
                  <a:cubicBezTo>
                    <a:pt x="172" y="161"/>
                    <a:pt x="172" y="159"/>
                    <a:pt x="172" y="158"/>
                  </a:cubicBezTo>
                  <a:cubicBezTo>
                    <a:pt x="172" y="157"/>
                    <a:pt x="171" y="155"/>
                    <a:pt x="171" y="154"/>
                  </a:cubicBezTo>
                  <a:cubicBezTo>
                    <a:pt x="150" y="123"/>
                    <a:pt x="150" y="123"/>
                    <a:pt x="150" y="123"/>
                  </a:cubicBezTo>
                  <a:cubicBezTo>
                    <a:pt x="159" y="114"/>
                    <a:pt x="159" y="114"/>
                    <a:pt x="159" y="114"/>
                  </a:cubicBezTo>
                  <a:cubicBezTo>
                    <a:pt x="161" y="112"/>
                    <a:pt x="162" y="110"/>
                    <a:pt x="162" y="107"/>
                  </a:cubicBezTo>
                  <a:cubicBezTo>
                    <a:pt x="162" y="85"/>
                    <a:pt x="162" y="85"/>
                    <a:pt x="162" y="85"/>
                  </a:cubicBezTo>
                  <a:cubicBezTo>
                    <a:pt x="162" y="54"/>
                    <a:pt x="162" y="54"/>
                    <a:pt x="162" y="54"/>
                  </a:cubicBezTo>
                  <a:cubicBezTo>
                    <a:pt x="198" y="83"/>
                    <a:pt x="198" y="83"/>
                    <a:pt x="198" y="83"/>
                  </a:cubicBezTo>
                  <a:cubicBezTo>
                    <a:pt x="200" y="85"/>
                    <a:pt x="202" y="85"/>
                    <a:pt x="204" y="85"/>
                  </a:cubicBezTo>
                  <a:cubicBezTo>
                    <a:pt x="207" y="85"/>
                    <a:pt x="211" y="84"/>
                    <a:pt x="213" y="81"/>
                  </a:cubicBezTo>
                  <a:cubicBezTo>
                    <a:pt x="216" y="77"/>
                    <a:pt x="216" y="70"/>
                    <a:pt x="211" y="66"/>
                  </a:cubicBezTo>
                  <a:close/>
                  <a:moveTo>
                    <a:pt x="76" y="43"/>
                  </a:moveTo>
                  <a:cubicBezTo>
                    <a:pt x="76" y="36"/>
                    <a:pt x="79" y="21"/>
                    <a:pt x="108" y="21"/>
                  </a:cubicBezTo>
                  <a:cubicBezTo>
                    <a:pt x="137" y="21"/>
                    <a:pt x="140" y="36"/>
                    <a:pt x="140" y="43"/>
                  </a:cubicBezTo>
                  <a:cubicBezTo>
                    <a:pt x="140" y="75"/>
                    <a:pt x="140" y="75"/>
                    <a:pt x="140" y="75"/>
                  </a:cubicBezTo>
                  <a:cubicBezTo>
                    <a:pt x="76" y="75"/>
                    <a:pt x="76" y="75"/>
                    <a:pt x="76" y="75"/>
                  </a:cubicBezTo>
                  <a:lnTo>
                    <a:pt x="76" y="43"/>
                  </a:lnTo>
                  <a:close/>
                  <a:moveTo>
                    <a:pt x="115" y="129"/>
                  </a:moveTo>
                  <a:cubicBezTo>
                    <a:pt x="102" y="129"/>
                    <a:pt x="102" y="129"/>
                    <a:pt x="102" y="129"/>
                  </a:cubicBezTo>
                  <a:cubicBezTo>
                    <a:pt x="76" y="102"/>
                    <a:pt x="76" y="102"/>
                    <a:pt x="76" y="102"/>
                  </a:cubicBezTo>
                  <a:cubicBezTo>
                    <a:pt x="76" y="97"/>
                    <a:pt x="76" y="97"/>
                    <a:pt x="76" y="97"/>
                  </a:cubicBezTo>
                  <a:cubicBezTo>
                    <a:pt x="140" y="97"/>
                    <a:pt x="140" y="97"/>
                    <a:pt x="140" y="97"/>
                  </a:cubicBezTo>
                  <a:cubicBezTo>
                    <a:pt x="140" y="102"/>
                    <a:pt x="140" y="102"/>
                    <a:pt x="140" y="102"/>
                  </a:cubicBezTo>
                  <a:lnTo>
                    <a:pt x="115"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5" name="Freeform 329"/>
          <p:cNvSpPr>
            <a:spLocks noChangeAspect="1" noEditPoints="1"/>
          </p:cNvSpPr>
          <p:nvPr/>
        </p:nvSpPr>
        <p:spPr bwMode="auto">
          <a:xfrm>
            <a:off x="2083114" y="1712544"/>
            <a:ext cx="367982" cy="367982"/>
          </a:xfrm>
          <a:custGeom>
            <a:avLst/>
            <a:gdLst>
              <a:gd name="T0" fmla="*/ 320 w 512"/>
              <a:gd name="T1" fmla="*/ 384 h 512"/>
              <a:gd name="T2" fmla="*/ 310 w 512"/>
              <a:gd name="T3" fmla="*/ 395 h 512"/>
              <a:gd name="T4" fmla="*/ 299 w 512"/>
              <a:gd name="T5" fmla="*/ 384 h 512"/>
              <a:gd name="T6" fmla="*/ 310 w 512"/>
              <a:gd name="T7" fmla="*/ 373 h 512"/>
              <a:gd name="T8" fmla="*/ 320 w 512"/>
              <a:gd name="T9" fmla="*/ 384 h 512"/>
              <a:gd name="T10" fmla="*/ 256 w 512"/>
              <a:gd name="T11" fmla="*/ 321 h 512"/>
              <a:gd name="T12" fmla="*/ 352 w 512"/>
              <a:gd name="T13" fmla="*/ 235 h 512"/>
              <a:gd name="T14" fmla="*/ 161 w 512"/>
              <a:gd name="T15" fmla="*/ 235 h 512"/>
              <a:gd name="T16" fmla="*/ 256 w 512"/>
              <a:gd name="T17" fmla="*/ 3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5 w 512"/>
              <a:gd name="T29" fmla="*/ 384 h 512"/>
              <a:gd name="T30" fmla="*/ 203 w 512"/>
              <a:gd name="T31" fmla="*/ 352 h 512"/>
              <a:gd name="T32" fmla="*/ 171 w 512"/>
              <a:gd name="T33" fmla="*/ 384 h 512"/>
              <a:gd name="T34" fmla="*/ 203 w 512"/>
              <a:gd name="T35" fmla="*/ 416 h 512"/>
              <a:gd name="T36" fmla="*/ 235 w 512"/>
              <a:gd name="T37" fmla="*/ 384 h 512"/>
              <a:gd name="T38" fmla="*/ 342 w 512"/>
              <a:gd name="T39" fmla="*/ 384 h 512"/>
              <a:gd name="T40" fmla="*/ 310 w 512"/>
              <a:gd name="T41" fmla="*/ 352 h 512"/>
              <a:gd name="T42" fmla="*/ 278 w 512"/>
              <a:gd name="T43" fmla="*/ 384 h 512"/>
              <a:gd name="T44" fmla="*/ 310 w 512"/>
              <a:gd name="T45" fmla="*/ 416 h 512"/>
              <a:gd name="T46" fmla="*/ 342 w 512"/>
              <a:gd name="T47" fmla="*/ 384 h 512"/>
              <a:gd name="T48" fmla="*/ 374 w 512"/>
              <a:gd name="T49" fmla="*/ 224 h 512"/>
              <a:gd name="T50" fmla="*/ 256 w 512"/>
              <a:gd name="T51" fmla="*/ 107 h 512"/>
              <a:gd name="T52" fmla="*/ 246 w 512"/>
              <a:gd name="T53" fmla="*/ 117 h 512"/>
              <a:gd name="T54" fmla="*/ 246 w 512"/>
              <a:gd name="T55" fmla="*/ 214 h 512"/>
              <a:gd name="T56" fmla="*/ 159 w 512"/>
              <a:gd name="T57" fmla="*/ 214 h 512"/>
              <a:gd name="T58" fmla="*/ 107 w 512"/>
              <a:gd name="T59" fmla="*/ 171 h 512"/>
              <a:gd name="T60" fmla="*/ 96 w 512"/>
              <a:gd name="T61" fmla="*/ 182 h 512"/>
              <a:gd name="T62" fmla="*/ 107 w 512"/>
              <a:gd name="T63" fmla="*/ 192 h 512"/>
              <a:gd name="T64" fmla="*/ 139 w 512"/>
              <a:gd name="T65" fmla="*/ 224 h 512"/>
              <a:gd name="T66" fmla="*/ 256 w 512"/>
              <a:gd name="T67" fmla="*/ 341 h 512"/>
              <a:gd name="T68" fmla="*/ 374 w 512"/>
              <a:gd name="T69" fmla="*/ 224 h 512"/>
              <a:gd name="T70" fmla="*/ 203 w 512"/>
              <a:gd name="T71" fmla="*/ 373 h 512"/>
              <a:gd name="T72" fmla="*/ 192 w 512"/>
              <a:gd name="T73" fmla="*/ 384 h 512"/>
              <a:gd name="T74" fmla="*/ 203 w 512"/>
              <a:gd name="T75" fmla="*/ 395 h 512"/>
              <a:gd name="T76" fmla="*/ 214 w 512"/>
              <a:gd name="T77" fmla="*/ 384 h 512"/>
              <a:gd name="T78" fmla="*/ 203 w 512"/>
              <a:gd name="T79" fmla="*/ 373 h 512"/>
              <a:gd name="T80" fmla="*/ 267 w 512"/>
              <a:gd name="T81" fmla="*/ 129 h 512"/>
              <a:gd name="T82" fmla="*/ 267 w 512"/>
              <a:gd name="T83" fmla="*/ 214 h 512"/>
              <a:gd name="T84" fmla="*/ 352 w 512"/>
              <a:gd name="T85" fmla="*/ 214 h 512"/>
              <a:gd name="T86" fmla="*/ 267 w 512"/>
              <a:gd name="T87" fmla="*/ 1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0" y="384"/>
                </a:moveTo>
                <a:cubicBezTo>
                  <a:pt x="320" y="390"/>
                  <a:pt x="316" y="395"/>
                  <a:pt x="310" y="395"/>
                </a:cubicBezTo>
                <a:cubicBezTo>
                  <a:pt x="304" y="395"/>
                  <a:pt x="299" y="390"/>
                  <a:pt x="299" y="384"/>
                </a:cubicBezTo>
                <a:cubicBezTo>
                  <a:pt x="299" y="378"/>
                  <a:pt x="304" y="373"/>
                  <a:pt x="310" y="373"/>
                </a:cubicBezTo>
                <a:cubicBezTo>
                  <a:pt x="316" y="373"/>
                  <a:pt x="320" y="378"/>
                  <a:pt x="320" y="384"/>
                </a:cubicBezTo>
                <a:close/>
                <a:moveTo>
                  <a:pt x="256" y="321"/>
                </a:moveTo>
                <a:cubicBezTo>
                  <a:pt x="306" y="321"/>
                  <a:pt x="346" y="282"/>
                  <a:pt x="352" y="235"/>
                </a:cubicBezTo>
                <a:cubicBezTo>
                  <a:pt x="161" y="235"/>
                  <a:pt x="161" y="235"/>
                  <a:pt x="161" y="235"/>
                </a:cubicBezTo>
                <a:cubicBezTo>
                  <a:pt x="166" y="282"/>
                  <a:pt x="207" y="321"/>
                  <a:pt x="256" y="321"/>
                </a:cubicBezTo>
                <a:close/>
                <a:moveTo>
                  <a:pt x="512" y="256"/>
                </a:moveTo>
                <a:cubicBezTo>
                  <a:pt x="512" y="397"/>
                  <a:pt x="398" y="512"/>
                  <a:pt x="256" y="512"/>
                </a:cubicBezTo>
                <a:cubicBezTo>
                  <a:pt x="115" y="512"/>
                  <a:pt x="0" y="397"/>
                  <a:pt x="0" y="256"/>
                </a:cubicBezTo>
                <a:cubicBezTo>
                  <a:pt x="0" y="115"/>
                  <a:pt x="115" y="0"/>
                  <a:pt x="256" y="0"/>
                </a:cubicBezTo>
                <a:cubicBezTo>
                  <a:pt x="398" y="0"/>
                  <a:pt x="512" y="115"/>
                  <a:pt x="512" y="256"/>
                </a:cubicBezTo>
                <a:close/>
                <a:moveTo>
                  <a:pt x="235" y="384"/>
                </a:moveTo>
                <a:cubicBezTo>
                  <a:pt x="235" y="366"/>
                  <a:pt x="221" y="352"/>
                  <a:pt x="203" y="352"/>
                </a:cubicBezTo>
                <a:cubicBezTo>
                  <a:pt x="185" y="352"/>
                  <a:pt x="171" y="366"/>
                  <a:pt x="171" y="384"/>
                </a:cubicBezTo>
                <a:cubicBezTo>
                  <a:pt x="171" y="402"/>
                  <a:pt x="185" y="416"/>
                  <a:pt x="203" y="416"/>
                </a:cubicBezTo>
                <a:cubicBezTo>
                  <a:pt x="221" y="416"/>
                  <a:pt x="235" y="402"/>
                  <a:pt x="235" y="384"/>
                </a:cubicBezTo>
                <a:close/>
                <a:moveTo>
                  <a:pt x="342" y="384"/>
                </a:moveTo>
                <a:cubicBezTo>
                  <a:pt x="342" y="366"/>
                  <a:pt x="327" y="352"/>
                  <a:pt x="310" y="352"/>
                </a:cubicBezTo>
                <a:cubicBezTo>
                  <a:pt x="292" y="352"/>
                  <a:pt x="278" y="366"/>
                  <a:pt x="278" y="384"/>
                </a:cubicBezTo>
                <a:cubicBezTo>
                  <a:pt x="278" y="402"/>
                  <a:pt x="292" y="416"/>
                  <a:pt x="310" y="416"/>
                </a:cubicBezTo>
                <a:cubicBezTo>
                  <a:pt x="327" y="416"/>
                  <a:pt x="342" y="402"/>
                  <a:pt x="342" y="384"/>
                </a:cubicBezTo>
                <a:close/>
                <a:moveTo>
                  <a:pt x="374" y="224"/>
                </a:moveTo>
                <a:cubicBezTo>
                  <a:pt x="374" y="159"/>
                  <a:pt x="321" y="107"/>
                  <a:pt x="256" y="107"/>
                </a:cubicBezTo>
                <a:cubicBezTo>
                  <a:pt x="250" y="107"/>
                  <a:pt x="246" y="111"/>
                  <a:pt x="246" y="117"/>
                </a:cubicBezTo>
                <a:cubicBezTo>
                  <a:pt x="246" y="214"/>
                  <a:pt x="246" y="214"/>
                  <a:pt x="246" y="214"/>
                </a:cubicBezTo>
                <a:cubicBezTo>
                  <a:pt x="159" y="214"/>
                  <a:pt x="159" y="214"/>
                  <a:pt x="159" y="214"/>
                </a:cubicBezTo>
                <a:cubicBezTo>
                  <a:pt x="154" y="189"/>
                  <a:pt x="133" y="171"/>
                  <a:pt x="107" y="171"/>
                </a:cubicBezTo>
                <a:cubicBezTo>
                  <a:pt x="101" y="171"/>
                  <a:pt x="96" y="176"/>
                  <a:pt x="96" y="182"/>
                </a:cubicBezTo>
                <a:cubicBezTo>
                  <a:pt x="96" y="187"/>
                  <a:pt x="101" y="192"/>
                  <a:pt x="107" y="192"/>
                </a:cubicBezTo>
                <a:cubicBezTo>
                  <a:pt x="125" y="192"/>
                  <a:pt x="139" y="206"/>
                  <a:pt x="139" y="224"/>
                </a:cubicBezTo>
                <a:cubicBezTo>
                  <a:pt x="139" y="289"/>
                  <a:pt x="192" y="341"/>
                  <a:pt x="256" y="341"/>
                </a:cubicBezTo>
                <a:cubicBezTo>
                  <a:pt x="321" y="341"/>
                  <a:pt x="374" y="289"/>
                  <a:pt x="374" y="224"/>
                </a:cubicBezTo>
                <a:close/>
                <a:moveTo>
                  <a:pt x="203" y="373"/>
                </a:moveTo>
                <a:cubicBezTo>
                  <a:pt x="197" y="373"/>
                  <a:pt x="192" y="378"/>
                  <a:pt x="192" y="384"/>
                </a:cubicBezTo>
                <a:cubicBezTo>
                  <a:pt x="192" y="390"/>
                  <a:pt x="197" y="395"/>
                  <a:pt x="203" y="395"/>
                </a:cubicBezTo>
                <a:cubicBezTo>
                  <a:pt x="209" y="395"/>
                  <a:pt x="214" y="390"/>
                  <a:pt x="214" y="384"/>
                </a:cubicBezTo>
                <a:cubicBezTo>
                  <a:pt x="214" y="378"/>
                  <a:pt x="209" y="373"/>
                  <a:pt x="203" y="373"/>
                </a:cubicBezTo>
                <a:close/>
                <a:moveTo>
                  <a:pt x="267" y="129"/>
                </a:moveTo>
                <a:cubicBezTo>
                  <a:pt x="267" y="214"/>
                  <a:pt x="267" y="214"/>
                  <a:pt x="267" y="214"/>
                </a:cubicBezTo>
                <a:cubicBezTo>
                  <a:pt x="352" y="214"/>
                  <a:pt x="352" y="214"/>
                  <a:pt x="352" y="214"/>
                </a:cubicBezTo>
                <a:cubicBezTo>
                  <a:pt x="347" y="169"/>
                  <a:pt x="311" y="134"/>
                  <a:pt x="267" y="12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6" name="Group 332"/>
          <p:cNvGrpSpPr>
            <a:grpSpLocks noChangeAspect="1"/>
          </p:cNvGrpSpPr>
          <p:nvPr/>
        </p:nvGrpSpPr>
        <p:grpSpPr bwMode="auto">
          <a:xfrm>
            <a:off x="2502022" y="1712544"/>
            <a:ext cx="369064" cy="367982"/>
            <a:chOff x="2904" y="2134"/>
            <a:chExt cx="341" cy="340"/>
          </a:xfrm>
          <a:solidFill>
            <a:schemeClr val="accent4"/>
          </a:solidFill>
        </p:grpSpPr>
        <p:sp>
          <p:nvSpPr>
            <p:cNvPr id="267" name="Freeform 333"/>
            <p:cNvSpPr>
              <a:spLocks noEditPoints="1"/>
            </p:cNvSpPr>
            <p:nvPr/>
          </p:nvSpPr>
          <p:spPr bwMode="auto">
            <a:xfrm>
              <a:off x="2904" y="213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2 w 512"/>
                <a:gd name="T13" fmla="*/ 256 h 512"/>
                <a:gd name="T14" fmla="*/ 256 w 512"/>
                <a:gd name="T15" fmla="*/ 21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256" y="491"/>
                  </a:moveTo>
                  <a:cubicBezTo>
                    <a:pt x="127" y="491"/>
                    <a:pt x="22" y="385"/>
                    <a:pt x="22" y="256"/>
                  </a:cubicBezTo>
                  <a:cubicBezTo>
                    <a:pt x="22" y="127"/>
                    <a:pt x="127" y="21"/>
                    <a:pt x="256" y="21"/>
                  </a:cubicBezTo>
                  <a:cubicBezTo>
                    <a:pt x="386" y="21"/>
                    <a:pt x="491" y="127"/>
                    <a:pt x="491" y="256"/>
                  </a:cubicBezTo>
                  <a:cubicBezTo>
                    <a:pt x="491" y="385"/>
                    <a:pt x="386"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334"/>
            <p:cNvSpPr>
              <a:spLocks noEditPoints="1"/>
            </p:cNvSpPr>
            <p:nvPr/>
          </p:nvSpPr>
          <p:spPr bwMode="auto">
            <a:xfrm>
              <a:off x="2968" y="2205"/>
              <a:ext cx="185" cy="205"/>
            </a:xfrm>
            <a:custGeom>
              <a:avLst/>
              <a:gdLst>
                <a:gd name="T0" fmla="*/ 278 w 278"/>
                <a:gd name="T1" fmla="*/ 117 h 309"/>
                <a:gd name="T2" fmla="*/ 160 w 278"/>
                <a:gd name="T3" fmla="*/ 0 h 309"/>
                <a:gd name="T4" fmla="*/ 150 w 278"/>
                <a:gd name="T5" fmla="*/ 10 h 309"/>
                <a:gd name="T6" fmla="*/ 150 w 278"/>
                <a:gd name="T7" fmla="*/ 107 h 309"/>
                <a:gd name="T8" fmla="*/ 63 w 278"/>
                <a:gd name="T9" fmla="*/ 107 h 309"/>
                <a:gd name="T10" fmla="*/ 11 w 278"/>
                <a:gd name="T11" fmla="*/ 64 h 309"/>
                <a:gd name="T12" fmla="*/ 0 w 278"/>
                <a:gd name="T13" fmla="*/ 75 h 309"/>
                <a:gd name="T14" fmla="*/ 11 w 278"/>
                <a:gd name="T15" fmla="*/ 85 h 309"/>
                <a:gd name="T16" fmla="*/ 43 w 278"/>
                <a:gd name="T17" fmla="*/ 117 h 309"/>
                <a:gd name="T18" fmla="*/ 160 w 278"/>
                <a:gd name="T19" fmla="*/ 234 h 309"/>
                <a:gd name="T20" fmla="*/ 278 w 278"/>
                <a:gd name="T21" fmla="*/ 117 h 309"/>
                <a:gd name="T22" fmla="*/ 171 w 278"/>
                <a:gd name="T23" fmla="*/ 22 h 309"/>
                <a:gd name="T24" fmla="*/ 256 w 278"/>
                <a:gd name="T25" fmla="*/ 107 h 309"/>
                <a:gd name="T26" fmla="*/ 171 w 278"/>
                <a:gd name="T27" fmla="*/ 107 h 309"/>
                <a:gd name="T28" fmla="*/ 171 w 278"/>
                <a:gd name="T29" fmla="*/ 22 h 309"/>
                <a:gd name="T30" fmla="*/ 160 w 278"/>
                <a:gd name="T31" fmla="*/ 214 h 309"/>
                <a:gd name="T32" fmla="*/ 65 w 278"/>
                <a:gd name="T33" fmla="*/ 128 h 309"/>
                <a:gd name="T34" fmla="*/ 256 w 278"/>
                <a:gd name="T35" fmla="*/ 128 h 309"/>
                <a:gd name="T36" fmla="*/ 160 w 278"/>
                <a:gd name="T37" fmla="*/ 214 h 309"/>
                <a:gd name="T38" fmla="*/ 214 w 278"/>
                <a:gd name="T39" fmla="*/ 245 h 309"/>
                <a:gd name="T40" fmla="*/ 182 w 278"/>
                <a:gd name="T41" fmla="*/ 277 h 309"/>
                <a:gd name="T42" fmla="*/ 214 w 278"/>
                <a:gd name="T43" fmla="*/ 309 h 309"/>
                <a:gd name="T44" fmla="*/ 246 w 278"/>
                <a:gd name="T45" fmla="*/ 277 h 309"/>
                <a:gd name="T46" fmla="*/ 214 w 278"/>
                <a:gd name="T47" fmla="*/ 245 h 309"/>
                <a:gd name="T48" fmla="*/ 214 w 278"/>
                <a:gd name="T49" fmla="*/ 288 h 309"/>
                <a:gd name="T50" fmla="*/ 203 w 278"/>
                <a:gd name="T51" fmla="*/ 277 h 309"/>
                <a:gd name="T52" fmla="*/ 214 w 278"/>
                <a:gd name="T53" fmla="*/ 266 h 309"/>
                <a:gd name="T54" fmla="*/ 224 w 278"/>
                <a:gd name="T55" fmla="*/ 277 h 309"/>
                <a:gd name="T56" fmla="*/ 214 w 278"/>
                <a:gd name="T57" fmla="*/ 288 h 309"/>
                <a:gd name="T58" fmla="*/ 107 w 278"/>
                <a:gd name="T59" fmla="*/ 245 h 309"/>
                <a:gd name="T60" fmla="*/ 75 w 278"/>
                <a:gd name="T61" fmla="*/ 277 h 309"/>
                <a:gd name="T62" fmla="*/ 107 w 278"/>
                <a:gd name="T63" fmla="*/ 309 h 309"/>
                <a:gd name="T64" fmla="*/ 139 w 278"/>
                <a:gd name="T65" fmla="*/ 277 h 309"/>
                <a:gd name="T66" fmla="*/ 107 w 278"/>
                <a:gd name="T67" fmla="*/ 245 h 309"/>
                <a:gd name="T68" fmla="*/ 107 w 278"/>
                <a:gd name="T69" fmla="*/ 288 h 309"/>
                <a:gd name="T70" fmla="*/ 96 w 278"/>
                <a:gd name="T71" fmla="*/ 277 h 309"/>
                <a:gd name="T72" fmla="*/ 107 w 278"/>
                <a:gd name="T73" fmla="*/ 266 h 309"/>
                <a:gd name="T74" fmla="*/ 118 w 278"/>
                <a:gd name="T75" fmla="*/ 277 h 309"/>
                <a:gd name="T76" fmla="*/ 107 w 278"/>
                <a:gd name="T77"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8" h="309">
                  <a:moveTo>
                    <a:pt x="278" y="117"/>
                  </a:moveTo>
                  <a:cubicBezTo>
                    <a:pt x="278" y="52"/>
                    <a:pt x="225" y="0"/>
                    <a:pt x="160" y="0"/>
                  </a:cubicBezTo>
                  <a:cubicBezTo>
                    <a:pt x="154" y="0"/>
                    <a:pt x="150" y="4"/>
                    <a:pt x="150" y="10"/>
                  </a:cubicBezTo>
                  <a:cubicBezTo>
                    <a:pt x="150" y="107"/>
                    <a:pt x="150" y="107"/>
                    <a:pt x="150" y="107"/>
                  </a:cubicBezTo>
                  <a:cubicBezTo>
                    <a:pt x="63" y="107"/>
                    <a:pt x="63" y="107"/>
                    <a:pt x="63" y="107"/>
                  </a:cubicBezTo>
                  <a:cubicBezTo>
                    <a:pt x="58" y="82"/>
                    <a:pt x="37" y="64"/>
                    <a:pt x="11" y="64"/>
                  </a:cubicBezTo>
                  <a:cubicBezTo>
                    <a:pt x="5" y="64"/>
                    <a:pt x="0" y="69"/>
                    <a:pt x="0" y="75"/>
                  </a:cubicBezTo>
                  <a:cubicBezTo>
                    <a:pt x="0" y="80"/>
                    <a:pt x="5" y="85"/>
                    <a:pt x="11" y="85"/>
                  </a:cubicBezTo>
                  <a:cubicBezTo>
                    <a:pt x="29" y="85"/>
                    <a:pt x="43" y="99"/>
                    <a:pt x="43" y="117"/>
                  </a:cubicBezTo>
                  <a:cubicBezTo>
                    <a:pt x="43" y="182"/>
                    <a:pt x="96" y="234"/>
                    <a:pt x="160" y="234"/>
                  </a:cubicBezTo>
                  <a:cubicBezTo>
                    <a:pt x="225" y="234"/>
                    <a:pt x="278" y="182"/>
                    <a:pt x="278" y="117"/>
                  </a:cubicBezTo>
                  <a:close/>
                  <a:moveTo>
                    <a:pt x="171" y="22"/>
                  </a:moveTo>
                  <a:cubicBezTo>
                    <a:pt x="215" y="27"/>
                    <a:pt x="251" y="62"/>
                    <a:pt x="256" y="107"/>
                  </a:cubicBezTo>
                  <a:cubicBezTo>
                    <a:pt x="171" y="107"/>
                    <a:pt x="171" y="107"/>
                    <a:pt x="171" y="107"/>
                  </a:cubicBezTo>
                  <a:lnTo>
                    <a:pt x="171" y="22"/>
                  </a:lnTo>
                  <a:close/>
                  <a:moveTo>
                    <a:pt x="160" y="214"/>
                  </a:moveTo>
                  <a:cubicBezTo>
                    <a:pt x="111" y="214"/>
                    <a:pt x="70" y="175"/>
                    <a:pt x="65" y="128"/>
                  </a:cubicBezTo>
                  <a:cubicBezTo>
                    <a:pt x="256" y="128"/>
                    <a:pt x="256" y="128"/>
                    <a:pt x="256" y="128"/>
                  </a:cubicBezTo>
                  <a:cubicBezTo>
                    <a:pt x="250" y="175"/>
                    <a:pt x="210" y="214"/>
                    <a:pt x="160" y="214"/>
                  </a:cubicBezTo>
                  <a:close/>
                  <a:moveTo>
                    <a:pt x="214" y="245"/>
                  </a:moveTo>
                  <a:cubicBezTo>
                    <a:pt x="196" y="245"/>
                    <a:pt x="182" y="259"/>
                    <a:pt x="182" y="277"/>
                  </a:cubicBezTo>
                  <a:cubicBezTo>
                    <a:pt x="182" y="295"/>
                    <a:pt x="196" y="309"/>
                    <a:pt x="214" y="309"/>
                  </a:cubicBezTo>
                  <a:cubicBezTo>
                    <a:pt x="231" y="309"/>
                    <a:pt x="246" y="295"/>
                    <a:pt x="246" y="277"/>
                  </a:cubicBezTo>
                  <a:cubicBezTo>
                    <a:pt x="246" y="259"/>
                    <a:pt x="231" y="245"/>
                    <a:pt x="214" y="245"/>
                  </a:cubicBezTo>
                  <a:close/>
                  <a:moveTo>
                    <a:pt x="214" y="288"/>
                  </a:moveTo>
                  <a:cubicBezTo>
                    <a:pt x="208" y="288"/>
                    <a:pt x="203" y="283"/>
                    <a:pt x="203" y="277"/>
                  </a:cubicBezTo>
                  <a:cubicBezTo>
                    <a:pt x="203" y="271"/>
                    <a:pt x="208" y="266"/>
                    <a:pt x="214" y="266"/>
                  </a:cubicBezTo>
                  <a:cubicBezTo>
                    <a:pt x="220" y="266"/>
                    <a:pt x="224" y="271"/>
                    <a:pt x="224" y="277"/>
                  </a:cubicBezTo>
                  <a:cubicBezTo>
                    <a:pt x="224" y="283"/>
                    <a:pt x="220" y="288"/>
                    <a:pt x="214" y="288"/>
                  </a:cubicBezTo>
                  <a:close/>
                  <a:moveTo>
                    <a:pt x="107" y="245"/>
                  </a:moveTo>
                  <a:cubicBezTo>
                    <a:pt x="89" y="245"/>
                    <a:pt x="75" y="259"/>
                    <a:pt x="75" y="277"/>
                  </a:cubicBezTo>
                  <a:cubicBezTo>
                    <a:pt x="75" y="295"/>
                    <a:pt x="89" y="309"/>
                    <a:pt x="107" y="309"/>
                  </a:cubicBezTo>
                  <a:cubicBezTo>
                    <a:pt x="125" y="309"/>
                    <a:pt x="139" y="295"/>
                    <a:pt x="139" y="277"/>
                  </a:cubicBezTo>
                  <a:cubicBezTo>
                    <a:pt x="139" y="259"/>
                    <a:pt x="125" y="245"/>
                    <a:pt x="107" y="245"/>
                  </a:cubicBezTo>
                  <a:close/>
                  <a:moveTo>
                    <a:pt x="107" y="288"/>
                  </a:moveTo>
                  <a:cubicBezTo>
                    <a:pt x="101" y="288"/>
                    <a:pt x="96" y="283"/>
                    <a:pt x="96" y="277"/>
                  </a:cubicBezTo>
                  <a:cubicBezTo>
                    <a:pt x="96" y="271"/>
                    <a:pt x="101" y="266"/>
                    <a:pt x="107" y="266"/>
                  </a:cubicBezTo>
                  <a:cubicBezTo>
                    <a:pt x="113" y="266"/>
                    <a:pt x="118" y="271"/>
                    <a:pt x="118" y="277"/>
                  </a:cubicBezTo>
                  <a:cubicBezTo>
                    <a:pt x="118" y="283"/>
                    <a:pt x="113" y="288"/>
                    <a:pt x="107" y="2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9" name="Freeform 355"/>
          <p:cNvSpPr>
            <a:spLocks noChangeAspect="1" noEditPoints="1"/>
          </p:cNvSpPr>
          <p:nvPr/>
        </p:nvSpPr>
        <p:spPr bwMode="auto">
          <a:xfrm>
            <a:off x="2922012" y="1712544"/>
            <a:ext cx="367982" cy="367982"/>
          </a:xfrm>
          <a:custGeom>
            <a:avLst/>
            <a:gdLst>
              <a:gd name="T0" fmla="*/ 390 w 512"/>
              <a:gd name="T1" fmla="*/ 315 h 512"/>
              <a:gd name="T2" fmla="*/ 390 w 512"/>
              <a:gd name="T3" fmla="*/ 330 h 512"/>
              <a:gd name="T4" fmla="*/ 330 w 512"/>
              <a:gd name="T5" fmla="*/ 390 h 512"/>
              <a:gd name="T6" fmla="*/ 315 w 512"/>
              <a:gd name="T7" fmla="*/ 390 h 512"/>
              <a:gd name="T8" fmla="*/ 271 w 512"/>
              <a:gd name="T9" fmla="*/ 346 h 512"/>
              <a:gd name="T10" fmla="*/ 346 w 512"/>
              <a:gd name="T11" fmla="*/ 271 h 512"/>
              <a:gd name="T12" fmla="*/ 390 w 512"/>
              <a:gd name="T13" fmla="*/ 315 h 512"/>
              <a:gd name="T14" fmla="*/ 331 w 512"/>
              <a:gd name="T15" fmla="*/ 256 h 512"/>
              <a:gd name="T16" fmla="*/ 256 w 512"/>
              <a:gd name="T17" fmla="*/ 331 h 512"/>
              <a:gd name="T18" fmla="*/ 180 w 512"/>
              <a:gd name="T19" fmla="*/ 256 h 512"/>
              <a:gd name="T20" fmla="*/ 256 w 512"/>
              <a:gd name="T21" fmla="*/ 180 h 512"/>
              <a:gd name="T22" fmla="*/ 331 w 512"/>
              <a:gd name="T23" fmla="*/ 256 h 512"/>
              <a:gd name="T24" fmla="*/ 233 w 512"/>
              <a:gd name="T25" fmla="*/ 248 h 512"/>
              <a:gd name="T26" fmla="*/ 218 w 512"/>
              <a:gd name="T27" fmla="*/ 248 h 512"/>
              <a:gd name="T28" fmla="*/ 218 w 512"/>
              <a:gd name="T29" fmla="*/ 263 h 512"/>
              <a:gd name="T30" fmla="*/ 233 w 512"/>
              <a:gd name="T31" fmla="*/ 263 h 512"/>
              <a:gd name="T32" fmla="*/ 233 w 512"/>
              <a:gd name="T33" fmla="*/ 248 h 512"/>
              <a:gd name="T34" fmla="*/ 263 w 512"/>
              <a:gd name="T35" fmla="*/ 278 h 512"/>
              <a:gd name="T36" fmla="*/ 248 w 512"/>
              <a:gd name="T37" fmla="*/ 278 h 512"/>
              <a:gd name="T38" fmla="*/ 248 w 512"/>
              <a:gd name="T39" fmla="*/ 293 h 512"/>
              <a:gd name="T40" fmla="*/ 263 w 512"/>
              <a:gd name="T41" fmla="*/ 293 h 512"/>
              <a:gd name="T42" fmla="*/ 263 w 512"/>
              <a:gd name="T43" fmla="*/ 278 h 512"/>
              <a:gd name="T44" fmla="*/ 263 w 512"/>
              <a:gd name="T45" fmla="*/ 218 h 512"/>
              <a:gd name="T46" fmla="*/ 248 w 512"/>
              <a:gd name="T47" fmla="*/ 218 h 512"/>
              <a:gd name="T48" fmla="*/ 248 w 512"/>
              <a:gd name="T49" fmla="*/ 233 h 512"/>
              <a:gd name="T50" fmla="*/ 263 w 512"/>
              <a:gd name="T51" fmla="*/ 233 h 512"/>
              <a:gd name="T52" fmla="*/ 263 w 512"/>
              <a:gd name="T53" fmla="*/ 218 h 512"/>
              <a:gd name="T54" fmla="*/ 293 w 512"/>
              <a:gd name="T55" fmla="*/ 263 h 512"/>
              <a:gd name="T56" fmla="*/ 293 w 512"/>
              <a:gd name="T57" fmla="*/ 248 h 512"/>
              <a:gd name="T58" fmla="*/ 278 w 512"/>
              <a:gd name="T59" fmla="*/ 248 h 512"/>
              <a:gd name="T60" fmla="*/ 278 w 512"/>
              <a:gd name="T61" fmla="*/ 263 h 512"/>
              <a:gd name="T62" fmla="*/ 293 w 512"/>
              <a:gd name="T63" fmla="*/ 263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405 w 512"/>
              <a:gd name="T75" fmla="*/ 300 h 512"/>
              <a:gd name="T76" fmla="*/ 212 w 512"/>
              <a:gd name="T77" fmla="*/ 106 h 512"/>
              <a:gd name="T78" fmla="*/ 166 w 512"/>
              <a:gd name="T79" fmla="*/ 106 h 512"/>
              <a:gd name="T80" fmla="*/ 106 w 512"/>
              <a:gd name="T81" fmla="*/ 166 h 512"/>
              <a:gd name="T82" fmla="*/ 106 w 512"/>
              <a:gd name="T83" fmla="*/ 212 h 512"/>
              <a:gd name="T84" fmla="*/ 300 w 512"/>
              <a:gd name="T85" fmla="*/ 405 h 512"/>
              <a:gd name="T86" fmla="*/ 322 w 512"/>
              <a:gd name="T87" fmla="*/ 415 h 512"/>
              <a:gd name="T88" fmla="*/ 345 w 512"/>
              <a:gd name="T89" fmla="*/ 405 h 512"/>
              <a:gd name="T90" fmla="*/ 405 w 512"/>
              <a:gd name="T91" fmla="*/ 345 h 512"/>
              <a:gd name="T92" fmla="*/ 405 w 512"/>
              <a:gd name="T93" fmla="*/ 345 h 512"/>
              <a:gd name="T94" fmla="*/ 405 w 512"/>
              <a:gd name="T95" fmla="*/ 300 h 512"/>
              <a:gd name="T96" fmla="*/ 196 w 512"/>
              <a:gd name="T97" fmla="*/ 121 h 512"/>
              <a:gd name="T98" fmla="*/ 189 w 512"/>
              <a:gd name="T99" fmla="*/ 118 h 512"/>
              <a:gd name="T100" fmla="*/ 181 w 512"/>
              <a:gd name="T101" fmla="*/ 121 h 512"/>
              <a:gd name="T102" fmla="*/ 121 w 512"/>
              <a:gd name="T103" fmla="*/ 181 h 512"/>
              <a:gd name="T104" fmla="*/ 121 w 512"/>
              <a:gd name="T105" fmla="*/ 196 h 512"/>
              <a:gd name="T106" fmla="*/ 165 w 512"/>
              <a:gd name="T107" fmla="*/ 241 h 512"/>
              <a:gd name="T108" fmla="*/ 241 w 512"/>
              <a:gd name="T109" fmla="*/ 165 h 512"/>
              <a:gd name="T110" fmla="*/ 196 w 512"/>
              <a:gd name="T111" fmla="*/ 1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0" y="315"/>
                </a:moveTo>
                <a:cubicBezTo>
                  <a:pt x="394" y="319"/>
                  <a:pt x="394" y="326"/>
                  <a:pt x="390" y="330"/>
                </a:cubicBezTo>
                <a:cubicBezTo>
                  <a:pt x="330" y="390"/>
                  <a:pt x="330" y="390"/>
                  <a:pt x="330" y="390"/>
                </a:cubicBezTo>
                <a:cubicBezTo>
                  <a:pt x="326" y="394"/>
                  <a:pt x="319" y="394"/>
                  <a:pt x="315" y="390"/>
                </a:cubicBezTo>
                <a:cubicBezTo>
                  <a:pt x="271" y="346"/>
                  <a:pt x="271" y="346"/>
                  <a:pt x="271" y="346"/>
                </a:cubicBezTo>
                <a:cubicBezTo>
                  <a:pt x="346" y="271"/>
                  <a:pt x="346" y="271"/>
                  <a:pt x="346" y="271"/>
                </a:cubicBezTo>
                <a:lnTo>
                  <a:pt x="390" y="315"/>
                </a:lnTo>
                <a:close/>
                <a:moveTo>
                  <a:pt x="331" y="256"/>
                </a:moveTo>
                <a:cubicBezTo>
                  <a:pt x="256" y="331"/>
                  <a:pt x="256" y="331"/>
                  <a:pt x="256" y="331"/>
                </a:cubicBezTo>
                <a:cubicBezTo>
                  <a:pt x="180" y="256"/>
                  <a:pt x="180" y="256"/>
                  <a:pt x="180" y="256"/>
                </a:cubicBezTo>
                <a:cubicBezTo>
                  <a:pt x="256" y="180"/>
                  <a:pt x="256" y="180"/>
                  <a:pt x="256" y="180"/>
                </a:cubicBezTo>
                <a:lnTo>
                  <a:pt x="331" y="256"/>
                </a:lnTo>
                <a:close/>
                <a:moveTo>
                  <a:pt x="233" y="248"/>
                </a:moveTo>
                <a:cubicBezTo>
                  <a:pt x="229" y="244"/>
                  <a:pt x="222" y="244"/>
                  <a:pt x="218" y="248"/>
                </a:cubicBezTo>
                <a:cubicBezTo>
                  <a:pt x="214" y="252"/>
                  <a:pt x="214" y="259"/>
                  <a:pt x="218" y="263"/>
                </a:cubicBezTo>
                <a:cubicBezTo>
                  <a:pt x="222" y="267"/>
                  <a:pt x="229" y="267"/>
                  <a:pt x="233" y="263"/>
                </a:cubicBezTo>
                <a:cubicBezTo>
                  <a:pt x="237" y="259"/>
                  <a:pt x="237" y="252"/>
                  <a:pt x="233" y="248"/>
                </a:cubicBezTo>
                <a:close/>
                <a:moveTo>
                  <a:pt x="263" y="278"/>
                </a:moveTo>
                <a:cubicBezTo>
                  <a:pt x="259" y="274"/>
                  <a:pt x="252" y="274"/>
                  <a:pt x="248" y="278"/>
                </a:cubicBezTo>
                <a:cubicBezTo>
                  <a:pt x="244" y="282"/>
                  <a:pt x="244" y="289"/>
                  <a:pt x="248" y="293"/>
                </a:cubicBezTo>
                <a:cubicBezTo>
                  <a:pt x="252" y="298"/>
                  <a:pt x="259" y="298"/>
                  <a:pt x="263" y="293"/>
                </a:cubicBezTo>
                <a:cubicBezTo>
                  <a:pt x="267" y="289"/>
                  <a:pt x="267" y="282"/>
                  <a:pt x="263" y="278"/>
                </a:cubicBezTo>
                <a:close/>
                <a:moveTo>
                  <a:pt x="263" y="218"/>
                </a:moveTo>
                <a:cubicBezTo>
                  <a:pt x="259" y="214"/>
                  <a:pt x="252" y="214"/>
                  <a:pt x="248" y="218"/>
                </a:cubicBezTo>
                <a:cubicBezTo>
                  <a:pt x="244" y="222"/>
                  <a:pt x="244" y="229"/>
                  <a:pt x="248" y="233"/>
                </a:cubicBezTo>
                <a:cubicBezTo>
                  <a:pt x="252" y="237"/>
                  <a:pt x="259" y="237"/>
                  <a:pt x="263" y="233"/>
                </a:cubicBezTo>
                <a:cubicBezTo>
                  <a:pt x="267" y="229"/>
                  <a:pt x="267" y="222"/>
                  <a:pt x="263" y="218"/>
                </a:cubicBezTo>
                <a:close/>
                <a:moveTo>
                  <a:pt x="293" y="263"/>
                </a:moveTo>
                <a:cubicBezTo>
                  <a:pt x="298" y="259"/>
                  <a:pt x="298" y="252"/>
                  <a:pt x="293" y="248"/>
                </a:cubicBezTo>
                <a:cubicBezTo>
                  <a:pt x="289" y="244"/>
                  <a:pt x="282" y="244"/>
                  <a:pt x="278" y="248"/>
                </a:cubicBezTo>
                <a:cubicBezTo>
                  <a:pt x="274" y="252"/>
                  <a:pt x="274" y="259"/>
                  <a:pt x="278" y="263"/>
                </a:cubicBezTo>
                <a:cubicBezTo>
                  <a:pt x="282" y="267"/>
                  <a:pt x="289" y="267"/>
                  <a:pt x="293" y="26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00"/>
                </a:moveTo>
                <a:cubicBezTo>
                  <a:pt x="212" y="106"/>
                  <a:pt x="212" y="106"/>
                  <a:pt x="212" y="106"/>
                </a:cubicBezTo>
                <a:cubicBezTo>
                  <a:pt x="199" y="94"/>
                  <a:pt x="178" y="94"/>
                  <a:pt x="166" y="106"/>
                </a:cubicBezTo>
                <a:cubicBezTo>
                  <a:pt x="106" y="166"/>
                  <a:pt x="106" y="166"/>
                  <a:pt x="106" y="166"/>
                </a:cubicBezTo>
                <a:cubicBezTo>
                  <a:pt x="93" y="179"/>
                  <a:pt x="93" y="199"/>
                  <a:pt x="106" y="212"/>
                </a:cubicBezTo>
                <a:cubicBezTo>
                  <a:pt x="300" y="405"/>
                  <a:pt x="300" y="405"/>
                  <a:pt x="300" y="405"/>
                </a:cubicBezTo>
                <a:cubicBezTo>
                  <a:pt x="306" y="411"/>
                  <a:pt x="314" y="415"/>
                  <a:pt x="322" y="415"/>
                </a:cubicBezTo>
                <a:cubicBezTo>
                  <a:pt x="331" y="415"/>
                  <a:pt x="339" y="411"/>
                  <a:pt x="345" y="405"/>
                </a:cubicBezTo>
                <a:cubicBezTo>
                  <a:pt x="405" y="345"/>
                  <a:pt x="405" y="345"/>
                  <a:pt x="405" y="345"/>
                </a:cubicBezTo>
                <a:cubicBezTo>
                  <a:pt x="405" y="345"/>
                  <a:pt x="405" y="345"/>
                  <a:pt x="405" y="345"/>
                </a:cubicBezTo>
                <a:cubicBezTo>
                  <a:pt x="418" y="333"/>
                  <a:pt x="418" y="312"/>
                  <a:pt x="405" y="300"/>
                </a:cubicBezTo>
                <a:close/>
                <a:moveTo>
                  <a:pt x="196" y="121"/>
                </a:moveTo>
                <a:cubicBezTo>
                  <a:pt x="194" y="119"/>
                  <a:pt x="192" y="118"/>
                  <a:pt x="189" y="118"/>
                </a:cubicBezTo>
                <a:cubicBezTo>
                  <a:pt x="186" y="118"/>
                  <a:pt x="183" y="119"/>
                  <a:pt x="181" y="121"/>
                </a:cubicBezTo>
                <a:cubicBezTo>
                  <a:pt x="121" y="181"/>
                  <a:pt x="121" y="181"/>
                  <a:pt x="121" y="181"/>
                </a:cubicBezTo>
                <a:cubicBezTo>
                  <a:pt x="117" y="186"/>
                  <a:pt x="117" y="192"/>
                  <a:pt x="121" y="196"/>
                </a:cubicBezTo>
                <a:cubicBezTo>
                  <a:pt x="165" y="241"/>
                  <a:pt x="165" y="241"/>
                  <a:pt x="165" y="241"/>
                </a:cubicBezTo>
                <a:cubicBezTo>
                  <a:pt x="241" y="165"/>
                  <a:pt x="241" y="165"/>
                  <a:pt x="241" y="165"/>
                </a:cubicBezTo>
                <a:lnTo>
                  <a:pt x="196" y="121"/>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0" name="Group 358"/>
          <p:cNvGrpSpPr>
            <a:grpSpLocks noChangeAspect="1"/>
          </p:cNvGrpSpPr>
          <p:nvPr/>
        </p:nvGrpSpPr>
        <p:grpSpPr bwMode="auto">
          <a:xfrm>
            <a:off x="3340920" y="1712544"/>
            <a:ext cx="369064" cy="367982"/>
            <a:chOff x="3312" y="2186"/>
            <a:chExt cx="341" cy="340"/>
          </a:xfrm>
          <a:solidFill>
            <a:schemeClr val="accent4"/>
          </a:solidFill>
        </p:grpSpPr>
        <p:sp>
          <p:nvSpPr>
            <p:cNvPr id="271" name="Freeform 359"/>
            <p:cNvSpPr>
              <a:spLocks noEditPoints="1"/>
            </p:cNvSpPr>
            <p:nvPr/>
          </p:nvSpPr>
          <p:spPr bwMode="auto">
            <a:xfrm>
              <a:off x="3374" y="2248"/>
              <a:ext cx="216" cy="214"/>
            </a:xfrm>
            <a:custGeom>
              <a:avLst/>
              <a:gdLst>
                <a:gd name="T0" fmla="*/ 312 w 325"/>
                <a:gd name="T1" fmla="*/ 206 h 321"/>
                <a:gd name="T2" fmla="*/ 119 w 325"/>
                <a:gd name="T3" fmla="*/ 12 h 321"/>
                <a:gd name="T4" fmla="*/ 73 w 325"/>
                <a:gd name="T5" fmla="*/ 12 h 321"/>
                <a:gd name="T6" fmla="*/ 13 w 325"/>
                <a:gd name="T7" fmla="*/ 72 h 321"/>
                <a:gd name="T8" fmla="*/ 13 w 325"/>
                <a:gd name="T9" fmla="*/ 118 h 321"/>
                <a:gd name="T10" fmla="*/ 207 w 325"/>
                <a:gd name="T11" fmla="*/ 311 h 321"/>
                <a:gd name="T12" fmla="*/ 229 w 325"/>
                <a:gd name="T13" fmla="*/ 321 h 321"/>
                <a:gd name="T14" fmla="*/ 252 w 325"/>
                <a:gd name="T15" fmla="*/ 311 h 321"/>
                <a:gd name="T16" fmla="*/ 312 w 325"/>
                <a:gd name="T17" fmla="*/ 251 h 321"/>
                <a:gd name="T18" fmla="*/ 312 w 325"/>
                <a:gd name="T19" fmla="*/ 251 h 321"/>
                <a:gd name="T20" fmla="*/ 312 w 325"/>
                <a:gd name="T21" fmla="*/ 206 h 321"/>
                <a:gd name="T22" fmla="*/ 238 w 325"/>
                <a:gd name="T23" fmla="*/ 162 h 321"/>
                <a:gd name="T24" fmla="*/ 163 w 325"/>
                <a:gd name="T25" fmla="*/ 237 h 321"/>
                <a:gd name="T26" fmla="*/ 87 w 325"/>
                <a:gd name="T27" fmla="*/ 162 h 321"/>
                <a:gd name="T28" fmla="*/ 163 w 325"/>
                <a:gd name="T29" fmla="*/ 86 h 321"/>
                <a:gd name="T30" fmla="*/ 238 w 325"/>
                <a:gd name="T31" fmla="*/ 162 h 321"/>
                <a:gd name="T32" fmla="*/ 28 w 325"/>
                <a:gd name="T33" fmla="*/ 87 h 321"/>
                <a:gd name="T34" fmla="*/ 88 w 325"/>
                <a:gd name="T35" fmla="*/ 27 h 321"/>
                <a:gd name="T36" fmla="*/ 96 w 325"/>
                <a:gd name="T37" fmla="*/ 24 h 321"/>
                <a:gd name="T38" fmla="*/ 103 w 325"/>
                <a:gd name="T39" fmla="*/ 27 h 321"/>
                <a:gd name="T40" fmla="*/ 148 w 325"/>
                <a:gd name="T41" fmla="*/ 71 h 321"/>
                <a:gd name="T42" fmla="*/ 72 w 325"/>
                <a:gd name="T43" fmla="*/ 147 h 321"/>
                <a:gd name="T44" fmla="*/ 28 w 325"/>
                <a:gd name="T45" fmla="*/ 102 h 321"/>
                <a:gd name="T46" fmla="*/ 28 w 325"/>
                <a:gd name="T47" fmla="*/ 87 h 321"/>
                <a:gd name="T48" fmla="*/ 297 w 325"/>
                <a:gd name="T49" fmla="*/ 236 h 321"/>
                <a:gd name="T50" fmla="*/ 237 w 325"/>
                <a:gd name="T51" fmla="*/ 296 h 321"/>
                <a:gd name="T52" fmla="*/ 222 w 325"/>
                <a:gd name="T53" fmla="*/ 296 h 321"/>
                <a:gd name="T54" fmla="*/ 178 w 325"/>
                <a:gd name="T55" fmla="*/ 252 h 321"/>
                <a:gd name="T56" fmla="*/ 253 w 325"/>
                <a:gd name="T57" fmla="*/ 177 h 321"/>
                <a:gd name="T58" fmla="*/ 297 w 325"/>
                <a:gd name="T59" fmla="*/ 221 h 321"/>
                <a:gd name="T60" fmla="*/ 297 w 325"/>
                <a:gd name="T61" fmla="*/ 236 h 321"/>
                <a:gd name="T62" fmla="*/ 140 w 325"/>
                <a:gd name="T63" fmla="*/ 154 h 321"/>
                <a:gd name="T64" fmla="*/ 140 w 325"/>
                <a:gd name="T65" fmla="*/ 169 h 321"/>
                <a:gd name="T66" fmla="*/ 125 w 325"/>
                <a:gd name="T67" fmla="*/ 169 h 321"/>
                <a:gd name="T68" fmla="*/ 125 w 325"/>
                <a:gd name="T69" fmla="*/ 154 h 321"/>
                <a:gd name="T70" fmla="*/ 140 w 325"/>
                <a:gd name="T71" fmla="*/ 154 h 321"/>
                <a:gd name="T72" fmla="*/ 170 w 325"/>
                <a:gd name="T73" fmla="*/ 124 h 321"/>
                <a:gd name="T74" fmla="*/ 170 w 325"/>
                <a:gd name="T75" fmla="*/ 139 h 321"/>
                <a:gd name="T76" fmla="*/ 155 w 325"/>
                <a:gd name="T77" fmla="*/ 139 h 321"/>
                <a:gd name="T78" fmla="*/ 155 w 325"/>
                <a:gd name="T79" fmla="*/ 124 h 321"/>
                <a:gd name="T80" fmla="*/ 170 w 325"/>
                <a:gd name="T81" fmla="*/ 124 h 321"/>
                <a:gd name="T82" fmla="*/ 170 w 325"/>
                <a:gd name="T83" fmla="*/ 184 h 321"/>
                <a:gd name="T84" fmla="*/ 170 w 325"/>
                <a:gd name="T85" fmla="*/ 199 h 321"/>
                <a:gd name="T86" fmla="*/ 155 w 325"/>
                <a:gd name="T87" fmla="*/ 199 h 321"/>
                <a:gd name="T88" fmla="*/ 155 w 325"/>
                <a:gd name="T89" fmla="*/ 184 h 321"/>
                <a:gd name="T90" fmla="*/ 170 w 325"/>
                <a:gd name="T91" fmla="*/ 184 h 321"/>
                <a:gd name="T92" fmla="*/ 185 w 325"/>
                <a:gd name="T93" fmla="*/ 169 h 321"/>
                <a:gd name="T94" fmla="*/ 185 w 325"/>
                <a:gd name="T95" fmla="*/ 154 h 321"/>
                <a:gd name="T96" fmla="*/ 200 w 325"/>
                <a:gd name="T97" fmla="*/ 154 h 321"/>
                <a:gd name="T98" fmla="*/ 200 w 325"/>
                <a:gd name="T99" fmla="*/ 169 h 321"/>
                <a:gd name="T100" fmla="*/ 185 w 325"/>
                <a:gd name="T101" fmla="*/ 16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5" h="321">
                  <a:moveTo>
                    <a:pt x="312" y="206"/>
                  </a:moveTo>
                  <a:cubicBezTo>
                    <a:pt x="119" y="12"/>
                    <a:pt x="119" y="12"/>
                    <a:pt x="119" y="12"/>
                  </a:cubicBezTo>
                  <a:cubicBezTo>
                    <a:pt x="106" y="0"/>
                    <a:pt x="85" y="0"/>
                    <a:pt x="73" y="12"/>
                  </a:cubicBezTo>
                  <a:cubicBezTo>
                    <a:pt x="13" y="72"/>
                    <a:pt x="13" y="72"/>
                    <a:pt x="13" y="72"/>
                  </a:cubicBezTo>
                  <a:cubicBezTo>
                    <a:pt x="0" y="85"/>
                    <a:pt x="0" y="105"/>
                    <a:pt x="13" y="118"/>
                  </a:cubicBezTo>
                  <a:cubicBezTo>
                    <a:pt x="207" y="311"/>
                    <a:pt x="207" y="311"/>
                    <a:pt x="207" y="311"/>
                  </a:cubicBezTo>
                  <a:cubicBezTo>
                    <a:pt x="213" y="317"/>
                    <a:pt x="221" y="321"/>
                    <a:pt x="229" y="321"/>
                  </a:cubicBezTo>
                  <a:cubicBezTo>
                    <a:pt x="238" y="321"/>
                    <a:pt x="246" y="317"/>
                    <a:pt x="252" y="311"/>
                  </a:cubicBezTo>
                  <a:cubicBezTo>
                    <a:pt x="312" y="251"/>
                    <a:pt x="312" y="251"/>
                    <a:pt x="312" y="251"/>
                  </a:cubicBezTo>
                  <a:cubicBezTo>
                    <a:pt x="312" y="251"/>
                    <a:pt x="312" y="251"/>
                    <a:pt x="312" y="251"/>
                  </a:cubicBezTo>
                  <a:cubicBezTo>
                    <a:pt x="325" y="239"/>
                    <a:pt x="325" y="218"/>
                    <a:pt x="312" y="206"/>
                  </a:cubicBezTo>
                  <a:close/>
                  <a:moveTo>
                    <a:pt x="238" y="162"/>
                  </a:moveTo>
                  <a:cubicBezTo>
                    <a:pt x="163" y="237"/>
                    <a:pt x="163" y="237"/>
                    <a:pt x="163" y="237"/>
                  </a:cubicBezTo>
                  <a:cubicBezTo>
                    <a:pt x="87" y="162"/>
                    <a:pt x="87" y="162"/>
                    <a:pt x="87" y="162"/>
                  </a:cubicBezTo>
                  <a:cubicBezTo>
                    <a:pt x="163" y="86"/>
                    <a:pt x="163" y="86"/>
                    <a:pt x="163" y="86"/>
                  </a:cubicBezTo>
                  <a:lnTo>
                    <a:pt x="238" y="162"/>
                  </a:lnTo>
                  <a:close/>
                  <a:moveTo>
                    <a:pt x="28" y="87"/>
                  </a:moveTo>
                  <a:cubicBezTo>
                    <a:pt x="88" y="27"/>
                    <a:pt x="88" y="27"/>
                    <a:pt x="88" y="27"/>
                  </a:cubicBezTo>
                  <a:cubicBezTo>
                    <a:pt x="90" y="25"/>
                    <a:pt x="93" y="24"/>
                    <a:pt x="96" y="24"/>
                  </a:cubicBezTo>
                  <a:cubicBezTo>
                    <a:pt x="99" y="24"/>
                    <a:pt x="101" y="25"/>
                    <a:pt x="103" y="27"/>
                  </a:cubicBezTo>
                  <a:cubicBezTo>
                    <a:pt x="148" y="71"/>
                    <a:pt x="148" y="71"/>
                    <a:pt x="148" y="71"/>
                  </a:cubicBezTo>
                  <a:cubicBezTo>
                    <a:pt x="72" y="147"/>
                    <a:pt x="72" y="147"/>
                    <a:pt x="72" y="147"/>
                  </a:cubicBezTo>
                  <a:cubicBezTo>
                    <a:pt x="28" y="102"/>
                    <a:pt x="28" y="102"/>
                    <a:pt x="28" y="102"/>
                  </a:cubicBezTo>
                  <a:cubicBezTo>
                    <a:pt x="24" y="98"/>
                    <a:pt x="24" y="92"/>
                    <a:pt x="28" y="87"/>
                  </a:cubicBezTo>
                  <a:close/>
                  <a:moveTo>
                    <a:pt x="297" y="236"/>
                  </a:moveTo>
                  <a:cubicBezTo>
                    <a:pt x="237" y="296"/>
                    <a:pt x="237" y="296"/>
                    <a:pt x="237" y="296"/>
                  </a:cubicBezTo>
                  <a:cubicBezTo>
                    <a:pt x="233" y="300"/>
                    <a:pt x="226" y="300"/>
                    <a:pt x="222" y="296"/>
                  </a:cubicBezTo>
                  <a:cubicBezTo>
                    <a:pt x="178" y="252"/>
                    <a:pt x="178" y="252"/>
                    <a:pt x="178" y="252"/>
                  </a:cubicBezTo>
                  <a:cubicBezTo>
                    <a:pt x="253" y="177"/>
                    <a:pt x="253" y="177"/>
                    <a:pt x="253" y="177"/>
                  </a:cubicBezTo>
                  <a:cubicBezTo>
                    <a:pt x="297" y="221"/>
                    <a:pt x="297" y="221"/>
                    <a:pt x="297" y="221"/>
                  </a:cubicBezTo>
                  <a:cubicBezTo>
                    <a:pt x="301" y="225"/>
                    <a:pt x="301" y="232"/>
                    <a:pt x="297" y="236"/>
                  </a:cubicBezTo>
                  <a:close/>
                  <a:moveTo>
                    <a:pt x="140" y="154"/>
                  </a:moveTo>
                  <a:cubicBezTo>
                    <a:pt x="144" y="158"/>
                    <a:pt x="144" y="165"/>
                    <a:pt x="140" y="169"/>
                  </a:cubicBezTo>
                  <a:cubicBezTo>
                    <a:pt x="136" y="173"/>
                    <a:pt x="129" y="173"/>
                    <a:pt x="125" y="169"/>
                  </a:cubicBezTo>
                  <a:cubicBezTo>
                    <a:pt x="121" y="165"/>
                    <a:pt x="121" y="158"/>
                    <a:pt x="125" y="154"/>
                  </a:cubicBezTo>
                  <a:cubicBezTo>
                    <a:pt x="129" y="150"/>
                    <a:pt x="136" y="150"/>
                    <a:pt x="140" y="154"/>
                  </a:cubicBezTo>
                  <a:close/>
                  <a:moveTo>
                    <a:pt x="170" y="124"/>
                  </a:moveTo>
                  <a:cubicBezTo>
                    <a:pt x="174" y="128"/>
                    <a:pt x="174" y="135"/>
                    <a:pt x="170" y="139"/>
                  </a:cubicBezTo>
                  <a:cubicBezTo>
                    <a:pt x="166" y="143"/>
                    <a:pt x="159" y="143"/>
                    <a:pt x="155" y="139"/>
                  </a:cubicBezTo>
                  <a:cubicBezTo>
                    <a:pt x="151" y="135"/>
                    <a:pt x="151" y="128"/>
                    <a:pt x="155" y="124"/>
                  </a:cubicBezTo>
                  <a:cubicBezTo>
                    <a:pt x="159" y="120"/>
                    <a:pt x="166" y="120"/>
                    <a:pt x="170" y="124"/>
                  </a:cubicBezTo>
                  <a:close/>
                  <a:moveTo>
                    <a:pt x="170" y="184"/>
                  </a:moveTo>
                  <a:cubicBezTo>
                    <a:pt x="174" y="188"/>
                    <a:pt x="174" y="195"/>
                    <a:pt x="170" y="199"/>
                  </a:cubicBezTo>
                  <a:cubicBezTo>
                    <a:pt x="166" y="204"/>
                    <a:pt x="159" y="204"/>
                    <a:pt x="155" y="199"/>
                  </a:cubicBezTo>
                  <a:cubicBezTo>
                    <a:pt x="151" y="195"/>
                    <a:pt x="151" y="188"/>
                    <a:pt x="155" y="184"/>
                  </a:cubicBezTo>
                  <a:cubicBezTo>
                    <a:pt x="159" y="180"/>
                    <a:pt x="166" y="180"/>
                    <a:pt x="170" y="184"/>
                  </a:cubicBezTo>
                  <a:close/>
                  <a:moveTo>
                    <a:pt x="185" y="169"/>
                  </a:moveTo>
                  <a:cubicBezTo>
                    <a:pt x="181" y="165"/>
                    <a:pt x="181" y="158"/>
                    <a:pt x="185" y="154"/>
                  </a:cubicBezTo>
                  <a:cubicBezTo>
                    <a:pt x="189" y="150"/>
                    <a:pt x="196" y="150"/>
                    <a:pt x="200" y="154"/>
                  </a:cubicBezTo>
                  <a:cubicBezTo>
                    <a:pt x="205" y="158"/>
                    <a:pt x="205" y="165"/>
                    <a:pt x="200" y="169"/>
                  </a:cubicBezTo>
                  <a:cubicBezTo>
                    <a:pt x="196" y="173"/>
                    <a:pt x="189" y="173"/>
                    <a:pt x="185" y="1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360"/>
            <p:cNvSpPr>
              <a:spLocks noEditPoints="1"/>
            </p:cNvSpPr>
            <p:nvPr/>
          </p:nvSpPr>
          <p:spPr bwMode="auto">
            <a:xfrm>
              <a:off x="3312" y="21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3" name="Freeform 453"/>
          <p:cNvSpPr>
            <a:spLocks noChangeAspect="1" noEditPoints="1"/>
          </p:cNvSpPr>
          <p:nvPr/>
        </p:nvSpPr>
        <p:spPr bwMode="auto">
          <a:xfrm>
            <a:off x="3760910" y="1712544"/>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4" name="Group 456"/>
          <p:cNvGrpSpPr>
            <a:grpSpLocks noChangeAspect="1"/>
          </p:cNvGrpSpPr>
          <p:nvPr/>
        </p:nvGrpSpPr>
        <p:grpSpPr bwMode="auto">
          <a:xfrm>
            <a:off x="4179818" y="1712544"/>
            <a:ext cx="367982" cy="367982"/>
            <a:chOff x="3735" y="2737"/>
            <a:chExt cx="340" cy="340"/>
          </a:xfrm>
          <a:solidFill>
            <a:schemeClr val="accent5"/>
          </a:solidFill>
        </p:grpSpPr>
        <p:sp>
          <p:nvSpPr>
            <p:cNvPr id="275" name="Freeform 457"/>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458"/>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1" name="Freeform 828"/>
          <p:cNvSpPr>
            <a:spLocks noChangeAspect="1" noEditPoints="1"/>
          </p:cNvSpPr>
          <p:nvPr/>
        </p:nvSpPr>
        <p:spPr bwMode="auto">
          <a:xfrm>
            <a:off x="4598726" y="1712895"/>
            <a:ext cx="367631" cy="367631"/>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2" name="Group 831"/>
          <p:cNvGrpSpPr>
            <a:grpSpLocks noChangeAspect="1"/>
          </p:cNvGrpSpPr>
          <p:nvPr/>
        </p:nvGrpSpPr>
        <p:grpSpPr bwMode="auto">
          <a:xfrm>
            <a:off x="5017283" y="1712895"/>
            <a:ext cx="367631" cy="367631"/>
            <a:chOff x="3500" y="3210"/>
            <a:chExt cx="340" cy="340"/>
          </a:xfrm>
          <a:solidFill>
            <a:schemeClr val="accent3"/>
          </a:solidFill>
        </p:grpSpPr>
        <p:sp>
          <p:nvSpPr>
            <p:cNvPr id="283" name="Freeform 832"/>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Freeform 833"/>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834"/>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6" name="Freeform 838"/>
          <p:cNvSpPr>
            <a:spLocks noChangeAspect="1" noEditPoints="1"/>
          </p:cNvSpPr>
          <p:nvPr/>
        </p:nvSpPr>
        <p:spPr bwMode="auto">
          <a:xfrm>
            <a:off x="5435840" y="1712895"/>
            <a:ext cx="367631" cy="36763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7" name="Group 841"/>
          <p:cNvGrpSpPr>
            <a:grpSpLocks noChangeAspect="1"/>
          </p:cNvGrpSpPr>
          <p:nvPr/>
        </p:nvGrpSpPr>
        <p:grpSpPr bwMode="auto">
          <a:xfrm>
            <a:off x="5854397" y="1712895"/>
            <a:ext cx="367631" cy="367631"/>
            <a:chOff x="4235" y="3197"/>
            <a:chExt cx="340" cy="340"/>
          </a:xfrm>
          <a:solidFill>
            <a:schemeClr val="accent3"/>
          </a:solidFill>
        </p:grpSpPr>
        <p:sp>
          <p:nvSpPr>
            <p:cNvPr id="288" name="Freeform 842"/>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843"/>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0" name="Group 327"/>
          <p:cNvGrpSpPr>
            <a:grpSpLocks noChangeAspect="1"/>
          </p:cNvGrpSpPr>
          <p:nvPr/>
        </p:nvGrpSpPr>
        <p:grpSpPr bwMode="auto">
          <a:xfrm>
            <a:off x="6692901" y="1711505"/>
            <a:ext cx="369021" cy="369021"/>
            <a:chOff x="5029" y="1186"/>
            <a:chExt cx="340" cy="340"/>
          </a:xfrm>
          <a:solidFill>
            <a:schemeClr val="accent4"/>
          </a:solidFill>
        </p:grpSpPr>
        <p:sp>
          <p:nvSpPr>
            <p:cNvPr id="291"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3" name="Freeform 333"/>
          <p:cNvSpPr>
            <a:spLocks noChangeAspect="1" noEditPoints="1"/>
          </p:cNvSpPr>
          <p:nvPr/>
        </p:nvSpPr>
        <p:spPr bwMode="auto">
          <a:xfrm>
            <a:off x="6272954" y="1711505"/>
            <a:ext cx="369021" cy="369021"/>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4" name="Freeform 687"/>
          <p:cNvSpPr>
            <a:spLocks noChangeAspect="1" noEditPoints="1"/>
          </p:cNvSpPr>
          <p:nvPr/>
        </p:nvSpPr>
        <p:spPr bwMode="auto">
          <a:xfrm>
            <a:off x="7112848" y="1712544"/>
            <a:ext cx="369064" cy="367982"/>
          </a:xfrm>
          <a:custGeom>
            <a:avLst/>
            <a:gdLst>
              <a:gd name="T0" fmla="*/ 377 w 512"/>
              <a:gd name="T1" fmla="*/ 172 h 512"/>
              <a:gd name="T2" fmla="*/ 377 w 512"/>
              <a:gd name="T3" fmla="*/ 262 h 512"/>
              <a:gd name="T4" fmla="*/ 255 w 512"/>
              <a:gd name="T5" fmla="*/ 390 h 512"/>
              <a:gd name="T6" fmla="*/ 133 w 512"/>
              <a:gd name="T7" fmla="*/ 262 h 512"/>
              <a:gd name="T8" fmla="*/ 133 w 512"/>
              <a:gd name="T9" fmla="*/ 172 h 512"/>
              <a:gd name="T10" fmla="*/ 176 w 512"/>
              <a:gd name="T11" fmla="*/ 154 h 512"/>
              <a:gd name="T12" fmla="*/ 212 w 512"/>
              <a:gd name="T13" fmla="*/ 167 h 512"/>
              <a:gd name="T14" fmla="*/ 184 w 512"/>
              <a:gd name="T15" fmla="*/ 195 h 512"/>
              <a:gd name="T16" fmla="*/ 181 w 512"/>
              <a:gd name="T17" fmla="*/ 202 h 512"/>
              <a:gd name="T18" fmla="*/ 184 w 512"/>
              <a:gd name="T19" fmla="*/ 210 h 512"/>
              <a:gd name="T20" fmla="*/ 225 w 512"/>
              <a:gd name="T21" fmla="*/ 250 h 512"/>
              <a:gd name="T22" fmla="*/ 211 w 512"/>
              <a:gd name="T23" fmla="*/ 264 h 512"/>
              <a:gd name="T24" fmla="*/ 211 w 512"/>
              <a:gd name="T25" fmla="*/ 279 h 512"/>
              <a:gd name="T26" fmla="*/ 259 w 512"/>
              <a:gd name="T27" fmla="*/ 327 h 512"/>
              <a:gd name="T28" fmla="*/ 272 w 512"/>
              <a:gd name="T29" fmla="*/ 329 h 512"/>
              <a:gd name="T30" fmla="*/ 277 w 512"/>
              <a:gd name="T31" fmla="*/ 317 h 512"/>
              <a:gd name="T32" fmla="*/ 267 w 512"/>
              <a:gd name="T33" fmla="*/ 280 h 512"/>
              <a:gd name="T34" fmla="*/ 295 w 512"/>
              <a:gd name="T35" fmla="*/ 253 h 512"/>
              <a:gd name="T36" fmla="*/ 295 w 512"/>
              <a:gd name="T37" fmla="*/ 237 h 512"/>
              <a:gd name="T38" fmla="*/ 271 w 512"/>
              <a:gd name="T39" fmla="*/ 213 h 512"/>
              <a:gd name="T40" fmla="*/ 306 w 512"/>
              <a:gd name="T41" fmla="*/ 178 h 512"/>
              <a:gd name="T42" fmla="*/ 306 w 512"/>
              <a:gd name="T43" fmla="*/ 163 h 512"/>
              <a:gd name="T44" fmla="*/ 305 w 512"/>
              <a:gd name="T45" fmla="*/ 162 h 512"/>
              <a:gd name="T46" fmla="*/ 377 w 512"/>
              <a:gd name="T47" fmla="*/ 172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7 h 512"/>
              <a:gd name="T60" fmla="*/ 281 w 512"/>
              <a:gd name="T61" fmla="*/ 152 h 512"/>
              <a:gd name="T62" fmla="*/ 278 w 512"/>
              <a:gd name="T63" fmla="*/ 160 h 512"/>
              <a:gd name="T64" fmla="*/ 281 w 512"/>
              <a:gd name="T65" fmla="*/ 168 h 512"/>
              <a:gd name="T66" fmla="*/ 283 w 512"/>
              <a:gd name="T67" fmla="*/ 170 h 512"/>
              <a:gd name="T68" fmla="*/ 248 w 512"/>
              <a:gd name="T69" fmla="*/ 205 h 512"/>
              <a:gd name="T70" fmla="*/ 248 w 512"/>
              <a:gd name="T71" fmla="*/ 221 h 512"/>
              <a:gd name="T72" fmla="*/ 273 w 512"/>
              <a:gd name="T73" fmla="*/ 245 h 512"/>
              <a:gd name="T74" fmla="*/ 248 w 512"/>
              <a:gd name="T75" fmla="*/ 269 h 512"/>
              <a:gd name="T76" fmla="*/ 245 w 512"/>
              <a:gd name="T77" fmla="*/ 280 h 512"/>
              <a:gd name="T78" fmla="*/ 247 w 512"/>
              <a:gd name="T79" fmla="*/ 285 h 512"/>
              <a:gd name="T80" fmla="*/ 233 w 512"/>
              <a:gd name="T81" fmla="*/ 272 h 512"/>
              <a:gd name="T82" fmla="*/ 247 w 512"/>
              <a:gd name="T83" fmla="*/ 258 h 512"/>
              <a:gd name="T84" fmla="*/ 247 w 512"/>
              <a:gd name="T85" fmla="*/ 243 h 512"/>
              <a:gd name="T86" fmla="*/ 207 w 512"/>
              <a:gd name="T87" fmla="*/ 202 h 512"/>
              <a:gd name="T88" fmla="*/ 235 w 512"/>
              <a:gd name="T89" fmla="*/ 174 h 512"/>
              <a:gd name="T90" fmla="*/ 235 w 512"/>
              <a:gd name="T91" fmla="*/ 159 h 512"/>
              <a:gd name="T92" fmla="*/ 234 w 512"/>
              <a:gd name="T93" fmla="*/ 157 h 512"/>
              <a:gd name="T94" fmla="*/ 176 w 512"/>
              <a:gd name="T95" fmla="*/ 132 h 512"/>
              <a:gd name="T96" fmla="*/ 118 w 512"/>
              <a:gd name="T97" fmla="*/ 157 h 512"/>
              <a:gd name="T98" fmla="*/ 118 w 512"/>
              <a:gd name="T99" fmla="*/ 277 h 512"/>
              <a:gd name="T100" fmla="*/ 246 w 512"/>
              <a:gd name="T101" fmla="*/ 412 h 512"/>
              <a:gd name="T102" fmla="*/ 254 w 512"/>
              <a:gd name="T103" fmla="*/ 416 h 512"/>
              <a:gd name="T104" fmla="*/ 256 w 512"/>
              <a:gd name="T105" fmla="*/ 416 h 512"/>
              <a:gd name="T106" fmla="*/ 263 w 512"/>
              <a:gd name="T107" fmla="*/ 412 h 512"/>
              <a:gd name="T108" fmla="*/ 392 w 512"/>
              <a:gd name="T109" fmla="*/ 277 h 512"/>
              <a:gd name="T110" fmla="*/ 392 w 512"/>
              <a:gd name="T11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7" y="172"/>
                </a:moveTo>
                <a:cubicBezTo>
                  <a:pt x="400" y="197"/>
                  <a:pt x="400" y="237"/>
                  <a:pt x="377" y="262"/>
                </a:cubicBezTo>
                <a:cubicBezTo>
                  <a:pt x="255" y="390"/>
                  <a:pt x="255" y="390"/>
                  <a:pt x="255" y="390"/>
                </a:cubicBezTo>
                <a:cubicBezTo>
                  <a:pt x="133" y="262"/>
                  <a:pt x="133" y="262"/>
                  <a:pt x="133" y="262"/>
                </a:cubicBezTo>
                <a:cubicBezTo>
                  <a:pt x="109" y="237"/>
                  <a:pt x="109" y="197"/>
                  <a:pt x="133" y="172"/>
                </a:cubicBezTo>
                <a:cubicBezTo>
                  <a:pt x="145" y="160"/>
                  <a:pt x="160" y="154"/>
                  <a:pt x="176" y="154"/>
                </a:cubicBezTo>
                <a:cubicBezTo>
                  <a:pt x="189" y="154"/>
                  <a:pt x="202" y="158"/>
                  <a:pt x="212" y="167"/>
                </a:cubicBezTo>
                <a:cubicBezTo>
                  <a:pt x="184" y="195"/>
                  <a:pt x="184" y="195"/>
                  <a:pt x="184" y="195"/>
                </a:cubicBezTo>
                <a:cubicBezTo>
                  <a:pt x="182" y="197"/>
                  <a:pt x="181" y="199"/>
                  <a:pt x="181" y="202"/>
                </a:cubicBezTo>
                <a:cubicBezTo>
                  <a:pt x="181" y="205"/>
                  <a:pt x="182" y="208"/>
                  <a:pt x="184" y="210"/>
                </a:cubicBezTo>
                <a:cubicBezTo>
                  <a:pt x="225" y="250"/>
                  <a:pt x="225" y="250"/>
                  <a:pt x="225" y="250"/>
                </a:cubicBezTo>
                <a:cubicBezTo>
                  <a:pt x="211" y="264"/>
                  <a:pt x="211" y="264"/>
                  <a:pt x="211" y="264"/>
                </a:cubicBezTo>
                <a:cubicBezTo>
                  <a:pt x="207" y="268"/>
                  <a:pt x="207" y="275"/>
                  <a:pt x="211" y="279"/>
                </a:cubicBezTo>
                <a:cubicBezTo>
                  <a:pt x="259" y="327"/>
                  <a:pt x="259" y="327"/>
                  <a:pt x="259" y="327"/>
                </a:cubicBezTo>
                <a:cubicBezTo>
                  <a:pt x="262" y="331"/>
                  <a:pt x="267" y="331"/>
                  <a:pt x="272" y="329"/>
                </a:cubicBezTo>
                <a:cubicBezTo>
                  <a:pt x="276" y="327"/>
                  <a:pt x="278" y="322"/>
                  <a:pt x="277" y="317"/>
                </a:cubicBezTo>
                <a:cubicBezTo>
                  <a:pt x="267" y="280"/>
                  <a:pt x="267" y="280"/>
                  <a:pt x="267" y="280"/>
                </a:cubicBezTo>
                <a:cubicBezTo>
                  <a:pt x="295" y="253"/>
                  <a:pt x="295" y="253"/>
                  <a:pt x="295" y="253"/>
                </a:cubicBezTo>
                <a:cubicBezTo>
                  <a:pt x="299" y="248"/>
                  <a:pt x="299" y="242"/>
                  <a:pt x="295" y="237"/>
                </a:cubicBezTo>
                <a:cubicBezTo>
                  <a:pt x="271" y="213"/>
                  <a:pt x="271" y="213"/>
                  <a:pt x="271" y="213"/>
                </a:cubicBezTo>
                <a:cubicBezTo>
                  <a:pt x="306" y="178"/>
                  <a:pt x="306" y="178"/>
                  <a:pt x="306" y="178"/>
                </a:cubicBezTo>
                <a:cubicBezTo>
                  <a:pt x="310" y="174"/>
                  <a:pt x="310" y="167"/>
                  <a:pt x="306" y="163"/>
                </a:cubicBezTo>
                <a:cubicBezTo>
                  <a:pt x="305" y="162"/>
                  <a:pt x="305" y="162"/>
                  <a:pt x="305" y="162"/>
                </a:cubicBezTo>
                <a:cubicBezTo>
                  <a:pt x="328" y="148"/>
                  <a:pt x="357" y="152"/>
                  <a:pt x="377" y="1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2" y="157"/>
                </a:moveTo>
                <a:cubicBezTo>
                  <a:pt x="362" y="126"/>
                  <a:pt x="314" y="124"/>
                  <a:pt x="281" y="152"/>
                </a:cubicBezTo>
                <a:cubicBezTo>
                  <a:pt x="279" y="154"/>
                  <a:pt x="278" y="157"/>
                  <a:pt x="278" y="160"/>
                </a:cubicBezTo>
                <a:cubicBezTo>
                  <a:pt x="278" y="163"/>
                  <a:pt x="279" y="166"/>
                  <a:pt x="281" y="168"/>
                </a:cubicBezTo>
                <a:cubicBezTo>
                  <a:pt x="283" y="170"/>
                  <a:pt x="283" y="170"/>
                  <a:pt x="283" y="170"/>
                </a:cubicBezTo>
                <a:cubicBezTo>
                  <a:pt x="248" y="205"/>
                  <a:pt x="248" y="205"/>
                  <a:pt x="248" y="205"/>
                </a:cubicBezTo>
                <a:cubicBezTo>
                  <a:pt x="244" y="210"/>
                  <a:pt x="244" y="216"/>
                  <a:pt x="248" y="221"/>
                </a:cubicBezTo>
                <a:cubicBezTo>
                  <a:pt x="273" y="245"/>
                  <a:pt x="273" y="245"/>
                  <a:pt x="273" y="245"/>
                </a:cubicBezTo>
                <a:cubicBezTo>
                  <a:pt x="248" y="269"/>
                  <a:pt x="248" y="269"/>
                  <a:pt x="248" y="269"/>
                </a:cubicBezTo>
                <a:cubicBezTo>
                  <a:pt x="245" y="272"/>
                  <a:pt x="244" y="276"/>
                  <a:pt x="245" y="280"/>
                </a:cubicBezTo>
                <a:cubicBezTo>
                  <a:pt x="247" y="285"/>
                  <a:pt x="247" y="285"/>
                  <a:pt x="247" y="285"/>
                </a:cubicBezTo>
                <a:cubicBezTo>
                  <a:pt x="233" y="272"/>
                  <a:pt x="233" y="272"/>
                  <a:pt x="233" y="272"/>
                </a:cubicBezTo>
                <a:cubicBezTo>
                  <a:pt x="247" y="258"/>
                  <a:pt x="247" y="258"/>
                  <a:pt x="247" y="258"/>
                </a:cubicBezTo>
                <a:cubicBezTo>
                  <a:pt x="251" y="254"/>
                  <a:pt x="251" y="247"/>
                  <a:pt x="247" y="243"/>
                </a:cubicBezTo>
                <a:cubicBezTo>
                  <a:pt x="207" y="202"/>
                  <a:pt x="207" y="202"/>
                  <a:pt x="207" y="202"/>
                </a:cubicBezTo>
                <a:cubicBezTo>
                  <a:pt x="235" y="174"/>
                  <a:pt x="235" y="174"/>
                  <a:pt x="235" y="174"/>
                </a:cubicBezTo>
                <a:cubicBezTo>
                  <a:pt x="239" y="170"/>
                  <a:pt x="239" y="163"/>
                  <a:pt x="235" y="159"/>
                </a:cubicBezTo>
                <a:cubicBezTo>
                  <a:pt x="234" y="157"/>
                  <a:pt x="234" y="157"/>
                  <a:pt x="234" y="157"/>
                </a:cubicBezTo>
                <a:cubicBezTo>
                  <a:pt x="218" y="141"/>
                  <a:pt x="198" y="132"/>
                  <a:pt x="176" y="132"/>
                </a:cubicBezTo>
                <a:cubicBezTo>
                  <a:pt x="154" y="132"/>
                  <a:pt x="133" y="141"/>
                  <a:pt x="118" y="157"/>
                </a:cubicBezTo>
                <a:cubicBezTo>
                  <a:pt x="86" y="190"/>
                  <a:pt x="86" y="244"/>
                  <a:pt x="118" y="277"/>
                </a:cubicBezTo>
                <a:cubicBezTo>
                  <a:pt x="246" y="412"/>
                  <a:pt x="246" y="412"/>
                  <a:pt x="246" y="412"/>
                </a:cubicBezTo>
                <a:cubicBezTo>
                  <a:pt x="248" y="414"/>
                  <a:pt x="251" y="416"/>
                  <a:pt x="254" y="416"/>
                </a:cubicBezTo>
                <a:cubicBezTo>
                  <a:pt x="256" y="416"/>
                  <a:pt x="256" y="416"/>
                  <a:pt x="256" y="416"/>
                </a:cubicBezTo>
                <a:cubicBezTo>
                  <a:pt x="259" y="416"/>
                  <a:pt x="261" y="414"/>
                  <a:pt x="263" y="412"/>
                </a:cubicBezTo>
                <a:cubicBezTo>
                  <a:pt x="392" y="277"/>
                  <a:pt x="392" y="277"/>
                  <a:pt x="392" y="277"/>
                </a:cubicBezTo>
                <a:cubicBezTo>
                  <a:pt x="424" y="244"/>
                  <a:pt x="424" y="190"/>
                  <a:pt x="392" y="1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5" name="Group 690"/>
          <p:cNvGrpSpPr>
            <a:grpSpLocks noChangeAspect="1"/>
          </p:cNvGrpSpPr>
          <p:nvPr/>
        </p:nvGrpSpPr>
        <p:grpSpPr bwMode="auto">
          <a:xfrm>
            <a:off x="7532832" y="1712544"/>
            <a:ext cx="367982" cy="367982"/>
            <a:chOff x="3494" y="2985"/>
            <a:chExt cx="340" cy="340"/>
          </a:xfrm>
          <a:solidFill>
            <a:schemeClr val="accent2"/>
          </a:solidFill>
        </p:grpSpPr>
        <p:sp>
          <p:nvSpPr>
            <p:cNvPr id="296" name="Freeform 691"/>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692"/>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8" name="Group 396"/>
          <p:cNvGrpSpPr>
            <a:grpSpLocks noChangeAspect="1"/>
          </p:cNvGrpSpPr>
          <p:nvPr/>
        </p:nvGrpSpPr>
        <p:grpSpPr bwMode="auto">
          <a:xfrm>
            <a:off x="1665737" y="2533019"/>
            <a:ext cx="369676" cy="369676"/>
            <a:chOff x="6602" y="1516"/>
            <a:chExt cx="340" cy="340"/>
          </a:xfrm>
          <a:solidFill>
            <a:schemeClr val="accent5"/>
          </a:solidFill>
        </p:grpSpPr>
        <p:sp>
          <p:nvSpPr>
            <p:cNvPr id="299" name="Freeform 397"/>
            <p:cNvSpPr>
              <a:spLocks noEditPoints="1"/>
            </p:cNvSpPr>
            <p:nvPr/>
          </p:nvSpPr>
          <p:spPr bwMode="auto">
            <a:xfrm>
              <a:off x="6602" y="15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398"/>
            <p:cNvSpPr>
              <a:spLocks noEditPoints="1"/>
            </p:cNvSpPr>
            <p:nvPr/>
          </p:nvSpPr>
          <p:spPr bwMode="auto">
            <a:xfrm>
              <a:off x="6663" y="1579"/>
              <a:ext cx="216" cy="213"/>
            </a:xfrm>
            <a:custGeom>
              <a:avLst/>
              <a:gdLst>
                <a:gd name="T0" fmla="*/ 205 w 325"/>
                <a:gd name="T1" fmla="*/ 79 h 321"/>
                <a:gd name="T2" fmla="*/ 212 w 325"/>
                <a:gd name="T3" fmla="*/ 82 h 321"/>
                <a:gd name="T4" fmla="*/ 220 w 325"/>
                <a:gd name="T5" fmla="*/ 79 h 321"/>
                <a:gd name="T6" fmla="*/ 220 w 325"/>
                <a:gd name="T7" fmla="*/ 64 h 321"/>
                <a:gd name="T8" fmla="*/ 159 w 325"/>
                <a:gd name="T9" fmla="*/ 4 h 321"/>
                <a:gd name="T10" fmla="*/ 144 w 325"/>
                <a:gd name="T11" fmla="*/ 4 h 321"/>
                <a:gd name="T12" fmla="*/ 144 w 325"/>
                <a:gd name="T13" fmla="*/ 19 h 321"/>
                <a:gd name="T14" fmla="*/ 16 w 325"/>
                <a:gd name="T15" fmla="*/ 147 h 321"/>
                <a:gd name="T16" fmla="*/ 16 w 325"/>
                <a:gd name="T17" fmla="*/ 207 h 321"/>
                <a:gd name="T18" fmla="*/ 46 w 325"/>
                <a:gd name="T19" fmla="*/ 220 h 321"/>
                <a:gd name="T20" fmla="*/ 76 w 325"/>
                <a:gd name="T21" fmla="*/ 207 h 321"/>
                <a:gd name="T22" fmla="*/ 205 w 325"/>
                <a:gd name="T23" fmla="*/ 79 h 321"/>
                <a:gd name="T24" fmla="*/ 61 w 325"/>
                <a:gd name="T25" fmla="*/ 192 h 321"/>
                <a:gd name="T26" fmla="*/ 31 w 325"/>
                <a:gd name="T27" fmla="*/ 192 h 321"/>
                <a:gd name="T28" fmla="*/ 25 w 325"/>
                <a:gd name="T29" fmla="*/ 177 h 321"/>
                <a:gd name="T30" fmla="*/ 31 w 325"/>
                <a:gd name="T31" fmla="*/ 162 h 321"/>
                <a:gd name="T32" fmla="*/ 86 w 325"/>
                <a:gd name="T33" fmla="*/ 107 h 321"/>
                <a:gd name="T34" fmla="*/ 146 w 325"/>
                <a:gd name="T35" fmla="*/ 107 h 321"/>
                <a:gd name="T36" fmla="*/ 61 w 325"/>
                <a:gd name="T37" fmla="*/ 192 h 321"/>
                <a:gd name="T38" fmla="*/ 168 w 325"/>
                <a:gd name="T39" fmla="*/ 86 h 321"/>
                <a:gd name="T40" fmla="*/ 107 w 325"/>
                <a:gd name="T41" fmla="*/ 86 h 321"/>
                <a:gd name="T42" fmla="*/ 159 w 325"/>
                <a:gd name="T43" fmla="*/ 34 h 321"/>
                <a:gd name="T44" fmla="*/ 190 w 325"/>
                <a:gd name="T45" fmla="*/ 64 h 321"/>
                <a:gd name="T46" fmla="*/ 168 w 325"/>
                <a:gd name="T47" fmla="*/ 86 h 321"/>
                <a:gd name="T48" fmla="*/ 321 w 325"/>
                <a:gd name="T49" fmla="*/ 165 h 321"/>
                <a:gd name="T50" fmla="*/ 260 w 325"/>
                <a:gd name="T51" fmla="*/ 105 h 321"/>
                <a:gd name="T52" fmla="*/ 245 w 325"/>
                <a:gd name="T53" fmla="*/ 105 h 321"/>
                <a:gd name="T54" fmla="*/ 245 w 325"/>
                <a:gd name="T55" fmla="*/ 120 h 321"/>
                <a:gd name="T56" fmla="*/ 245 w 325"/>
                <a:gd name="T57" fmla="*/ 120 h 321"/>
                <a:gd name="T58" fmla="*/ 117 w 325"/>
                <a:gd name="T59" fmla="*/ 248 h 321"/>
                <a:gd name="T60" fmla="*/ 104 w 325"/>
                <a:gd name="T61" fmla="*/ 278 h 321"/>
                <a:gd name="T62" fmla="*/ 117 w 325"/>
                <a:gd name="T63" fmla="*/ 308 h 321"/>
                <a:gd name="T64" fmla="*/ 147 w 325"/>
                <a:gd name="T65" fmla="*/ 321 h 321"/>
                <a:gd name="T66" fmla="*/ 177 w 325"/>
                <a:gd name="T67" fmla="*/ 308 h 321"/>
                <a:gd name="T68" fmla="*/ 305 w 325"/>
                <a:gd name="T69" fmla="*/ 180 h 321"/>
                <a:gd name="T70" fmla="*/ 305 w 325"/>
                <a:gd name="T71" fmla="*/ 180 h 321"/>
                <a:gd name="T72" fmla="*/ 313 w 325"/>
                <a:gd name="T73" fmla="*/ 183 h 321"/>
                <a:gd name="T74" fmla="*/ 321 w 325"/>
                <a:gd name="T75" fmla="*/ 180 h 321"/>
                <a:gd name="T76" fmla="*/ 321 w 325"/>
                <a:gd name="T77" fmla="*/ 165 h 321"/>
                <a:gd name="T78" fmla="*/ 162 w 325"/>
                <a:gd name="T79" fmla="*/ 293 h 321"/>
                <a:gd name="T80" fmla="*/ 132 w 325"/>
                <a:gd name="T81" fmla="*/ 293 h 321"/>
                <a:gd name="T82" fmla="*/ 126 w 325"/>
                <a:gd name="T83" fmla="*/ 278 h 321"/>
                <a:gd name="T84" fmla="*/ 129 w 325"/>
                <a:gd name="T85" fmla="*/ 267 h 321"/>
                <a:gd name="T86" fmla="*/ 188 w 325"/>
                <a:gd name="T87" fmla="*/ 267 h 321"/>
                <a:gd name="T88" fmla="*/ 162 w 325"/>
                <a:gd name="T89" fmla="*/ 293 h 321"/>
                <a:gd name="T90" fmla="*/ 209 w 325"/>
                <a:gd name="T91" fmla="*/ 246 h 321"/>
                <a:gd name="T92" fmla="*/ 149 w 325"/>
                <a:gd name="T93" fmla="*/ 246 h 321"/>
                <a:gd name="T94" fmla="*/ 260 w 325"/>
                <a:gd name="T95" fmla="*/ 135 h 321"/>
                <a:gd name="T96" fmla="*/ 290 w 325"/>
                <a:gd name="T97" fmla="*/ 165 h 321"/>
                <a:gd name="T98" fmla="*/ 209 w 325"/>
                <a:gd name="T99" fmla="*/ 24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21">
                  <a:moveTo>
                    <a:pt x="205" y="79"/>
                  </a:moveTo>
                  <a:cubicBezTo>
                    <a:pt x="207" y="81"/>
                    <a:pt x="210" y="82"/>
                    <a:pt x="212" y="82"/>
                  </a:cubicBezTo>
                  <a:cubicBezTo>
                    <a:pt x="215" y="82"/>
                    <a:pt x="218" y="81"/>
                    <a:pt x="220" y="79"/>
                  </a:cubicBezTo>
                  <a:cubicBezTo>
                    <a:pt x="224" y="75"/>
                    <a:pt x="224" y="68"/>
                    <a:pt x="220" y="64"/>
                  </a:cubicBezTo>
                  <a:cubicBezTo>
                    <a:pt x="159" y="4"/>
                    <a:pt x="159" y="4"/>
                    <a:pt x="159" y="4"/>
                  </a:cubicBezTo>
                  <a:cubicBezTo>
                    <a:pt x="155" y="0"/>
                    <a:pt x="149" y="0"/>
                    <a:pt x="144" y="4"/>
                  </a:cubicBezTo>
                  <a:cubicBezTo>
                    <a:pt x="140" y="8"/>
                    <a:pt x="140" y="15"/>
                    <a:pt x="144" y="19"/>
                  </a:cubicBezTo>
                  <a:cubicBezTo>
                    <a:pt x="16" y="147"/>
                    <a:pt x="16" y="147"/>
                    <a:pt x="16" y="147"/>
                  </a:cubicBezTo>
                  <a:cubicBezTo>
                    <a:pt x="0" y="164"/>
                    <a:pt x="0" y="191"/>
                    <a:pt x="16" y="207"/>
                  </a:cubicBezTo>
                  <a:cubicBezTo>
                    <a:pt x="24" y="216"/>
                    <a:pt x="35" y="220"/>
                    <a:pt x="46" y="220"/>
                  </a:cubicBezTo>
                  <a:cubicBezTo>
                    <a:pt x="58" y="220"/>
                    <a:pt x="68" y="216"/>
                    <a:pt x="76" y="207"/>
                  </a:cubicBezTo>
                  <a:cubicBezTo>
                    <a:pt x="205" y="79"/>
                    <a:pt x="205" y="79"/>
                    <a:pt x="205" y="79"/>
                  </a:cubicBezTo>
                  <a:close/>
                  <a:moveTo>
                    <a:pt x="61" y="192"/>
                  </a:moveTo>
                  <a:cubicBezTo>
                    <a:pt x="53" y="200"/>
                    <a:pt x="39" y="200"/>
                    <a:pt x="31" y="192"/>
                  </a:cubicBezTo>
                  <a:cubicBezTo>
                    <a:pt x="27" y="188"/>
                    <a:pt x="25" y="183"/>
                    <a:pt x="25" y="177"/>
                  </a:cubicBezTo>
                  <a:cubicBezTo>
                    <a:pt x="25" y="172"/>
                    <a:pt x="27" y="166"/>
                    <a:pt x="31" y="162"/>
                  </a:cubicBezTo>
                  <a:cubicBezTo>
                    <a:pt x="86" y="107"/>
                    <a:pt x="86" y="107"/>
                    <a:pt x="86" y="107"/>
                  </a:cubicBezTo>
                  <a:cubicBezTo>
                    <a:pt x="146" y="107"/>
                    <a:pt x="146" y="107"/>
                    <a:pt x="146" y="107"/>
                  </a:cubicBezTo>
                  <a:lnTo>
                    <a:pt x="61" y="192"/>
                  </a:lnTo>
                  <a:close/>
                  <a:moveTo>
                    <a:pt x="168" y="86"/>
                  </a:moveTo>
                  <a:cubicBezTo>
                    <a:pt x="107" y="86"/>
                    <a:pt x="107" y="86"/>
                    <a:pt x="107" y="86"/>
                  </a:cubicBezTo>
                  <a:cubicBezTo>
                    <a:pt x="159" y="34"/>
                    <a:pt x="159" y="34"/>
                    <a:pt x="159" y="34"/>
                  </a:cubicBezTo>
                  <a:cubicBezTo>
                    <a:pt x="190" y="64"/>
                    <a:pt x="190" y="64"/>
                    <a:pt x="190" y="64"/>
                  </a:cubicBezTo>
                  <a:lnTo>
                    <a:pt x="168" y="86"/>
                  </a:lnTo>
                  <a:close/>
                  <a:moveTo>
                    <a:pt x="321" y="165"/>
                  </a:moveTo>
                  <a:cubicBezTo>
                    <a:pt x="260" y="105"/>
                    <a:pt x="260" y="105"/>
                    <a:pt x="260" y="105"/>
                  </a:cubicBezTo>
                  <a:cubicBezTo>
                    <a:pt x="256" y="100"/>
                    <a:pt x="249" y="100"/>
                    <a:pt x="245" y="105"/>
                  </a:cubicBezTo>
                  <a:cubicBezTo>
                    <a:pt x="241" y="109"/>
                    <a:pt x="241" y="115"/>
                    <a:pt x="245" y="120"/>
                  </a:cubicBezTo>
                  <a:cubicBezTo>
                    <a:pt x="245" y="120"/>
                    <a:pt x="245" y="120"/>
                    <a:pt x="245" y="120"/>
                  </a:cubicBezTo>
                  <a:cubicBezTo>
                    <a:pt x="117" y="248"/>
                    <a:pt x="117" y="248"/>
                    <a:pt x="117" y="248"/>
                  </a:cubicBezTo>
                  <a:cubicBezTo>
                    <a:pt x="109" y="256"/>
                    <a:pt x="104" y="267"/>
                    <a:pt x="104" y="278"/>
                  </a:cubicBezTo>
                  <a:cubicBezTo>
                    <a:pt x="104" y="289"/>
                    <a:pt x="109" y="300"/>
                    <a:pt x="117" y="308"/>
                  </a:cubicBezTo>
                  <a:cubicBezTo>
                    <a:pt x="125" y="316"/>
                    <a:pt x="136" y="321"/>
                    <a:pt x="147" y="321"/>
                  </a:cubicBezTo>
                  <a:cubicBezTo>
                    <a:pt x="158" y="321"/>
                    <a:pt x="169" y="316"/>
                    <a:pt x="177" y="308"/>
                  </a:cubicBezTo>
                  <a:cubicBezTo>
                    <a:pt x="305" y="180"/>
                    <a:pt x="305" y="180"/>
                    <a:pt x="305" y="180"/>
                  </a:cubicBezTo>
                  <a:cubicBezTo>
                    <a:pt x="305" y="180"/>
                    <a:pt x="305" y="180"/>
                    <a:pt x="305" y="180"/>
                  </a:cubicBezTo>
                  <a:cubicBezTo>
                    <a:pt x="308" y="182"/>
                    <a:pt x="310" y="183"/>
                    <a:pt x="313" y="183"/>
                  </a:cubicBezTo>
                  <a:cubicBezTo>
                    <a:pt x="316" y="183"/>
                    <a:pt x="318" y="182"/>
                    <a:pt x="321" y="180"/>
                  </a:cubicBezTo>
                  <a:cubicBezTo>
                    <a:pt x="325" y="176"/>
                    <a:pt x="325" y="169"/>
                    <a:pt x="321" y="165"/>
                  </a:cubicBezTo>
                  <a:close/>
                  <a:moveTo>
                    <a:pt x="162" y="293"/>
                  </a:moveTo>
                  <a:cubicBezTo>
                    <a:pt x="154" y="301"/>
                    <a:pt x="140" y="301"/>
                    <a:pt x="132" y="293"/>
                  </a:cubicBezTo>
                  <a:cubicBezTo>
                    <a:pt x="128" y="289"/>
                    <a:pt x="126" y="284"/>
                    <a:pt x="126" y="278"/>
                  </a:cubicBezTo>
                  <a:cubicBezTo>
                    <a:pt x="126" y="274"/>
                    <a:pt x="127" y="271"/>
                    <a:pt x="129" y="267"/>
                  </a:cubicBezTo>
                  <a:cubicBezTo>
                    <a:pt x="188" y="267"/>
                    <a:pt x="188" y="267"/>
                    <a:pt x="188" y="267"/>
                  </a:cubicBezTo>
                  <a:lnTo>
                    <a:pt x="162" y="293"/>
                  </a:lnTo>
                  <a:close/>
                  <a:moveTo>
                    <a:pt x="209" y="246"/>
                  </a:moveTo>
                  <a:cubicBezTo>
                    <a:pt x="149" y="246"/>
                    <a:pt x="149" y="246"/>
                    <a:pt x="149" y="246"/>
                  </a:cubicBezTo>
                  <a:cubicBezTo>
                    <a:pt x="260" y="135"/>
                    <a:pt x="260" y="135"/>
                    <a:pt x="260" y="135"/>
                  </a:cubicBezTo>
                  <a:cubicBezTo>
                    <a:pt x="290" y="165"/>
                    <a:pt x="290" y="165"/>
                    <a:pt x="290" y="165"/>
                  </a:cubicBezTo>
                  <a:lnTo>
                    <a:pt x="20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1" name="Freeform 402"/>
          <p:cNvSpPr>
            <a:spLocks noChangeAspect="1" noEditPoints="1"/>
          </p:cNvSpPr>
          <p:nvPr/>
        </p:nvSpPr>
        <p:spPr bwMode="auto">
          <a:xfrm>
            <a:off x="1245958" y="2533019"/>
            <a:ext cx="369676" cy="369676"/>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2" name="Group 405"/>
          <p:cNvGrpSpPr>
            <a:grpSpLocks noChangeAspect="1"/>
          </p:cNvGrpSpPr>
          <p:nvPr/>
        </p:nvGrpSpPr>
        <p:grpSpPr bwMode="auto">
          <a:xfrm>
            <a:off x="826179" y="2533019"/>
            <a:ext cx="369676" cy="369676"/>
            <a:chOff x="5822" y="1511"/>
            <a:chExt cx="340" cy="340"/>
          </a:xfrm>
          <a:solidFill>
            <a:schemeClr val="accent5"/>
          </a:solidFill>
        </p:grpSpPr>
        <p:sp>
          <p:nvSpPr>
            <p:cNvPr id="303" name="Freeform 406"/>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407"/>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411"/>
          <p:cNvSpPr>
            <a:spLocks noChangeAspect="1" noEditPoints="1"/>
          </p:cNvSpPr>
          <p:nvPr/>
        </p:nvSpPr>
        <p:spPr bwMode="auto">
          <a:xfrm>
            <a:off x="406400" y="2533019"/>
            <a:ext cx="369676" cy="369676"/>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89" name="Freeform 46"/>
          <p:cNvSpPr>
            <a:spLocks noChangeAspect="1" noEditPoints="1"/>
          </p:cNvSpPr>
          <p:nvPr/>
        </p:nvSpPr>
        <p:spPr bwMode="auto">
          <a:xfrm>
            <a:off x="2085516" y="2533019"/>
            <a:ext cx="368254" cy="368152"/>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90" name="Group 49"/>
          <p:cNvGrpSpPr>
            <a:grpSpLocks noChangeAspect="1"/>
          </p:cNvGrpSpPr>
          <p:nvPr/>
        </p:nvGrpSpPr>
        <p:grpSpPr bwMode="auto">
          <a:xfrm>
            <a:off x="2503873" y="2533019"/>
            <a:ext cx="368051" cy="368152"/>
            <a:chOff x="411" y="619"/>
            <a:chExt cx="3635" cy="3636"/>
          </a:xfrm>
          <a:solidFill>
            <a:schemeClr val="accent1"/>
          </a:solidFill>
        </p:grpSpPr>
        <p:sp>
          <p:nvSpPr>
            <p:cNvPr id="191" name="Freeform 50"/>
            <p:cNvSpPr>
              <a:spLocks noEditPoints="1"/>
            </p:cNvSpPr>
            <p:nvPr/>
          </p:nvSpPr>
          <p:spPr bwMode="auto">
            <a:xfrm>
              <a:off x="411" y="61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51"/>
            <p:cNvSpPr>
              <a:spLocks noEditPoints="1"/>
            </p:cNvSpPr>
            <p:nvPr/>
          </p:nvSpPr>
          <p:spPr bwMode="auto">
            <a:xfrm>
              <a:off x="1092" y="1528"/>
              <a:ext cx="2272" cy="1740"/>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3" name="Freeform 15"/>
          <p:cNvSpPr>
            <a:spLocks noChangeAspect="1" noEditPoints="1"/>
          </p:cNvSpPr>
          <p:nvPr/>
        </p:nvSpPr>
        <p:spPr bwMode="auto">
          <a:xfrm>
            <a:off x="2922027" y="2533019"/>
            <a:ext cx="369676" cy="369676"/>
          </a:xfrm>
          <a:custGeom>
            <a:avLst/>
            <a:gdLst>
              <a:gd name="T0" fmla="*/ 213 w 512"/>
              <a:gd name="T1" fmla="*/ 258 h 512"/>
              <a:gd name="T2" fmla="*/ 298 w 512"/>
              <a:gd name="T3" fmla="*/ 288 h 512"/>
              <a:gd name="T4" fmla="*/ 303 w 512"/>
              <a:gd name="T5" fmla="*/ 250 h 512"/>
              <a:gd name="T6" fmla="*/ 256 w 512"/>
              <a:gd name="T7" fmla="*/ 117 h 512"/>
              <a:gd name="T8" fmla="*/ 209 w 512"/>
              <a:gd name="T9" fmla="*/ 250 h 512"/>
              <a:gd name="T10" fmla="*/ 280 w 512"/>
              <a:gd name="T11" fmla="*/ 195 h 512"/>
              <a:gd name="T12" fmla="*/ 295 w 512"/>
              <a:gd name="T13" fmla="*/ 195 h 512"/>
              <a:gd name="T14" fmla="*/ 298 w 512"/>
              <a:gd name="T15" fmla="*/ 202 h 512"/>
              <a:gd name="T16" fmla="*/ 292 w 512"/>
              <a:gd name="T17" fmla="*/ 212 h 512"/>
              <a:gd name="T18" fmla="*/ 280 w 512"/>
              <a:gd name="T19" fmla="*/ 210 h 512"/>
              <a:gd name="T20" fmla="*/ 277 w 512"/>
              <a:gd name="T21" fmla="*/ 202 h 512"/>
              <a:gd name="T22" fmla="*/ 214 w 512"/>
              <a:gd name="T23" fmla="*/ 198 h 512"/>
              <a:gd name="T24" fmla="*/ 228 w 512"/>
              <a:gd name="T25" fmla="*/ 193 h 512"/>
              <a:gd name="T26" fmla="*/ 233 w 512"/>
              <a:gd name="T27" fmla="*/ 198 h 512"/>
              <a:gd name="T28" fmla="*/ 233 w 512"/>
              <a:gd name="T29" fmla="*/ 206 h 512"/>
              <a:gd name="T30" fmla="*/ 228 w 512"/>
              <a:gd name="T31" fmla="*/ 212 h 512"/>
              <a:gd name="T32" fmla="*/ 220 w 512"/>
              <a:gd name="T33" fmla="*/ 212 h 512"/>
              <a:gd name="T34" fmla="*/ 214 w 512"/>
              <a:gd name="T35" fmla="*/ 206 h 512"/>
              <a:gd name="T36" fmla="*/ 214 w 512"/>
              <a:gd name="T37" fmla="*/ 198 h 512"/>
              <a:gd name="T38" fmla="*/ 0 w 512"/>
              <a:gd name="T39" fmla="*/ 256 h 512"/>
              <a:gd name="T40" fmla="*/ 512 w 512"/>
              <a:gd name="T41" fmla="*/ 256 h 512"/>
              <a:gd name="T42" fmla="*/ 256 w 512"/>
              <a:gd name="T43" fmla="*/ 96 h 512"/>
              <a:gd name="T44" fmla="*/ 320 w 512"/>
              <a:gd name="T45" fmla="*/ 263 h 512"/>
              <a:gd name="T46" fmla="*/ 309 w 512"/>
              <a:gd name="T47" fmla="*/ 309 h 512"/>
              <a:gd name="T48" fmla="*/ 195 w 512"/>
              <a:gd name="T49" fmla="*/ 306 h 512"/>
              <a:gd name="T50" fmla="*/ 192 w 512"/>
              <a:gd name="T51" fmla="*/ 263 h 512"/>
              <a:gd name="T52" fmla="*/ 256 w 512"/>
              <a:gd name="T53" fmla="*/ 96 h 512"/>
              <a:gd name="T54" fmla="*/ 372 w 512"/>
              <a:gd name="T55" fmla="*/ 409 h 512"/>
              <a:gd name="T56" fmla="*/ 359 w 512"/>
              <a:gd name="T57" fmla="*/ 415 h 512"/>
              <a:gd name="T58" fmla="*/ 153 w 512"/>
              <a:gd name="T59" fmla="*/ 415 h 512"/>
              <a:gd name="T60" fmla="*/ 139 w 512"/>
              <a:gd name="T61" fmla="*/ 409 h 512"/>
              <a:gd name="T62" fmla="*/ 223 w 512"/>
              <a:gd name="T63" fmla="*/ 368 h 512"/>
              <a:gd name="T64" fmla="*/ 139 w 512"/>
              <a:gd name="T65" fmla="*/ 327 h 512"/>
              <a:gd name="T66" fmla="*/ 256 w 512"/>
              <a:gd name="T67" fmla="*/ 356 h 512"/>
              <a:gd name="T68" fmla="*/ 372 w 512"/>
              <a:gd name="T69" fmla="*/ 327 h 512"/>
              <a:gd name="T70" fmla="*/ 288 w 512"/>
              <a:gd name="T71"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9" y="250"/>
                </a:moveTo>
                <a:cubicBezTo>
                  <a:pt x="212" y="252"/>
                  <a:pt x="213" y="255"/>
                  <a:pt x="213" y="258"/>
                </a:cubicBezTo>
                <a:cubicBezTo>
                  <a:pt x="213" y="288"/>
                  <a:pt x="213" y="288"/>
                  <a:pt x="213" y="288"/>
                </a:cubicBezTo>
                <a:cubicBezTo>
                  <a:pt x="298" y="288"/>
                  <a:pt x="298" y="288"/>
                  <a:pt x="298" y="288"/>
                </a:cubicBezTo>
                <a:cubicBezTo>
                  <a:pt x="298" y="258"/>
                  <a:pt x="298" y="258"/>
                  <a:pt x="298" y="258"/>
                </a:cubicBezTo>
                <a:cubicBezTo>
                  <a:pt x="298" y="255"/>
                  <a:pt x="300" y="252"/>
                  <a:pt x="303" y="250"/>
                </a:cubicBezTo>
                <a:cubicBezTo>
                  <a:pt x="321" y="237"/>
                  <a:pt x="330" y="216"/>
                  <a:pt x="330" y="192"/>
                </a:cubicBezTo>
                <a:cubicBezTo>
                  <a:pt x="330" y="150"/>
                  <a:pt x="297" y="117"/>
                  <a:pt x="256" y="117"/>
                </a:cubicBezTo>
                <a:cubicBezTo>
                  <a:pt x="214" y="117"/>
                  <a:pt x="181" y="150"/>
                  <a:pt x="181" y="192"/>
                </a:cubicBezTo>
                <a:cubicBezTo>
                  <a:pt x="181" y="214"/>
                  <a:pt x="191" y="236"/>
                  <a:pt x="209" y="250"/>
                </a:cubicBezTo>
                <a:close/>
                <a:moveTo>
                  <a:pt x="278" y="198"/>
                </a:moveTo>
                <a:cubicBezTo>
                  <a:pt x="278" y="197"/>
                  <a:pt x="279" y="196"/>
                  <a:pt x="280" y="195"/>
                </a:cubicBezTo>
                <a:cubicBezTo>
                  <a:pt x="281" y="194"/>
                  <a:pt x="282" y="193"/>
                  <a:pt x="284" y="193"/>
                </a:cubicBezTo>
                <a:cubicBezTo>
                  <a:pt x="287" y="191"/>
                  <a:pt x="292" y="192"/>
                  <a:pt x="295" y="195"/>
                </a:cubicBezTo>
                <a:cubicBezTo>
                  <a:pt x="296" y="196"/>
                  <a:pt x="297" y="197"/>
                  <a:pt x="297" y="198"/>
                </a:cubicBezTo>
                <a:cubicBezTo>
                  <a:pt x="298" y="200"/>
                  <a:pt x="298" y="201"/>
                  <a:pt x="298" y="202"/>
                </a:cubicBezTo>
                <a:cubicBezTo>
                  <a:pt x="298" y="205"/>
                  <a:pt x="297" y="208"/>
                  <a:pt x="295" y="210"/>
                </a:cubicBezTo>
                <a:cubicBezTo>
                  <a:pt x="294" y="211"/>
                  <a:pt x="293" y="212"/>
                  <a:pt x="292" y="212"/>
                </a:cubicBezTo>
                <a:cubicBezTo>
                  <a:pt x="290" y="213"/>
                  <a:pt x="289" y="213"/>
                  <a:pt x="288" y="213"/>
                </a:cubicBezTo>
                <a:cubicBezTo>
                  <a:pt x="285" y="213"/>
                  <a:pt x="282" y="212"/>
                  <a:pt x="280" y="210"/>
                </a:cubicBezTo>
                <a:cubicBezTo>
                  <a:pt x="279" y="209"/>
                  <a:pt x="278" y="208"/>
                  <a:pt x="278" y="206"/>
                </a:cubicBezTo>
                <a:cubicBezTo>
                  <a:pt x="277" y="205"/>
                  <a:pt x="277" y="204"/>
                  <a:pt x="277" y="202"/>
                </a:cubicBezTo>
                <a:cubicBezTo>
                  <a:pt x="277" y="201"/>
                  <a:pt x="277" y="200"/>
                  <a:pt x="278" y="198"/>
                </a:cubicBezTo>
                <a:close/>
                <a:moveTo>
                  <a:pt x="214" y="198"/>
                </a:moveTo>
                <a:cubicBezTo>
                  <a:pt x="214" y="197"/>
                  <a:pt x="215" y="196"/>
                  <a:pt x="216" y="195"/>
                </a:cubicBezTo>
                <a:cubicBezTo>
                  <a:pt x="219" y="192"/>
                  <a:pt x="224" y="191"/>
                  <a:pt x="228" y="193"/>
                </a:cubicBezTo>
                <a:cubicBezTo>
                  <a:pt x="229" y="193"/>
                  <a:pt x="230" y="194"/>
                  <a:pt x="231" y="195"/>
                </a:cubicBezTo>
                <a:cubicBezTo>
                  <a:pt x="232" y="196"/>
                  <a:pt x="233" y="197"/>
                  <a:pt x="233" y="198"/>
                </a:cubicBezTo>
                <a:cubicBezTo>
                  <a:pt x="234" y="200"/>
                  <a:pt x="234" y="201"/>
                  <a:pt x="234" y="202"/>
                </a:cubicBezTo>
                <a:cubicBezTo>
                  <a:pt x="234" y="204"/>
                  <a:pt x="234" y="205"/>
                  <a:pt x="233" y="206"/>
                </a:cubicBezTo>
                <a:cubicBezTo>
                  <a:pt x="233" y="208"/>
                  <a:pt x="232" y="209"/>
                  <a:pt x="231" y="210"/>
                </a:cubicBezTo>
                <a:cubicBezTo>
                  <a:pt x="230" y="211"/>
                  <a:pt x="229" y="212"/>
                  <a:pt x="228" y="212"/>
                </a:cubicBezTo>
                <a:cubicBezTo>
                  <a:pt x="226" y="213"/>
                  <a:pt x="225" y="213"/>
                  <a:pt x="224" y="213"/>
                </a:cubicBezTo>
                <a:cubicBezTo>
                  <a:pt x="222" y="213"/>
                  <a:pt x="221" y="213"/>
                  <a:pt x="220" y="212"/>
                </a:cubicBezTo>
                <a:cubicBezTo>
                  <a:pt x="218" y="212"/>
                  <a:pt x="217" y="211"/>
                  <a:pt x="216" y="210"/>
                </a:cubicBezTo>
                <a:cubicBezTo>
                  <a:pt x="215" y="209"/>
                  <a:pt x="214" y="208"/>
                  <a:pt x="214" y="206"/>
                </a:cubicBezTo>
                <a:cubicBezTo>
                  <a:pt x="213" y="205"/>
                  <a:pt x="213" y="204"/>
                  <a:pt x="213" y="202"/>
                </a:cubicBezTo>
                <a:cubicBezTo>
                  <a:pt x="213" y="201"/>
                  <a:pt x="213" y="200"/>
                  <a:pt x="214" y="19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309" y="96"/>
                  <a:pt x="352" y="139"/>
                  <a:pt x="352" y="192"/>
                </a:cubicBezTo>
                <a:cubicBezTo>
                  <a:pt x="352" y="221"/>
                  <a:pt x="340" y="246"/>
                  <a:pt x="320" y="263"/>
                </a:cubicBezTo>
                <a:cubicBezTo>
                  <a:pt x="320" y="298"/>
                  <a:pt x="320" y="298"/>
                  <a:pt x="320" y="298"/>
                </a:cubicBezTo>
                <a:cubicBezTo>
                  <a:pt x="320" y="304"/>
                  <a:pt x="315" y="309"/>
                  <a:pt x="309" y="309"/>
                </a:cubicBezTo>
                <a:cubicBezTo>
                  <a:pt x="202" y="309"/>
                  <a:pt x="202" y="309"/>
                  <a:pt x="202" y="309"/>
                </a:cubicBezTo>
                <a:cubicBezTo>
                  <a:pt x="199" y="309"/>
                  <a:pt x="197" y="308"/>
                  <a:pt x="195" y="306"/>
                </a:cubicBezTo>
                <a:cubicBezTo>
                  <a:pt x="193" y="304"/>
                  <a:pt x="192" y="301"/>
                  <a:pt x="192" y="298"/>
                </a:cubicBezTo>
                <a:cubicBezTo>
                  <a:pt x="192" y="263"/>
                  <a:pt x="192" y="263"/>
                  <a:pt x="192" y="263"/>
                </a:cubicBezTo>
                <a:cubicBezTo>
                  <a:pt x="171" y="245"/>
                  <a:pt x="160" y="219"/>
                  <a:pt x="160" y="192"/>
                </a:cubicBezTo>
                <a:cubicBezTo>
                  <a:pt x="160" y="139"/>
                  <a:pt x="203" y="96"/>
                  <a:pt x="256" y="96"/>
                </a:cubicBezTo>
                <a:close/>
                <a:moveTo>
                  <a:pt x="366" y="395"/>
                </a:moveTo>
                <a:cubicBezTo>
                  <a:pt x="371" y="397"/>
                  <a:pt x="374" y="403"/>
                  <a:pt x="372" y="409"/>
                </a:cubicBezTo>
                <a:cubicBezTo>
                  <a:pt x="371" y="413"/>
                  <a:pt x="367" y="416"/>
                  <a:pt x="362" y="416"/>
                </a:cubicBezTo>
                <a:cubicBezTo>
                  <a:pt x="361" y="416"/>
                  <a:pt x="360" y="415"/>
                  <a:pt x="359" y="415"/>
                </a:cubicBezTo>
                <a:cubicBezTo>
                  <a:pt x="256" y="379"/>
                  <a:pt x="256" y="379"/>
                  <a:pt x="256" y="379"/>
                </a:cubicBezTo>
                <a:cubicBezTo>
                  <a:pt x="153" y="415"/>
                  <a:pt x="153" y="415"/>
                  <a:pt x="153" y="415"/>
                </a:cubicBezTo>
                <a:cubicBezTo>
                  <a:pt x="151" y="415"/>
                  <a:pt x="150" y="416"/>
                  <a:pt x="149" y="416"/>
                </a:cubicBezTo>
                <a:cubicBezTo>
                  <a:pt x="145" y="416"/>
                  <a:pt x="140" y="413"/>
                  <a:pt x="139" y="409"/>
                </a:cubicBezTo>
                <a:cubicBezTo>
                  <a:pt x="137" y="403"/>
                  <a:pt x="140" y="397"/>
                  <a:pt x="145" y="395"/>
                </a:cubicBezTo>
                <a:cubicBezTo>
                  <a:pt x="223" y="368"/>
                  <a:pt x="223" y="368"/>
                  <a:pt x="223" y="368"/>
                </a:cubicBezTo>
                <a:cubicBezTo>
                  <a:pt x="145" y="340"/>
                  <a:pt x="145" y="340"/>
                  <a:pt x="145" y="340"/>
                </a:cubicBezTo>
                <a:cubicBezTo>
                  <a:pt x="140" y="338"/>
                  <a:pt x="137" y="332"/>
                  <a:pt x="139" y="327"/>
                </a:cubicBezTo>
                <a:cubicBezTo>
                  <a:pt x="141" y="321"/>
                  <a:pt x="147" y="318"/>
                  <a:pt x="153" y="320"/>
                </a:cubicBezTo>
                <a:cubicBezTo>
                  <a:pt x="256" y="356"/>
                  <a:pt x="256" y="356"/>
                  <a:pt x="256" y="356"/>
                </a:cubicBezTo>
                <a:cubicBezTo>
                  <a:pt x="359" y="320"/>
                  <a:pt x="359" y="320"/>
                  <a:pt x="359" y="320"/>
                </a:cubicBezTo>
                <a:cubicBezTo>
                  <a:pt x="364" y="318"/>
                  <a:pt x="370" y="321"/>
                  <a:pt x="372" y="327"/>
                </a:cubicBezTo>
                <a:cubicBezTo>
                  <a:pt x="374" y="332"/>
                  <a:pt x="371" y="338"/>
                  <a:pt x="366" y="340"/>
                </a:cubicBezTo>
                <a:cubicBezTo>
                  <a:pt x="288" y="368"/>
                  <a:pt x="288" y="368"/>
                  <a:pt x="288" y="368"/>
                </a:cubicBezTo>
                <a:lnTo>
                  <a:pt x="366" y="39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94" name="Group 4"/>
          <p:cNvGrpSpPr>
            <a:grpSpLocks noChangeAspect="1"/>
          </p:cNvGrpSpPr>
          <p:nvPr/>
        </p:nvGrpSpPr>
        <p:grpSpPr bwMode="auto">
          <a:xfrm>
            <a:off x="3341806" y="2533019"/>
            <a:ext cx="370800" cy="370800"/>
            <a:chOff x="5368" y="850"/>
            <a:chExt cx="254" cy="254"/>
          </a:xfrm>
          <a:solidFill>
            <a:schemeClr val="accent1"/>
          </a:solidFill>
        </p:grpSpPr>
        <p:sp>
          <p:nvSpPr>
            <p:cNvPr id="195" name="Line 5"/>
            <p:cNvSpPr>
              <a:spLocks noChangeShapeType="1"/>
            </p:cNvSpPr>
            <p:nvPr/>
          </p:nvSpPr>
          <p:spPr bwMode="auto">
            <a:xfrm>
              <a:off x="5495" y="855"/>
              <a:ext cx="0" cy="0"/>
            </a:xfrm>
            <a:prstGeom prst="line">
              <a:avLst/>
            </a:prstGeom>
            <a:grpFill/>
            <a:ln w="1587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196" name="Freeform 6"/>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7"/>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9" name="Freeform 9"/>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10"/>
            <p:cNvSpPr>
              <a:spLocks noEditPoints="1"/>
            </p:cNvSpPr>
            <p:nvPr/>
          </p:nvSpPr>
          <p:spPr bwMode="auto">
            <a:xfrm>
              <a:off x="5368" y="850"/>
              <a:ext cx="254" cy="254"/>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1" name="Group 351"/>
          <p:cNvGrpSpPr>
            <a:grpSpLocks noChangeAspect="1"/>
          </p:cNvGrpSpPr>
          <p:nvPr/>
        </p:nvGrpSpPr>
        <p:grpSpPr bwMode="auto">
          <a:xfrm>
            <a:off x="4182488" y="2533019"/>
            <a:ext cx="369676" cy="370763"/>
            <a:chOff x="2717" y="1172"/>
            <a:chExt cx="340" cy="341"/>
          </a:xfrm>
          <a:solidFill>
            <a:schemeClr val="accent4"/>
          </a:solidFill>
        </p:grpSpPr>
        <p:sp>
          <p:nvSpPr>
            <p:cNvPr id="202"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4" name="Freeform 357"/>
          <p:cNvSpPr>
            <a:spLocks noChangeAspect="1" noEditPoints="1"/>
          </p:cNvSpPr>
          <p:nvPr/>
        </p:nvSpPr>
        <p:spPr bwMode="auto">
          <a:xfrm>
            <a:off x="3762709" y="2533019"/>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05" name="Group 468"/>
          <p:cNvGrpSpPr>
            <a:grpSpLocks noChangeAspect="1"/>
          </p:cNvGrpSpPr>
          <p:nvPr/>
        </p:nvGrpSpPr>
        <p:grpSpPr bwMode="auto">
          <a:xfrm>
            <a:off x="5022046" y="2533019"/>
            <a:ext cx="369676" cy="369676"/>
            <a:chOff x="1146" y="1573"/>
            <a:chExt cx="340" cy="340"/>
          </a:xfrm>
          <a:solidFill>
            <a:schemeClr val="accent5"/>
          </a:solidFill>
        </p:grpSpPr>
        <p:sp>
          <p:nvSpPr>
            <p:cNvPr id="206"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8" name="Freeform 474"/>
          <p:cNvSpPr>
            <a:spLocks noChangeAspect="1" noEditPoints="1"/>
          </p:cNvSpPr>
          <p:nvPr/>
        </p:nvSpPr>
        <p:spPr bwMode="auto">
          <a:xfrm>
            <a:off x="4602267" y="2533019"/>
            <a:ext cx="369676" cy="369676"/>
          </a:xfrm>
          <a:custGeom>
            <a:avLst/>
            <a:gdLst>
              <a:gd name="T0" fmla="*/ 305 w 512"/>
              <a:gd name="T1" fmla="*/ 290 h 512"/>
              <a:gd name="T2" fmla="*/ 283 w 512"/>
              <a:gd name="T3" fmla="*/ 298 h 512"/>
              <a:gd name="T4" fmla="*/ 260 w 512"/>
              <a:gd name="T5" fmla="*/ 305 h 512"/>
              <a:gd name="T6" fmla="*/ 200 w 512"/>
              <a:gd name="T7" fmla="*/ 154 h 512"/>
              <a:gd name="T8" fmla="*/ 200 w 512"/>
              <a:gd name="T9" fmla="*/ 185 h 512"/>
              <a:gd name="T10" fmla="*/ 207 w 512"/>
              <a:gd name="T11" fmla="*/ 203 h 512"/>
              <a:gd name="T12" fmla="*/ 230 w 512"/>
              <a:gd name="T13" fmla="*/ 185 h 512"/>
              <a:gd name="T14" fmla="*/ 230 w 512"/>
              <a:gd name="T15" fmla="*/ 215 h 512"/>
              <a:gd name="T16" fmla="*/ 237 w 512"/>
              <a:gd name="T17" fmla="*/ 233 h 512"/>
              <a:gd name="T18" fmla="*/ 260 w 512"/>
              <a:gd name="T19" fmla="*/ 215 h 512"/>
              <a:gd name="T20" fmla="*/ 260 w 512"/>
              <a:gd name="T21" fmla="*/ 245 h 512"/>
              <a:gd name="T22" fmla="*/ 268 w 512"/>
              <a:gd name="T23" fmla="*/ 263 h 512"/>
              <a:gd name="T24" fmla="*/ 290 w 512"/>
              <a:gd name="T25" fmla="*/ 245 h 512"/>
              <a:gd name="T26" fmla="*/ 298 w 512"/>
              <a:gd name="T27" fmla="*/ 268 h 512"/>
              <a:gd name="T28" fmla="*/ 298 w 512"/>
              <a:gd name="T29" fmla="*/ 283 h 512"/>
              <a:gd name="T30" fmla="*/ 256 w 512"/>
              <a:gd name="T31" fmla="*/ 512 h 512"/>
              <a:gd name="T32" fmla="*/ 256 w 512"/>
              <a:gd name="T33" fmla="*/ 0 h 512"/>
              <a:gd name="T34" fmla="*/ 379 w 512"/>
              <a:gd name="T35" fmla="*/ 364 h 512"/>
              <a:gd name="T36" fmla="*/ 328 w 512"/>
              <a:gd name="T37" fmla="*/ 298 h 512"/>
              <a:gd name="T38" fmla="*/ 328 w 512"/>
              <a:gd name="T39" fmla="*/ 283 h 512"/>
              <a:gd name="T40" fmla="*/ 328 w 512"/>
              <a:gd name="T41" fmla="*/ 268 h 512"/>
              <a:gd name="T42" fmla="*/ 328 w 512"/>
              <a:gd name="T43" fmla="*/ 253 h 512"/>
              <a:gd name="T44" fmla="*/ 192 w 512"/>
              <a:gd name="T45" fmla="*/ 132 h 512"/>
              <a:gd name="T46" fmla="*/ 154 w 512"/>
              <a:gd name="T47" fmla="*/ 139 h 512"/>
              <a:gd name="T48" fmla="*/ 170 w 512"/>
              <a:gd name="T49" fmla="*/ 109 h 512"/>
              <a:gd name="T50" fmla="*/ 109 w 512"/>
              <a:gd name="T51" fmla="*/ 154 h 512"/>
              <a:gd name="T52" fmla="*/ 117 w 512"/>
              <a:gd name="T53" fmla="*/ 173 h 512"/>
              <a:gd name="T54" fmla="*/ 139 w 512"/>
              <a:gd name="T55" fmla="*/ 154 h 512"/>
              <a:gd name="T56" fmla="*/ 132 w 512"/>
              <a:gd name="T57" fmla="*/ 192 h 512"/>
              <a:gd name="T58" fmla="*/ 130 w 512"/>
              <a:gd name="T59" fmla="*/ 204 h 512"/>
              <a:gd name="T60" fmla="*/ 253 w 512"/>
              <a:gd name="T61" fmla="*/ 328 h 512"/>
              <a:gd name="T62" fmla="*/ 275 w 512"/>
              <a:gd name="T63" fmla="*/ 320 h 512"/>
              <a:gd name="T64" fmla="*/ 290 w 512"/>
              <a:gd name="T65" fmla="*/ 331 h 512"/>
              <a:gd name="T66" fmla="*/ 305 w 512"/>
              <a:gd name="T67" fmla="*/ 320 h 512"/>
              <a:gd name="T68" fmla="*/ 372 w 512"/>
              <a:gd name="T69" fmla="*/ 383 h 512"/>
              <a:gd name="T70" fmla="*/ 379 w 512"/>
              <a:gd name="T71" fmla="*/ 3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98" y="283"/>
                </a:moveTo>
                <a:cubicBezTo>
                  <a:pt x="305" y="290"/>
                  <a:pt x="305" y="290"/>
                  <a:pt x="305" y="290"/>
                </a:cubicBezTo>
                <a:cubicBezTo>
                  <a:pt x="290" y="305"/>
                  <a:pt x="290" y="305"/>
                  <a:pt x="290" y="305"/>
                </a:cubicBezTo>
                <a:cubicBezTo>
                  <a:pt x="283" y="298"/>
                  <a:pt x="283" y="298"/>
                  <a:pt x="283" y="298"/>
                </a:cubicBezTo>
                <a:cubicBezTo>
                  <a:pt x="279" y="294"/>
                  <a:pt x="272" y="294"/>
                  <a:pt x="268" y="298"/>
                </a:cubicBezTo>
                <a:cubicBezTo>
                  <a:pt x="260" y="305"/>
                  <a:pt x="260" y="305"/>
                  <a:pt x="260" y="305"/>
                </a:cubicBezTo>
                <a:cubicBezTo>
                  <a:pt x="154" y="200"/>
                  <a:pt x="154" y="200"/>
                  <a:pt x="154" y="200"/>
                </a:cubicBezTo>
                <a:cubicBezTo>
                  <a:pt x="200" y="154"/>
                  <a:pt x="200" y="154"/>
                  <a:pt x="200" y="154"/>
                </a:cubicBezTo>
                <a:cubicBezTo>
                  <a:pt x="215" y="170"/>
                  <a:pt x="215" y="170"/>
                  <a:pt x="215" y="170"/>
                </a:cubicBezTo>
                <a:cubicBezTo>
                  <a:pt x="200" y="185"/>
                  <a:pt x="200" y="185"/>
                  <a:pt x="200" y="185"/>
                </a:cubicBezTo>
                <a:cubicBezTo>
                  <a:pt x="196" y="189"/>
                  <a:pt x="196" y="196"/>
                  <a:pt x="200" y="200"/>
                </a:cubicBezTo>
                <a:cubicBezTo>
                  <a:pt x="202" y="202"/>
                  <a:pt x="205" y="203"/>
                  <a:pt x="207" y="203"/>
                </a:cubicBezTo>
                <a:cubicBezTo>
                  <a:pt x="210" y="203"/>
                  <a:pt x="213" y="202"/>
                  <a:pt x="215" y="200"/>
                </a:cubicBezTo>
                <a:cubicBezTo>
                  <a:pt x="230" y="185"/>
                  <a:pt x="230" y="185"/>
                  <a:pt x="230" y="185"/>
                </a:cubicBezTo>
                <a:cubicBezTo>
                  <a:pt x="245" y="200"/>
                  <a:pt x="245" y="200"/>
                  <a:pt x="245" y="200"/>
                </a:cubicBezTo>
                <a:cubicBezTo>
                  <a:pt x="230" y="215"/>
                  <a:pt x="230" y="215"/>
                  <a:pt x="230" y="215"/>
                </a:cubicBezTo>
                <a:cubicBezTo>
                  <a:pt x="226" y="219"/>
                  <a:pt x="226" y="226"/>
                  <a:pt x="230" y="230"/>
                </a:cubicBezTo>
                <a:cubicBezTo>
                  <a:pt x="232" y="232"/>
                  <a:pt x="235" y="233"/>
                  <a:pt x="237" y="233"/>
                </a:cubicBezTo>
                <a:cubicBezTo>
                  <a:pt x="240" y="233"/>
                  <a:pt x="243" y="232"/>
                  <a:pt x="245" y="230"/>
                </a:cubicBezTo>
                <a:cubicBezTo>
                  <a:pt x="260" y="215"/>
                  <a:pt x="260" y="215"/>
                  <a:pt x="260" y="215"/>
                </a:cubicBezTo>
                <a:cubicBezTo>
                  <a:pt x="275" y="230"/>
                  <a:pt x="275" y="230"/>
                  <a:pt x="275" y="230"/>
                </a:cubicBezTo>
                <a:cubicBezTo>
                  <a:pt x="260" y="245"/>
                  <a:pt x="260" y="245"/>
                  <a:pt x="260" y="245"/>
                </a:cubicBezTo>
                <a:cubicBezTo>
                  <a:pt x="256" y="249"/>
                  <a:pt x="256" y="256"/>
                  <a:pt x="260" y="260"/>
                </a:cubicBezTo>
                <a:cubicBezTo>
                  <a:pt x="262" y="262"/>
                  <a:pt x="265" y="263"/>
                  <a:pt x="268" y="263"/>
                </a:cubicBezTo>
                <a:cubicBezTo>
                  <a:pt x="270" y="263"/>
                  <a:pt x="273" y="262"/>
                  <a:pt x="275" y="260"/>
                </a:cubicBezTo>
                <a:cubicBezTo>
                  <a:pt x="290" y="245"/>
                  <a:pt x="290" y="245"/>
                  <a:pt x="290" y="245"/>
                </a:cubicBezTo>
                <a:cubicBezTo>
                  <a:pt x="305" y="260"/>
                  <a:pt x="305" y="260"/>
                  <a:pt x="305" y="260"/>
                </a:cubicBezTo>
                <a:cubicBezTo>
                  <a:pt x="298" y="268"/>
                  <a:pt x="298" y="268"/>
                  <a:pt x="298" y="268"/>
                </a:cubicBezTo>
                <a:cubicBezTo>
                  <a:pt x="296" y="270"/>
                  <a:pt x="295" y="272"/>
                  <a:pt x="295" y="275"/>
                </a:cubicBezTo>
                <a:cubicBezTo>
                  <a:pt x="295" y="278"/>
                  <a:pt x="296" y="281"/>
                  <a:pt x="298" y="2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9" y="364"/>
                </a:moveTo>
                <a:cubicBezTo>
                  <a:pt x="320" y="305"/>
                  <a:pt x="320" y="305"/>
                  <a:pt x="320" y="305"/>
                </a:cubicBezTo>
                <a:cubicBezTo>
                  <a:pt x="328" y="298"/>
                  <a:pt x="328" y="298"/>
                  <a:pt x="328" y="298"/>
                </a:cubicBezTo>
                <a:cubicBezTo>
                  <a:pt x="330" y="296"/>
                  <a:pt x="331" y="293"/>
                  <a:pt x="331" y="290"/>
                </a:cubicBezTo>
                <a:cubicBezTo>
                  <a:pt x="331" y="287"/>
                  <a:pt x="330" y="285"/>
                  <a:pt x="328" y="283"/>
                </a:cubicBezTo>
                <a:cubicBezTo>
                  <a:pt x="320" y="275"/>
                  <a:pt x="320" y="275"/>
                  <a:pt x="320" y="275"/>
                </a:cubicBezTo>
                <a:cubicBezTo>
                  <a:pt x="328" y="268"/>
                  <a:pt x="328" y="268"/>
                  <a:pt x="328" y="268"/>
                </a:cubicBezTo>
                <a:cubicBezTo>
                  <a:pt x="330" y="266"/>
                  <a:pt x="331" y="263"/>
                  <a:pt x="331" y="260"/>
                </a:cubicBezTo>
                <a:cubicBezTo>
                  <a:pt x="331" y="257"/>
                  <a:pt x="330" y="255"/>
                  <a:pt x="328" y="253"/>
                </a:cubicBezTo>
                <a:cubicBezTo>
                  <a:pt x="207" y="132"/>
                  <a:pt x="207" y="132"/>
                  <a:pt x="207" y="132"/>
                </a:cubicBezTo>
                <a:cubicBezTo>
                  <a:pt x="203" y="128"/>
                  <a:pt x="196" y="128"/>
                  <a:pt x="192" y="132"/>
                </a:cubicBezTo>
                <a:cubicBezTo>
                  <a:pt x="170" y="154"/>
                  <a:pt x="170" y="154"/>
                  <a:pt x="170" y="154"/>
                </a:cubicBezTo>
                <a:cubicBezTo>
                  <a:pt x="154" y="139"/>
                  <a:pt x="154" y="139"/>
                  <a:pt x="154" y="139"/>
                </a:cubicBezTo>
                <a:cubicBezTo>
                  <a:pt x="170" y="124"/>
                  <a:pt x="170" y="124"/>
                  <a:pt x="170" y="124"/>
                </a:cubicBezTo>
                <a:cubicBezTo>
                  <a:pt x="174" y="120"/>
                  <a:pt x="174" y="113"/>
                  <a:pt x="170" y="109"/>
                </a:cubicBezTo>
                <a:cubicBezTo>
                  <a:pt x="165" y="105"/>
                  <a:pt x="159" y="105"/>
                  <a:pt x="154" y="109"/>
                </a:cubicBezTo>
                <a:cubicBezTo>
                  <a:pt x="109" y="154"/>
                  <a:pt x="109" y="154"/>
                  <a:pt x="109" y="154"/>
                </a:cubicBezTo>
                <a:cubicBezTo>
                  <a:pt x="105" y="159"/>
                  <a:pt x="105" y="165"/>
                  <a:pt x="109" y="170"/>
                </a:cubicBezTo>
                <a:cubicBezTo>
                  <a:pt x="111" y="172"/>
                  <a:pt x="114" y="173"/>
                  <a:pt x="117" y="173"/>
                </a:cubicBezTo>
                <a:cubicBezTo>
                  <a:pt x="120" y="173"/>
                  <a:pt x="122" y="172"/>
                  <a:pt x="124" y="170"/>
                </a:cubicBezTo>
                <a:cubicBezTo>
                  <a:pt x="139" y="154"/>
                  <a:pt x="139" y="154"/>
                  <a:pt x="139" y="154"/>
                </a:cubicBezTo>
                <a:cubicBezTo>
                  <a:pt x="154" y="170"/>
                  <a:pt x="154" y="170"/>
                  <a:pt x="154" y="170"/>
                </a:cubicBezTo>
                <a:cubicBezTo>
                  <a:pt x="132" y="192"/>
                  <a:pt x="132" y="192"/>
                  <a:pt x="132" y="192"/>
                </a:cubicBezTo>
                <a:cubicBezTo>
                  <a:pt x="131" y="193"/>
                  <a:pt x="130" y="194"/>
                  <a:pt x="130" y="196"/>
                </a:cubicBezTo>
                <a:cubicBezTo>
                  <a:pt x="128" y="198"/>
                  <a:pt x="128" y="201"/>
                  <a:pt x="130" y="204"/>
                </a:cubicBezTo>
                <a:cubicBezTo>
                  <a:pt x="130" y="205"/>
                  <a:pt x="131" y="206"/>
                  <a:pt x="132" y="207"/>
                </a:cubicBezTo>
                <a:cubicBezTo>
                  <a:pt x="253" y="328"/>
                  <a:pt x="253" y="328"/>
                  <a:pt x="253" y="328"/>
                </a:cubicBezTo>
                <a:cubicBezTo>
                  <a:pt x="257" y="332"/>
                  <a:pt x="263" y="332"/>
                  <a:pt x="268" y="328"/>
                </a:cubicBezTo>
                <a:cubicBezTo>
                  <a:pt x="275" y="320"/>
                  <a:pt x="275" y="320"/>
                  <a:pt x="275" y="320"/>
                </a:cubicBezTo>
                <a:cubicBezTo>
                  <a:pt x="283" y="328"/>
                  <a:pt x="283" y="328"/>
                  <a:pt x="283" y="328"/>
                </a:cubicBezTo>
                <a:cubicBezTo>
                  <a:pt x="285" y="330"/>
                  <a:pt x="287" y="331"/>
                  <a:pt x="290" y="331"/>
                </a:cubicBezTo>
                <a:cubicBezTo>
                  <a:pt x="293" y="331"/>
                  <a:pt x="296" y="330"/>
                  <a:pt x="298" y="328"/>
                </a:cubicBezTo>
                <a:cubicBezTo>
                  <a:pt x="305" y="320"/>
                  <a:pt x="305" y="320"/>
                  <a:pt x="305" y="320"/>
                </a:cubicBezTo>
                <a:cubicBezTo>
                  <a:pt x="364" y="379"/>
                  <a:pt x="364" y="379"/>
                  <a:pt x="364" y="379"/>
                </a:cubicBezTo>
                <a:cubicBezTo>
                  <a:pt x="366" y="382"/>
                  <a:pt x="369" y="383"/>
                  <a:pt x="372" y="383"/>
                </a:cubicBezTo>
                <a:cubicBezTo>
                  <a:pt x="375" y="383"/>
                  <a:pt x="377" y="382"/>
                  <a:pt x="379" y="379"/>
                </a:cubicBezTo>
                <a:cubicBezTo>
                  <a:pt x="384" y="375"/>
                  <a:pt x="384" y="369"/>
                  <a:pt x="379" y="36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09" name="Group 336"/>
          <p:cNvGrpSpPr>
            <a:grpSpLocks noChangeAspect="1"/>
          </p:cNvGrpSpPr>
          <p:nvPr/>
        </p:nvGrpSpPr>
        <p:grpSpPr bwMode="auto">
          <a:xfrm>
            <a:off x="5860949" y="2533019"/>
            <a:ext cx="370106" cy="369021"/>
            <a:chOff x="4262" y="1204"/>
            <a:chExt cx="341" cy="340"/>
          </a:xfrm>
          <a:solidFill>
            <a:schemeClr val="accent4"/>
          </a:solidFill>
        </p:grpSpPr>
        <p:sp>
          <p:nvSpPr>
            <p:cNvPr id="21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2" name="Freeform 342"/>
          <p:cNvSpPr>
            <a:spLocks noChangeAspect="1" noEditPoints="1"/>
          </p:cNvSpPr>
          <p:nvPr/>
        </p:nvSpPr>
        <p:spPr bwMode="auto">
          <a:xfrm>
            <a:off x="5441825" y="2533019"/>
            <a:ext cx="369021" cy="369021"/>
          </a:xfrm>
          <a:custGeom>
            <a:avLst/>
            <a:gdLst>
              <a:gd name="T0" fmla="*/ 213 w 512"/>
              <a:gd name="T1" fmla="*/ 181 h 512"/>
              <a:gd name="T2" fmla="*/ 298 w 512"/>
              <a:gd name="T3" fmla="*/ 160 h 512"/>
              <a:gd name="T4" fmla="*/ 245 w 512"/>
              <a:gd name="T5" fmla="*/ 117 h 512"/>
              <a:gd name="T6" fmla="*/ 224 w 512"/>
              <a:gd name="T7" fmla="*/ 138 h 512"/>
              <a:gd name="T8" fmla="*/ 245 w 512"/>
              <a:gd name="T9" fmla="*/ 117 h 512"/>
              <a:gd name="T10" fmla="*/ 329 w 512"/>
              <a:gd name="T11" fmla="*/ 117 h 512"/>
              <a:gd name="T12" fmla="*/ 309 w 512"/>
              <a:gd name="T13" fmla="*/ 138 h 512"/>
              <a:gd name="T14" fmla="*/ 330 w 512"/>
              <a:gd name="T15" fmla="*/ 128 h 512"/>
              <a:gd name="T16" fmla="*/ 266 w 512"/>
              <a:gd name="T17" fmla="*/ 117 h 512"/>
              <a:gd name="T18" fmla="*/ 288 w 512"/>
              <a:gd name="T19" fmla="*/ 138 h 512"/>
              <a:gd name="T20" fmla="*/ 352 w 512"/>
              <a:gd name="T21" fmla="*/ 213 h 512"/>
              <a:gd name="T22" fmla="*/ 341 w 512"/>
              <a:gd name="T23" fmla="*/ 394 h 512"/>
              <a:gd name="T24" fmla="*/ 160 w 512"/>
              <a:gd name="T25" fmla="*/ 384 h 512"/>
              <a:gd name="T26" fmla="*/ 170 w 512"/>
              <a:gd name="T27" fmla="*/ 202 h 512"/>
              <a:gd name="T28" fmla="*/ 352 w 512"/>
              <a:gd name="T29" fmla="*/ 213 h 512"/>
              <a:gd name="T30" fmla="*/ 309 w 512"/>
              <a:gd name="T31" fmla="*/ 288 h 512"/>
              <a:gd name="T32" fmla="*/ 266 w 512"/>
              <a:gd name="T33" fmla="*/ 245 h 512"/>
              <a:gd name="T34" fmla="*/ 245 w 512"/>
              <a:gd name="T35" fmla="*/ 245 h 512"/>
              <a:gd name="T36" fmla="*/ 202 w 512"/>
              <a:gd name="T37" fmla="*/ 288 h 512"/>
              <a:gd name="T38" fmla="*/ 202 w 512"/>
              <a:gd name="T39" fmla="*/ 309 h 512"/>
              <a:gd name="T40" fmla="*/ 245 w 512"/>
              <a:gd name="T41" fmla="*/ 352 h 512"/>
              <a:gd name="T42" fmla="*/ 266 w 512"/>
              <a:gd name="T43" fmla="*/ 352 h 512"/>
              <a:gd name="T44" fmla="*/ 309 w 512"/>
              <a:gd name="T45" fmla="*/ 309 h 512"/>
              <a:gd name="T46" fmla="*/ 512 w 512"/>
              <a:gd name="T47" fmla="*/ 256 h 512"/>
              <a:gd name="T48" fmla="*/ 0 w 512"/>
              <a:gd name="T49" fmla="*/ 256 h 512"/>
              <a:gd name="T50" fmla="*/ 512 w 512"/>
              <a:gd name="T51" fmla="*/ 256 h 512"/>
              <a:gd name="T52" fmla="*/ 341 w 512"/>
              <a:gd name="T53" fmla="*/ 181 h 512"/>
              <a:gd name="T54" fmla="*/ 320 w 512"/>
              <a:gd name="T55" fmla="*/ 160 h 512"/>
              <a:gd name="T56" fmla="*/ 352 w 512"/>
              <a:gd name="T57" fmla="*/ 149 h 512"/>
              <a:gd name="T58" fmla="*/ 330 w 512"/>
              <a:gd name="T59" fmla="*/ 96 h 512"/>
              <a:gd name="T60" fmla="*/ 160 w 512"/>
              <a:gd name="T61" fmla="*/ 128 h 512"/>
              <a:gd name="T62" fmla="*/ 170 w 512"/>
              <a:gd name="T63" fmla="*/ 160 h 512"/>
              <a:gd name="T64" fmla="*/ 192 w 512"/>
              <a:gd name="T65" fmla="*/ 181 h 512"/>
              <a:gd name="T66" fmla="*/ 138 w 512"/>
              <a:gd name="T67" fmla="*/ 213 h 512"/>
              <a:gd name="T68" fmla="*/ 170 w 512"/>
              <a:gd name="T69" fmla="*/ 416 h 512"/>
              <a:gd name="T70" fmla="*/ 373 w 512"/>
              <a:gd name="T71" fmla="*/ 384 h 512"/>
              <a:gd name="T72" fmla="*/ 202 w 512"/>
              <a:gd name="T73" fmla="*/ 117 h 512"/>
              <a:gd name="T74" fmla="*/ 181 w 512"/>
              <a:gd name="T75" fmla="*/ 128 h 512"/>
              <a:gd name="T76" fmla="*/ 202 w 512"/>
              <a:gd name="T77"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98" y="181"/>
                </a:moveTo>
                <a:cubicBezTo>
                  <a:pt x="213" y="181"/>
                  <a:pt x="213" y="181"/>
                  <a:pt x="213" y="181"/>
                </a:cubicBezTo>
                <a:cubicBezTo>
                  <a:pt x="213" y="160"/>
                  <a:pt x="213" y="160"/>
                  <a:pt x="213" y="160"/>
                </a:cubicBezTo>
                <a:cubicBezTo>
                  <a:pt x="298" y="160"/>
                  <a:pt x="298" y="160"/>
                  <a:pt x="298" y="160"/>
                </a:cubicBezTo>
                <a:lnTo>
                  <a:pt x="298" y="181"/>
                </a:lnTo>
                <a:close/>
                <a:moveTo>
                  <a:pt x="245" y="117"/>
                </a:moveTo>
                <a:cubicBezTo>
                  <a:pt x="224" y="117"/>
                  <a:pt x="224" y="117"/>
                  <a:pt x="224" y="117"/>
                </a:cubicBezTo>
                <a:cubicBezTo>
                  <a:pt x="224" y="138"/>
                  <a:pt x="224" y="138"/>
                  <a:pt x="224" y="138"/>
                </a:cubicBezTo>
                <a:cubicBezTo>
                  <a:pt x="245" y="138"/>
                  <a:pt x="245" y="138"/>
                  <a:pt x="245" y="138"/>
                </a:cubicBezTo>
                <a:lnTo>
                  <a:pt x="245" y="117"/>
                </a:lnTo>
                <a:close/>
                <a:moveTo>
                  <a:pt x="330" y="128"/>
                </a:moveTo>
                <a:cubicBezTo>
                  <a:pt x="330" y="121"/>
                  <a:pt x="330" y="118"/>
                  <a:pt x="329" y="117"/>
                </a:cubicBezTo>
                <a:cubicBezTo>
                  <a:pt x="309" y="117"/>
                  <a:pt x="309" y="117"/>
                  <a:pt x="309" y="117"/>
                </a:cubicBezTo>
                <a:cubicBezTo>
                  <a:pt x="309" y="138"/>
                  <a:pt x="309" y="138"/>
                  <a:pt x="309" y="138"/>
                </a:cubicBezTo>
                <a:cubicBezTo>
                  <a:pt x="330" y="138"/>
                  <a:pt x="330" y="138"/>
                  <a:pt x="330" y="138"/>
                </a:cubicBezTo>
                <a:lnTo>
                  <a:pt x="330" y="128"/>
                </a:lnTo>
                <a:close/>
                <a:moveTo>
                  <a:pt x="288" y="117"/>
                </a:moveTo>
                <a:cubicBezTo>
                  <a:pt x="266" y="117"/>
                  <a:pt x="266" y="117"/>
                  <a:pt x="266" y="117"/>
                </a:cubicBezTo>
                <a:cubicBezTo>
                  <a:pt x="266" y="138"/>
                  <a:pt x="266" y="138"/>
                  <a:pt x="266" y="138"/>
                </a:cubicBezTo>
                <a:cubicBezTo>
                  <a:pt x="288" y="138"/>
                  <a:pt x="288" y="138"/>
                  <a:pt x="288" y="138"/>
                </a:cubicBezTo>
                <a:lnTo>
                  <a:pt x="288" y="117"/>
                </a:lnTo>
                <a:close/>
                <a:moveTo>
                  <a:pt x="352" y="213"/>
                </a:moveTo>
                <a:cubicBezTo>
                  <a:pt x="352" y="384"/>
                  <a:pt x="352" y="384"/>
                  <a:pt x="352" y="384"/>
                </a:cubicBezTo>
                <a:cubicBezTo>
                  <a:pt x="352" y="390"/>
                  <a:pt x="347" y="394"/>
                  <a:pt x="341" y="394"/>
                </a:cubicBezTo>
                <a:cubicBezTo>
                  <a:pt x="170" y="394"/>
                  <a:pt x="170" y="394"/>
                  <a:pt x="170" y="394"/>
                </a:cubicBezTo>
                <a:cubicBezTo>
                  <a:pt x="164" y="394"/>
                  <a:pt x="160" y="390"/>
                  <a:pt x="160" y="384"/>
                </a:cubicBezTo>
                <a:cubicBezTo>
                  <a:pt x="160" y="213"/>
                  <a:pt x="160" y="213"/>
                  <a:pt x="160" y="213"/>
                </a:cubicBezTo>
                <a:cubicBezTo>
                  <a:pt x="160" y="207"/>
                  <a:pt x="164" y="202"/>
                  <a:pt x="170" y="202"/>
                </a:cubicBezTo>
                <a:cubicBezTo>
                  <a:pt x="341" y="202"/>
                  <a:pt x="341" y="202"/>
                  <a:pt x="341" y="202"/>
                </a:cubicBezTo>
                <a:cubicBezTo>
                  <a:pt x="347" y="202"/>
                  <a:pt x="352" y="207"/>
                  <a:pt x="352" y="213"/>
                </a:cubicBezTo>
                <a:close/>
                <a:moveTo>
                  <a:pt x="320" y="298"/>
                </a:moveTo>
                <a:cubicBezTo>
                  <a:pt x="320" y="292"/>
                  <a:pt x="315" y="288"/>
                  <a:pt x="309" y="288"/>
                </a:cubicBezTo>
                <a:cubicBezTo>
                  <a:pt x="266" y="288"/>
                  <a:pt x="266" y="288"/>
                  <a:pt x="266" y="288"/>
                </a:cubicBezTo>
                <a:cubicBezTo>
                  <a:pt x="266" y="245"/>
                  <a:pt x="266" y="245"/>
                  <a:pt x="266" y="245"/>
                </a:cubicBezTo>
                <a:cubicBezTo>
                  <a:pt x="266" y="239"/>
                  <a:pt x="262" y="234"/>
                  <a:pt x="256" y="234"/>
                </a:cubicBezTo>
                <a:cubicBezTo>
                  <a:pt x="250" y="234"/>
                  <a:pt x="245" y="239"/>
                  <a:pt x="245" y="245"/>
                </a:cubicBezTo>
                <a:cubicBezTo>
                  <a:pt x="245" y="288"/>
                  <a:pt x="245" y="288"/>
                  <a:pt x="245" y="288"/>
                </a:cubicBezTo>
                <a:cubicBezTo>
                  <a:pt x="202" y="288"/>
                  <a:pt x="202" y="288"/>
                  <a:pt x="202" y="288"/>
                </a:cubicBezTo>
                <a:cubicBezTo>
                  <a:pt x="196" y="288"/>
                  <a:pt x="192" y="292"/>
                  <a:pt x="192" y="298"/>
                </a:cubicBezTo>
                <a:cubicBezTo>
                  <a:pt x="192" y="304"/>
                  <a:pt x="196" y="309"/>
                  <a:pt x="202" y="309"/>
                </a:cubicBezTo>
                <a:cubicBezTo>
                  <a:pt x="245" y="309"/>
                  <a:pt x="245" y="309"/>
                  <a:pt x="245" y="309"/>
                </a:cubicBezTo>
                <a:cubicBezTo>
                  <a:pt x="245" y="352"/>
                  <a:pt x="245" y="352"/>
                  <a:pt x="245" y="352"/>
                </a:cubicBezTo>
                <a:cubicBezTo>
                  <a:pt x="245" y="358"/>
                  <a:pt x="250" y="362"/>
                  <a:pt x="256" y="362"/>
                </a:cubicBezTo>
                <a:cubicBezTo>
                  <a:pt x="262" y="362"/>
                  <a:pt x="266" y="358"/>
                  <a:pt x="266" y="352"/>
                </a:cubicBezTo>
                <a:cubicBezTo>
                  <a:pt x="266" y="309"/>
                  <a:pt x="266" y="309"/>
                  <a:pt x="266" y="309"/>
                </a:cubicBezTo>
                <a:cubicBezTo>
                  <a:pt x="309" y="309"/>
                  <a:pt x="309" y="309"/>
                  <a:pt x="309" y="309"/>
                </a:cubicBezTo>
                <a:cubicBezTo>
                  <a:pt x="315" y="309"/>
                  <a:pt x="320" y="304"/>
                  <a:pt x="320"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95"/>
                  <a:pt x="359" y="181"/>
                  <a:pt x="341" y="181"/>
                </a:cubicBezTo>
                <a:cubicBezTo>
                  <a:pt x="320" y="181"/>
                  <a:pt x="320" y="181"/>
                  <a:pt x="320" y="181"/>
                </a:cubicBezTo>
                <a:cubicBezTo>
                  <a:pt x="320" y="160"/>
                  <a:pt x="320" y="160"/>
                  <a:pt x="320" y="160"/>
                </a:cubicBezTo>
                <a:cubicBezTo>
                  <a:pt x="341" y="160"/>
                  <a:pt x="341" y="160"/>
                  <a:pt x="341" y="160"/>
                </a:cubicBezTo>
                <a:cubicBezTo>
                  <a:pt x="347" y="160"/>
                  <a:pt x="352" y="155"/>
                  <a:pt x="352" y="149"/>
                </a:cubicBezTo>
                <a:cubicBezTo>
                  <a:pt x="352" y="128"/>
                  <a:pt x="352" y="128"/>
                  <a:pt x="352" y="128"/>
                </a:cubicBezTo>
                <a:cubicBezTo>
                  <a:pt x="352" y="106"/>
                  <a:pt x="344" y="96"/>
                  <a:pt x="330" y="96"/>
                </a:cubicBezTo>
                <a:cubicBezTo>
                  <a:pt x="181" y="96"/>
                  <a:pt x="181" y="96"/>
                  <a:pt x="181" y="96"/>
                </a:cubicBezTo>
                <a:cubicBezTo>
                  <a:pt x="167" y="96"/>
                  <a:pt x="160" y="106"/>
                  <a:pt x="160" y="128"/>
                </a:cubicBezTo>
                <a:cubicBezTo>
                  <a:pt x="160" y="149"/>
                  <a:pt x="160" y="149"/>
                  <a:pt x="160" y="149"/>
                </a:cubicBezTo>
                <a:cubicBezTo>
                  <a:pt x="160" y="155"/>
                  <a:pt x="164" y="160"/>
                  <a:pt x="170" y="160"/>
                </a:cubicBezTo>
                <a:cubicBezTo>
                  <a:pt x="192" y="160"/>
                  <a:pt x="192" y="160"/>
                  <a:pt x="192" y="160"/>
                </a:cubicBezTo>
                <a:cubicBezTo>
                  <a:pt x="192" y="181"/>
                  <a:pt x="192" y="181"/>
                  <a:pt x="192" y="181"/>
                </a:cubicBezTo>
                <a:cubicBezTo>
                  <a:pt x="170" y="181"/>
                  <a:pt x="170" y="181"/>
                  <a:pt x="170" y="181"/>
                </a:cubicBezTo>
                <a:cubicBezTo>
                  <a:pt x="153" y="181"/>
                  <a:pt x="138" y="195"/>
                  <a:pt x="138" y="213"/>
                </a:cubicBezTo>
                <a:cubicBezTo>
                  <a:pt x="138" y="384"/>
                  <a:pt x="138" y="384"/>
                  <a:pt x="138" y="384"/>
                </a:cubicBezTo>
                <a:cubicBezTo>
                  <a:pt x="138" y="401"/>
                  <a:pt x="153" y="416"/>
                  <a:pt x="170" y="416"/>
                </a:cubicBezTo>
                <a:cubicBezTo>
                  <a:pt x="341" y="416"/>
                  <a:pt x="341" y="416"/>
                  <a:pt x="341" y="416"/>
                </a:cubicBezTo>
                <a:cubicBezTo>
                  <a:pt x="359" y="416"/>
                  <a:pt x="373" y="401"/>
                  <a:pt x="373" y="384"/>
                </a:cubicBezTo>
                <a:lnTo>
                  <a:pt x="373" y="213"/>
                </a:lnTo>
                <a:close/>
                <a:moveTo>
                  <a:pt x="202" y="117"/>
                </a:moveTo>
                <a:cubicBezTo>
                  <a:pt x="182" y="117"/>
                  <a:pt x="182" y="117"/>
                  <a:pt x="182" y="117"/>
                </a:cubicBezTo>
                <a:cubicBezTo>
                  <a:pt x="182" y="118"/>
                  <a:pt x="181" y="121"/>
                  <a:pt x="181" y="128"/>
                </a:cubicBezTo>
                <a:cubicBezTo>
                  <a:pt x="181" y="138"/>
                  <a:pt x="181" y="138"/>
                  <a:pt x="181" y="138"/>
                </a:cubicBezTo>
                <a:cubicBezTo>
                  <a:pt x="202" y="138"/>
                  <a:pt x="202" y="138"/>
                  <a:pt x="202" y="138"/>
                </a:cubicBezTo>
                <a:lnTo>
                  <a:pt x="202" y="11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13" name="Freeform 869"/>
          <p:cNvSpPr>
            <a:spLocks noChangeAspect="1" noEditPoints="1"/>
          </p:cNvSpPr>
          <p:nvPr/>
        </p:nvSpPr>
        <p:spPr bwMode="auto">
          <a:xfrm>
            <a:off x="6281158" y="2533019"/>
            <a:ext cx="367041" cy="367041"/>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14" name="Group 872"/>
          <p:cNvGrpSpPr>
            <a:grpSpLocks noChangeAspect="1"/>
          </p:cNvGrpSpPr>
          <p:nvPr/>
        </p:nvGrpSpPr>
        <p:grpSpPr bwMode="auto">
          <a:xfrm>
            <a:off x="6698302" y="2533019"/>
            <a:ext cx="367041" cy="367041"/>
            <a:chOff x="3132" y="3822"/>
            <a:chExt cx="340" cy="340"/>
          </a:xfrm>
          <a:solidFill>
            <a:schemeClr val="accent4"/>
          </a:solidFill>
        </p:grpSpPr>
        <p:sp>
          <p:nvSpPr>
            <p:cNvPr id="215" name="Freeform 873"/>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74"/>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75"/>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8" name="Freeform 314"/>
          <p:cNvSpPr>
            <a:spLocks noChangeAspect="1" noEditPoints="1"/>
          </p:cNvSpPr>
          <p:nvPr/>
        </p:nvSpPr>
        <p:spPr bwMode="auto">
          <a:xfrm>
            <a:off x="7115446" y="2533019"/>
            <a:ext cx="367631" cy="36763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19" name="Group 317"/>
          <p:cNvGrpSpPr>
            <a:grpSpLocks noChangeAspect="1"/>
          </p:cNvGrpSpPr>
          <p:nvPr/>
        </p:nvGrpSpPr>
        <p:grpSpPr bwMode="auto">
          <a:xfrm>
            <a:off x="7533183" y="2533019"/>
            <a:ext cx="367631" cy="367631"/>
            <a:chOff x="2718" y="1165"/>
            <a:chExt cx="340" cy="340"/>
          </a:xfrm>
          <a:solidFill>
            <a:schemeClr val="accent4"/>
          </a:solidFill>
        </p:grpSpPr>
        <p:sp>
          <p:nvSpPr>
            <p:cNvPr id="220"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2" name="Group 881"/>
          <p:cNvGrpSpPr>
            <a:grpSpLocks noChangeAspect="1"/>
          </p:cNvGrpSpPr>
          <p:nvPr/>
        </p:nvGrpSpPr>
        <p:grpSpPr bwMode="auto">
          <a:xfrm>
            <a:off x="826379" y="3362787"/>
            <a:ext cx="370763" cy="369676"/>
            <a:chOff x="1934" y="3062"/>
            <a:chExt cx="341" cy="340"/>
          </a:xfrm>
          <a:solidFill>
            <a:schemeClr val="accent3"/>
          </a:solidFill>
        </p:grpSpPr>
        <p:sp>
          <p:nvSpPr>
            <p:cNvPr id="223" name="Freeform 882"/>
            <p:cNvSpPr>
              <a:spLocks noEditPoints="1"/>
            </p:cNvSpPr>
            <p:nvPr/>
          </p:nvSpPr>
          <p:spPr bwMode="auto">
            <a:xfrm>
              <a:off x="1934" y="3062"/>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83"/>
            <p:cNvSpPr>
              <a:spLocks noEditPoints="1"/>
            </p:cNvSpPr>
            <p:nvPr/>
          </p:nvSpPr>
          <p:spPr bwMode="auto">
            <a:xfrm>
              <a:off x="2019" y="3133"/>
              <a:ext cx="179" cy="205"/>
            </a:xfrm>
            <a:custGeom>
              <a:avLst/>
              <a:gdLst>
                <a:gd name="T0" fmla="*/ 183 w 268"/>
                <a:gd name="T1" fmla="*/ 251 h 309"/>
                <a:gd name="T2" fmla="*/ 186 w 268"/>
                <a:gd name="T3" fmla="*/ 266 h 309"/>
                <a:gd name="T4" fmla="*/ 102 w 268"/>
                <a:gd name="T5" fmla="*/ 309 h 309"/>
                <a:gd name="T6" fmla="*/ 0 w 268"/>
                <a:gd name="T7" fmla="*/ 207 h 309"/>
                <a:gd name="T8" fmla="*/ 45 w 268"/>
                <a:gd name="T9" fmla="*/ 122 h 309"/>
                <a:gd name="T10" fmla="*/ 60 w 268"/>
                <a:gd name="T11" fmla="*/ 125 h 309"/>
                <a:gd name="T12" fmla="*/ 57 w 268"/>
                <a:gd name="T13" fmla="*/ 140 h 309"/>
                <a:gd name="T14" fmla="*/ 21 w 268"/>
                <a:gd name="T15" fmla="*/ 207 h 309"/>
                <a:gd name="T16" fmla="*/ 102 w 268"/>
                <a:gd name="T17" fmla="*/ 288 h 309"/>
                <a:gd name="T18" fmla="*/ 169 w 268"/>
                <a:gd name="T19" fmla="*/ 254 h 309"/>
                <a:gd name="T20" fmla="*/ 183 w 268"/>
                <a:gd name="T21" fmla="*/ 251 h 309"/>
                <a:gd name="T22" fmla="*/ 64 w 268"/>
                <a:gd name="T23" fmla="*/ 32 h 309"/>
                <a:gd name="T24" fmla="*/ 96 w 268"/>
                <a:gd name="T25" fmla="*/ 0 h 309"/>
                <a:gd name="T26" fmla="*/ 128 w 268"/>
                <a:gd name="T27" fmla="*/ 32 h 309"/>
                <a:gd name="T28" fmla="*/ 96 w 268"/>
                <a:gd name="T29" fmla="*/ 64 h 309"/>
                <a:gd name="T30" fmla="*/ 64 w 268"/>
                <a:gd name="T31" fmla="*/ 32 h 309"/>
                <a:gd name="T32" fmla="*/ 85 w 268"/>
                <a:gd name="T33" fmla="*/ 32 h 309"/>
                <a:gd name="T34" fmla="*/ 96 w 268"/>
                <a:gd name="T35" fmla="*/ 43 h 309"/>
                <a:gd name="T36" fmla="*/ 107 w 268"/>
                <a:gd name="T37" fmla="*/ 32 h 309"/>
                <a:gd name="T38" fmla="*/ 96 w 268"/>
                <a:gd name="T39" fmla="*/ 21 h 309"/>
                <a:gd name="T40" fmla="*/ 85 w 268"/>
                <a:gd name="T41" fmla="*/ 32 h 309"/>
                <a:gd name="T42" fmla="*/ 266 w 268"/>
                <a:gd name="T43" fmla="*/ 253 h 309"/>
                <a:gd name="T44" fmla="*/ 253 w 268"/>
                <a:gd name="T45" fmla="*/ 246 h 309"/>
                <a:gd name="T46" fmla="*/ 231 w 268"/>
                <a:gd name="T47" fmla="*/ 253 h 309"/>
                <a:gd name="T48" fmla="*/ 202 w 268"/>
                <a:gd name="T49" fmla="*/ 157 h 309"/>
                <a:gd name="T50" fmla="*/ 202 w 268"/>
                <a:gd name="T51" fmla="*/ 157 h 309"/>
                <a:gd name="T52" fmla="*/ 192 w 268"/>
                <a:gd name="T53" fmla="*/ 149 h 309"/>
                <a:gd name="T54" fmla="*/ 107 w 268"/>
                <a:gd name="T55" fmla="*/ 149 h 309"/>
                <a:gd name="T56" fmla="*/ 107 w 268"/>
                <a:gd name="T57" fmla="*/ 128 h 309"/>
                <a:gd name="T58" fmla="*/ 192 w 268"/>
                <a:gd name="T59" fmla="*/ 128 h 309"/>
                <a:gd name="T60" fmla="*/ 203 w 268"/>
                <a:gd name="T61" fmla="*/ 117 h 309"/>
                <a:gd name="T62" fmla="*/ 192 w 268"/>
                <a:gd name="T63" fmla="*/ 107 h 309"/>
                <a:gd name="T64" fmla="*/ 107 w 268"/>
                <a:gd name="T65" fmla="*/ 107 h 309"/>
                <a:gd name="T66" fmla="*/ 107 w 268"/>
                <a:gd name="T67" fmla="*/ 96 h 309"/>
                <a:gd name="T68" fmla="*/ 96 w 268"/>
                <a:gd name="T69" fmla="*/ 85 h 309"/>
                <a:gd name="T70" fmla="*/ 85 w 268"/>
                <a:gd name="T71" fmla="*/ 96 h 309"/>
                <a:gd name="T72" fmla="*/ 85 w 268"/>
                <a:gd name="T73" fmla="*/ 160 h 309"/>
                <a:gd name="T74" fmla="*/ 96 w 268"/>
                <a:gd name="T75" fmla="*/ 171 h 309"/>
                <a:gd name="T76" fmla="*/ 184 w 268"/>
                <a:gd name="T77" fmla="*/ 171 h 309"/>
                <a:gd name="T78" fmla="*/ 184 w 268"/>
                <a:gd name="T79" fmla="*/ 171 h 309"/>
                <a:gd name="T80" fmla="*/ 214 w 268"/>
                <a:gd name="T81" fmla="*/ 270 h 309"/>
                <a:gd name="T82" fmla="*/ 214 w 268"/>
                <a:gd name="T83" fmla="*/ 270 h 309"/>
                <a:gd name="T84" fmla="*/ 214 w 268"/>
                <a:gd name="T85" fmla="*/ 270 h 309"/>
                <a:gd name="T86" fmla="*/ 224 w 268"/>
                <a:gd name="T87" fmla="*/ 277 h 309"/>
                <a:gd name="T88" fmla="*/ 227 w 268"/>
                <a:gd name="T89" fmla="*/ 277 h 309"/>
                <a:gd name="T90" fmla="*/ 259 w 268"/>
                <a:gd name="T91" fmla="*/ 266 h 309"/>
                <a:gd name="T92" fmla="*/ 266 w 268"/>
                <a:gd name="T93"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309">
                  <a:moveTo>
                    <a:pt x="183" y="251"/>
                  </a:moveTo>
                  <a:cubicBezTo>
                    <a:pt x="188" y="255"/>
                    <a:pt x="189" y="261"/>
                    <a:pt x="186" y="266"/>
                  </a:cubicBezTo>
                  <a:cubicBezTo>
                    <a:pt x="167" y="293"/>
                    <a:pt x="136" y="309"/>
                    <a:pt x="102" y="309"/>
                  </a:cubicBezTo>
                  <a:cubicBezTo>
                    <a:pt x="46" y="309"/>
                    <a:pt x="0" y="263"/>
                    <a:pt x="0" y="207"/>
                  </a:cubicBezTo>
                  <a:cubicBezTo>
                    <a:pt x="0" y="173"/>
                    <a:pt x="17" y="141"/>
                    <a:pt x="45" y="122"/>
                  </a:cubicBezTo>
                  <a:cubicBezTo>
                    <a:pt x="50" y="119"/>
                    <a:pt x="57" y="120"/>
                    <a:pt x="60" y="125"/>
                  </a:cubicBezTo>
                  <a:cubicBezTo>
                    <a:pt x="63" y="130"/>
                    <a:pt x="62" y="136"/>
                    <a:pt x="57" y="140"/>
                  </a:cubicBezTo>
                  <a:cubicBezTo>
                    <a:pt x="35" y="155"/>
                    <a:pt x="21" y="180"/>
                    <a:pt x="21" y="207"/>
                  </a:cubicBezTo>
                  <a:cubicBezTo>
                    <a:pt x="21" y="252"/>
                    <a:pt x="58" y="288"/>
                    <a:pt x="102" y="288"/>
                  </a:cubicBezTo>
                  <a:cubicBezTo>
                    <a:pt x="129" y="288"/>
                    <a:pt x="153" y="275"/>
                    <a:pt x="169" y="254"/>
                  </a:cubicBezTo>
                  <a:cubicBezTo>
                    <a:pt x="172" y="249"/>
                    <a:pt x="179" y="248"/>
                    <a:pt x="183" y="251"/>
                  </a:cubicBezTo>
                  <a:close/>
                  <a:moveTo>
                    <a:pt x="64" y="32"/>
                  </a:moveTo>
                  <a:cubicBezTo>
                    <a:pt x="64" y="14"/>
                    <a:pt x="78" y="0"/>
                    <a:pt x="96" y="0"/>
                  </a:cubicBezTo>
                  <a:cubicBezTo>
                    <a:pt x="114" y="0"/>
                    <a:pt x="128" y="14"/>
                    <a:pt x="128" y="32"/>
                  </a:cubicBezTo>
                  <a:cubicBezTo>
                    <a:pt x="128" y="50"/>
                    <a:pt x="114" y="64"/>
                    <a:pt x="96" y="64"/>
                  </a:cubicBezTo>
                  <a:cubicBezTo>
                    <a:pt x="78" y="64"/>
                    <a:pt x="64" y="50"/>
                    <a:pt x="64" y="32"/>
                  </a:cubicBezTo>
                  <a:close/>
                  <a:moveTo>
                    <a:pt x="85" y="32"/>
                  </a:moveTo>
                  <a:cubicBezTo>
                    <a:pt x="85" y="38"/>
                    <a:pt x="90" y="43"/>
                    <a:pt x="96" y="43"/>
                  </a:cubicBezTo>
                  <a:cubicBezTo>
                    <a:pt x="102" y="43"/>
                    <a:pt x="107" y="38"/>
                    <a:pt x="107" y="32"/>
                  </a:cubicBezTo>
                  <a:cubicBezTo>
                    <a:pt x="107" y="26"/>
                    <a:pt x="102" y="21"/>
                    <a:pt x="96" y="21"/>
                  </a:cubicBezTo>
                  <a:cubicBezTo>
                    <a:pt x="90" y="21"/>
                    <a:pt x="85" y="26"/>
                    <a:pt x="85" y="32"/>
                  </a:cubicBezTo>
                  <a:close/>
                  <a:moveTo>
                    <a:pt x="266" y="253"/>
                  </a:moveTo>
                  <a:cubicBezTo>
                    <a:pt x="264" y="247"/>
                    <a:pt x="258" y="244"/>
                    <a:pt x="253" y="246"/>
                  </a:cubicBezTo>
                  <a:cubicBezTo>
                    <a:pt x="231" y="253"/>
                    <a:pt x="231" y="253"/>
                    <a:pt x="231" y="253"/>
                  </a:cubicBezTo>
                  <a:cubicBezTo>
                    <a:pt x="202" y="157"/>
                    <a:pt x="202" y="157"/>
                    <a:pt x="202" y="157"/>
                  </a:cubicBezTo>
                  <a:cubicBezTo>
                    <a:pt x="202" y="157"/>
                    <a:pt x="202" y="157"/>
                    <a:pt x="202" y="157"/>
                  </a:cubicBezTo>
                  <a:cubicBezTo>
                    <a:pt x="201" y="153"/>
                    <a:pt x="197" y="149"/>
                    <a:pt x="192" y="149"/>
                  </a:cubicBezTo>
                  <a:cubicBezTo>
                    <a:pt x="107" y="149"/>
                    <a:pt x="107" y="149"/>
                    <a:pt x="107" y="149"/>
                  </a:cubicBezTo>
                  <a:cubicBezTo>
                    <a:pt x="107" y="128"/>
                    <a:pt x="107" y="128"/>
                    <a:pt x="107" y="128"/>
                  </a:cubicBezTo>
                  <a:cubicBezTo>
                    <a:pt x="192" y="128"/>
                    <a:pt x="192" y="128"/>
                    <a:pt x="192" y="128"/>
                  </a:cubicBezTo>
                  <a:cubicBezTo>
                    <a:pt x="198" y="128"/>
                    <a:pt x="203" y="123"/>
                    <a:pt x="203" y="117"/>
                  </a:cubicBezTo>
                  <a:cubicBezTo>
                    <a:pt x="203" y="111"/>
                    <a:pt x="198" y="107"/>
                    <a:pt x="192" y="107"/>
                  </a:cubicBezTo>
                  <a:cubicBezTo>
                    <a:pt x="107" y="107"/>
                    <a:pt x="107" y="107"/>
                    <a:pt x="107" y="107"/>
                  </a:cubicBezTo>
                  <a:cubicBezTo>
                    <a:pt x="107" y="96"/>
                    <a:pt x="107" y="96"/>
                    <a:pt x="107" y="96"/>
                  </a:cubicBezTo>
                  <a:cubicBezTo>
                    <a:pt x="107" y="90"/>
                    <a:pt x="102" y="85"/>
                    <a:pt x="96" y="85"/>
                  </a:cubicBezTo>
                  <a:cubicBezTo>
                    <a:pt x="90" y="85"/>
                    <a:pt x="85" y="90"/>
                    <a:pt x="85" y="96"/>
                  </a:cubicBezTo>
                  <a:cubicBezTo>
                    <a:pt x="85" y="160"/>
                    <a:pt x="85" y="160"/>
                    <a:pt x="85" y="160"/>
                  </a:cubicBezTo>
                  <a:cubicBezTo>
                    <a:pt x="85" y="166"/>
                    <a:pt x="90" y="171"/>
                    <a:pt x="96" y="171"/>
                  </a:cubicBezTo>
                  <a:cubicBezTo>
                    <a:pt x="184" y="171"/>
                    <a:pt x="184" y="171"/>
                    <a:pt x="184" y="171"/>
                  </a:cubicBezTo>
                  <a:cubicBezTo>
                    <a:pt x="184" y="171"/>
                    <a:pt x="184" y="171"/>
                    <a:pt x="184" y="171"/>
                  </a:cubicBezTo>
                  <a:cubicBezTo>
                    <a:pt x="214" y="270"/>
                    <a:pt x="214" y="270"/>
                    <a:pt x="214" y="270"/>
                  </a:cubicBezTo>
                  <a:cubicBezTo>
                    <a:pt x="214" y="270"/>
                    <a:pt x="214" y="270"/>
                    <a:pt x="214" y="270"/>
                  </a:cubicBezTo>
                  <a:cubicBezTo>
                    <a:pt x="214" y="270"/>
                    <a:pt x="214" y="270"/>
                    <a:pt x="214" y="270"/>
                  </a:cubicBezTo>
                  <a:cubicBezTo>
                    <a:pt x="215" y="275"/>
                    <a:pt x="220" y="277"/>
                    <a:pt x="224" y="277"/>
                  </a:cubicBezTo>
                  <a:cubicBezTo>
                    <a:pt x="225" y="277"/>
                    <a:pt x="226" y="277"/>
                    <a:pt x="227" y="277"/>
                  </a:cubicBezTo>
                  <a:cubicBezTo>
                    <a:pt x="259" y="266"/>
                    <a:pt x="259" y="266"/>
                    <a:pt x="259" y="266"/>
                  </a:cubicBezTo>
                  <a:cubicBezTo>
                    <a:pt x="265" y="264"/>
                    <a:pt x="268" y="258"/>
                    <a:pt x="266" y="2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5" name="Freeform 887"/>
          <p:cNvSpPr>
            <a:spLocks noChangeAspect="1" noEditPoints="1"/>
          </p:cNvSpPr>
          <p:nvPr/>
        </p:nvSpPr>
        <p:spPr bwMode="auto">
          <a:xfrm>
            <a:off x="406400" y="3362787"/>
            <a:ext cx="369676" cy="369676"/>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26" name="Freeform 249"/>
          <p:cNvSpPr>
            <a:spLocks noChangeAspect="1" noEditPoints="1"/>
          </p:cNvSpPr>
          <p:nvPr/>
        </p:nvSpPr>
        <p:spPr bwMode="auto">
          <a:xfrm>
            <a:off x="1247445" y="3362787"/>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27" name="Group 252"/>
          <p:cNvGrpSpPr>
            <a:grpSpLocks noChangeAspect="1"/>
          </p:cNvGrpSpPr>
          <p:nvPr/>
        </p:nvGrpSpPr>
        <p:grpSpPr bwMode="auto">
          <a:xfrm>
            <a:off x="1664789" y="3362787"/>
            <a:ext cx="367041" cy="367041"/>
            <a:chOff x="5024" y="718"/>
            <a:chExt cx="340" cy="340"/>
          </a:xfrm>
          <a:solidFill>
            <a:schemeClr val="accent3"/>
          </a:solidFill>
        </p:grpSpPr>
        <p:sp>
          <p:nvSpPr>
            <p:cNvPr id="228"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0" name="Group 139"/>
          <p:cNvGrpSpPr>
            <a:grpSpLocks noChangeAspect="1"/>
          </p:cNvGrpSpPr>
          <p:nvPr/>
        </p:nvGrpSpPr>
        <p:grpSpPr bwMode="auto">
          <a:xfrm>
            <a:off x="2082133" y="3362787"/>
            <a:ext cx="369021" cy="369021"/>
            <a:chOff x="3098" y="379"/>
            <a:chExt cx="340" cy="340"/>
          </a:xfrm>
          <a:solidFill>
            <a:schemeClr val="accent2"/>
          </a:solidFill>
        </p:grpSpPr>
        <p:sp>
          <p:nvSpPr>
            <p:cNvPr id="231" name="Freeform 140"/>
            <p:cNvSpPr>
              <a:spLocks/>
            </p:cNvSpPr>
            <p:nvPr/>
          </p:nvSpPr>
          <p:spPr bwMode="auto">
            <a:xfrm>
              <a:off x="3218" y="577"/>
              <a:ext cx="99" cy="64"/>
            </a:xfrm>
            <a:custGeom>
              <a:avLst/>
              <a:gdLst>
                <a:gd name="T0" fmla="*/ 124 w 150"/>
                <a:gd name="T1" fmla="*/ 0 h 96"/>
                <a:gd name="T2" fmla="*/ 129 w 150"/>
                <a:gd name="T3" fmla="*/ 22 h 96"/>
                <a:gd name="T4" fmla="*/ 76 w 150"/>
                <a:gd name="T5" fmla="*/ 75 h 96"/>
                <a:gd name="T6" fmla="*/ 22 w 150"/>
                <a:gd name="T7" fmla="*/ 22 h 96"/>
                <a:gd name="T8" fmla="*/ 26 w 150"/>
                <a:gd name="T9" fmla="*/ 0 h 96"/>
                <a:gd name="T10" fmla="*/ 2 w 150"/>
                <a:gd name="T11" fmla="*/ 0 h 96"/>
                <a:gd name="T12" fmla="*/ 0 w 150"/>
                <a:gd name="T13" fmla="*/ 22 h 96"/>
                <a:gd name="T14" fmla="*/ 75 w 150"/>
                <a:gd name="T15" fmla="*/ 96 h 96"/>
                <a:gd name="T16" fmla="*/ 150 w 150"/>
                <a:gd name="T17" fmla="*/ 22 h 96"/>
                <a:gd name="T18" fmla="*/ 147 w 150"/>
                <a:gd name="T19" fmla="*/ 0 h 96"/>
                <a:gd name="T20" fmla="*/ 124 w 150"/>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96">
                  <a:moveTo>
                    <a:pt x="124" y="0"/>
                  </a:moveTo>
                  <a:cubicBezTo>
                    <a:pt x="127" y="7"/>
                    <a:pt x="129" y="14"/>
                    <a:pt x="129" y="22"/>
                  </a:cubicBezTo>
                  <a:cubicBezTo>
                    <a:pt x="129" y="51"/>
                    <a:pt x="105" y="75"/>
                    <a:pt x="76" y="75"/>
                  </a:cubicBezTo>
                  <a:cubicBezTo>
                    <a:pt x="46" y="75"/>
                    <a:pt x="22" y="51"/>
                    <a:pt x="22" y="22"/>
                  </a:cubicBezTo>
                  <a:cubicBezTo>
                    <a:pt x="22" y="14"/>
                    <a:pt x="24" y="7"/>
                    <a:pt x="26" y="0"/>
                  </a:cubicBezTo>
                  <a:cubicBezTo>
                    <a:pt x="2" y="0"/>
                    <a:pt x="2" y="0"/>
                    <a:pt x="2" y="0"/>
                  </a:cubicBezTo>
                  <a:cubicBezTo>
                    <a:pt x="1" y="6"/>
                    <a:pt x="0" y="13"/>
                    <a:pt x="0" y="22"/>
                  </a:cubicBezTo>
                  <a:cubicBezTo>
                    <a:pt x="0" y="63"/>
                    <a:pt x="34" y="96"/>
                    <a:pt x="75" y="96"/>
                  </a:cubicBezTo>
                  <a:cubicBezTo>
                    <a:pt x="116" y="96"/>
                    <a:pt x="150" y="63"/>
                    <a:pt x="150" y="22"/>
                  </a:cubicBezTo>
                  <a:cubicBezTo>
                    <a:pt x="150" y="14"/>
                    <a:pt x="149" y="7"/>
                    <a:pt x="147" y="0"/>
                  </a:cubicBezTo>
                  <a:lnTo>
                    <a:pt x="12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141"/>
            <p:cNvSpPr>
              <a:spLocks/>
            </p:cNvSpPr>
            <p:nvPr/>
          </p:nvSpPr>
          <p:spPr bwMode="auto">
            <a:xfrm>
              <a:off x="3247" y="577"/>
              <a:ext cx="42" cy="36"/>
            </a:xfrm>
            <a:custGeom>
              <a:avLst/>
              <a:gdLst>
                <a:gd name="T0" fmla="*/ 64 w 64"/>
                <a:gd name="T1" fmla="*/ 22 h 54"/>
                <a:gd name="T2" fmla="*/ 55 w 64"/>
                <a:gd name="T3" fmla="*/ 0 h 54"/>
                <a:gd name="T4" fmla="*/ 6 w 64"/>
                <a:gd name="T5" fmla="*/ 0 h 54"/>
                <a:gd name="T6" fmla="*/ 0 w 64"/>
                <a:gd name="T7" fmla="*/ 22 h 54"/>
                <a:gd name="T8" fmla="*/ 32 w 64"/>
                <a:gd name="T9" fmla="*/ 54 h 54"/>
                <a:gd name="T10" fmla="*/ 64 w 64"/>
                <a:gd name="T11" fmla="*/ 22 h 54"/>
              </a:gdLst>
              <a:ahLst/>
              <a:cxnLst>
                <a:cxn ang="0">
                  <a:pos x="T0" y="T1"/>
                </a:cxn>
                <a:cxn ang="0">
                  <a:pos x="T2" y="T3"/>
                </a:cxn>
                <a:cxn ang="0">
                  <a:pos x="T4" y="T5"/>
                </a:cxn>
                <a:cxn ang="0">
                  <a:pos x="T6" y="T7"/>
                </a:cxn>
                <a:cxn ang="0">
                  <a:pos x="T8" y="T9"/>
                </a:cxn>
                <a:cxn ang="0">
                  <a:pos x="T10" y="T11"/>
                </a:cxn>
              </a:cxnLst>
              <a:rect l="0" t="0" r="r" b="b"/>
              <a:pathLst>
                <a:path w="64" h="54">
                  <a:moveTo>
                    <a:pt x="64" y="22"/>
                  </a:moveTo>
                  <a:cubicBezTo>
                    <a:pt x="64" y="14"/>
                    <a:pt x="61" y="6"/>
                    <a:pt x="55" y="0"/>
                  </a:cubicBezTo>
                  <a:cubicBezTo>
                    <a:pt x="6" y="0"/>
                    <a:pt x="6" y="0"/>
                    <a:pt x="6" y="0"/>
                  </a:cubicBezTo>
                  <a:cubicBezTo>
                    <a:pt x="2" y="5"/>
                    <a:pt x="0" y="13"/>
                    <a:pt x="0" y="22"/>
                  </a:cubicBezTo>
                  <a:cubicBezTo>
                    <a:pt x="0" y="39"/>
                    <a:pt x="14" y="54"/>
                    <a:pt x="32" y="54"/>
                  </a:cubicBezTo>
                  <a:cubicBezTo>
                    <a:pt x="49" y="54"/>
                    <a:pt x="64" y="39"/>
                    <a:pt x="6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142"/>
            <p:cNvSpPr>
              <a:spLocks/>
            </p:cNvSpPr>
            <p:nvPr/>
          </p:nvSpPr>
          <p:spPr bwMode="auto">
            <a:xfrm>
              <a:off x="3247" y="457"/>
              <a:ext cx="42" cy="77"/>
            </a:xfrm>
            <a:custGeom>
              <a:avLst/>
              <a:gdLst>
                <a:gd name="T0" fmla="*/ 21 w 64"/>
                <a:gd name="T1" fmla="*/ 91 h 117"/>
                <a:gd name="T2" fmla="*/ 15 w 64"/>
                <a:gd name="T3" fmla="*/ 117 h 117"/>
                <a:gd name="T4" fmla="*/ 49 w 64"/>
                <a:gd name="T5" fmla="*/ 117 h 117"/>
                <a:gd name="T6" fmla="*/ 42 w 64"/>
                <a:gd name="T7" fmla="*/ 91 h 117"/>
                <a:gd name="T8" fmla="*/ 55 w 64"/>
                <a:gd name="T9" fmla="*/ 54 h 117"/>
                <a:gd name="T10" fmla="*/ 64 w 64"/>
                <a:gd name="T11" fmla="*/ 32 h 117"/>
                <a:gd name="T12" fmla="*/ 32 w 64"/>
                <a:gd name="T13" fmla="*/ 0 h 117"/>
                <a:gd name="T14" fmla="*/ 0 w 64"/>
                <a:gd name="T15" fmla="*/ 32 h 117"/>
                <a:gd name="T16" fmla="*/ 8 w 64"/>
                <a:gd name="T17" fmla="*/ 54 h 117"/>
                <a:gd name="T18" fmla="*/ 21 w 64"/>
                <a:gd name="T19"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7">
                  <a:moveTo>
                    <a:pt x="21" y="91"/>
                  </a:moveTo>
                  <a:cubicBezTo>
                    <a:pt x="21" y="101"/>
                    <a:pt x="19" y="110"/>
                    <a:pt x="15" y="117"/>
                  </a:cubicBezTo>
                  <a:cubicBezTo>
                    <a:pt x="49" y="117"/>
                    <a:pt x="49" y="117"/>
                    <a:pt x="49" y="117"/>
                  </a:cubicBezTo>
                  <a:cubicBezTo>
                    <a:pt x="45" y="110"/>
                    <a:pt x="42" y="101"/>
                    <a:pt x="42" y="91"/>
                  </a:cubicBezTo>
                  <a:cubicBezTo>
                    <a:pt x="42" y="75"/>
                    <a:pt x="49" y="63"/>
                    <a:pt x="55" y="54"/>
                  </a:cubicBezTo>
                  <a:cubicBezTo>
                    <a:pt x="61" y="46"/>
                    <a:pt x="64" y="40"/>
                    <a:pt x="64" y="32"/>
                  </a:cubicBezTo>
                  <a:cubicBezTo>
                    <a:pt x="64" y="14"/>
                    <a:pt x="49" y="0"/>
                    <a:pt x="32" y="0"/>
                  </a:cubicBezTo>
                  <a:cubicBezTo>
                    <a:pt x="14" y="0"/>
                    <a:pt x="0" y="14"/>
                    <a:pt x="0" y="32"/>
                  </a:cubicBezTo>
                  <a:cubicBezTo>
                    <a:pt x="0" y="40"/>
                    <a:pt x="3" y="46"/>
                    <a:pt x="8" y="54"/>
                  </a:cubicBezTo>
                  <a:cubicBezTo>
                    <a:pt x="15" y="63"/>
                    <a:pt x="21" y="75"/>
                    <a:pt x="21"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143"/>
            <p:cNvSpPr>
              <a:spLocks noEditPoints="1"/>
            </p:cNvSpPr>
            <p:nvPr/>
          </p:nvSpPr>
          <p:spPr bwMode="auto">
            <a:xfrm>
              <a:off x="3098" y="3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88 h 512"/>
                <a:gd name="T12" fmla="*/ 362 w 512"/>
                <a:gd name="T13" fmla="*/ 298 h 512"/>
                <a:gd name="T14" fmla="*/ 349 w 512"/>
                <a:gd name="T15" fmla="*/ 298 h 512"/>
                <a:gd name="T16" fmla="*/ 351 w 512"/>
                <a:gd name="T17" fmla="*/ 320 h 512"/>
                <a:gd name="T18" fmla="*/ 255 w 512"/>
                <a:gd name="T19" fmla="*/ 416 h 512"/>
                <a:gd name="T20" fmla="*/ 159 w 512"/>
                <a:gd name="T21" fmla="*/ 320 h 512"/>
                <a:gd name="T22" fmla="*/ 160 w 512"/>
                <a:gd name="T23" fmla="*/ 298 h 512"/>
                <a:gd name="T24" fmla="*/ 149 w 512"/>
                <a:gd name="T25" fmla="*/ 298 h 512"/>
                <a:gd name="T26" fmla="*/ 138 w 512"/>
                <a:gd name="T27" fmla="*/ 288 h 512"/>
                <a:gd name="T28" fmla="*/ 138 w 512"/>
                <a:gd name="T29" fmla="*/ 245 h 512"/>
                <a:gd name="T30" fmla="*/ 149 w 512"/>
                <a:gd name="T31" fmla="*/ 234 h 512"/>
                <a:gd name="T32" fmla="*/ 208 w 512"/>
                <a:gd name="T33" fmla="*/ 234 h 512"/>
                <a:gd name="T34" fmla="*/ 224 w 512"/>
                <a:gd name="T35" fmla="*/ 208 h 512"/>
                <a:gd name="T36" fmla="*/ 215 w 512"/>
                <a:gd name="T37" fmla="*/ 183 h 512"/>
                <a:gd name="T38" fmla="*/ 202 w 512"/>
                <a:gd name="T39" fmla="*/ 149 h 512"/>
                <a:gd name="T40" fmla="*/ 256 w 512"/>
                <a:gd name="T41" fmla="*/ 96 h 512"/>
                <a:gd name="T42" fmla="*/ 309 w 512"/>
                <a:gd name="T43" fmla="*/ 149 h 512"/>
                <a:gd name="T44" fmla="*/ 296 w 512"/>
                <a:gd name="T45" fmla="*/ 183 h 512"/>
                <a:gd name="T46" fmla="*/ 288 w 512"/>
                <a:gd name="T47" fmla="*/ 208 h 512"/>
                <a:gd name="T48" fmla="*/ 304 w 512"/>
                <a:gd name="T49" fmla="*/ 234 h 512"/>
                <a:gd name="T50" fmla="*/ 362 w 512"/>
                <a:gd name="T51" fmla="*/ 234 h 512"/>
                <a:gd name="T52" fmla="*/ 373 w 512"/>
                <a:gd name="T53" fmla="*/ 245 h 512"/>
                <a:gd name="T54" fmla="*/ 373 w 512"/>
                <a:gd name="T5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88"/>
                  </a:moveTo>
                  <a:cubicBezTo>
                    <a:pt x="373" y="294"/>
                    <a:pt x="368" y="298"/>
                    <a:pt x="362" y="298"/>
                  </a:cubicBezTo>
                  <a:cubicBezTo>
                    <a:pt x="349" y="298"/>
                    <a:pt x="349" y="298"/>
                    <a:pt x="349" y="298"/>
                  </a:cubicBezTo>
                  <a:cubicBezTo>
                    <a:pt x="351" y="305"/>
                    <a:pt x="351" y="312"/>
                    <a:pt x="351" y="320"/>
                  </a:cubicBezTo>
                  <a:cubicBezTo>
                    <a:pt x="351" y="373"/>
                    <a:pt x="308" y="416"/>
                    <a:pt x="255" y="416"/>
                  </a:cubicBezTo>
                  <a:cubicBezTo>
                    <a:pt x="202" y="416"/>
                    <a:pt x="159" y="373"/>
                    <a:pt x="159" y="320"/>
                  </a:cubicBezTo>
                  <a:cubicBezTo>
                    <a:pt x="159" y="312"/>
                    <a:pt x="159" y="305"/>
                    <a:pt x="160" y="298"/>
                  </a:cubicBezTo>
                  <a:cubicBezTo>
                    <a:pt x="149" y="298"/>
                    <a:pt x="149" y="298"/>
                    <a:pt x="149" y="298"/>
                  </a:cubicBezTo>
                  <a:cubicBezTo>
                    <a:pt x="143" y="298"/>
                    <a:pt x="138" y="294"/>
                    <a:pt x="138" y="288"/>
                  </a:cubicBezTo>
                  <a:cubicBezTo>
                    <a:pt x="138" y="245"/>
                    <a:pt x="138" y="245"/>
                    <a:pt x="138" y="245"/>
                  </a:cubicBezTo>
                  <a:cubicBezTo>
                    <a:pt x="138" y="239"/>
                    <a:pt x="143" y="234"/>
                    <a:pt x="149" y="234"/>
                  </a:cubicBezTo>
                  <a:cubicBezTo>
                    <a:pt x="208" y="234"/>
                    <a:pt x="208" y="234"/>
                    <a:pt x="208" y="234"/>
                  </a:cubicBezTo>
                  <a:cubicBezTo>
                    <a:pt x="215" y="234"/>
                    <a:pt x="224" y="223"/>
                    <a:pt x="224" y="208"/>
                  </a:cubicBezTo>
                  <a:cubicBezTo>
                    <a:pt x="224" y="198"/>
                    <a:pt x="220" y="191"/>
                    <a:pt x="215" y="183"/>
                  </a:cubicBezTo>
                  <a:cubicBezTo>
                    <a:pt x="209" y="174"/>
                    <a:pt x="202" y="164"/>
                    <a:pt x="202" y="149"/>
                  </a:cubicBezTo>
                  <a:cubicBezTo>
                    <a:pt x="202" y="120"/>
                    <a:pt x="226" y="96"/>
                    <a:pt x="256" y="96"/>
                  </a:cubicBezTo>
                  <a:cubicBezTo>
                    <a:pt x="285" y="96"/>
                    <a:pt x="309" y="120"/>
                    <a:pt x="309" y="149"/>
                  </a:cubicBezTo>
                  <a:cubicBezTo>
                    <a:pt x="309" y="164"/>
                    <a:pt x="303" y="174"/>
                    <a:pt x="296" y="183"/>
                  </a:cubicBezTo>
                  <a:cubicBezTo>
                    <a:pt x="291" y="191"/>
                    <a:pt x="288" y="198"/>
                    <a:pt x="288" y="208"/>
                  </a:cubicBezTo>
                  <a:cubicBezTo>
                    <a:pt x="288" y="223"/>
                    <a:pt x="296" y="234"/>
                    <a:pt x="304" y="234"/>
                  </a:cubicBezTo>
                  <a:cubicBezTo>
                    <a:pt x="362" y="234"/>
                    <a:pt x="362" y="234"/>
                    <a:pt x="362" y="234"/>
                  </a:cubicBezTo>
                  <a:cubicBezTo>
                    <a:pt x="368" y="234"/>
                    <a:pt x="373" y="239"/>
                    <a:pt x="373" y="245"/>
                  </a:cubicBezTo>
                  <a:lnTo>
                    <a:pt x="373"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Rectangle 144"/>
            <p:cNvSpPr>
              <a:spLocks noChangeArrowheads="1"/>
            </p:cNvSpPr>
            <p:nvPr/>
          </p:nvSpPr>
          <p:spPr bwMode="auto">
            <a:xfrm>
              <a:off x="3204" y="549"/>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6" name="Group 147"/>
          <p:cNvGrpSpPr>
            <a:grpSpLocks noChangeAspect="1"/>
          </p:cNvGrpSpPr>
          <p:nvPr/>
        </p:nvGrpSpPr>
        <p:grpSpPr bwMode="auto">
          <a:xfrm>
            <a:off x="2501457" y="3362787"/>
            <a:ext cx="369021" cy="369021"/>
            <a:chOff x="3472" y="384"/>
            <a:chExt cx="340" cy="340"/>
          </a:xfrm>
          <a:solidFill>
            <a:schemeClr val="accent2"/>
          </a:solidFill>
        </p:grpSpPr>
        <p:sp>
          <p:nvSpPr>
            <p:cNvPr id="237" name="Freeform 148"/>
            <p:cNvSpPr>
              <a:spLocks noEditPoints="1"/>
            </p:cNvSpPr>
            <p:nvPr/>
          </p:nvSpPr>
          <p:spPr bwMode="auto">
            <a:xfrm>
              <a:off x="3472" y="3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Freeform 149"/>
            <p:cNvSpPr>
              <a:spLocks noEditPoints="1"/>
            </p:cNvSpPr>
            <p:nvPr/>
          </p:nvSpPr>
          <p:spPr bwMode="auto">
            <a:xfrm>
              <a:off x="3564" y="448"/>
              <a:ext cx="156" cy="212"/>
            </a:xfrm>
            <a:custGeom>
              <a:avLst/>
              <a:gdLst>
                <a:gd name="T0" fmla="*/ 224 w 235"/>
                <a:gd name="T1" fmla="*/ 138 h 320"/>
                <a:gd name="T2" fmla="*/ 166 w 235"/>
                <a:gd name="T3" fmla="*/ 138 h 320"/>
                <a:gd name="T4" fmla="*/ 150 w 235"/>
                <a:gd name="T5" fmla="*/ 112 h 320"/>
                <a:gd name="T6" fmla="*/ 158 w 235"/>
                <a:gd name="T7" fmla="*/ 87 h 320"/>
                <a:gd name="T8" fmla="*/ 171 w 235"/>
                <a:gd name="T9" fmla="*/ 53 h 320"/>
                <a:gd name="T10" fmla="*/ 118 w 235"/>
                <a:gd name="T11" fmla="*/ 0 h 320"/>
                <a:gd name="T12" fmla="*/ 64 w 235"/>
                <a:gd name="T13" fmla="*/ 53 h 320"/>
                <a:gd name="T14" fmla="*/ 77 w 235"/>
                <a:gd name="T15" fmla="*/ 87 h 320"/>
                <a:gd name="T16" fmla="*/ 86 w 235"/>
                <a:gd name="T17" fmla="*/ 112 h 320"/>
                <a:gd name="T18" fmla="*/ 70 w 235"/>
                <a:gd name="T19" fmla="*/ 138 h 320"/>
                <a:gd name="T20" fmla="*/ 11 w 235"/>
                <a:gd name="T21" fmla="*/ 138 h 320"/>
                <a:gd name="T22" fmla="*/ 0 w 235"/>
                <a:gd name="T23" fmla="*/ 149 h 320"/>
                <a:gd name="T24" fmla="*/ 0 w 235"/>
                <a:gd name="T25" fmla="*/ 192 h 320"/>
                <a:gd name="T26" fmla="*/ 11 w 235"/>
                <a:gd name="T27" fmla="*/ 202 h 320"/>
                <a:gd name="T28" fmla="*/ 22 w 235"/>
                <a:gd name="T29" fmla="*/ 202 h 320"/>
                <a:gd name="T30" fmla="*/ 21 w 235"/>
                <a:gd name="T31" fmla="*/ 224 h 320"/>
                <a:gd name="T32" fmla="*/ 117 w 235"/>
                <a:gd name="T33" fmla="*/ 320 h 320"/>
                <a:gd name="T34" fmla="*/ 213 w 235"/>
                <a:gd name="T35" fmla="*/ 224 h 320"/>
                <a:gd name="T36" fmla="*/ 211 w 235"/>
                <a:gd name="T37" fmla="*/ 202 h 320"/>
                <a:gd name="T38" fmla="*/ 224 w 235"/>
                <a:gd name="T39" fmla="*/ 202 h 320"/>
                <a:gd name="T40" fmla="*/ 235 w 235"/>
                <a:gd name="T41" fmla="*/ 192 h 320"/>
                <a:gd name="T42" fmla="*/ 235 w 235"/>
                <a:gd name="T43" fmla="*/ 149 h 320"/>
                <a:gd name="T44" fmla="*/ 224 w 235"/>
                <a:gd name="T45" fmla="*/ 138 h 320"/>
                <a:gd name="T46" fmla="*/ 94 w 235"/>
                <a:gd name="T47" fmla="*/ 75 h 320"/>
                <a:gd name="T48" fmla="*/ 86 w 235"/>
                <a:gd name="T49" fmla="*/ 53 h 320"/>
                <a:gd name="T50" fmla="*/ 118 w 235"/>
                <a:gd name="T51" fmla="*/ 21 h 320"/>
                <a:gd name="T52" fmla="*/ 150 w 235"/>
                <a:gd name="T53" fmla="*/ 53 h 320"/>
                <a:gd name="T54" fmla="*/ 141 w 235"/>
                <a:gd name="T55" fmla="*/ 75 h 320"/>
                <a:gd name="T56" fmla="*/ 128 w 235"/>
                <a:gd name="T57" fmla="*/ 112 h 320"/>
                <a:gd name="T58" fmla="*/ 135 w 235"/>
                <a:gd name="T59" fmla="*/ 138 h 320"/>
                <a:gd name="T60" fmla="*/ 101 w 235"/>
                <a:gd name="T61" fmla="*/ 138 h 320"/>
                <a:gd name="T62" fmla="*/ 107 w 235"/>
                <a:gd name="T63" fmla="*/ 112 h 320"/>
                <a:gd name="T64" fmla="*/ 94 w 235"/>
                <a:gd name="T65" fmla="*/ 75 h 320"/>
                <a:gd name="T66" fmla="*/ 192 w 235"/>
                <a:gd name="T67" fmla="*/ 224 h 320"/>
                <a:gd name="T68" fmla="*/ 117 w 235"/>
                <a:gd name="T69" fmla="*/ 298 h 320"/>
                <a:gd name="T70" fmla="*/ 42 w 235"/>
                <a:gd name="T71" fmla="*/ 224 h 320"/>
                <a:gd name="T72" fmla="*/ 44 w 235"/>
                <a:gd name="T73" fmla="*/ 202 h 320"/>
                <a:gd name="T74" fmla="*/ 68 w 235"/>
                <a:gd name="T75" fmla="*/ 202 h 320"/>
                <a:gd name="T76" fmla="*/ 64 w 235"/>
                <a:gd name="T77" fmla="*/ 224 h 320"/>
                <a:gd name="T78" fmla="*/ 118 w 235"/>
                <a:gd name="T79" fmla="*/ 277 h 320"/>
                <a:gd name="T80" fmla="*/ 171 w 235"/>
                <a:gd name="T81" fmla="*/ 224 h 320"/>
                <a:gd name="T82" fmla="*/ 166 w 235"/>
                <a:gd name="T83" fmla="*/ 202 h 320"/>
                <a:gd name="T84" fmla="*/ 189 w 235"/>
                <a:gd name="T85" fmla="*/ 202 h 320"/>
                <a:gd name="T86" fmla="*/ 192 w 235"/>
                <a:gd name="T87" fmla="*/ 224 h 320"/>
                <a:gd name="T88" fmla="*/ 141 w 235"/>
                <a:gd name="T89" fmla="*/ 202 h 320"/>
                <a:gd name="T90" fmla="*/ 150 w 235"/>
                <a:gd name="T91" fmla="*/ 224 h 320"/>
                <a:gd name="T92" fmla="*/ 118 w 235"/>
                <a:gd name="T93" fmla="*/ 256 h 320"/>
                <a:gd name="T94" fmla="*/ 86 w 235"/>
                <a:gd name="T95" fmla="*/ 224 h 320"/>
                <a:gd name="T96" fmla="*/ 92 w 235"/>
                <a:gd name="T97" fmla="*/ 202 h 320"/>
                <a:gd name="T98" fmla="*/ 141 w 235"/>
                <a:gd name="T99" fmla="*/ 202 h 320"/>
                <a:gd name="T100" fmla="*/ 214 w 235"/>
                <a:gd name="T101" fmla="*/ 181 h 320"/>
                <a:gd name="T102" fmla="*/ 22 w 235"/>
                <a:gd name="T103" fmla="*/ 181 h 320"/>
                <a:gd name="T104" fmla="*/ 22 w 235"/>
                <a:gd name="T105" fmla="*/ 160 h 320"/>
                <a:gd name="T106" fmla="*/ 214 w 235"/>
                <a:gd name="T107" fmla="*/ 160 h 320"/>
                <a:gd name="T108" fmla="*/ 214 w 235"/>
                <a:gd name="T10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138"/>
                  </a:moveTo>
                  <a:cubicBezTo>
                    <a:pt x="166" y="138"/>
                    <a:pt x="166" y="138"/>
                    <a:pt x="166" y="138"/>
                  </a:cubicBezTo>
                  <a:cubicBezTo>
                    <a:pt x="158" y="138"/>
                    <a:pt x="150" y="127"/>
                    <a:pt x="150" y="112"/>
                  </a:cubicBezTo>
                  <a:cubicBezTo>
                    <a:pt x="150" y="102"/>
                    <a:pt x="153" y="95"/>
                    <a:pt x="158" y="87"/>
                  </a:cubicBezTo>
                  <a:cubicBezTo>
                    <a:pt x="165" y="78"/>
                    <a:pt x="171" y="68"/>
                    <a:pt x="171" y="53"/>
                  </a:cubicBezTo>
                  <a:cubicBezTo>
                    <a:pt x="171" y="24"/>
                    <a:pt x="147" y="0"/>
                    <a:pt x="118" y="0"/>
                  </a:cubicBezTo>
                  <a:cubicBezTo>
                    <a:pt x="88" y="0"/>
                    <a:pt x="64" y="24"/>
                    <a:pt x="64" y="53"/>
                  </a:cubicBezTo>
                  <a:cubicBezTo>
                    <a:pt x="64" y="68"/>
                    <a:pt x="71" y="78"/>
                    <a:pt x="77" y="87"/>
                  </a:cubicBezTo>
                  <a:cubicBezTo>
                    <a:pt x="82" y="95"/>
                    <a:pt x="86" y="102"/>
                    <a:pt x="86" y="112"/>
                  </a:cubicBezTo>
                  <a:cubicBezTo>
                    <a:pt x="86" y="127"/>
                    <a:pt x="77" y="138"/>
                    <a:pt x="70" y="138"/>
                  </a:cubicBezTo>
                  <a:cubicBezTo>
                    <a:pt x="11" y="138"/>
                    <a:pt x="11" y="138"/>
                    <a:pt x="11" y="138"/>
                  </a:cubicBezTo>
                  <a:cubicBezTo>
                    <a:pt x="5" y="138"/>
                    <a:pt x="0" y="143"/>
                    <a:pt x="0" y="149"/>
                  </a:cubicBezTo>
                  <a:cubicBezTo>
                    <a:pt x="0" y="192"/>
                    <a:pt x="0" y="192"/>
                    <a:pt x="0" y="192"/>
                  </a:cubicBezTo>
                  <a:cubicBezTo>
                    <a:pt x="0" y="198"/>
                    <a:pt x="5" y="202"/>
                    <a:pt x="11" y="202"/>
                  </a:cubicBezTo>
                  <a:cubicBezTo>
                    <a:pt x="22" y="202"/>
                    <a:pt x="22" y="202"/>
                    <a:pt x="22" y="202"/>
                  </a:cubicBezTo>
                  <a:cubicBezTo>
                    <a:pt x="21" y="209"/>
                    <a:pt x="21" y="216"/>
                    <a:pt x="21" y="224"/>
                  </a:cubicBezTo>
                  <a:cubicBezTo>
                    <a:pt x="21" y="277"/>
                    <a:pt x="64" y="320"/>
                    <a:pt x="117" y="320"/>
                  </a:cubicBezTo>
                  <a:cubicBezTo>
                    <a:pt x="170" y="320"/>
                    <a:pt x="213" y="277"/>
                    <a:pt x="213" y="224"/>
                  </a:cubicBezTo>
                  <a:cubicBezTo>
                    <a:pt x="213" y="216"/>
                    <a:pt x="213" y="209"/>
                    <a:pt x="211" y="202"/>
                  </a:cubicBezTo>
                  <a:cubicBezTo>
                    <a:pt x="224" y="202"/>
                    <a:pt x="224" y="202"/>
                    <a:pt x="224" y="202"/>
                  </a:cubicBezTo>
                  <a:cubicBezTo>
                    <a:pt x="230" y="202"/>
                    <a:pt x="235" y="198"/>
                    <a:pt x="235" y="192"/>
                  </a:cubicBezTo>
                  <a:cubicBezTo>
                    <a:pt x="235" y="149"/>
                    <a:pt x="235" y="149"/>
                    <a:pt x="235" y="149"/>
                  </a:cubicBezTo>
                  <a:cubicBezTo>
                    <a:pt x="235" y="143"/>
                    <a:pt x="230" y="138"/>
                    <a:pt x="224" y="138"/>
                  </a:cubicBezTo>
                  <a:close/>
                  <a:moveTo>
                    <a:pt x="94" y="75"/>
                  </a:moveTo>
                  <a:cubicBezTo>
                    <a:pt x="89" y="67"/>
                    <a:pt x="86" y="61"/>
                    <a:pt x="86" y="53"/>
                  </a:cubicBezTo>
                  <a:cubicBezTo>
                    <a:pt x="86" y="35"/>
                    <a:pt x="100" y="21"/>
                    <a:pt x="118" y="21"/>
                  </a:cubicBezTo>
                  <a:cubicBezTo>
                    <a:pt x="135" y="21"/>
                    <a:pt x="150" y="35"/>
                    <a:pt x="150" y="53"/>
                  </a:cubicBezTo>
                  <a:cubicBezTo>
                    <a:pt x="150" y="61"/>
                    <a:pt x="147" y="67"/>
                    <a:pt x="141" y="75"/>
                  </a:cubicBezTo>
                  <a:cubicBezTo>
                    <a:pt x="135" y="84"/>
                    <a:pt x="128" y="96"/>
                    <a:pt x="128" y="112"/>
                  </a:cubicBezTo>
                  <a:cubicBezTo>
                    <a:pt x="128" y="122"/>
                    <a:pt x="131" y="131"/>
                    <a:pt x="135" y="138"/>
                  </a:cubicBezTo>
                  <a:cubicBezTo>
                    <a:pt x="101" y="138"/>
                    <a:pt x="101" y="138"/>
                    <a:pt x="101" y="138"/>
                  </a:cubicBezTo>
                  <a:cubicBezTo>
                    <a:pt x="105" y="131"/>
                    <a:pt x="107" y="122"/>
                    <a:pt x="107" y="112"/>
                  </a:cubicBezTo>
                  <a:cubicBezTo>
                    <a:pt x="107" y="96"/>
                    <a:pt x="101" y="84"/>
                    <a:pt x="94" y="75"/>
                  </a:cubicBezTo>
                  <a:close/>
                  <a:moveTo>
                    <a:pt x="192" y="224"/>
                  </a:moveTo>
                  <a:cubicBezTo>
                    <a:pt x="192" y="265"/>
                    <a:pt x="158" y="298"/>
                    <a:pt x="117" y="298"/>
                  </a:cubicBezTo>
                  <a:cubicBezTo>
                    <a:pt x="76" y="298"/>
                    <a:pt x="42" y="265"/>
                    <a:pt x="42" y="224"/>
                  </a:cubicBezTo>
                  <a:cubicBezTo>
                    <a:pt x="42" y="215"/>
                    <a:pt x="43" y="208"/>
                    <a:pt x="44" y="202"/>
                  </a:cubicBezTo>
                  <a:cubicBezTo>
                    <a:pt x="68" y="202"/>
                    <a:pt x="68" y="202"/>
                    <a:pt x="68" y="202"/>
                  </a:cubicBezTo>
                  <a:cubicBezTo>
                    <a:pt x="66" y="209"/>
                    <a:pt x="64" y="216"/>
                    <a:pt x="64" y="224"/>
                  </a:cubicBezTo>
                  <a:cubicBezTo>
                    <a:pt x="64" y="253"/>
                    <a:pt x="88" y="277"/>
                    <a:pt x="118" y="277"/>
                  </a:cubicBezTo>
                  <a:cubicBezTo>
                    <a:pt x="147" y="277"/>
                    <a:pt x="171" y="253"/>
                    <a:pt x="171" y="224"/>
                  </a:cubicBezTo>
                  <a:cubicBezTo>
                    <a:pt x="171" y="216"/>
                    <a:pt x="169" y="209"/>
                    <a:pt x="166" y="202"/>
                  </a:cubicBezTo>
                  <a:cubicBezTo>
                    <a:pt x="189" y="202"/>
                    <a:pt x="189" y="202"/>
                    <a:pt x="189" y="202"/>
                  </a:cubicBezTo>
                  <a:cubicBezTo>
                    <a:pt x="191" y="209"/>
                    <a:pt x="192" y="216"/>
                    <a:pt x="192" y="224"/>
                  </a:cubicBezTo>
                  <a:close/>
                  <a:moveTo>
                    <a:pt x="141" y="202"/>
                  </a:moveTo>
                  <a:cubicBezTo>
                    <a:pt x="147" y="208"/>
                    <a:pt x="150" y="216"/>
                    <a:pt x="150" y="224"/>
                  </a:cubicBezTo>
                  <a:cubicBezTo>
                    <a:pt x="150" y="241"/>
                    <a:pt x="135" y="256"/>
                    <a:pt x="118" y="256"/>
                  </a:cubicBezTo>
                  <a:cubicBezTo>
                    <a:pt x="100" y="256"/>
                    <a:pt x="86" y="241"/>
                    <a:pt x="86" y="224"/>
                  </a:cubicBezTo>
                  <a:cubicBezTo>
                    <a:pt x="86" y="215"/>
                    <a:pt x="88" y="207"/>
                    <a:pt x="92" y="202"/>
                  </a:cubicBezTo>
                  <a:lnTo>
                    <a:pt x="141" y="202"/>
                  </a:lnTo>
                  <a:close/>
                  <a:moveTo>
                    <a:pt x="214" y="181"/>
                  </a:moveTo>
                  <a:cubicBezTo>
                    <a:pt x="22" y="181"/>
                    <a:pt x="22" y="181"/>
                    <a:pt x="22" y="181"/>
                  </a:cubicBezTo>
                  <a:cubicBezTo>
                    <a:pt x="22" y="160"/>
                    <a:pt x="22" y="160"/>
                    <a:pt x="22" y="160"/>
                  </a:cubicBezTo>
                  <a:cubicBezTo>
                    <a:pt x="214" y="160"/>
                    <a:pt x="214" y="160"/>
                    <a:pt x="214" y="160"/>
                  </a:cubicBezTo>
                  <a:lnTo>
                    <a:pt x="214"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9" name="Freeform 624"/>
          <p:cNvSpPr>
            <a:spLocks noChangeAspect="1" noEditPoints="1"/>
          </p:cNvSpPr>
          <p:nvPr/>
        </p:nvSpPr>
        <p:spPr bwMode="auto">
          <a:xfrm>
            <a:off x="2920781" y="3362787"/>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40" name="Group 627"/>
          <p:cNvGrpSpPr>
            <a:grpSpLocks noChangeAspect="1"/>
          </p:cNvGrpSpPr>
          <p:nvPr/>
        </p:nvGrpSpPr>
        <p:grpSpPr bwMode="auto">
          <a:xfrm>
            <a:off x="3339066" y="3362787"/>
            <a:ext cx="367982" cy="369064"/>
            <a:chOff x="5295" y="2587"/>
            <a:chExt cx="340" cy="341"/>
          </a:xfrm>
          <a:solidFill>
            <a:schemeClr val="accent1"/>
          </a:solidFill>
        </p:grpSpPr>
        <p:sp>
          <p:nvSpPr>
            <p:cNvPr id="241"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2"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3" name="Group 365"/>
          <p:cNvGrpSpPr>
            <a:grpSpLocks noChangeAspect="1"/>
          </p:cNvGrpSpPr>
          <p:nvPr/>
        </p:nvGrpSpPr>
        <p:grpSpPr bwMode="auto">
          <a:xfrm>
            <a:off x="4177330" y="3362787"/>
            <a:ext cx="370763" cy="370763"/>
            <a:chOff x="1913" y="1186"/>
            <a:chExt cx="341" cy="341"/>
          </a:xfrm>
          <a:solidFill>
            <a:schemeClr val="accent4"/>
          </a:solidFill>
        </p:grpSpPr>
        <p:sp>
          <p:nvSpPr>
            <p:cNvPr id="244" name="Freeform 366"/>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5" name="Freeform 367"/>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6" name="Freeform 371"/>
          <p:cNvSpPr>
            <a:spLocks noChangeAspect="1" noEditPoints="1"/>
          </p:cNvSpPr>
          <p:nvPr/>
        </p:nvSpPr>
        <p:spPr bwMode="auto">
          <a:xfrm>
            <a:off x="3757351" y="3362787"/>
            <a:ext cx="369676" cy="370763"/>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47" name="Group 324"/>
          <p:cNvGrpSpPr>
            <a:grpSpLocks noChangeAspect="1"/>
          </p:cNvGrpSpPr>
          <p:nvPr/>
        </p:nvGrpSpPr>
        <p:grpSpPr bwMode="auto">
          <a:xfrm>
            <a:off x="4598396" y="3362787"/>
            <a:ext cx="367041" cy="368120"/>
            <a:chOff x="3562" y="1749"/>
            <a:chExt cx="340" cy="341"/>
          </a:xfrm>
          <a:solidFill>
            <a:schemeClr val="accent4"/>
          </a:solidFill>
        </p:grpSpPr>
        <p:sp>
          <p:nvSpPr>
            <p:cNvPr id="248" name="Freeform 325"/>
            <p:cNvSpPr>
              <a:spLocks noEditPoints="1"/>
            </p:cNvSpPr>
            <p:nvPr/>
          </p:nvSpPr>
          <p:spPr bwMode="auto">
            <a:xfrm>
              <a:off x="3654" y="1828"/>
              <a:ext cx="156" cy="170"/>
            </a:xfrm>
            <a:custGeom>
              <a:avLst/>
              <a:gdLst>
                <a:gd name="T0" fmla="*/ 170 w 234"/>
                <a:gd name="T1" fmla="*/ 0 h 256"/>
                <a:gd name="T2" fmla="*/ 64 w 234"/>
                <a:gd name="T3" fmla="*/ 53 h 256"/>
                <a:gd name="T4" fmla="*/ 0 w 234"/>
                <a:gd name="T5" fmla="*/ 64 h 256"/>
                <a:gd name="T6" fmla="*/ 64 w 234"/>
                <a:gd name="T7" fmla="*/ 256 h 256"/>
                <a:gd name="T8" fmla="*/ 74 w 234"/>
                <a:gd name="T9" fmla="*/ 170 h 256"/>
                <a:gd name="T10" fmla="*/ 170 w 234"/>
                <a:gd name="T11" fmla="*/ 181 h 256"/>
                <a:gd name="T12" fmla="*/ 234 w 234"/>
                <a:gd name="T13" fmla="*/ 256 h 256"/>
                <a:gd name="T14" fmla="*/ 181 w 234"/>
                <a:gd name="T15" fmla="*/ 64 h 256"/>
                <a:gd name="T16" fmla="*/ 32 w 234"/>
                <a:gd name="T17" fmla="*/ 234 h 256"/>
                <a:gd name="T18" fmla="*/ 32 w 234"/>
                <a:gd name="T19" fmla="*/ 213 h 256"/>
                <a:gd name="T20" fmla="*/ 32 w 234"/>
                <a:gd name="T21" fmla="*/ 234 h 256"/>
                <a:gd name="T22" fmla="*/ 21 w 234"/>
                <a:gd name="T23" fmla="*/ 181 h 256"/>
                <a:gd name="T24" fmla="*/ 42 w 234"/>
                <a:gd name="T25" fmla="*/ 181 h 256"/>
                <a:gd name="T26" fmla="*/ 32 w 234"/>
                <a:gd name="T27" fmla="*/ 149 h 256"/>
                <a:gd name="T28" fmla="*/ 32 w 234"/>
                <a:gd name="T29" fmla="*/ 128 h 256"/>
                <a:gd name="T30" fmla="*/ 32 w 234"/>
                <a:gd name="T31" fmla="*/ 149 h 256"/>
                <a:gd name="T32" fmla="*/ 21 w 234"/>
                <a:gd name="T33" fmla="*/ 96 h 256"/>
                <a:gd name="T34" fmla="*/ 42 w 234"/>
                <a:gd name="T35" fmla="*/ 96 h 256"/>
                <a:gd name="T36" fmla="*/ 74 w 234"/>
                <a:gd name="T37" fmla="*/ 149 h 256"/>
                <a:gd name="T38" fmla="*/ 74 w 234"/>
                <a:gd name="T39" fmla="*/ 128 h 256"/>
                <a:gd name="T40" fmla="*/ 74 w 234"/>
                <a:gd name="T41" fmla="*/ 149 h 256"/>
                <a:gd name="T42" fmla="*/ 64 w 234"/>
                <a:gd name="T43" fmla="*/ 96 h 256"/>
                <a:gd name="T44" fmla="*/ 85 w 234"/>
                <a:gd name="T45" fmla="*/ 96 h 256"/>
                <a:gd name="T46" fmla="*/ 117 w 234"/>
                <a:gd name="T47" fmla="*/ 149 h 256"/>
                <a:gd name="T48" fmla="*/ 117 w 234"/>
                <a:gd name="T49" fmla="*/ 128 h 256"/>
                <a:gd name="T50" fmla="*/ 117 w 234"/>
                <a:gd name="T51" fmla="*/ 149 h 256"/>
                <a:gd name="T52" fmla="*/ 128 w 234"/>
                <a:gd name="T53" fmla="*/ 64 h 256"/>
                <a:gd name="T54" fmla="*/ 117 w 234"/>
                <a:gd name="T55" fmla="*/ 85 h 256"/>
                <a:gd name="T56" fmla="*/ 106 w 234"/>
                <a:gd name="T57" fmla="*/ 64 h 256"/>
                <a:gd name="T58" fmla="*/ 85 w 234"/>
                <a:gd name="T59" fmla="*/ 53 h 256"/>
                <a:gd name="T60" fmla="*/ 106 w 234"/>
                <a:gd name="T61" fmla="*/ 42 h 256"/>
                <a:gd name="T62" fmla="*/ 117 w 234"/>
                <a:gd name="T63" fmla="*/ 21 h 256"/>
                <a:gd name="T64" fmla="*/ 128 w 234"/>
                <a:gd name="T65" fmla="*/ 42 h 256"/>
                <a:gd name="T66" fmla="*/ 149 w 234"/>
                <a:gd name="T67" fmla="*/ 53 h 256"/>
                <a:gd name="T68" fmla="*/ 160 w 234"/>
                <a:gd name="T69" fmla="*/ 149 h 256"/>
                <a:gd name="T70" fmla="*/ 160 w 234"/>
                <a:gd name="T71" fmla="*/ 128 h 256"/>
                <a:gd name="T72" fmla="*/ 160 w 234"/>
                <a:gd name="T73" fmla="*/ 149 h 256"/>
                <a:gd name="T74" fmla="*/ 149 w 234"/>
                <a:gd name="T75" fmla="*/ 96 h 256"/>
                <a:gd name="T76" fmla="*/ 170 w 234"/>
                <a:gd name="T77" fmla="*/ 96 h 256"/>
                <a:gd name="T78" fmla="*/ 202 w 234"/>
                <a:gd name="T79" fmla="*/ 85 h 256"/>
                <a:gd name="T80" fmla="*/ 202 w 234"/>
                <a:gd name="T81" fmla="*/ 106 h 256"/>
                <a:gd name="T82" fmla="*/ 202 w 234"/>
                <a:gd name="T83" fmla="*/ 85 h 256"/>
                <a:gd name="T84" fmla="*/ 213 w 234"/>
                <a:gd name="T85" fmla="*/ 138 h 256"/>
                <a:gd name="T86" fmla="*/ 192 w 234"/>
                <a:gd name="T87" fmla="*/ 138 h 256"/>
                <a:gd name="T88" fmla="*/ 202 w 234"/>
                <a:gd name="T89" fmla="*/ 170 h 256"/>
                <a:gd name="T90" fmla="*/ 202 w 234"/>
                <a:gd name="T91" fmla="*/ 192 h 256"/>
                <a:gd name="T92" fmla="*/ 202 w 234"/>
                <a:gd name="T93" fmla="*/ 170 h 256"/>
                <a:gd name="T94" fmla="*/ 213 w 234"/>
                <a:gd name="T95" fmla="*/ 224 h 256"/>
                <a:gd name="T96" fmla="*/ 192 w 234"/>
                <a:gd name="T97"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 h="256">
                  <a:moveTo>
                    <a:pt x="170" y="53"/>
                  </a:moveTo>
                  <a:cubicBezTo>
                    <a:pt x="170" y="0"/>
                    <a:pt x="170" y="0"/>
                    <a:pt x="170" y="0"/>
                  </a:cubicBezTo>
                  <a:cubicBezTo>
                    <a:pt x="64" y="0"/>
                    <a:pt x="64" y="0"/>
                    <a:pt x="64" y="0"/>
                  </a:cubicBezTo>
                  <a:cubicBezTo>
                    <a:pt x="64" y="53"/>
                    <a:pt x="64" y="53"/>
                    <a:pt x="64" y="53"/>
                  </a:cubicBezTo>
                  <a:cubicBezTo>
                    <a:pt x="64" y="59"/>
                    <a:pt x="59" y="64"/>
                    <a:pt x="53" y="64"/>
                  </a:cubicBezTo>
                  <a:cubicBezTo>
                    <a:pt x="0" y="64"/>
                    <a:pt x="0" y="64"/>
                    <a:pt x="0" y="64"/>
                  </a:cubicBezTo>
                  <a:cubicBezTo>
                    <a:pt x="0" y="256"/>
                    <a:pt x="0" y="256"/>
                    <a:pt x="0" y="256"/>
                  </a:cubicBezTo>
                  <a:cubicBezTo>
                    <a:pt x="64" y="256"/>
                    <a:pt x="64" y="256"/>
                    <a:pt x="64" y="256"/>
                  </a:cubicBezTo>
                  <a:cubicBezTo>
                    <a:pt x="64" y="181"/>
                    <a:pt x="64" y="181"/>
                    <a:pt x="64" y="181"/>
                  </a:cubicBezTo>
                  <a:cubicBezTo>
                    <a:pt x="64" y="175"/>
                    <a:pt x="68" y="170"/>
                    <a:pt x="74" y="170"/>
                  </a:cubicBezTo>
                  <a:cubicBezTo>
                    <a:pt x="160" y="170"/>
                    <a:pt x="160" y="170"/>
                    <a:pt x="160" y="170"/>
                  </a:cubicBezTo>
                  <a:cubicBezTo>
                    <a:pt x="166" y="170"/>
                    <a:pt x="170" y="175"/>
                    <a:pt x="170" y="181"/>
                  </a:cubicBezTo>
                  <a:cubicBezTo>
                    <a:pt x="170" y="256"/>
                    <a:pt x="170" y="256"/>
                    <a:pt x="170" y="256"/>
                  </a:cubicBezTo>
                  <a:cubicBezTo>
                    <a:pt x="234" y="256"/>
                    <a:pt x="234" y="256"/>
                    <a:pt x="234" y="256"/>
                  </a:cubicBezTo>
                  <a:cubicBezTo>
                    <a:pt x="234" y="64"/>
                    <a:pt x="234" y="64"/>
                    <a:pt x="234" y="64"/>
                  </a:cubicBezTo>
                  <a:cubicBezTo>
                    <a:pt x="181" y="64"/>
                    <a:pt x="181" y="64"/>
                    <a:pt x="181" y="64"/>
                  </a:cubicBezTo>
                  <a:cubicBezTo>
                    <a:pt x="175" y="64"/>
                    <a:pt x="170" y="59"/>
                    <a:pt x="170" y="53"/>
                  </a:cubicBezTo>
                  <a:close/>
                  <a:moveTo>
                    <a:pt x="32" y="234"/>
                  </a:moveTo>
                  <a:cubicBezTo>
                    <a:pt x="26" y="234"/>
                    <a:pt x="21" y="230"/>
                    <a:pt x="21" y="224"/>
                  </a:cubicBezTo>
                  <a:cubicBezTo>
                    <a:pt x="21" y="218"/>
                    <a:pt x="26" y="213"/>
                    <a:pt x="32" y="213"/>
                  </a:cubicBezTo>
                  <a:cubicBezTo>
                    <a:pt x="38" y="213"/>
                    <a:pt x="42" y="218"/>
                    <a:pt x="42" y="224"/>
                  </a:cubicBezTo>
                  <a:cubicBezTo>
                    <a:pt x="42" y="230"/>
                    <a:pt x="38" y="234"/>
                    <a:pt x="32" y="234"/>
                  </a:cubicBezTo>
                  <a:close/>
                  <a:moveTo>
                    <a:pt x="32" y="192"/>
                  </a:moveTo>
                  <a:cubicBezTo>
                    <a:pt x="26" y="192"/>
                    <a:pt x="21" y="187"/>
                    <a:pt x="21" y="181"/>
                  </a:cubicBezTo>
                  <a:cubicBezTo>
                    <a:pt x="21" y="175"/>
                    <a:pt x="26" y="170"/>
                    <a:pt x="32" y="170"/>
                  </a:cubicBezTo>
                  <a:cubicBezTo>
                    <a:pt x="38" y="170"/>
                    <a:pt x="42" y="175"/>
                    <a:pt x="42" y="181"/>
                  </a:cubicBezTo>
                  <a:cubicBezTo>
                    <a:pt x="42" y="187"/>
                    <a:pt x="38" y="192"/>
                    <a:pt x="32" y="192"/>
                  </a:cubicBezTo>
                  <a:close/>
                  <a:moveTo>
                    <a:pt x="32" y="149"/>
                  </a:moveTo>
                  <a:cubicBezTo>
                    <a:pt x="26" y="149"/>
                    <a:pt x="21" y="144"/>
                    <a:pt x="21" y="138"/>
                  </a:cubicBezTo>
                  <a:cubicBezTo>
                    <a:pt x="21" y="132"/>
                    <a:pt x="26" y="128"/>
                    <a:pt x="32" y="128"/>
                  </a:cubicBezTo>
                  <a:cubicBezTo>
                    <a:pt x="38" y="128"/>
                    <a:pt x="42" y="132"/>
                    <a:pt x="42" y="138"/>
                  </a:cubicBezTo>
                  <a:cubicBezTo>
                    <a:pt x="42" y="144"/>
                    <a:pt x="38" y="149"/>
                    <a:pt x="32" y="149"/>
                  </a:cubicBez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74" y="149"/>
                  </a:moveTo>
                  <a:cubicBezTo>
                    <a:pt x="68" y="149"/>
                    <a:pt x="64" y="144"/>
                    <a:pt x="64" y="138"/>
                  </a:cubicBezTo>
                  <a:cubicBezTo>
                    <a:pt x="64" y="132"/>
                    <a:pt x="68" y="128"/>
                    <a:pt x="74" y="128"/>
                  </a:cubicBezTo>
                  <a:cubicBezTo>
                    <a:pt x="80" y="128"/>
                    <a:pt x="85" y="132"/>
                    <a:pt x="85" y="138"/>
                  </a:cubicBezTo>
                  <a:cubicBezTo>
                    <a:pt x="85" y="144"/>
                    <a:pt x="80" y="149"/>
                    <a:pt x="74" y="149"/>
                  </a:cubicBezTo>
                  <a:close/>
                  <a:moveTo>
                    <a:pt x="74" y="106"/>
                  </a:moveTo>
                  <a:cubicBezTo>
                    <a:pt x="68" y="106"/>
                    <a:pt x="64" y="102"/>
                    <a:pt x="64" y="96"/>
                  </a:cubicBezTo>
                  <a:cubicBezTo>
                    <a:pt x="64" y="90"/>
                    <a:pt x="68" y="85"/>
                    <a:pt x="74" y="85"/>
                  </a:cubicBezTo>
                  <a:cubicBezTo>
                    <a:pt x="80" y="85"/>
                    <a:pt x="85" y="90"/>
                    <a:pt x="85" y="96"/>
                  </a:cubicBezTo>
                  <a:cubicBezTo>
                    <a:pt x="85" y="102"/>
                    <a:pt x="80" y="106"/>
                    <a:pt x="74" y="106"/>
                  </a:cubicBezTo>
                  <a:close/>
                  <a:moveTo>
                    <a:pt x="117" y="149"/>
                  </a:moveTo>
                  <a:cubicBezTo>
                    <a:pt x="111" y="149"/>
                    <a:pt x="106" y="144"/>
                    <a:pt x="106" y="138"/>
                  </a:cubicBezTo>
                  <a:cubicBezTo>
                    <a:pt x="106" y="132"/>
                    <a:pt x="111" y="128"/>
                    <a:pt x="117" y="128"/>
                  </a:cubicBezTo>
                  <a:cubicBezTo>
                    <a:pt x="123" y="128"/>
                    <a:pt x="128" y="132"/>
                    <a:pt x="128" y="138"/>
                  </a:cubicBezTo>
                  <a:cubicBezTo>
                    <a:pt x="128" y="144"/>
                    <a:pt x="123" y="149"/>
                    <a:pt x="117" y="149"/>
                  </a:cubicBezTo>
                  <a:close/>
                  <a:moveTo>
                    <a:pt x="138" y="64"/>
                  </a:moveTo>
                  <a:cubicBezTo>
                    <a:pt x="128" y="64"/>
                    <a:pt x="128" y="64"/>
                    <a:pt x="128" y="64"/>
                  </a:cubicBezTo>
                  <a:cubicBezTo>
                    <a:pt x="128" y="74"/>
                    <a:pt x="128" y="74"/>
                    <a:pt x="128" y="74"/>
                  </a:cubicBezTo>
                  <a:cubicBezTo>
                    <a:pt x="128" y="80"/>
                    <a:pt x="123" y="85"/>
                    <a:pt x="117" y="85"/>
                  </a:cubicBezTo>
                  <a:cubicBezTo>
                    <a:pt x="111" y="85"/>
                    <a:pt x="106" y="80"/>
                    <a:pt x="106" y="74"/>
                  </a:cubicBezTo>
                  <a:cubicBezTo>
                    <a:pt x="106" y="64"/>
                    <a:pt x="106" y="64"/>
                    <a:pt x="106" y="64"/>
                  </a:cubicBezTo>
                  <a:cubicBezTo>
                    <a:pt x="96" y="64"/>
                    <a:pt x="96" y="64"/>
                    <a:pt x="96" y="64"/>
                  </a:cubicBezTo>
                  <a:cubicBezTo>
                    <a:pt x="90" y="64"/>
                    <a:pt x="85" y="59"/>
                    <a:pt x="85" y="53"/>
                  </a:cubicBezTo>
                  <a:cubicBezTo>
                    <a:pt x="85" y="47"/>
                    <a:pt x="90" y="42"/>
                    <a:pt x="96" y="42"/>
                  </a:cubicBezTo>
                  <a:cubicBezTo>
                    <a:pt x="106" y="42"/>
                    <a:pt x="106" y="42"/>
                    <a:pt x="106" y="42"/>
                  </a:cubicBezTo>
                  <a:cubicBezTo>
                    <a:pt x="106" y="32"/>
                    <a:pt x="106" y="32"/>
                    <a:pt x="106" y="32"/>
                  </a:cubicBezTo>
                  <a:cubicBezTo>
                    <a:pt x="106" y="26"/>
                    <a:pt x="111" y="21"/>
                    <a:pt x="117" y="21"/>
                  </a:cubicBezTo>
                  <a:cubicBezTo>
                    <a:pt x="123" y="21"/>
                    <a:pt x="128" y="26"/>
                    <a:pt x="128" y="32"/>
                  </a:cubicBezTo>
                  <a:cubicBezTo>
                    <a:pt x="128" y="42"/>
                    <a:pt x="128" y="42"/>
                    <a:pt x="128" y="42"/>
                  </a:cubicBezTo>
                  <a:cubicBezTo>
                    <a:pt x="138" y="42"/>
                    <a:pt x="138" y="42"/>
                    <a:pt x="138" y="42"/>
                  </a:cubicBezTo>
                  <a:cubicBezTo>
                    <a:pt x="144" y="42"/>
                    <a:pt x="149" y="47"/>
                    <a:pt x="149" y="53"/>
                  </a:cubicBezTo>
                  <a:cubicBezTo>
                    <a:pt x="149" y="59"/>
                    <a:pt x="144" y="64"/>
                    <a:pt x="138" y="64"/>
                  </a:cubicBezTo>
                  <a:close/>
                  <a:moveTo>
                    <a:pt x="160" y="149"/>
                  </a:moveTo>
                  <a:cubicBezTo>
                    <a:pt x="154" y="149"/>
                    <a:pt x="149" y="144"/>
                    <a:pt x="149" y="138"/>
                  </a:cubicBezTo>
                  <a:cubicBezTo>
                    <a:pt x="149" y="132"/>
                    <a:pt x="154" y="128"/>
                    <a:pt x="160" y="128"/>
                  </a:cubicBezTo>
                  <a:cubicBezTo>
                    <a:pt x="166" y="128"/>
                    <a:pt x="170" y="132"/>
                    <a:pt x="170" y="138"/>
                  </a:cubicBezTo>
                  <a:cubicBezTo>
                    <a:pt x="170" y="144"/>
                    <a:pt x="166" y="149"/>
                    <a:pt x="160" y="149"/>
                  </a:cubicBezTo>
                  <a:close/>
                  <a:moveTo>
                    <a:pt x="160" y="106"/>
                  </a:moveTo>
                  <a:cubicBezTo>
                    <a:pt x="154" y="106"/>
                    <a:pt x="149" y="102"/>
                    <a:pt x="149" y="96"/>
                  </a:cubicBezTo>
                  <a:cubicBezTo>
                    <a:pt x="149" y="90"/>
                    <a:pt x="154" y="85"/>
                    <a:pt x="160" y="85"/>
                  </a:cubicBezTo>
                  <a:cubicBezTo>
                    <a:pt x="166" y="85"/>
                    <a:pt x="170" y="90"/>
                    <a:pt x="170" y="96"/>
                  </a:cubicBezTo>
                  <a:cubicBezTo>
                    <a:pt x="170" y="102"/>
                    <a:pt x="166" y="106"/>
                    <a:pt x="160" y="106"/>
                  </a:cubicBezTo>
                  <a:close/>
                  <a:moveTo>
                    <a:pt x="202" y="85"/>
                  </a:moveTo>
                  <a:cubicBezTo>
                    <a:pt x="208" y="85"/>
                    <a:pt x="213" y="90"/>
                    <a:pt x="213" y="96"/>
                  </a:cubicBezTo>
                  <a:cubicBezTo>
                    <a:pt x="213" y="102"/>
                    <a:pt x="208" y="106"/>
                    <a:pt x="202" y="106"/>
                  </a:cubicBezTo>
                  <a:cubicBezTo>
                    <a:pt x="196" y="106"/>
                    <a:pt x="192" y="102"/>
                    <a:pt x="192" y="96"/>
                  </a:cubicBezTo>
                  <a:cubicBezTo>
                    <a:pt x="192" y="90"/>
                    <a:pt x="196" y="85"/>
                    <a:pt x="202" y="85"/>
                  </a:cubicBezTo>
                  <a:close/>
                  <a:moveTo>
                    <a:pt x="202" y="128"/>
                  </a:moveTo>
                  <a:cubicBezTo>
                    <a:pt x="208" y="128"/>
                    <a:pt x="213" y="132"/>
                    <a:pt x="213" y="138"/>
                  </a:cubicBezTo>
                  <a:cubicBezTo>
                    <a:pt x="213" y="144"/>
                    <a:pt x="208" y="149"/>
                    <a:pt x="202" y="149"/>
                  </a:cubicBezTo>
                  <a:cubicBezTo>
                    <a:pt x="196" y="149"/>
                    <a:pt x="192" y="144"/>
                    <a:pt x="192" y="138"/>
                  </a:cubicBezTo>
                  <a:cubicBezTo>
                    <a:pt x="192" y="132"/>
                    <a:pt x="196" y="128"/>
                    <a:pt x="202" y="128"/>
                  </a:cubicBezTo>
                  <a:close/>
                  <a:moveTo>
                    <a:pt x="202" y="170"/>
                  </a:moveTo>
                  <a:cubicBezTo>
                    <a:pt x="208" y="170"/>
                    <a:pt x="213" y="175"/>
                    <a:pt x="213" y="181"/>
                  </a:cubicBezTo>
                  <a:cubicBezTo>
                    <a:pt x="213" y="187"/>
                    <a:pt x="208" y="192"/>
                    <a:pt x="202" y="192"/>
                  </a:cubicBezTo>
                  <a:cubicBezTo>
                    <a:pt x="196" y="192"/>
                    <a:pt x="192" y="187"/>
                    <a:pt x="192" y="181"/>
                  </a:cubicBezTo>
                  <a:cubicBezTo>
                    <a:pt x="192" y="175"/>
                    <a:pt x="196" y="170"/>
                    <a:pt x="202" y="170"/>
                  </a:cubicBezTo>
                  <a:close/>
                  <a:moveTo>
                    <a:pt x="202" y="213"/>
                  </a:moveTo>
                  <a:cubicBezTo>
                    <a:pt x="208" y="213"/>
                    <a:pt x="213" y="218"/>
                    <a:pt x="213" y="224"/>
                  </a:cubicBezTo>
                  <a:cubicBezTo>
                    <a:pt x="213" y="230"/>
                    <a:pt x="208" y="234"/>
                    <a:pt x="202" y="234"/>
                  </a:cubicBezTo>
                  <a:cubicBezTo>
                    <a:pt x="196" y="234"/>
                    <a:pt x="192" y="230"/>
                    <a:pt x="192" y="224"/>
                  </a:cubicBezTo>
                  <a:cubicBezTo>
                    <a:pt x="192" y="218"/>
                    <a:pt x="196" y="213"/>
                    <a:pt x="202"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Rectangle 326"/>
            <p:cNvSpPr>
              <a:spLocks noChangeArrowheads="1"/>
            </p:cNvSpPr>
            <p:nvPr/>
          </p:nvSpPr>
          <p:spPr bwMode="auto">
            <a:xfrm>
              <a:off x="3739" y="1955"/>
              <a:ext cx="14"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327"/>
            <p:cNvSpPr>
              <a:spLocks noEditPoints="1"/>
            </p:cNvSpPr>
            <p:nvPr/>
          </p:nvSpPr>
          <p:spPr bwMode="auto">
            <a:xfrm>
              <a:off x="3562" y="17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5 w 512"/>
                <a:gd name="T11" fmla="*/ 182 h 512"/>
                <a:gd name="T12" fmla="*/ 395 w 512"/>
                <a:gd name="T13" fmla="*/ 384 h 512"/>
                <a:gd name="T14" fmla="*/ 384 w 512"/>
                <a:gd name="T15" fmla="*/ 395 h 512"/>
                <a:gd name="T16" fmla="*/ 128 w 512"/>
                <a:gd name="T17" fmla="*/ 395 h 512"/>
                <a:gd name="T18" fmla="*/ 117 w 512"/>
                <a:gd name="T19" fmla="*/ 384 h 512"/>
                <a:gd name="T20" fmla="*/ 117 w 512"/>
                <a:gd name="T21" fmla="*/ 182 h 512"/>
                <a:gd name="T22" fmla="*/ 107 w 512"/>
                <a:gd name="T23" fmla="*/ 171 h 512"/>
                <a:gd name="T24" fmla="*/ 117 w 512"/>
                <a:gd name="T25" fmla="*/ 160 h 512"/>
                <a:gd name="T26" fmla="*/ 181 w 512"/>
                <a:gd name="T27" fmla="*/ 160 h 512"/>
                <a:gd name="T28" fmla="*/ 181 w 512"/>
                <a:gd name="T29" fmla="*/ 107 h 512"/>
                <a:gd name="T30" fmla="*/ 192 w 512"/>
                <a:gd name="T31" fmla="*/ 96 h 512"/>
                <a:gd name="T32" fmla="*/ 320 w 512"/>
                <a:gd name="T33" fmla="*/ 96 h 512"/>
                <a:gd name="T34" fmla="*/ 331 w 512"/>
                <a:gd name="T35" fmla="*/ 107 h 512"/>
                <a:gd name="T36" fmla="*/ 331 w 512"/>
                <a:gd name="T37" fmla="*/ 160 h 512"/>
                <a:gd name="T38" fmla="*/ 395 w 512"/>
                <a:gd name="T39" fmla="*/ 160 h 512"/>
                <a:gd name="T40" fmla="*/ 405 w 512"/>
                <a:gd name="T41" fmla="*/ 171 h 512"/>
                <a:gd name="T42" fmla="*/ 395 w 512"/>
                <a:gd name="T43"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95" y="182"/>
                  </a:moveTo>
                  <a:cubicBezTo>
                    <a:pt x="395" y="384"/>
                    <a:pt x="395" y="384"/>
                    <a:pt x="395" y="384"/>
                  </a:cubicBezTo>
                  <a:cubicBezTo>
                    <a:pt x="395" y="390"/>
                    <a:pt x="390" y="395"/>
                    <a:pt x="384" y="395"/>
                  </a:cubicBezTo>
                  <a:cubicBezTo>
                    <a:pt x="128" y="395"/>
                    <a:pt x="128" y="395"/>
                    <a:pt x="128" y="395"/>
                  </a:cubicBezTo>
                  <a:cubicBezTo>
                    <a:pt x="122" y="395"/>
                    <a:pt x="117" y="390"/>
                    <a:pt x="117" y="384"/>
                  </a:cubicBezTo>
                  <a:cubicBezTo>
                    <a:pt x="117" y="182"/>
                    <a:pt x="117" y="182"/>
                    <a:pt x="117" y="182"/>
                  </a:cubicBezTo>
                  <a:cubicBezTo>
                    <a:pt x="111" y="182"/>
                    <a:pt x="107" y="177"/>
                    <a:pt x="107" y="171"/>
                  </a:cubicBezTo>
                  <a:cubicBezTo>
                    <a:pt x="107" y="165"/>
                    <a:pt x="111" y="160"/>
                    <a:pt x="117" y="160"/>
                  </a:cubicBezTo>
                  <a:cubicBezTo>
                    <a:pt x="181" y="160"/>
                    <a:pt x="181" y="160"/>
                    <a:pt x="181" y="160"/>
                  </a:cubicBezTo>
                  <a:cubicBezTo>
                    <a:pt x="181" y="107"/>
                    <a:pt x="181" y="107"/>
                    <a:pt x="181" y="107"/>
                  </a:cubicBezTo>
                  <a:cubicBezTo>
                    <a:pt x="181" y="101"/>
                    <a:pt x="186" y="96"/>
                    <a:pt x="192" y="96"/>
                  </a:cubicBezTo>
                  <a:cubicBezTo>
                    <a:pt x="320" y="96"/>
                    <a:pt x="320" y="96"/>
                    <a:pt x="320" y="96"/>
                  </a:cubicBezTo>
                  <a:cubicBezTo>
                    <a:pt x="326" y="96"/>
                    <a:pt x="331" y="101"/>
                    <a:pt x="331" y="107"/>
                  </a:cubicBezTo>
                  <a:cubicBezTo>
                    <a:pt x="331" y="160"/>
                    <a:pt x="331" y="160"/>
                    <a:pt x="331" y="160"/>
                  </a:cubicBezTo>
                  <a:cubicBezTo>
                    <a:pt x="395" y="160"/>
                    <a:pt x="395" y="160"/>
                    <a:pt x="395" y="160"/>
                  </a:cubicBezTo>
                  <a:cubicBezTo>
                    <a:pt x="401" y="160"/>
                    <a:pt x="405" y="165"/>
                    <a:pt x="405" y="171"/>
                  </a:cubicBezTo>
                  <a:cubicBezTo>
                    <a:pt x="405" y="177"/>
                    <a:pt x="401" y="182"/>
                    <a:pt x="395"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Rectangle 328"/>
            <p:cNvSpPr>
              <a:spLocks noChangeArrowheads="1"/>
            </p:cNvSpPr>
            <p:nvPr/>
          </p:nvSpPr>
          <p:spPr bwMode="auto">
            <a:xfrm>
              <a:off x="3711" y="1955"/>
              <a:ext cx="14"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2" name="Group 331"/>
          <p:cNvGrpSpPr>
            <a:grpSpLocks noChangeAspect="1"/>
          </p:cNvGrpSpPr>
          <p:nvPr/>
        </p:nvGrpSpPr>
        <p:grpSpPr bwMode="auto">
          <a:xfrm>
            <a:off x="5015740" y="3362787"/>
            <a:ext cx="367041" cy="367041"/>
            <a:chOff x="3628" y="1334"/>
            <a:chExt cx="340" cy="340"/>
          </a:xfrm>
          <a:solidFill>
            <a:schemeClr val="accent4"/>
          </a:solidFill>
        </p:grpSpPr>
        <p:sp>
          <p:nvSpPr>
            <p:cNvPr id="253" name="Freeform 332"/>
            <p:cNvSpPr>
              <a:spLocks noEditPoints="1"/>
            </p:cNvSpPr>
            <p:nvPr/>
          </p:nvSpPr>
          <p:spPr bwMode="auto">
            <a:xfrm>
              <a:off x="3628" y="133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333"/>
            <p:cNvSpPr>
              <a:spLocks noEditPoints="1"/>
            </p:cNvSpPr>
            <p:nvPr/>
          </p:nvSpPr>
          <p:spPr bwMode="auto">
            <a:xfrm>
              <a:off x="3699" y="1398"/>
              <a:ext cx="198" cy="198"/>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4" name="TextBox 313"/>
          <p:cNvSpPr txBox="1"/>
          <p:nvPr/>
        </p:nvSpPr>
        <p:spPr>
          <a:xfrm>
            <a:off x="5422900" y="3781110"/>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ush chair</a:t>
            </a:r>
          </a:p>
        </p:txBody>
      </p:sp>
      <p:grpSp>
        <p:nvGrpSpPr>
          <p:cNvPr id="315" name="Group 517"/>
          <p:cNvGrpSpPr>
            <a:grpSpLocks noChangeAspect="1"/>
          </p:cNvGrpSpPr>
          <p:nvPr/>
        </p:nvGrpSpPr>
        <p:grpSpPr bwMode="auto">
          <a:xfrm>
            <a:off x="5852411" y="3362787"/>
            <a:ext cx="369021" cy="369021"/>
            <a:chOff x="4254" y="1971"/>
            <a:chExt cx="340" cy="340"/>
          </a:xfrm>
          <a:solidFill>
            <a:schemeClr val="accent6"/>
          </a:solidFill>
        </p:grpSpPr>
        <p:sp>
          <p:nvSpPr>
            <p:cNvPr id="316" name="Freeform 518"/>
            <p:cNvSpPr>
              <a:spLocks noEditPoints="1"/>
            </p:cNvSpPr>
            <p:nvPr/>
          </p:nvSpPr>
          <p:spPr bwMode="auto">
            <a:xfrm>
              <a:off x="4254" y="19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519"/>
            <p:cNvSpPr>
              <a:spLocks noEditPoints="1"/>
            </p:cNvSpPr>
            <p:nvPr/>
          </p:nvSpPr>
          <p:spPr bwMode="auto">
            <a:xfrm>
              <a:off x="4338" y="2048"/>
              <a:ext cx="164" cy="185"/>
            </a:xfrm>
            <a:custGeom>
              <a:avLst/>
              <a:gdLst>
                <a:gd name="T0" fmla="*/ 246 w 246"/>
                <a:gd name="T1" fmla="*/ 257 h 278"/>
                <a:gd name="T2" fmla="*/ 225 w 246"/>
                <a:gd name="T3" fmla="*/ 278 h 278"/>
                <a:gd name="T4" fmla="*/ 203 w 246"/>
                <a:gd name="T5" fmla="*/ 257 h 278"/>
                <a:gd name="T6" fmla="*/ 225 w 246"/>
                <a:gd name="T7" fmla="*/ 236 h 278"/>
                <a:gd name="T8" fmla="*/ 246 w 246"/>
                <a:gd name="T9" fmla="*/ 257 h 278"/>
                <a:gd name="T10" fmla="*/ 65 w 246"/>
                <a:gd name="T11" fmla="*/ 236 h 278"/>
                <a:gd name="T12" fmla="*/ 43 w 246"/>
                <a:gd name="T13" fmla="*/ 257 h 278"/>
                <a:gd name="T14" fmla="*/ 65 w 246"/>
                <a:gd name="T15" fmla="*/ 278 h 278"/>
                <a:gd name="T16" fmla="*/ 86 w 246"/>
                <a:gd name="T17" fmla="*/ 257 h 278"/>
                <a:gd name="T18" fmla="*/ 65 w 246"/>
                <a:gd name="T19" fmla="*/ 236 h 278"/>
                <a:gd name="T20" fmla="*/ 65 w 246"/>
                <a:gd name="T21" fmla="*/ 59 h 278"/>
                <a:gd name="T22" fmla="*/ 33 w 246"/>
                <a:gd name="T23" fmla="*/ 27 h 278"/>
                <a:gd name="T24" fmla="*/ 19 w 246"/>
                <a:gd name="T25" fmla="*/ 41 h 278"/>
                <a:gd name="T26" fmla="*/ 4 w 246"/>
                <a:gd name="T27" fmla="*/ 41 h 278"/>
                <a:gd name="T28" fmla="*/ 4 w 246"/>
                <a:gd name="T29" fmla="*/ 25 h 278"/>
                <a:gd name="T30" fmla="*/ 25 w 246"/>
                <a:gd name="T31" fmla="*/ 4 h 278"/>
                <a:gd name="T32" fmla="*/ 40 w 246"/>
                <a:gd name="T33" fmla="*/ 4 h 278"/>
                <a:gd name="T34" fmla="*/ 232 w 246"/>
                <a:gd name="T35" fmla="*/ 196 h 278"/>
                <a:gd name="T36" fmla="*/ 235 w 246"/>
                <a:gd name="T37" fmla="*/ 208 h 278"/>
                <a:gd name="T38" fmla="*/ 225 w 246"/>
                <a:gd name="T39" fmla="*/ 214 h 278"/>
                <a:gd name="T40" fmla="*/ 75 w 246"/>
                <a:gd name="T41" fmla="*/ 214 h 278"/>
                <a:gd name="T42" fmla="*/ 65 w 246"/>
                <a:gd name="T43" fmla="*/ 204 h 278"/>
                <a:gd name="T44" fmla="*/ 65 w 246"/>
                <a:gd name="T45" fmla="*/ 59 h 278"/>
                <a:gd name="T46" fmla="*/ 86 w 246"/>
                <a:gd name="T47" fmla="*/ 193 h 278"/>
                <a:gd name="T48" fmla="*/ 199 w 246"/>
                <a:gd name="T49" fmla="*/ 193 h 278"/>
                <a:gd name="T50" fmla="*/ 86 w 246"/>
                <a:gd name="T51" fmla="*/ 80 h 278"/>
                <a:gd name="T52" fmla="*/ 86 w 246"/>
                <a:gd name="T53"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78">
                  <a:moveTo>
                    <a:pt x="246" y="257"/>
                  </a:moveTo>
                  <a:cubicBezTo>
                    <a:pt x="246" y="269"/>
                    <a:pt x="236" y="278"/>
                    <a:pt x="225" y="278"/>
                  </a:cubicBezTo>
                  <a:cubicBezTo>
                    <a:pt x="213" y="278"/>
                    <a:pt x="203" y="269"/>
                    <a:pt x="203" y="257"/>
                  </a:cubicBezTo>
                  <a:cubicBezTo>
                    <a:pt x="203" y="245"/>
                    <a:pt x="213" y="236"/>
                    <a:pt x="225" y="236"/>
                  </a:cubicBezTo>
                  <a:cubicBezTo>
                    <a:pt x="236" y="236"/>
                    <a:pt x="246" y="245"/>
                    <a:pt x="246" y="257"/>
                  </a:cubicBezTo>
                  <a:close/>
                  <a:moveTo>
                    <a:pt x="65" y="236"/>
                  </a:moveTo>
                  <a:cubicBezTo>
                    <a:pt x="53" y="236"/>
                    <a:pt x="43" y="245"/>
                    <a:pt x="43" y="257"/>
                  </a:cubicBezTo>
                  <a:cubicBezTo>
                    <a:pt x="43" y="269"/>
                    <a:pt x="53" y="278"/>
                    <a:pt x="65" y="278"/>
                  </a:cubicBezTo>
                  <a:cubicBezTo>
                    <a:pt x="76" y="278"/>
                    <a:pt x="86" y="269"/>
                    <a:pt x="86" y="257"/>
                  </a:cubicBezTo>
                  <a:cubicBezTo>
                    <a:pt x="86" y="245"/>
                    <a:pt x="76" y="236"/>
                    <a:pt x="65" y="236"/>
                  </a:cubicBezTo>
                  <a:close/>
                  <a:moveTo>
                    <a:pt x="65" y="59"/>
                  </a:moveTo>
                  <a:cubicBezTo>
                    <a:pt x="33" y="27"/>
                    <a:pt x="33" y="27"/>
                    <a:pt x="33" y="27"/>
                  </a:cubicBezTo>
                  <a:cubicBezTo>
                    <a:pt x="19" y="41"/>
                    <a:pt x="19" y="41"/>
                    <a:pt x="19" y="41"/>
                  </a:cubicBezTo>
                  <a:cubicBezTo>
                    <a:pt x="15" y="45"/>
                    <a:pt x="8" y="45"/>
                    <a:pt x="4" y="41"/>
                  </a:cubicBezTo>
                  <a:cubicBezTo>
                    <a:pt x="0" y="36"/>
                    <a:pt x="0" y="30"/>
                    <a:pt x="4" y="25"/>
                  </a:cubicBezTo>
                  <a:cubicBezTo>
                    <a:pt x="25" y="4"/>
                    <a:pt x="25" y="4"/>
                    <a:pt x="25" y="4"/>
                  </a:cubicBezTo>
                  <a:cubicBezTo>
                    <a:pt x="29" y="0"/>
                    <a:pt x="36" y="0"/>
                    <a:pt x="40" y="4"/>
                  </a:cubicBezTo>
                  <a:cubicBezTo>
                    <a:pt x="232" y="196"/>
                    <a:pt x="232" y="196"/>
                    <a:pt x="232" y="196"/>
                  </a:cubicBezTo>
                  <a:cubicBezTo>
                    <a:pt x="235" y="199"/>
                    <a:pt x="236" y="204"/>
                    <a:pt x="235" y="208"/>
                  </a:cubicBezTo>
                  <a:cubicBezTo>
                    <a:pt x="233" y="212"/>
                    <a:pt x="229" y="214"/>
                    <a:pt x="225" y="214"/>
                  </a:cubicBezTo>
                  <a:cubicBezTo>
                    <a:pt x="75" y="214"/>
                    <a:pt x="75" y="214"/>
                    <a:pt x="75" y="214"/>
                  </a:cubicBezTo>
                  <a:cubicBezTo>
                    <a:pt x="69" y="214"/>
                    <a:pt x="65" y="210"/>
                    <a:pt x="65" y="204"/>
                  </a:cubicBezTo>
                  <a:lnTo>
                    <a:pt x="65" y="59"/>
                  </a:lnTo>
                  <a:close/>
                  <a:moveTo>
                    <a:pt x="86" y="193"/>
                  </a:moveTo>
                  <a:cubicBezTo>
                    <a:pt x="199" y="193"/>
                    <a:pt x="199" y="193"/>
                    <a:pt x="199" y="193"/>
                  </a:cubicBezTo>
                  <a:cubicBezTo>
                    <a:pt x="86" y="80"/>
                    <a:pt x="86" y="80"/>
                    <a:pt x="86" y="80"/>
                  </a:cubicBezTo>
                  <a:lnTo>
                    <a:pt x="86" y="1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8" name="Freeform 523"/>
          <p:cNvSpPr>
            <a:spLocks noChangeAspect="1" noEditPoints="1"/>
          </p:cNvSpPr>
          <p:nvPr/>
        </p:nvSpPr>
        <p:spPr bwMode="auto">
          <a:xfrm>
            <a:off x="5433084" y="336278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94 h 512"/>
              <a:gd name="T12" fmla="*/ 170 w 512"/>
              <a:gd name="T13" fmla="*/ 373 h 512"/>
              <a:gd name="T14" fmla="*/ 192 w 512"/>
              <a:gd name="T15" fmla="*/ 352 h 512"/>
              <a:gd name="T16" fmla="*/ 213 w 512"/>
              <a:gd name="T17" fmla="*/ 373 h 512"/>
              <a:gd name="T18" fmla="*/ 192 w 512"/>
              <a:gd name="T19" fmla="*/ 394 h 512"/>
              <a:gd name="T20" fmla="*/ 202 w 512"/>
              <a:gd name="T21" fmla="*/ 330 h 512"/>
              <a:gd name="T22" fmla="*/ 192 w 512"/>
              <a:gd name="T23" fmla="*/ 320 h 512"/>
              <a:gd name="T24" fmla="*/ 192 w 512"/>
              <a:gd name="T25" fmla="*/ 175 h 512"/>
              <a:gd name="T26" fmla="*/ 160 w 512"/>
              <a:gd name="T27" fmla="*/ 143 h 512"/>
              <a:gd name="T28" fmla="*/ 146 w 512"/>
              <a:gd name="T29" fmla="*/ 157 h 512"/>
              <a:gd name="T30" fmla="*/ 131 w 512"/>
              <a:gd name="T31" fmla="*/ 157 h 512"/>
              <a:gd name="T32" fmla="*/ 131 w 512"/>
              <a:gd name="T33" fmla="*/ 141 h 512"/>
              <a:gd name="T34" fmla="*/ 152 w 512"/>
              <a:gd name="T35" fmla="*/ 120 h 512"/>
              <a:gd name="T36" fmla="*/ 167 w 512"/>
              <a:gd name="T37" fmla="*/ 120 h 512"/>
              <a:gd name="T38" fmla="*/ 359 w 512"/>
              <a:gd name="T39" fmla="*/ 312 h 512"/>
              <a:gd name="T40" fmla="*/ 362 w 512"/>
              <a:gd name="T41" fmla="*/ 324 h 512"/>
              <a:gd name="T42" fmla="*/ 352 w 512"/>
              <a:gd name="T43" fmla="*/ 330 h 512"/>
              <a:gd name="T44" fmla="*/ 202 w 512"/>
              <a:gd name="T45" fmla="*/ 330 h 512"/>
              <a:gd name="T46" fmla="*/ 352 w 512"/>
              <a:gd name="T47" fmla="*/ 394 h 512"/>
              <a:gd name="T48" fmla="*/ 330 w 512"/>
              <a:gd name="T49" fmla="*/ 373 h 512"/>
              <a:gd name="T50" fmla="*/ 352 w 512"/>
              <a:gd name="T51" fmla="*/ 352 h 512"/>
              <a:gd name="T52" fmla="*/ 373 w 512"/>
              <a:gd name="T53" fmla="*/ 373 h 512"/>
              <a:gd name="T54" fmla="*/ 352 w 512"/>
              <a:gd name="T55" fmla="*/ 394 h 512"/>
              <a:gd name="T56" fmla="*/ 213 w 512"/>
              <a:gd name="T57" fmla="*/ 196 h 512"/>
              <a:gd name="T58" fmla="*/ 326 w 512"/>
              <a:gd name="T59" fmla="*/ 309 h 512"/>
              <a:gd name="T60" fmla="*/ 213 w 512"/>
              <a:gd name="T61" fmla="*/ 309 h 512"/>
              <a:gd name="T62" fmla="*/ 213 w 512"/>
              <a:gd name="T63" fmla="*/ 1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94"/>
                </a:moveTo>
                <a:cubicBezTo>
                  <a:pt x="180" y="394"/>
                  <a:pt x="170" y="385"/>
                  <a:pt x="170" y="373"/>
                </a:cubicBezTo>
                <a:cubicBezTo>
                  <a:pt x="170" y="361"/>
                  <a:pt x="180" y="352"/>
                  <a:pt x="192" y="352"/>
                </a:cubicBezTo>
                <a:cubicBezTo>
                  <a:pt x="203" y="352"/>
                  <a:pt x="213" y="361"/>
                  <a:pt x="213" y="373"/>
                </a:cubicBezTo>
                <a:cubicBezTo>
                  <a:pt x="213" y="385"/>
                  <a:pt x="203" y="394"/>
                  <a:pt x="192" y="394"/>
                </a:cubicBezTo>
                <a:close/>
                <a:moveTo>
                  <a:pt x="202" y="330"/>
                </a:moveTo>
                <a:cubicBezTo>
                  <a:pt x="196" y="330"/>
                  <a:pt x="192" y="326"/>
                  <a:pt x="192" y="320"/>
                </a:cubicBezTo>
                <a:cubicBezTo>
                  <a:pt x="192" y="175"/>
                  <a:pt x="192" y="175"/>
                  <a:pt x="192" y="175"/>
                </a:cubicBezTo>
                <a:cubicBezTo>
                  <a:pt x="160" y="143"/>
                  <a:pt x="160" y="143"/>
                  <a:pt x="160" y="143"/>
                </a:cubicBezTo>
                <a:cubicBezTo>
                  <a:pt x="146" y="157"/>
                  <a:pt x="146" y="157"/>
                  <a:pt x="146" y="157"/>
                </a:cubicBezTo>
                <a:cubicBezTo>
                  <a:pt x="142" y="161"/>
                  <a:pt x="135" y="161"/>
                  <a:pt x="131" y="157"/>
                </a:cubicBezTo>
                <a:cubicBezTo>
                  <a:pt x="127" y="152"/>
                  <a:pt x="127" y="146"/>
                  <a:pt x="131" y="141"/>
                </a:cubicBezTo>
                <a:cubicBezTo>
                  <a:pt x="152" y="120"/>
                  <a:pt x="152" y="120"/>
                  <a:pt x="152" y="120"/>
                </a:cubicBezTo>
                <a:cubicBezTo>
                  <a:pt x="156" y="116"/>
                  <a:pt x="163" y="116"/>
                  <a:pt x="167" y="120"/>
                </a:cubicBezTo>
                <a:cubicBezTo>
                  <a:pt x="359" y="312"/>
                  <a:pt x="359" y="312"/>
                  <a:pt x="359" y="312"/>
                </a:cubicBezTo>
                <a:cubicBezTo>
                  <a:pt x="362" y="315"/>
                  <a:pt x="363" y="320"/>
                  <a:pt x="362" y="324"/>
                </a:cubicBezTo>
                <a:cubicBezTo>
                  <a:pt x="360" y="328"/>
                  <a:pt x="356" y="330"/>
                  <a:pt x="352" y="330"/>
                </a:cubicBezTo>
                <a:lnTo>
                  <a:pt x="202" y="330"/>
                </a:lnTo>
                <a:close/>
                <a:moveTo>
                  <a:pt x="352" y="394"/>
                </a:moveTo>
                <a:cubicBezTo>
                  <a:pt x="340" y="394"/>
                  <a:pt x="330" y="385"/>
                  <a:pt x="330" y="373"/>
                </a:cubicBezTo>
                <a:cubicBezTo>
                  <a:pt x="330" y="361"/>
                  <a:pt x="340" y="352"/>
                  <a:pt x="352" y="352"/>
                </a:cubicBezTo>
                <a:cubicBezTo>
                  <a:pt x="363" y="352"/>
                  <a:pt x="373" y="361"/>
                  <a:pt x="373" y="373"/>
                </a:cubicBezTo>
                <a:cubicBezTo>
                  <a:pt x="373" y="385"/>
                  <a:pt x="363" y="394"/>
                  <a:pt x="352" y="394"/>
                </a:cubicBezTo>
                <a:close/>
                <a:moveTo>
                  <a:pt x="213" y="196"/>
                </a:moveTo>
                <a:cubicBezTo>
                  <a:pt x="326" y="309"/>
                  <a:pt x="326" y="309"/>
                  <a:pt x="326" y="309"/>
                </a:cubicBezTo>
                <a:cubicBezTo>
                  <a:pt x="213" y="309"/>
                  <a:pt x="213" y="309"/>
                  <a:pt x="213" y="309"/>
                </a:cubicBezTo>
                <a:lnTo>
                  <a:pt x="213" y="19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28632975"/>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nergy</a:t>
            </a:r>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85134" y="211879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0</a:t>
            </a:r>
          </a:p>
        </p:txBody>
      </p:sp>
      <p:sp>
        <p:nvSpPr>
          <p:cNvPr id="423" name="TextBox 422"/>
          <p:cNvSpPr txBox="1"/>
          <p:nvPr/>
        </p:nvSpPr>
        <p:spPr>
          <a:xfrm>
            <a:off x="1214747" y="2118797"/>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1</a:t>
            </a:r>
          </a:p>
        </p:txBody>
      </p:sp>
      <p:sp>
        <p:nvSpPr>
          <p:cNvPr id="424" name="TextBox 423"/>
          <p:cNvSpPr txBox="1"/>
          <p:nvPr/>
        </p:nvSpPr>
        <p:spPr>
          <a:xfrm>
            <a:off x="2059177"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2</a:t>
            </a:r>
          </a:p>
        </p:txBody>
      </p:sp>
      <p:sp>
        <p:nvSpPr>
          <p:cNvPr id="425" name="TextBox 424"/>
          <p:cNvSpPr txBox="1"/>
          <p:nvPr/>
        </p:nvSpPr>
        <p:spPr>
          <a:xfrm>
            <a:off x="3741687"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4</a:t>
            </a:r>
          </a:p>
        </p:txBody>
      </p:sp>
      <p:sp>
        <p:nvSpPr>
          <p:cNvPr id="426" name="TextBox 425"/>
          <p:cNvSpPr txBox="1"/>
          <p:nvPr/>
        </p:nvSpPr>
        <p:spPr>
          <a:xfrm>
            <a:off x="4582942"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5</a:t>
            </a:r>
          </a:p>
        </p:txBody>
      </p:sp>
      <p:sp>
        <p:nvSpPr>
          <p:cNvPr id="427" name="TextBox 426"/>
          <p:cNvSpPr txBox="1"/>
          <p:nvPr/>
        </p:nvSpPr>
        <p:spPr>
          <a:xfrm>
            <a:off x="2900432"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3</a:t>
            </a:r>
          </a:p>
        </p:txBody>
      </p:sp>
      <p:sp>
        <p:nvSpPr>
          <p:cNvPr id="428" name="TextBox 427"/>
          <p:cNvSpPr txBox="1"/>
          <p:nvPr/>
        </p:nvSpPr>
        <p:spPr>
          <a:xfrm>
            <a:off x="5424197"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ttery signs</a:t>
            </a:r>
          </a:p>
        </p:txBody>
      </p:sp>
      <p:sp>
        <p:nvSpPr>
          <p:cNvPr id="430" name="TextBox 429"/>
          <p:cNvSpPr txBox="1"/>
          <p:nvPr/>
        </p:nvSpPr>
        <p:spPr>
          <a:xfrm>
            <a:off x="710670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urbine</a:t>
            </a:r>
          </a:p>
        </p:txBody>
      </p:sp>
      <p:sp>
        <p:nvSpPr>
          <p:cNvPr id="431" name="TextBox 430"/>
          <p:cNvSpPr txBox="1"/>
          <p:nvPr/>
        </p:nvSpPr>
        <p:spPr>
          <a:xfrm>
            <a:off x="6265452"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trol pump</a:t>
            </a:r>
          </a:p>
        </p:txBody>
      </p:sp>
      <p:sp>
        <p:nvSpPr>
          <p:cNvPr id="472" name="TextBox 471"/>
          <p:cNvSpPr txBox="1"/>
          <p:nvPr/>
        </p:nvSpPr>
        <p:spPr>
          <a:xfrm>
            <a:off x="385134" y="2951787"/>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wer socket UK</a:t>
            </a:r>
          </a:p>
        </p:txBody>
      </p:sp>
      <p:sp>
        <p:nvSpPr>
          <p:cNvPr id="473" name="TextBox 472"/>
          <p:cNvSpPr txBox="1"/>
          <p:nvPr/>
        </p:nvSpPr>
        <p:spPr>
          <a:xfrm>
            <a:off x="1214747" y="2951787"/>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wer socket US</a:t>
            </a:r>
          </a:p>
        </p:txBody>
      </p:sp>
      <p:sp>
        <p:nvSpPr>
          <p:cNvPr id="474" name="TextBox 473"/>
          <p:cNvSpPr txBox="1"/>
          <p:nvPr/>
        </p:nvSpPr>
        <p:spPr>
          <a:xfrm>
            <a:off x="2059177"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ug US</a:t>
            </a:r>
          </a:p>
        </p:txBody>
      </p:sp>
      <p:sp>
        <p:nvSpPr>
          <p:cNvPr id="476" name="TextBox 475"/>
          <p:cNvSpPr txBox="1"/>
          <p:nvPr/>
        </p:nvSpPr>
        <p:spPr>
          <a:xfrm>
            <a:off x="4582942"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opeller</a:t>
            </a:r>
          </a:p>
        </p:txBody>
      </p:sp>
      <p:sp>
        <p:nvSpPr>
          <p:cNvPr id="477" name="TextBox 476"/>
          <p:cNvSpPr txBox="1"/>
          <p:nvPr/>
        </p:nvSpPr>
        <p:spPr>
          <a:xfrm>
            <a:off x="2900432" y="2951787"/>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Lightbulb</a:t>
            </a:r>
            <a:r>
              <a:rPr lang="en-US" sz="1000" dirty="0">
                <a:solidFill>
                  <a:srgbClr val="313131"/>
                </a:solidFill>
              </a:rPr>
              <a:t> 1</a:t>
            </a:r>
          </a:p>
        </p:txBody>
      </p:sp>
      <p:sp>
        <p:nvSpPr>
          <p:cNvPr id="478" name="TextBox 477"/>
          <p:cNvSpPr txBox="1"/>
          <p:nvPr/>
        </p:nvSpPr>
        <p:spPr>
          <a:xfrm>
            <a:off x="5424197" y="295178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oling towers</a:t>
            </a:r>
          </a:p>
        </p:txBody>
      </p:sp>
      <p:sp>
        <p:nvSpPr>
          <p:cNvPr id="480" name="TextBox 479"/>
          <p:cNvSpPr txBox="1"/>
          <p:nvPr/>
        </p:nvSpPr>
        <p:spPr>
          <a:xfrm>
            <a:off x="7106708"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il derrick</a:t>
            </a:r>
          </a:p>
        </p:txBody>
      </p:sp>
      <p:sp>
        <p:nvSpPr>
          <p:cNvPr id="481" name="TextBox 480"/>
          <p:cNvSpPr txBox="1"/>
          <p:nvPr/>
        </p:nvSpPr>
        <p:spPr>
          <a:xfrm>
            <a:off x="6265452"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il barrel</a:t>
            </a:r>
          </a:p>
        </p:txBody>
      </p:sp>
      <p:sp>
        <p:nvSpPr>
          <p:cNvPr id="256" name="Freeform 255"/>
          <p:cNvSpPr>
            <a:spLocks noChangeAspect="1" noEditPoints="1"/>
          </p:cNvSpPr>
          <p:nvPr/>
        </p:nvSpPr>
        <p:spPr bwMode="auto">
          <a:xfrm>
            <a:off x="406400" y="1697038"/>
            <a:ext cx="367982" cy="369064"/>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219 w 512"/>
              <a:gd name="T21" fmla="*/ 256 h 512"/>
              <a:gd name="T22" fmla="*/ 195 w 512"/>
              <a:gd name="T23" fmla="*/ 280 h 512"/>
              <a:gd name="T24" fmla="*/ 195 w 512"/>
              <a:gd name="T25" fmla="*/ 295 h 512"/>
              <a:gd name="T26" fmla="*/ 202 w 512"/>
              <a:gd name="T27" fmla="*/ 298 h 512"/>
              <a:gd name="T28" fmla="*/ 210 w 512"/>
              <a:gd name="T29" fmla="*/ 295 h 512"/>
              <a:gd name="T30" fmla="*/ 234 w 512"/>
              <a:gd name="T31" fmla="*/ 271 h 512"/>
              <a:gd name="T32" fmla="*/ 259 w 512"/>
              <a:gd name="T33" fmla="*/ 295 h 512"/>
              <a:gd name="T34" fmla="*/ 266 w 512"/>
              <a:gd name="T35" fmla="*/ 298 h 512"/>
              <a:gd name="T36" fmla="*/ 274 w 512"/>
              <a:gd name="T37" fmla="*/ 295 h 512"/>
              <a:gd name="T38" fmla="*/ 274 w 512"/>
              <a:gd name="T39" fmla="*/ 280 h 512"/>
              <a:gd name="T40" fmla="*/ 249 w 512"/>
              <a:gd name="T41" fmla="*/ 256 h 512"/>
              <a:gd name="T42" fmla="*/ 274 w 512"/>
              <a:gd name="T43" fmla="*/ 231 h 512"/>
              <a:gd name="T44" fmla="*/ 274 w 512"/>
              <a:gd name="T45" fmla="*/ 216 h 512"/>
              <a:gd name="T46" fmla="*/ 259 w 512"/>
              <a:gd name="T47" fmla="*/ 216 h 512"/>
              <a:gd name="T48" fmla="*/ 234 w 512"/>
              <a:gd name="T49" fmla="*/ 241 h 512"/>
              <a:gd name="T50" fmla="*/ 210 w 512"/>
              <a:gd name="T51" fmla="*/ 216 h 512"/>
              <a:gd name="T52" fmla="*/ 195 w 512"/>
              <a:gd name="T53" fmla="*/ 216 h 512"/>
              <a:gd name="T54" fmla="*/ 195 w 512"/>
              <a:gd name="T55" fmla="*/ 231 h 512"/>
              <a:gd name="T56" fmla="*/ 219 w 512"/>
              <a:gd name="T57" fmla="*/ 256 h 512"/>
              <a:gd name="T58" fmla="*/ 512 w 512"/>
              <a:gd name="T59" fmla="*/ 256 h 512"/>
              <a:gd name="T60" fmla="*/ 256 w 512"/>
              <a:gd name="T61" fmla="*/ 512 h 512"/>
              <a:gd name="T62" fmla="*/ 0 w 512"/>
              <a:gd name="T63" fmla="*/ 256 h 512"/>
              <a:gd name="T64" fmla="*/ 256 w 512"/>
              <a:gd name="T65" fmla="*/ 0 h 512"/>
              <a:gd name="T66" fmla="*/ 512 w 512"/>
              <a:gd name="T67" fmla="*/ 256 h 512"/>
              <a:gd name="T68" fmla="*/ 416 w 512"/>
              <a:gd name="T69" fmla="*/ 224 h 512"/>
              <a:gd name="T70" fmla="*/ 405 w 512"/>
              <a:gd name="T71" fmla="*/ 213 h 512"/>
              <a:gd name="T72" fmla="*/ 373 w 512"/>
              <a:gd name="T73" fmla="*/ 213 h 512"/>
              <a:gd name="T74" fmla="*/ 373 w 512"/>
              <a:gd name="T75" fmla="*/ 181 h 512"/>
              <a:gd name="T76" fmla="*/ 362 w 512"/>
              <a:gd name="T77" fmla="*/ 170 h 512"/>
              <a:gd name="T78" fmla="*/ 106 w 512"/>
              <a:gd name="T79" fmla="*/ 170 h 512"/>
              <a:gd name="T80" fmla="*/ 96 w 512"/>
              <a:gd name="T81" fmla="*/ 181 h 512"/>
              <a:gd name="T82" fmla="*/ 96 w 512"/>
              <a:gd name="T83" fmla="*/ 330 h 512"/>
              <a:gd name="T84" fmla="*/ 106 w 512"/>
              <a:gd name="T85" fmla="*/ 341 h 512"/>
              <a:gd name="T86" fmla="*/ 362 w 512"/>
              <a:gd name="T87" fmla="*/ 341 h 512"/>
              <a:gd name="T88" fmla="*/ 373 w 512"/>
              <a:gd name="T89" fmla="*/ 330 h 512"/>
              <a:gd name="T90" fmla="*/ 373 w 512"/>
              <a:gd name="T91" fmla="*/ 298 h 512"/>
              <a:gd name="T92" fmla="*/ 405 w 512"/>
              <a:gd name="T93" fmla="*/ 298 h 512"/>
              <a:gd name="T94" fmla="*/ 416 w 512"/>
              <a:gd name="T95" fmla="*/ 288 h 512"/>
              <a:gd name="T96" fmla="*/ 416 w 512"/>
              <a:gd name="T9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219" y="256"/>
                </a:moveTo>
                <a:cubicBezTo>
                  <a:pt x="195" y="280"/>
                  <a:pt x="195" y="280"/>
                  <a:pt x="195" y="280"/>
                </a:cubicBezTo>
                <a:cubicBezTo>
                  <a:pt x="191" y="284"/>
                  <a:pt x="191" y="291"/>
                  <a:pt x="195" y="295"/>
                </a:cubicBezTo>
                <a:cubicBezTo>
                  <a:pt x="197" y="297"/>
                  <a:pt x="200" y="298"/>
                  <a:pt x="202" y="298"/>
                </a:cubicBezTo>
                <a:cubicBezTo>
                  <a:pt x="205" y="298"/>
                  <a:pt x="208" y="297"/>
                  <a:pt x="210" y="295"/>
                </a:cubicBezTo>
                <a:cubicBezTo>
                  <a:pt x="234" y="271"/>
                  <a:pt x="234" y="271"/>
                  <a:pt x="234" y="271"/>
                </a:cubicBezTo>
                <a:cubicBezTo>
                  <a:pt x="259" y="295"/>
                  <a:pt x="259" y="295"/>
                  <a:pt x="259" y="295"/>
                </a:cubicBezTo>
                <a:cubicBezTo>
                  <a:pt x="261" y="297"/>
                  <a:pt x="264" y="298"/>
                  <a:pt x="266" y="298"/>
                </a:cubicBezTo>
                <a:cubicBezTo>
                  <a:pt x="269" y="298"/>
                  <a:pt x="272" y="297"/>
                  <a:pt x="274" y="295"/>
                </a:cubicBezTo>
                <a:cubicBezTo>
                  <a:pt x="278" y="291"/>
                  <a:pt x="278" y="284"/>
                  <a:pt x="274" y="280"/>
                </a:cubicBezTo>
                <a:cubicBezTo>
                  <a:pt x="249" y="256"/>
                  <a:pt x="249" y="256"/>
                  <a:pt x="249" y="256"/>
                </a:cubicBezTo>
                <a:cubicBezTo>
                  <a:pt x="274" y="231"/>
                  <a:pt x="274" y="231"/>
                  <a:pt x="274" y="231"/>
                </a:cubicBezTo>
                <a:cubicBezTo>
                  <a:pt x="278" y="227"/>
                  <a:pt x="278" y="220"/>
                  <a:pt x="274" y="216"/>
                </a:cubicBezTo>
                <a:cubicBezTo>
                  <a:pt x="270" y="212"/>
                  <a:pt x="263" y="212"/>
                  <a:pt x="259" y="216"/>
                </a:cubicBezTo>
                <a:cubicBezTo>
                  <a:pt x="234" y="241"/>
                  <a:pt x="234" y="241"/>
                  <a:pt x="234" y="241"/>
                </a:cubicBezTo>
                <a:cubicBezTo>
                  <a:pt x="210" y="216"/>
                  <a:pt x="210" y="216"/>
                  <a:pt x="210" y="216"/>
                </a:cubicBezTo>
                <a:cubicBezTo>
                  <a:pt x="206" y="212"/>
                  <a:pt x="199" y="212"/>
                  <a:pt x="195" y="216"/>
                </a:cubicBezTo>
                <a:cubicBezTo>
                  <a:pt x="191" y="220"/>
                  <a:pt x="191" y="227"/>
                  <a:pt x="195" y="231"/>
                </a:cubicBezTo>
                <a:lnTo>
                  <a:pt x="21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393"/>
          <p:cNvGrpSpPr>
            <a:grpSpLocks noChangeAspect="1"/>
          </p:cNvGrpSpPr>
          <p:nvPr/>
        </p:nvGrpSpPr>
        <p:grpSpPr bwMode="auto">
          <a:xfrm>
            <a:off x="824578" y="1697038"/>
            <a:ext cx="367982" cy="369064"/>
            <a:chOff x="5010" y="3271"/>
            <a:chExt cx="340" cy="341"/>
          </a:xfrm>
          <a:solidFill>
            <a:schemeClr val="accent5"/>
          </a:solidFill>
        </p:grpSpPr>
        <p:sp>
          <p:nvSpPr>
            <p:cNvPr id="258" name="Freeform 394"/>
            <p:cNvSpPr>
              <a:spLocks noEditPoints="1"/>
            </p:cNvSpPr>
            <p:nvPr/>
          </p:nvSpPr>
          <p:spPr bwMode="auto">
            <a:xfrm>
              <a:off x="5074" y="3384"/>
              <a:ext cx="212" cy="114"/>
            </a:xfrm>
            <a:custGeom>
              <a:avLst/>
              <a:gdLst>
                <a:gd name="T0" fmla="*/ 99 w 320"/>
                <a:gd name="T1" fmla="*/ 110 h 171"/>
                <a:gd name="T2" fmla="*/ 123 w 320"/>
                <a:gd name="T3" fmla="*/ 86 h 171"/>
                <a:gd name="T4" fmla="*/ 99 w 320"/>
                <a:gd name="T5" fmla="*/ 61 h 171"/>
                <a:gd name="T6" fmla="*/ 99 w 320"/>
                <a:gd name="T7" fmla="*/ 46 h 171"/>
                <a:gd name="T8" fmla="*/ 114 w 320"/>
                <a:gd name="T9" fmla="*/ 46 h 171"/>
                <a:gd name="T10" fmla="*/ 138 w 320"/>
                <a:gd name="T11" fmla="*/ 71 h 171"/>
                <a:gd name="T12" fmla="*/ 163 w 320"/>
                <a:gd name="T13" fmla="*/ 46 h 171"/>
                <a:gd name="T14" fmla="*/ 178 w 320"/>
                <a:gd name="T15" fmla="*/ 46 h 171"/>
                <a:gd name="T16" fmla="*/ 178 w 320"/>
                <a:gd name="T17" fmla="*/ 61 h 171"/>
                <a:gd name="T18" fmla="*/ 153 w 320"/>
                <a:gd name="T19" fmla="*/ 86 h 171"/>
                <a:gd name="T20" fmla="*/ 178 w 320"/>
                <a:gd name="T21" fmla="*/ 110 h 171"/>
                <a:gd name="T22" fmla="*/ 178 w 320"/>
                <a:gd name="T23" fmla="*/ 125 h 171"/>
                <a:gd name="T24" fmla="*/ 170 w 320"/>
                <a:gd name="T25" fmla="*/ 128 h 171"/>
                <a:gd name="T26" fmla="*/ 163 w 320"/>
                <a:gd name="T27" fmla="*/ 125 h 171"/>
                <a:gd name="T28" fmla="*/ 138 w 320"/>
                <a:gd name="T29" fmla="*/ 101 h 171"/>
                <a:gd name="T30" fmla="*/ 114 w 320"/>
                <a:gd name="T31" fmla="*/ 125 h 171"/>
                <a:gd name="T32" fmla="*/ 106 w 320"/>
                <a:gd name="T33" fmla="*/ 128 h 171"/>
                <a:gd name="T34" fmla="*/ 99 w 320"/>
                <a:gd name="T35" fmla="*/ 125 h 171"/>
                <a:gd name="T36" fmla="*/ 99 w 320"/>
                <a:gd name="T37" fmla="*/ 110 h 171"/>
                <a:gd name="T38" fmla="*/ 320 w 320"/>
                <a:gd name="T39" fmla="*/ 54 h 171"/>
                <a:gd name="T40" fmla="*/ 320 w 320"/>
                <a:gd name="T41" fmla="*/ 118 h 171"/>
                <a:gd name="T42" fmla="*/ 309 w 320"/>
                <a:gd name="T43" fmla="*/ 128 h 171"/>
                <a:gd name="T44" fmla="*/ 277 w 320"/>
                <a:gd name="T45" fmla="*/ 128 h 171"/>
                <a:gd name="T46" fmla="*/ 277 w 320"/>
                <a:gd name="T47" fmla="*/ 160 h 171"/>
                <a:gd name="T48" fmla="*/ 266 w 320"/>
                <a:gd name="T49" fmla="*/ 171 h 171"/>
                <a:gd name="T50" fmla="*/ 10 w 320"/>
                <a:gd name="T51" fmla="*/ 171 h 171"/>
                <a:gd name="T52" fmla="*/ 0 w 320"/>
                <a:gd name="T53" fmla="*/ 160 h 171"/>
                <a:gd name="T54" fmla="*/ 0 w 320"/>
                <a:gd name="T55" fmla="*/ 11 h 171"/>
                <a:gd name="T56" fmla="*/ 10 w 320"/>
                <a:gd name="T57" fmla="*/ 0 h 171"/>
                <a:gd name="T58" fmla="*/ 266 w 320"/>
                <a:gd name="T59" fmla="*/ 0 h 171"/>
                <a:gd name="T60" fmla="*/ 277 w 320"/>
                <a:gd name="T61" fmla="*/ 11 h 171"/>
                <a:gd name="T62" fmla="*/ 277 w 320"/>
                <a:gd name="T63" fmla="*/ 43 h 171"/>
                <a:gd name="T64" fmla="*/ 309 w 320"/>
                <a:gd name="T65" fmla="*/ 43 h 171"/>
                <a:gd name="T66" fmla="*/ 320 w 320"/>
                <a:gd name="T67" fmla="*/ 54 h 171"/>
                <a:gd name="T68" fmla="*/ 256 w 320"/>
                <a:gd name="T69" fmla="*/ 22 h 171"/>
                <a:gd name="T70" fmla="*/ 21 w 320"/>
                <a:gd name="T71" fmla="*/ 22 h 171"/>
                <a:gd name="T72" fmla="*/ 21 w 320"/>
                <a:gd name="T73" fmla="*/ 150 h 171"/>
                <a:gd name="T74" fmla="*/ 256 w 320"/>
                <a:gd name="T75" fmla="*/ 150 h 171"/>
                <a:gd name="T76" fmla="*/ 256 w 320"/>
                <a:gd name="T77" fmla="*/ 22 h 171"/>
                <a:gd name="T78" fmla="*/ 298 w 320"/>
                <a:gd name="T79" fmla="*/ 64 h 171"/>
                <a:gd name="T80" fmla="*/ 277 w 320"/>
                <a:gd name="T81" fmla="*/ 64 h 171"/>
                <a:gd name="T82" fmla="*/ 277 w 320"/>
                <a:gd name="T83" fmla="*/ 107 h 171"/>
                <a:gd name="T84" fmla="*/ 298 w 320"/>
                <a:gd name="T85" fmla="*/ 107 h 171"/>
                <a:gd name="T86" fmla="*/ 298 w 320"/>
                <a:gd name="T87"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71">
                  <a:moveTo>
                    <a:pt x="99" y="110"/>
                  </a:moveTo>
                  <a:cubicBezTo>
                    <a:pt x="123" y="86"/>
                    <a:pt x="123" y="86"/>
                    <a:pt x="123" y="86"/>
                  </a:cubicBezTo>
                  <a:cubicBezTo>
                    <a:pt x="99" y="61"/>
                    <a:pt x="99" y="61"/>
                    <a:pt x="99" y="61"/>
                  </a:cubicBezTo>
                  <a:cubicBezTo>
                    <a:pt x="95" y="57"/>
                    <a:pt x="95" y="50"/>
                    <a:pt x="99" y="46"/>
                  </a:cubicBezTo>
                  <a:cubicBezTo>
                    <a:pt x="103" y="42"/>
                    <a:pt x="110" y="42"/>
                    <a:pt x="114" y="46"/>
                  </a:cubicBezTo>
                  <a:cubicBezTo>
                    <a:pt x="138" y="71"/>
                    <a:pt x="138" y="71"/>
                    <a:pt x="138" y="71"/>
                  </a:cubicBezTo>
                  <a:cubicBezTo>
                    <a:pt x="163" y="46"/>
                    <a:pt x="163" y="46"/>
                    <a:pt x="163" y="46"/>
                  </a:cubicBezTo>
                  <a:cubicBezTo>
                    <a:pt x="167" y="42"/>
                    <a:pt x="174" y="42"/>
                    <a:pt x="178" y="46"/>
                  </a:cubicBezTo>
                  <a:cubicBezTo>
                    <a:pt x="182" y="50"/>
                    <a:pt x="182" y="57"/>
                    <a:pt x="178" y="61"/>
                  </a:cubicBezTo>
                  <a:cubicBezTo>
                    <a:pt x="153" y="86"/>
                    <a:pt x="153" y="86"/>
                    <a:pt x="153" y="86"/>
                  </a:cubicBezTo>
                  <a:cubicBezTo>
                    <a:pt x="178" y="110"/>
                    <a:pt x="178" y="110"/>
                    <a:pt x="178" y="110"/>
                  </a:cubicBezTo>
                  <a:cubicBezTo>
                    <a:pt x="182" y="114"/>
                    <a:pt x="182" y="121"/>
                    <a:pt x="178" y="125"/>
                  </a:cubicBezTo>
                  <a:cubicBezTo>
                    <a:pt x="176" y="127"/>
                    <a:pt x="173" y="128"/>
                    <a:pt x="170" y="128"/>
                  </a:cubicBezTo>
                  <a:cubicBezTo>
                    <a:pt x="168" y="128"/>
                    <a:pt x="165" y="127"/>
                    <a:pt x="163" y="125"/>
                  </a:cubicBezTo>
                  <a:cubicBezTo>
                    <a:pt x="138" y="101"/>
                    <a:pt x="138" y="101"/>
                    <a:pt x="138" y="101"/>
                  </a:cubicBezTo>
                  <a:cubicBezTo>
                    <a:pt x="114" y="125"/>
                    <a:pt x="114" y="125"/>
                    <a:pt x="114" y="125"/>
                  </a:cubicBezTo>
                  <a:cubicBezTo>
                    <a:pt x="112" y="127"/>
                    <a:pt x="109" y="128"/>
                    <a:pt x="106" y="128"/>
                  </a:cubicBezTo>
                  <a:cubicBezTo>
                    <a:pt x="104" y="128"/>
                    <a:pt x="101" y="127"/>
                    <a:pt x="99" y="125"/>
                  </a:cubicBezTo>
                  <a:cubicBezTo>
                    <a:pt x="95" y="121"/>
                    <a:pt x="95" y="114"/>
                    <a:pt x="99" y="110"/>
                  </a:cubicBezTo>
                  <a:close/>
                  <a:moveTo>
                    <a:pt x="320" y="54"/>
                  </a:moveTo>
                  <a:cubicBezTo>
                    <a:pt x="320" y="118"/>
                    <a:pt x="320" y="118"/>
                    <a:pt x="320" y="118"/>
                  </a:cubicBezTo>
                  <a:cubicBezTo>
                    <a:pt x="320" y="124"/>
                    <a:pt x="315" y="128"/>
                    <a:pt x="309" y="128"/>
                  </a:cubicBezTo>
                  <a:cubicBezTo>
                    <a:pt x="277" y="128"/>
                    <a:pt x="277" y="128"/>
                    <a:pt x="277" y="128"/>
                  </a:cubicBezTo>
                  <a:cubicBezTo>
                    <a:pt x="277" y="160"/>
                    <a:pt x="277" y="160"/>
                    <a:pt x="277" y="160"/>
                  </a:cubicBezTo>
                  <a:cubicBezTo>
                    <a:pt x="277" y="166"/>
                    <a:pt x="272" y="171"/>
                    <a:pt x="266" y="171"/>
                  </a:cubicBezTo>
                  <a:cubicBezTo>
                    <a:pt x="10" y="171"/>
                    <a:pt x="10" y="171"/>
                    <a:pt x="10" y="171"/>
                  </a:cubicBezTo>
                  <a:cubicBezTo>
                    <a:pt x="4" y="171"/>
                    <a:pt x="0" y="166"/>
                    <a:pt x="0" y="160"/>
                  </a:cubicBezTo>
                  <a:cubicBezTo>
                    <a:pt x="0" y="11"/>
                    <a:pt x="0" y="11"/>
                    <a:pt x="0" y="11"/>
                  </a:cubicBezTo>
                  <a:cubicBezTo>
                    <a:pt x="0" y="5"/>
                    <a:pt x="4" y="0"/>
                    <a:pt x="10" y="0"/>
                  </a:cubicBezTo>
                  <a:cubicBezTo>
                    <a:pt x="266" y="0"/>
                    <a:pt x="266" y="0"/>
                    <a:pt x="266" y="0"/>
                  </a:cubicBezTo>
                  <a:cubicBezTo>
                    <a:pt x="272" y="0"/>
                    <a:pt x="277" y="5"/>
                    <a:pt x="277" y="11"/>
                  </a:cubicBezTo>
                  <a:cubicBezTo>
                    <a:pt x="277" y="43"/>
                    <a:pt x="277" y="43"/>
                    <a:pt x="277" y="43"/>
                  </a:cubicBezTo>
                  <a:cubicBezTo>
                    <a:pt x="309" y="43"/>
                    <a:pt x="309" y="43"/>
                    <a:pt x="309" y="43"/>
                  </a:cubicBezTo>
                  <a:cubicBezTo>
                    <a:pt x="315" y="43"/>
                    <a:pt x="320" y="48"/>
                    <a:pt x="320" y="54"/>
                  </a:cubicBezTo>
                  <a:close/>
                  <a:moveTo>
                    <a:pt x="256" y="22"/>
                  </a:moveTo>
                  <a:cubicBezTo>
                    <a:pt x="21" y="22"/>
                    <a:pt x="21" y="22"/>
                    <a:pt x="21" y="22"/>
                  </a:cubicBezTo>
                  <a:cubicBezTo>
                    <a:pt x="21" y="150"/>
                    <a:pt x="21" y="150"/>
                    <a:pt x="21" y="150"/>
                  </a:cubicBezTo>
                  <a:cubicBezTo>
                    <a:pt x="256" y="150"/>
                    <a:pt x="256" y="150"/>
                    <a:pt x="256" y="150"/>
                  </a:cubicBezTo>
                  <a:lnTo>
                    <a:pt x="256" y="22"/>
                  </a:lnTo>
                  <a:close/>
                  <a:moveTo>
                    <a:pt x="298" y="64"/>
                  </a:moveTo>
                  <a:cubicBezTo>
                    <a:pt x="277" y="64"/>
                    <a:pt x="277" y="64"/>
                    <a:pt x="277" y="64"/>
                  </a:cubicBezTo>
                  <a:cubicBezTo>
                    <a:pt x="277" y="107"/>
                    <a:pt x="277" y="107"/>
                    <a:pt x="277" y="107"/>
                  </a:cubicBezTo>
                  <a:cubicBezTo>
                    <a:pt x="298" y="107"/>
                    <a:pt x="298" y="107"/>
                    <a:pt x="298" y="107"/>
                  </a:cubicBezTo>
                  <a:lnTo>
                    <a:pt x="298"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395"/>
            <p:cNvSpPr>
              <a:spLocks noEditPoints="1"/>
            </p:cNvSpPr>
            <p:nvPr/>
          </p:nvSpPr>
          <p:spPr bwMode="auto">
            <a:xfrm>
              <a:off x="5010" y="32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399"/>
          <p:cNvSpPr>
            <a:spLocks noChangeAspect="1" noEditPoints="1"/>
          </p:cNvSpPr>
          <p:nvPr/>
        </p:nvSpPr>
        <p:spPr bwMode="auto">
          <a:xfrm>
            <a:off x="1242756" y="1698120"/>
            <a:ext cx="369064" cy="367982"/>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138 w 512"/>
              <a:gd name="T21" fmla="*/ 288 h 512"/>
              <a:gd name="T22" fmla="*/ 149 w 512"/>
              <a:gd name="T23" fmla="*/ 298 h 512"/>
              <a:gd name="T24" fmla="*/ 160 w 512"/>
              <a:gd name="T25" fmla="*/ 288 h 512"/>
              <a:gd name="T26" fmla="*/ 160 w 512"/>
              <a:gd name="T27" fmla="*/ 224 h 512"/>
              <a:gd name="T28" fmla="*/ 149 w 512"/>
              <a:gd name="T29" fmla="*/ 213 h 512"/>
              <a:gd name="T30" fmla="*/ 138 w 512"/>
              <a:gd name="T31" fmla="*/ 224 h 512"/>
              <a:gd name="T32" fmla="*/ 138 w 512"/>
              <a:gd name="T33" fmla="*/ 288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24 h 512"/>
              <a:gd name="T46" fmla="*/ 405 w 512"/>
              <a:gd name="T47" fmla="*/ 213 h 512"/>
              <a:gd name="T48" fmla="*/ 373 w 512"/>
              <a:gd name="T49" fmla="*/ 213 h 512"/>
              <a:gd name="T50" fmla="*/ 373 w 512"/>
              <a:gd name="T51" fmla="*/ 181 h 512"/>
              <a:gd name="T52" fmla="*/ 362 w 512"/>
              <a:gd name="T53" fmla="*/ 170 h 512"/>
              <a:gd name="T54" fmla="*/ 106 w 512"/>
              <a:gd name="T55" fmla="*/ 170 h 512"/>
              <a:gd name="T56" fmla="*/ 96 w 512"/>
              <a:gd name="T57" fmla="*/ 181 h 512"/>
              <a:gd name="T58" fmla="*/ 96 w 512"/>
              <a:gd name="T59" fmla="*/ 330 h 512"/>
              <a:gd name="T60" fmla="*/ 106 w 512"/>
              <a:gd name="T61" fmla="*/ 341 h 512"/>
              <a:gd name="T62" fmla="*/ 362 w 512"/>
              <a:gd name="T63" fmla="*/ 341 h 512"/>
              <a:gd name="T64" fmla="*/ 373 w 512"/>
              <a:gd name="T65" fmla="*/ 330 h 512"/>
              <a:gd name="T66" fmla="*/ 373 w 512"/>
              <a:gd name="T67" fmla="*/ 298 h 512"/>
              <a:gd name="T68" fmla="*/ 405 w 512"/>
              <a:gd name="T69" fmla="*/ 298 h 512"/>
              <a:gd name="T70" fmla="*/ 416 w 512"/>
              <a:gd name="T71" fmla="*/ 288 h 512"/>
              <a:gd name="T72" fmla="*/ 41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138" y="288"/>
                </a:moveTo>
                <a:cubicBezTo>
                  <a:pt x="138" y="294"/>
                  <a:pt x="143" y="298"/>
                  <a:pt x="149" y="298"/>
                </a:cubicBezTo>
                <a:cubicBezTo>
                  <a:pt x="155" y="298"/>
                  <a:pt x="160" y="294"/>
                  <a:pt x="160" y="288"/>
                </a:cubicBezTo>
                <a:cubicBezTo>
                  <a:pt x="160" y="224"/>
                  <a:pt x="160" y="224"/>
                  <a:pt x="160" y="224"/>
                </a:cubicBezTo>
                <a:cubicBezTo>
                  <a:pt x="160" y="218"/>
                  <a:pt x="155" y="213"/>
                  <a:pt x="149" y="213"/>
                </a:cubicBezTo>
                <a:cubicBezTo>
                  <a:pt x="143" y="213"/>
                  <a:pt x="138" y="218"/>
                  <a:pt x="138" y="224"/>
                </a:cubicBezTo>
                <a:lnTo>
                  <a:pt x="138"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402"/>
          <p:cNvGrpSpPr>
            <a:grpSpLocks noChangeAspect="1"/>
          </p:cNvGrpSpPr>
          <p:nvPr/>
        </p:nvGrpSpPr>
        <p:grpSpPr bwMode="auto">
          <a:xfrm>
            <a:off x="1662016" y="1698120"/>
            <a:ext cx="367982" cy="367982"/>
            <a:chOff x="3660" y="2329"/>
            <a:chExt cx="340" cy="340"/>
          </a:xfrm>
          <a:solidFill>
            <a:schemeClr val="accent5"/>
          </a:solidFill>
        </p:grpSpPr>
        <p:sp>
          <p:nvSpPr>
            <p:cNvPr id="262" name="Freeform 403"/>
            <p:cNvSpPr>
              <a:spLocks noEditPoints="1"/>
            </p:cNvSpPr>
            <p:nvPr/>
          </p:nvSpPr>
          <p:spPr bwMode="auto">
            <a:xfrm>
              <a:off x="3724" y="2442"/>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404"/>
            <p:cNvSpPr>
              <a:spLocks noEditPoints="1"/>
            </p:cNvSpPr>
            <p:nvPr/>
          </p:nvSpPr>
          <p:spPr bwMode="auto">
            <a:xfrm>
              <a:off x="3660" y="23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408"/>
          <p:cNvSpPr>
            <a:spLocks noChangeAspect="1" noEditPoints="1"/>
          </p:cNvSpPr>
          <p:nvPr/>
        </p:nvSpPr>
        <p:spPr bwMode="auto">
          <a:xfrm>
            <a:off x="2080194" y="1697038"/>
            <a:ext cx="367982" cy="369064"/>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181 w 512"/>
              <a:gd name="T11" fmla="*/ 224 h 512"/>
              <a:gd name="T12" fmla="*/ 192 w 512"/>
              <a:gd name="T13" fmla="*/ 213 h 512"/>
              <a:gd name="T14" fmla="*/ 202 w 512"/>
              <a:gd name="T15" fmla="*/ 224 h 512"/>
              <a:gd name="T16" fmla="*/ 202 w 512"/>
              <a:gd name="T17" fmla="*/ 288 h 512"/>
              <a:gd name="T18" fmla="*/ 192 w 512"/>
              <a:gd name="T19" fmla="*/ 298 h 512"/>
              <a:gd name="T20" fmla="*/ 181 w 512"/>
              <a:gd name="T21" fmla="*/ 288 h 512"/>
              <a:gd name="T22" fmla="*/ 181 w 512"/>
              <a:gd name="T23" fmla="*/ 224 h 512"/>
              <a:gd name="T24" fmla="*/ 138 w 512"/>
              <a:gd name="T25" fmla="*/ 224 h 512"/>
              <a:gd name="T26" fmla="*/ 149 w 512"/>
              <a:gd name="T27" fmla="*/ 213 h 512"/>
              <a:gd name="T28" fmla="*/ 160 w 512"/>
              <a:gd name="T29" fmla="*/ 224 h 512"/>
              <a:gd name="T30" fmla="*/ 160 w 512"/>
              <a:gd name="T31" fmla="*/ 288 h 512"/>
              <a:gd name="T32" fmla="*/ 149 w 512"/>
              <a:gd name="T33" fmla="*/ 298 h 512"/>
              <a:gd name="T34" fmla="*/ 138 w 512"/>
              <a:gd name="T35" fmla="*/ 288 h 512"/>
              <a:gd name="T36" fmla="*/ 138 w 512"/>
              <a:gd name="T37" fmla="*/ 224 h 512"/>
              <a:gd name="T38" fmla="*/ 373 w 512"/>
              <a:gd name="T39" fmla="*/ 234 h 512"/>
              <a:gd name="T40" fmla="*/ 394 w 512"/>
              <a:gd name="T41" fmla="*/ 234 h 512"/>
              <a:gd name="T42" fmla="*/ 394 w 512"/>
              <a:gd name="T43" fmla="*/ 277 h 512"/>
              <a:gd name="T44" fmla="*/ 373 w 512"/>
              <a:gd name="T45" fmla="*/ 277 h 512"/>
              <a:gd name="T46" fmla="*/ 373 w 512"/>
              <a:gd name="T47" fmla="*/ 234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416 w 512"/>
              <a:gd name="T59" fmla="*/ 288 h 512"/>
              <a:gd name="T60" fmla="*/ 405 w 512"/>
              <a:gd name="T61" fmla="*/ 298 h 512"/>
              <a:gd name="T62" fmla="*/ 373 w 512"/>
              <a:gd name="T63" fmla="*/ 298 h 512"/>
              <a:gd name="T64" fmla="*/ 373 w 512"/>
              <a:gd name="T65" fmla="*/ 330 h 512"/>
              <a:gd name="T66" fmla="*/ 362 w 512"/>
              <a:gd name="T67" fmla="*/ 341 h 512"/>
              <a:gd name="T68" fmla="*/ 106 w 512"/>
              <a:gd name="T69" fmla="*/ 341 h 512"/>
              <a:gd name="T70" fmla="*/ 96 w 512"/>
              <a:gd name="T71" fmla="*/ 330 h 512"/>
              <a:gd name="T72" fmla="*/ 96 w 512"/>
              <a:gd name="T73" fmla="*/ 181 h 512"/>
              <a:gd name="T74" fmla="*/ 106 w 512"/>
              <a:gd name="T75" fmla="*/ 170 h 512"/>
              <a:gd name="T76" fmla="*/ 362 w 512"/>
              <a:gd name="T77" fmla="*/ 170 h 512"/>
              <a:gd name="T78" fmla="*/ 373 w 512"/>
              <a:gd name="T79" fmla="*/ 181 h 512"/>
              <a:gd name="T80" fmla="*/ 373 w 512"/>
              <a:gd name="T81" fmla="*/ 213 h 512"/>
              <a:gd name="T82" fmla="*/ 405 w 512"/>
              <a:gd name="T83" fmla="*/ 213 h 512"/>
              <a:gd name="T84" fmla="*/ 416 w 512"/>
              <a:gd name="T85" fmla="*/ 224 h 512"/>
              <a:gd name="T86" fmla="*/ 416 w 512"/>
              <a:gd name="T8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411"/>
          <p:cNvGrpSpPr>
            <a:grpSpLocks noChangeAspect="1"/>
          </p:cNvGrpSpPr>
          <p:nvPr/>
        </p:nvGrpSpPr>
        <p:grpSpPr bwMode="auto">
          <a:xfrm>
            <a:off x="2498372" y="1698120"/>
            <a:ext cx="367982" cy="367982"/>
            <a:chOff x="2889" y="2025"/>
            <a:chExt cx="340" cy="340"/>
          </a:xfrm>
          <a:solidFill>
            <a:schemeClr val="accent5"/>
          </a:solidFill>
        </p:grpSpPr>
        <p:sp>
          <p:nvSpPr>
            <p:cNvPr id="266" name="Freeform 412"/>
            <p:cNvSpPr>
              <a:spLocks noEditPoints="1"/>
            </p:cNvSpPr>
            <p:nvPr/>
          </p:nvSpPr>
          <p:spPr bwMode="auto">
            <a:xfrm>
              <a:off x="2953" y="213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413"/>
            <p:cNvSpPr>
              <a:spLocks noEditPoints="1"/>
            </p:cNvSpPr>
            <p:nvPr/>
          </p:nvSpPr>
          <p:spPr bwMode="auto">
            <a:xfrm>
              <a:off x="2889" y="2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417"/>
          <p:cNvSpPr>
            <a:spLocks noChangeAspect="1" noEditPoints="1"/>
          </p:cNvSpPr>
          <p:nvPr/>
        </p:nvSpPr>
        <p:spPr bwMode="auto">
          <a:xfrm>
            <a:off x="2916550"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24 w 512"/>
              <a:gd name="T11" fmla="*/ 224 h 512"/>
              <a:gd name="T12" fmla="*/ 234 w 512"/>
              <a:gd name="T13" fmla="*/ 213 h 512"/>
              <a:gd name="T14" fmla="*/ 245 w 512"/>
              <a:gd name="T15" fmla="*/ 224 h 512"/>
              <a:gd name="T16" fmla="*/ 245 w 512"/>
              <a:gd name="T17" fmla="*/ 288 h 512"/>
              <a:gd name="T18" fmla="*/ 234 w 512"/>
              <a:gd name="T19" fmla="*/ 298 h 512"/>
              <a:gd name="T20" fmla="*/ 224 w 512"/>
              <a:gd name="T21" fmla="*/ 288 h 512"/>
              <a:gd name="T22" fmla="*/ 224 w 512"/>
              <a:gd name="T23" fmla="*/ 224 h 512"/>
              <a:gd name="T24" fmla="*/ 181 w 512"/>
              <a:gd name="T25" fmla="*/ 224 h 512"/>
              <a:gd name="T26" fmla="*/ 192 w 512"/>
              <a:gd name="T27" fmla="*/ 213 h 512"/>
              <a:gd name="T28" fmla="*/ 202 w 512"/>
              <a:gd name="T29" fmla="*/ 224 h 512"/>
              <a:gd name="T30" fmla="*/ 202 w 512"/>
              <a:gd name="T31" fmla="*/ 288 h 512"/>
              <a:gd name="T32" fmla="*/ 192 w 512"/>
              <a:gd name="T33" fmla="*/ 298 h 512"/>
              <a:gd name="T34" fmla="*/ 181 w 512"/>
              <a:gd name="T35" fmla="*/ 288 h 512"/>
              <a:gd name="T36" fmla="*/ 181 w 512"/>
              <a:gd name="T37" fmla="*/ 224 h 512"/>
              <a:gd name="T38" fmla="*/ 138 w 512"/>
              <a:gd name="T39" fmla="*/ 224 h 512"/>
              <a:gd name="T40" fmla="*/ 149 w 512"/>
              <a:gd name="T41" fmla="*/ 213 h 512"/>
              <a:gd name="T42" fmla="*/ 160 w 512"/>
              <a:gd name="T43" fmla="*/ 224 h 512"/>
              <a:gd name="T44" fmla="*/ 160 w 512"/>
              <a:gd name="T45" fmla="*/ 288 h 512"/>
              <a:gd name="T46" fmla="*/ 149 w 512"/>
              <a:gd name="T47" fmla="*/ 298 h 512"/>
              <a:gd name="T48" fmla="*/ 138 w 512"/>
              <a:gd name="T49" fmla="*/ 288 h 512"/>
              <a:gd name="T50" fmla="*/ 138 w 512"/>
              <a:gd name="T51" fmla="*/ 224 h 512"/>
              <a:gd name="T52" fmla="*/ 256 w 512"/>
              <a:gd name="T53" fmla="*/ 0 h 512"/>
              <a:gd name="T54" fmla="*/ 0 w 512"/>
              <a:gd name="T55" fmla="*/ 256 h 512"/>
              <a:gd name="T56" fmla="*/ 256 w 512"/>
              <a:gd name="T57" fmla="*/ 512 h 512"/>
              <a:gd name="T58" fmla="*/ 512 w 512"/>
              <a:gd name="T59" fmla="*/ 256 h 512"/>
              <a:gd name="T60" fmla="*/ 256 w 512"/>
              <a:gd name="T61" fmla="*/ 0 h 512"/>
              <a:gd name="T62" fmla="*/ 416 w 512"/>
              <a:gd name="T63" fmla="*/ 288 h 512"/>
              <a:gd name="T64" fmla="*/ 405 w 512"/>
              <a:gd name="T65" fmla="*/ 298 h 512"/>
              <a:gd name="T66" fmla="*/ 373 w 512"/>
              <a:gd name="T67" fmla="*/ 298 h 512"/>
              <a:gd name="T68" fmla="*/ 373 w 512"/>
              <a:gd name="T69" fmla="*/ 330 h 512"/>
              <a:gd name="T70" fmla="*/ 362 w 512"/>
              <a:gd name="T71" fmla="*/ 341 h 512"/>
              <a:gd name="T72" fmla="*/ 106 w 512"/>
              <a:gd name="T73" fmla="*/ 341 h 512"/>
              <a:gd name="T74" fmla="*/ 96 w 512"/>
              <a:gd name="T75" fmla="*/ 330 h 512"/>
              <a:gd name="T76" fmla="*/ 96 w 512"/>
              <a:gd name="T77" fmla="*/ 181 h 512"/>
              <a:gd name="T78" fmla="*/ 106 w 512"/>
              <a:gd name="T79" fmla="*/ 170 h 512"/>
              <a:gd name="T80" fmla="*/ 362 w 512"/>
              <a:gd name="T81" fmla="*/ 170 h 512"/>
              <a:gd name="T82" fmla="*/ 373 w 512"/>
              <a:gd name="T83" fmla="*/ 181 h 512"/>
              <a:gd name="T84" fmla="*/ 373 w 512"/>
              <a:gd name="T85" fmla="*/ 213 h 512"/>
              <a:gd name="T86" fmla="*/ 405 w 512"/>
              <a:gd name="T87" fmla="*/ 213 h 512"/>
              <a:gd name="T88" fmla="*/ 416 w 512"/>
              <a:gd name="T89" fmla="*/ 224 h 512"/>
              <a:gd name="T90" fmla="*/ 416 w 512"/>
              <a:gd name="T91" fmla="*/ 288 h 512"/>
              <a:gd name="T92" fmla="*/ 373 w 512"/>
              <a:gd name="T93" fmla="*/ 234 h 512"/>
              <a:gd name="T94" fmla="*/ 394 w 512"/>
              <a:gd name="T95" fmla="*/ 234 h 512"/>
              <a:gd name="T96" fmla="*/ 394 w 512"/>
              <a:gd name="T97" fmla="*/ 277 h 512"/>
              <a:gd name="T98" fmla="*/ 373 w 512"/>
              <a:gd name="T99" fmla="*/ 277 h 512"/>
              <a:gd name="T100" fmla="*/ 373 w 512"/>
              <a:gd name="T10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moveTo>
                  <a:pt x="373" y="234"/>
                </a:moveTo>
                <a:cubicBezTo>
                  <a:pt x="394" y="234"/>
                  <a:pt x="394" y="234"/>
                  <a:pt x="394" y="234"/>
                </a:cubicBezTo>
                <a:cubicBezTo>
                  <a:pt x="394" y="277"/>
                  <a:pt x="394" y="277"/>
                  <a:pt x="394" y="277"/>
                </a:cubicBezTo>
                <a:cubicBezTo>
                  <a:pt x="373" y="277"/>
                  <a:pt x="373" y="277"/>
                  <a:pt x="373" y="277"/>
                </a:cubicBezTo>
                <a:lnTo>
                  <a:pt x="373"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420"/>
          <p:cNvGrpSpPr>
            <a:grpSpLocks noChangeAspect="1"/>
          </p:cNvGrpSpPr>
          <p:nvPr/>
        </p:nvGrpSpPr>
        <p:grpSpPr bwMode="auto">
          <a:xfrm>
            <a:off x="3334728" y="1698120"/>
            <a:ext cx="369064" cy="367982"/>
            <a:chOff x="3059" y="1907"/>
            <a:chExt cx="341" cy="340"/>
          </a:xfrm>
          <a:solidFill>
            <a:schemeClr val="accent5"/>
          </a:solidFill>
        </p:grpSpPr>
        <p:sp>
          <p:nvSpPr>
            <p:cNvPr id="270" name="Freeform 421"/>
            <p:cNvSpPr>
              <a:spLocks noEditPoints="1"/>
            </p:cNvSpPr>
            <p:nvPr/>
          </p:nvSpPr>
          <p:spPr bwMode="auto">
            <a:xfrm>
              <a:off x="3123" y="2020"/>
              <a:ext cx="213"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422"/>
            <p:cNvSpPr>
              <a:spLocks noEditPoints="1"/>
            </p:cNvSpPr>
            <p:nvPr/>
          </p:nvSpPr>
          <p:spPr bwMode="auto">
            <a:xfrm>
              <a:off x="3059" y="190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426"/>
          <p:cNvSpPr>
            <a:spLocks noChangeAspect="1" noEditPoints="1"/>
          </p:cNvSpPr>
          <p:nvPr/>
        </p:nvSpPr>
        <p:spPr bwMode="auto">
          <a:xfrm>
            <a:off x="3753988"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272"/>
          <p:cNvGrpSpPr>
            <a:grpSpLocks noChangeAspect="1"/>
          </p:cNvGrpSpPr>
          <p:nvPr/>
        </p:nvGrpSpPr>
        <p:grpSpPr bwMode="auto">
          <a:xfrm>
            <a:off x="4172166" y="1698120"/>
            <a:ext cx="367982" cy="367982"/>
            <a:chOff x="3722" y="2177"/>
            <a:chExt cx="340" cy="340"/>
          </a:xfrm>
          <a:solidFill>
            <a:schemeClr val="accent5"/>
          </a:solidFill>
        </p:grpSpPr>
        <p:sp>
          <p:nvSpPr>
            <p:cNvPr id="274" name="Freeform 430"/>
            <p:cNvSpPr>
              <a:spLocks noEditPoints="1"/>
            </p:cNvSpPr>
            <p:nvPr/>
          </p:nvSpPr>
          <p:spPr bwMode="auto">
            <a:xfrm>
              <a:off x="3786" y="2290"/>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431"/>
            <p:cNvSpPr>
              <a:spLocks noEditPoints="1"/>
            </p:cNvSpPr>
            <p:nvPr/>
          </p:nvSpPr>
          <p:spPr bwMode="auto">
            <a:xfrm>
              <a:off x="3722" y="2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Freeform 275"/>
          <p:cNvSpPr>
            <a:spLocks noChangeAspect="1" noEditPoints="1"/>
          </p:cNvSpPr>
          <p:nvPr/>
        </p:nvSpPr>
        <p:spPr bwMode="auto">
          <a:xfrm>
            <a:off x="4590344" y="1698120"/>
            <a:ext cx="367982" cy="367982"/>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7" name="Group 438"/>
          <p:cNvGrpSpPr>
            <a:grpSpLocks noChangeAspect="1"/>
          </p:cNvGrpSpPr>
          <p:nvPr/>
        </p:nvGrpSpPr>
        <p:grpSpPr bwMode="auto">
          <a:xfrm>
            <a:off x="5008522" y="1698120"/>
            <a:ext cx="367982" cy="367982"/>
            <a:chOff x="4426" y="2603"/>
            <a:chExt cx="340" cy="340"/>
          </a:xfrm>
          <a:solidFill>
            <a:schemeClr val="accent5"/>
          </a:solidFill>
        </p:grpSpPr>
        <p:sp>
          <p:nvSpPr>
            <p:cNvPr id="278" name="Freeform 439"/>
            <p:cNvSpPr>
              <a:spLocks noEditPoints="1"/>
            </p:cNvSpPr>
            <p:nvPr/>
          </p:nvSpPr>
          <p:spPr bwMode="auto">
            <a:xfrm>
              <a:off x="4490" y="2716"/>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 name="T106" fmla="*/ 213 w 320"/>
                <a:gd name="T107" fmla="*/ 118 h 171"/>
                <a:gd name="T108" fmla="*/ 213 w 320"/>
                <a:gd name="T109" fmla="*/ 54 h 171"/>
                <a:gd name="T110" fmla="*/ 224 w 320"/>
                <a:gd name="T111" fmla="*/ 43 h 171"/>
                <a:gd name="T112" fmla="*/ 234 w 320"/>
                <a:gd name="T113" fmla="*/ 54 h 171"/>
                <a:gd name="T114" fmla="*/ 234 w 320"/>
                <a:gd name="T115" fmla="*/ 118 h 171"/>
                <a:gd name="T116" fmla="*/ 224 w 320"/>
                <a:gd name="T117" fmla="*/ 128 h 171"/>
                <a:gd name="T118" fmla="*/ 213 w 320"/>
                <a:gd name="T119"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moveTo>
                    <a:pt x="213" y="118"/>
                  </a:moveTo>
                  <a:cubicBezTo>
                    <a:pt x="213" y="54"/>
                    <a:pt x="213" y="54"/>
                    <a:pt x="213" y="54"/>
                  </a:cubicBezTo>
                  <a:cubicBezTo>
                    <a:pt x="213" y="48"/>
                    <a:pt x="218" y="43"/>
                    <a:pt x="224" y="43"/>
                  </a:cubicBezTo>
                  <a:cubicBezTo>
                    <a:pt x="230" y="43"/>
                    <a:pt x="234" y="48"/>
                    <a:pt x="234" y="54"/>
                  </a:cubicBezTo>
                  <a:cubicBezTo>
                    <a:pt x="234" y="118"/>
                    <a:pt x="234" y="118"/>
                    <a:pt x="234" y="118"/>
                  </a:cubicBezTo>
                  <a:cubicBezTo>
                    <a:pt x="234" y="124"/>
                    <a:pt x="230" y="128"/>
                    <a:pt x="224" y="128"/>
                  </a:cubicBezTo>
                  <a:cubicBezTo>
                    <a:pt x="218" y="128"/>
                    <a:pt x="213" y="124"/>
                    <a:pt x="213"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440"/>
            <p:cNvSpPr>
              <a:spLocks noEditPoints="1"/>
            </p:cNvSpPr>
            <p:nvPr/>
          </p:nvSpPr>
          <p:spPr bwMode="auto">
            <a:xfrm>
              <a:off x="4426" y="26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0" name="Freeform 444"/>
          <p:cNvSpPr>
            <a:spLocks noChangeAspect="1" noEditPoints="1"/>
          </p:cNvSpPr>
          <p:nvPr/>
        </p:nvSpPr>
        <p:spPr bwMode="auto">
          <a:xfrm>
            <a:off x="5426700"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1" name="Group 447"/>
          <p:cNvGrpSpPr>
            <a:grpSpLocks noChangeAspect="1"/>
          </p:cNvGrpSpPr>
          <p:nvPr/>
        </p:nvGrpSpPr>
        <p:grpSpPr bwMode="auto">
          <a:xfrm>
            <a:off x="5844878" y="1698120"/>
            <a:ext cx="367982" cy="367982"/>
            <a:chOff x="3679" y="2685"/>
            <a:chExt cx="340" cy="340"/>
          </a:xfrm>
          <a:solidFill>
            <a:schemeClr val="accent5"/>
          </a:solidFill>
        </p:grpSpPr>
        <p:sp>
          <p:nvSpPr>
            <p:cNvPr id="282" name="Freeform 448"/>
            <p:cNvSpPr>
              <a:spLocks noEditPoints="1"/>
            </p:cNvSpPr>
            <p:nvPr/>
          </p:nvSpPr>
          <p:spPr bwMode="auto">
            <a:xfrm>
              <a:off x="3679" y="26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449"/>
            <p:cNvSpPr>
              <a:spLocks noEditPoints="1"/>
            </p:cNvSpPr>
            <p:nvPr/>
          </p:nvSpPr>
          <p:spPr bwMode="auto">
            <a:xfrm>
              <a:off x="3743" y="279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234 w 320"/>
                <a:gd name="T51" fmla="*/ 86 h 171"/>
                <a:gd name="T52" fmla="*/ 224 w 320"/>
                <a:gd name="T53" fmla="*/ 96 h 171"/>
                <a:gd name="T54" fmla="*/ 202 w 320"/>
                <a:gd name="T55" fmla="*/ 96 h 171"/>
                <a:gd name="T56" fmla="*/ 202 w 320"/>
                <a:gd name="T57" fmla="*/ 118 h 171"/>
                <a:gd name="T58" fmla="*/ 192 w 320"/>
                <a:gd name="T59" fmla="*/ 128 h 171"/>
                <a:gd name="T60" fmla="*/ 181 w 320"/>
                <a:gd name="T61" fmla="*/ 118 h 171"/>
                <a:gd name="T62" fmla="*/ 181 w 320"/>
                <a:gd name="T63" fmla="*/ 96 h 171"/>
                <a:gd name="T64" fmla="*/ 160 w 320"/>
                <a:gd name="T65" fmla="*/ 96 h 171"/>
                <a:gd name="T66" fmla="*/ 149 w 320"/>
                <a:gd name="T67" fmla="*/ 86 h 171"/>
                <a:gd name="T68" fmla="*/ 160 w 320"/>
                <a:gd name="T69" fmla="*/ 75 h 171"/>
                <a:gd name="T70" fmla="*/ 181 w 320"/>
                <a:gd name="T71" fmla="*/ 75 h 171"/>
                <a:gd name="T72" fmla="*/ 181 w 320"/>
                <a:gd name="T73" fmla="*/ 54 h 171"/>
                <a:gd name="T74" fmla="*/ 192 w 320"/>
                <a:gd name="T75" fmla="*/ 43 h 171"/>
                <a:gd name="T76" fmla="*/ 202 w 320"/>
                <a:gd name="T77" fmla="*/ 54 h 171"/>
                <a:gd name="T78" fmla="*/ 202 w 320"/>
                <a:gd name="T79" fmla="*/ 75 h 171"/>
                <a:gd name="T80" fmla="*/ 224 w 320"/>
                <a:gd name="T81" fmla="*/ 75 h 171"/>
                <a:gd name="T82" fmla="*/ 234 w 320"/>
                <a:gd name="T83" fmla="*/ 86 h 171"/>
                <a:gd name="T84" fmla="*/ 128 w 320"/>
                <a:gd name="T85" fmla="*/ 86 h 171"/>
                <a:gd name="T86" fmla="*/ 117 w 320"/>
                <a:gd name="T87" fmla="*/ 96 h 171"/>
                <a:gd name="T88" fmla="*/ 53 w 320"/>
                <a:gd name="T89" fmla="*/ 96 h 171"/>
                <a:gd name="T90" fmla="*/ 42 w 320"/>
                <a:gd name="T91" fmla="*/ 86 h 171"/>
                <a:gd name="T92" fmla="*/ 53 w 320"/>
                <a:gd name="T93" fmla="*/ 75 h 171"/>
                <a:gd name="T94" fmla="*/ 117 w 320"/>
                <a:gd name="T95" fmla="*/ 75 h 171"/>
                <a:gd name="T96" fmla="*/ 128 w 320"/>
                <a:gd name="T9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234" y="86"/>
                  </a:moveTo>
                  <a:cubicBezTo>
                    <a:pt x="234" y="92"/>
                    <a:pt x="230" y="96"/>
                    <a:pt x="224" y="96"/>
                  </a:cubicBezTo>
                  <a:cubicBezTo>
                    <a:pt x="202" y="96"/>
                    <a:pt x="202" y="96"/>
                    <a:pt x="202" y="96"/>
                  </a:cubicBezTo>
                  <a:cubicBezTo>
                    <a:pt x="202" y="118"/>
                    <a:pt x="202" y="118"/>
                    <a:pt x="202" y="118"/>
                  </a:cubicBezTo>
                  <a:cubicBezTo>
                    <a:pt x="202" y="124"/>
                    <a:pt x="198" y="128"/>
                    <a:pt x="192" y="128"/>
                  </a:cubicBezTo>
                  <a:cubicBezTo>
                    <a:pt x="186" y="128"/>
                    <a:pt x="181" y="124"/>
                    <a:pt x="181" y="118"/>
                  </a:cubicBezTo>
                  <a:cubicBezTo>
                    <a:pt x="181" y="96"/>
                    <a:pt x="181" y="96"/>
                    <a:pt x="181" y="96"/>
                  </a:cubicBezTo>
                  <a:cubicBezTo>
                    <a:pt x="160" y="96"/>
                    <a:pt x="160" y="96"/>
                    <a:pt x="160" y="96"/>
                  </a:cubicBezTo>
                  <a:cubicBezTo>
                    <a:pt x="154" y="96"/>
                    <a:pt x="149" y="92"/>
                    <a:pt x="149" y="86"/>
                  </a:cubicBezTo>
                  <a:cubicBezTo>
                    <a:pt x="149" y="80"/>
                    <a:pt x="154" y="75"/>
                    <a:pt x="160" y="75"/>
                  </a:cubicBezTo>
                  <a:cubicBezTo>
                    <a:pt x="181" y="75"/>
                    <a:pt x="181" y="75"/>
                    <a:pt x="181" y="75"/>
                  </a:cubicBezTo>
                  <a:cubicBezTo>
                    <a:pt x="181" y="54"/>
                    <a:pt x="181" y="54"/>
                    <a:pt x="181" y="54"/>
                  </a:cubicBezTo>
                  <a:cubicBezTo>
                    <a:pt x="181" y="48"/>
                    <a:pt x="186" y="43"/>
                    <a:pt x="192" y="43"/>
                  </a:cubicBezTo>
                  <a:cubicBezTo>
                    <a:pt x="198" y="43"/>
                    <a:pt x="202" y="48"/>
                    <a:pt x="202" y="54"/>
                  </a:cubicBezTo>
                  <a:cubicBezTo>
                    <a:pt x="202" y="75"/>
                    <a:pt x="202" y="75"/>
                    <a:pt x="202" y="75"/>
                  </a:cubicBezTo>
                  <a:cubicBezTo>
                    <a:pt x="224" y="75"/>
                    <a:pt x="224" y="75"/>
                    <a:pt x="224" y="75"/>
                  </a:cubicBezTo>
                  <a:cubicBezTo>
                    <a:pt x="230" y="75"/>
                    <a:pt x="234" y="80"/>
                    <a:pt x="234" y="86"/>
                  </a:cubicBezTo>
                  <a:close/>
                  <a:moveTo>
                    <a:pt x="128" y="86"/>
                  </a:moveTo>
                  <a:cubicBezTo>
                    <a:pt x="128" y="92"/>
                    <a:pt x="123" y="96"/>
                    <a:pt x="117" y="96"/>
                  </a:cubicBezTo>
                  <a:cubicBezTo>
                    <a:pt x="53" y="96"/>
                    <a:pt x="53" y="96"/>
                    <a:pt x="53" y="96"/>
                  </a:cubicBezTo>
                  <a:cubicBezTo>
                    <a:pt x="47" y="96"/>
                    <a:pt x="42" y="92"/>
                    <a:pt x="42" y="86"/>
                  </a:cubicBezTo>
                  <a:cubicBezTo>
                    <a:pt x="42" y="80"/>
                    <a:pt x="47" y="75"/>
                    <a:pt x="53" y="75"/>
                  </a:cubicBezTo>
                  <a:cubicBezTo>
                    <a:pt x="117" y="75"/>
                    <a:pt x="117" y="75"/>
                    <a:pt x="117" y="75"/>
                  </a:cubicBezTo>
                  <a:cubicBezTo>
                    <a:pt x="123" y="75"/>
                    <a:pt x="128" y="80"/>
                    <a:pt x="128"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4" name="Freeform 292"/>
          <p:cNvSpPr>
            <a:spLocks noChangeAspect="1" noEditPoints="1"/>
          </p:cNvSpPr>
          <p:nvPr/>
        </p:nvSpPr>
        <p:spPr bwMode="auto">
          <a:xfrm>
            <a:off x="6263056" y="1699461"/>
            <a:ext cx="369021" cy="369021"/>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45" name="Group 295"/>
          <p:cNvGrpSpPr>
            <a:grpSpLocks noChangeAspect="1"/>
          </p:cNvGrpSpPr>
          <p:nvPr/>
        </p:nvGrpSpPr>
        <p:grpSpPr bwMode="auto">
          <a:xfrm>
            <a:off x="6682273" y="1697038"/>
            <a:ext cx="369021" cy="370106"/>
            <a:chOff x="7340" y="790"/>
            <a:chExt cx="340" cy="341"/>
          </a:xfrm>
          <a:solidFill>
            <a:schemeClr val="accent3"/>
          </a:solidFill>
        </p:grpSpPr>
        <p:sp>
          <p:nvSpPr>
            <p:cNvPr id="246" name="Freeform 296"/>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297"/>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8" name="Group 638"/>
          <p:cNvGrpSpPr>
            <a:grpSpLocks noChangeAspect="1"/>
          </p:cNvGrpSpPr>
          <p:nvPr/>
        </p:nvGrpSpPr>
        <p:grpSpPr bwMode="auto">
          <a:xfrm>
            <a:off x="7522442" y="1697038"/>
            <a:ext cx="369676" cy="369676"/>
            <a:chOff x="4300" y="2260"/>
            <a:chExt cx="340" cy="340"/>
          </a:xfrm>
          <a:solidFill>
            <a:schemeClr val="accent1"/>
          </a:solidFill>
        </p:grpSpPr>
        <p:sp>
          <p:nvSpPr>
            <p:cNvPr id="249" name="Freeform 639"/>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640"/>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Freeform 641"/>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2" name="Freeform 645"/>
          <p:cNvSpPr>
            <a:spLocks noChangeAspect="1" noEditPoints="1"/>
          </p:cNvSpPr>
          <p:nvPr/>
        </p:nvSpPr>
        <p:spPr bwMode="auto">
          <a:xfrm>
            <a:off x="7101490" y="1697038"/>
            <a:ext cx="370763" cy="369676"/>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3" name="Group 396"/>
          <p:cNvGrpSpPr>
            <a:grpSpLocks noChangeAspect="1"/>
          </p:cNvGrpSpPr>
          <p:nvPr/>
        </p:nvGrpSpPr>
        <p:grpSpPr bwMode="auto">
          <a:xfrm>
            <a:off x="1663604" y="2533030"/>
            <a:ext cx="369021" cy="369021"/>
            <a:chOff x="6573" y="1568"/>
            <a:chExt cx="340" cy="340"/>
          </a:xfrm>
          <a:solidFill>
            <a:schemeClr val="accent5"/>
          </a:solidFill>
        </p:grpSpPr>
        <p:sp>
          <p:nvSpPr>
            <p:cNvPr id="254" name="Freeform 397"/>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398"/>
            <p:cNvSpPr>
              <a:spLocks noEditPoints="1"/>
            </p:cNvSpPr>
            <p:nvPr/>
          </p:nvSpPr>
          <p:spPr bwMode="auto">
            <a:xfrm>
              <a:off x="6651" y="1646"/>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4" name="Freeform 402"/>
          <p:cNvSpPr>
            <a:spLocks noChangeAspect="1" noEditPoints="1"/>
          </p:cNvSpPr>
          <p:nvPr/>
        </p:nvSpPr>
        <p:spPr bwMode="auto">
          <a:xfrm>
            <a:off x="1244536" y="2533030"/>
            <a:ext cx="369021" cy="369021"/>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5" name="Group 405"/>
          <p:cNvGrpSpPr>
            <a:grpSpLocks noChangeAspect="1"/>
          </p:cNvGrpSpPr>
          <p:nvPr/>
        </p:nvGrpSpPr>
        <p:grpSpPr bwMode="auto">
          <a:xfrm>
            <a:off x="825468" y="2533030"/>
            <a:ext cx="369021" cy="369021"/>
            <a:chOff x="5821" y="1571"/>
            <a:chExt cx="340" cy="340"/>
          </a:xfrm>
          <a:solidFill>
            <a:schemeClr val="accent5"/>
          </a:solidFill>
        </p:grpSpPr>
        <p:sp>
          <p:nvSpPr>
            <p:cNvPr id="286" name="Freeform 406"/>
            <p:cNvSpPr>
              <a:spLocks noEditPoints="1"/>
            </p:cNvSpPr>
            <p:nvPr/>
          </p:nvSpPr>
          <p:spPr bwMode="auto">
            <a:xfrm>
              <a:off x="5821" y="15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407"/>
            <p:cNvSpPr>
              <a:spLocks noEditPoints="1"/>
            </p:cNvSpPr>
            <p:nvPr/>
          </p:nvSpPr>
          <p:spPr bwMode="auto">
            <a:xfrm>
              <a:off x="5899" y="1649"/>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128 w 277"/>
                <a:gd name="T49" fmla="*/ 117 h 277"/>
                <a:gd name="T50" fmla="*/ 128 w 277"/>
                <a:gd name="T51" fmla="*/ 96 h 277"/>
                <a:gd name="T52" fmla="*/ 139 w 277"/>
                <a:gd name="T53" fmla="*/ 85 h 277"/>
                <a:gd name="T54" fmla="*/ 149 w 277"/>
                <a:gd name="T55" fmla="*/ 96 h 277"/>
                <a:gd name="T56" fmla="*/ 149 w 277"/>
                <a:gd name="T57" fmla="*/ 117 h 277"/>
                <a:gd name="T58" fmla="*/ 139 w 277"/>
                <a:gd name="T59" fmla="*/ 128 h 277"/>
                <a:gd name="T60" fmla="*/ 128 w 277"/>
                <a:gd name="T61" fmla="*/ 117 h 277"/>
                <a:gd name="T62" fmla="*/ 85 w 277"/>
                <a:gd name="T63" fmla="*/ 160 h 277"/>
                <a:gd name="T64" fmla="*/ 96 w 277"/>
                <a:gd name="T65" fmla="*/ 149 h 277"/>
                <a:gd name="T66" fmla="*/ 117 w 277"/>
                <a:gd name="T67" fmla="*/ 149 h 277"/>
                <a:gd name="T68" fmla="*/ 128 w 277"/>
                <a:gd name="T69" fmla="*/ 160 h 277"/>
                <a:gd name="T70" fmla="*/ 117 w 277"/>
                <a:gd name="T71" fmla="*/ 171 h 277"/>
                <a:gd name="T72" fmla="*/ 96 w 277"/>
                <a:gd name="T73" fmla="*/ 171 h 277"/>
                <a:gd name="T74" fmla="*/ 85 w 277"/>
                <a:gd name="T75" fmla="*/ 160 h 277"/>
                <a:gd name="T76" fmla="*/ 149 w 277"/>
                <a:gd name="T77" fmla="*/ 160 h 277"/>
                <a:gd name="T78" fmla="*/ 160 w 277"/>
                <a:gd name="T79" fmla="*/ 149 h 277"/>
                <a:gd name="T80" fmla="*/ 181 w 277"/>
                <a:gd name="T81" fmla="*/ 149 h 277"/>
                <a:gd name="T82" fmla="*/ 192 w 277"/>
                <a:gd name="T83" fmla="*/ 160 h 277"/>
                <a:gd name="T84" fmla="*/ 181 w 277"/>
                <a:gd name="T85" fmla="*/ 171 h 277"/>
                <a:gd name="T86" fmla="*/ 160 w 277"/>
                <a:gd name="T87" fmla="*/ 171 h 277"/>
                <a:gd name="T88" fmla="*/ 149 w 277"/>
                <a:gd name="T89"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128" y="117"/>
                  </a:moveTo>
                  <a:cubicBezTo>
                    <a:pt x="128" y="96"/>
                    <a:pt x="128" y="96"/>
                    <a:pt x="128" y="96"/>
                  </a:cubicBezTo>
                  <a:cubicBezTo>
                    <a:pt x="128" y="90"/>
                    <a:pt x="133" y="85"/>
                    <a:pt x="139" y="85"/>
                  </a:cubicBezTo>
                  <a:cubicBezTo>
                    <a:pt x="145" y="85"/>
                    <a:pt x="149" y="90"/>
                    <a:pt x="149" y="96"/>
                  </a:cubicBezTo>
                  <a:cubicBezTo>
                    <a:pt x="149" y="117"/>
                    <a:pt x="149" y="117"/>
                    <a:pt x="149" y="117"/>
                  </a:cubicBezTo>
                  <a:cubicBezTo>
                    <a:pt x="149" y="123"/>
                    <a:pt x="145" y="128"/>
                    <a:pt x="139" y="128"/>
                  </a:cubicBezTo>
                  <a:cubicBezTo>
                    <a:pt x="133" y="128"/>
                    <a:pt x="128" y="123"/>
                    <a:pt x="128" y="117"/>
                  </a:cubicBezTo>
                  <a:close/>
                  <a:moveTo>
                    <a:pt x="85" y="160"/>
                  </a:moveTo>
                  <a:cubicBezTo>
                    <a:pt x="85" y="154"/>
                    <a:pt x="90" y="149"/>
                    <a:pt x="96" y="149"/>
                  </a:cubicBezTo>
                  <a:cubicBezTo>
                    <a:pt x="117" y="149"/>
                    <a:pt x="117" y="149"/>
                    <a:pt x="117" y="149"/>
                  </a:cubicBezTo>
                  <a:cubicBezTo>
                    <a:pt x="123" y="149"/>
                    <a:pt x="128" y="154"/>
                    <a:pt x="128" y="160"/>
                  </a:cubicBezTo>
                  <a:cubicBezTo>
                    <a:pt x="128" y="166"/>
                    <a:pt x="123" y="171"/>
                    <a:pt x="117" y="171"/>
                  </a:cubicBezTo>
                  <a:cubicBezTo>
                    <a:pt x="96" y="171"/>
                    <a:pt x="96" y="171"/>
                    <a:pt x="96" y="171"/>
                  </a:cubicBezTo>
                  <a:cubicBezTo>
                    <a:pt x="90" y="171"/>
                    <a:pt x="85" y="166"/>
                    <a:pt x="85" y="160"/>
                  </a:cubicBezTo>
                  <a:close/>
                  <a:moveTo>
                    <a:pt x="149" y="160"/>
                  </a:moveTo>
                  <a:cubicBezTo>
                    <a:pt x="149" y="154"/>
                    <a:pt x="154" y="149"/>
                    <a:pt x="160" y="149"/>
                  </a:cubicBezTo>
                  <a:cubicBezTo>
                    <a:pt x="181" y="149"/>
                    <a:pt x="181" y="149"/>
                    <a:pt x="181" y="149"/>
                  </a:cubicBezTo>
                  <a:cubicBezTo>
                    <a:pt x="187" y="149"/>
                    <a:pt x="192" y="154"/>
                    <a:pt x="192" y="160"/>
                  </a:cubicBezTo>
                  <a:cubicBezTo>
                    <a:pt x="192" y="166"/>
                    <a:pt x="187" y="171"/>
                    <a:pt x="181" y="171"/>
                  </a:cubicBezTo>
                  <a:cubicBezTo>
                    <a:pt x="160" y="171"/>
                    <a:pt x="160" y="171"/>
                    <a:pt x="160" y="171"/>
                  </a:cubicBezTo>
                  <a:cubicBezTo>
                    <a:pt x="154" y="171"/>
                    <a:pt x="149" y="166"/>
                    <a:pt x="149"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8" name="Freeform 411"/>
          <p:cNvSpPr>
            <a:spLocks noChangeAspect="1" noEditPoints="1"/>
          </p:cNvSpPr>
          <p:nvPr/>
        </p:nvSpPr>
        <p:spPr bwMode="auto">
          <a:xfrm>
            <a:off x="406400" y="2533030"/>
            <a:ext cx="369021" cy="369021"/>
          </a:xfrm>
          <a:custGeom>
            <a:avLst/>
            <a:gdLst>
              <a:gd name="T0" fmla="*/ 138 w 512"/>
              <a:gd name="T1" fmla="*/ 373 h 512"/>
              <a:gd name="T2" fmla="*/ 373 w 512"/>
              <a:gd name="T3" fmla="*/ 373 h 512"/>
              <a:gd name="T4" fmla="*/ 373 w 512"/>
              <a:gd name="T5" fmla="*/ 138 h 512"/>
              <a:gd name="T6" fmla="*/ 138 w 512"/>
              <a:gd name="T7" fmla="*/ 138 h 512"/>
              <a:gd name="T8" fmla="*/ 138 w 512"/>
              <a:gd name="T9" fmla="*/ 373 h 512"/>
              <a:gd name="T10" fmla="*/ 256 w 512"/>
              <a:gd name="T11" fmla="*/ 160 h 512"/>
              <a:gd name="T12" fmla="*/ 352 w 512"/>
              <a:gd name="T13" fmla="*/ 256 h 512"/>
              <a:gd name="T14" fmla="*/ 256 w 512"/>
              <a:gd name="T15" fmla="*/ 352 h 512"/>
              <a:gd name="T16" fmla="*/ 160 w 512"/>
              <a:gd name="T17" fmla="*/ 256 h 512"/>
              <a:gd name="T18" fmla="*/ 256 w 512"/>
              <a:gd name="T19" fmla="*/ 160 h 512"/>
              <a:gd name="T20" fmla="*/ 256 w 512"/>
              <a:gd name="T21" fmla="*/ 330 h 512"/>
              <a:gd name="T22" fmla="*/ 330 w 512"/>
              <a:gd name="T23" fmla="*/ 256 h 512"/>
              <a:gd name="T24" fmla="*/ 256 w 512"/>
              <a:gd name="T25" fmla="*/ 181 h 512"/>
              <a:gd name="T26" fmla="*/ 181 w 512"/>
              <a:gd name="T27" fmla="*/ 256 h 512"/>
              <a:gd name="T28" fmla="*/ 256 w 512"/>
              <a:gd name="T29" fmla="*/ 330 h 512"/>
              <a:gd name="T30" fmla="*/ 277 w 512"/>
              <a:gd name="T31" fmla="*/ 266 h 512"/>
              <a:gd name="T32" fmla="*/ 298 w 512"/>
              <a:gd name="T33" fmla="*/ 266 h 512"/>
              <a:gd name="T34" fmla="*/ 309 w 512"/>
              <a:gd name="T35" fmla="*/ 277 h 512"/>
              <a:gd name="T36" fmla="*/ 298 w 512"/>
              <a:gd name="T37" fmla="*/ 288 h 512"/>
              <a:gd name="T38" fmla="*/ 277 w 512"/>
              <a:gd name="T39" fmla="*/ 288 h 512"/>
              <a:gd name="T40" fmla="*/ 266 w 512"/>
              <a:gd name="T41" fmla="*/ 277 h 512"/>
              <a:gd name="T42" fmla="*/ 277 w 512"/>
              <a:gd name="T43" fmla="*/ 266 h 512"/>
              <a:gd name="T44" fmla="*/ 245 w 512"/>
              <a:gd name="T45" fmla="*/ 213 h 512"/>
              <a:gd name="T46" fmla="*/ 256 w 512"/>
              <a:gd name="T47" fmla="*/ 202 h 512"/>
              <a:gd name="T48" fmla="*/ 266 w 512"/>
              <a:gd name="T49" fmla="*/ 213 h 512"/>
              <a:gd name="T50" fmla="*/ 266 w 512"/>
              <a:gd name="T51" fmla="*/ 234 h 512"/>
              <a:gd name="T52" fmla="*/ 256 w 512"/>
              <a:gd name="T53" fmla="*/ 245 h 512"/>
              <a:gd name="T54" fmla="*/ 245 w 512"/>
              <a:gd name="T55" fmla="*/ 234 h 512"/>
              <a:gd name="T56" fmla="*/ 245 w 512"/>
              <a:gd name="T57" fmla="*/ 213 h 512"/>
              <a:gd name="T58" fmla="*/ 213 w 512"/>
              <a:gd name="T59" fmla="*/ 266 h 512"/>
              <a:gd name="T60" fmla="*/ 234 w 512"/>
              <a:gd name="T61" fmla="*/ 266 h 512"/>
              <a:gd name="T62" fmla="*/ 245 w 512"/>
              <a:gd name="T63" fmla="*/ 277 h 512"/>
              <a:gd name="T64" fmla="*/ 234 w 512"/>
              <a:gd name="T65" fmla="*/ 288 h 512"/>
              <a:gd name="T66" fmla="*/ 213 w 512"/>
              <a:gd name="T67" fmla="*/ 288 h 512"/>
              <a:gd name="T68" fmla="*/ 202 w 512"/>
              <a:gd name="T69" fmla="*/ 277 h 512"/>
              <a:gd name="T70" fmla="*/ 213 w 512"/>
              <a:gd name="T71" fmla="*/ 266 h 512"/>
              <a:gd name="T72" fmla="*/ 256 w 512"/>
              <a:gd name="T73" fmla="*/ 0 h 512"/>
              <a:gd name="T74" fmla="*/ 0 w 512"/>
              <a:gd name="T75" fmla="*/ 256 h 512"/>
              <a:gd name="T76" fmla="*/ 256 w 512"/>
              <a:gd name="T77" fmla="*/ 512 h 512"/>
              <a:gd name="T78" fmla="*/ 512 w 512"/>
              <a:gd name="T79" fmla="*/ 256 h 512"/>
              <a:gd name="T80" fmla="*/ 256 w 512"/>
              <a:gd name="T81" fmla="*/ 0 h 512"/>
              <a:gd name="T82" fmla="*/ 394 w 512"/>
              <a:gd name="T83" fmla="*/ 373 h 512"/>
              <a:gd name="T84" fmla="*/ 373 w 512"/>
              <a:gd name="T85" fmla="*/ 394 h 512"/>
              <a:gd name="T86" fmla="*/ 138 w 512"/>
              <a:gd name="T87" fmla="*/ 394 h 512"/>
              <a:gd name="T88" fmla="*/ 117 w 512"/>
              <a:gd name="T89" fmla="*/ 373 h 512"/>
              <a:gd name="T90" fmla="*/ 117 w 512"/>
              <a:gd name="T91" fmla="*/ 138 h 512"/>
              <a:gd name="T92" fmla="*/ 138 w 512"/>
              <a:gd name="T93" fmla="*/ 117 h 512"/>
              <a:gd name="T94" fmla="*/ 373 w 512"/>
              <a:gd name="T95" fmla="*/ 117 h 512"/>
              <a:gd name="T96" fmla="*/ 394 w 512"/>
              <a:gd name="T97" fmla="*/ 138 h 512"/>
              <a:gd name="T98" fmla="*/ 394 w 512"/>
              <a:gd name="T9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77" y="266"/>
                </a:moveTo>
                <a:cubicBezTo>
                  <a:pt x="298" y="266"/>
                  <a:pt x="298" y="266"/>
                  <a:pt x="298" y="266"/>
                </a:cubicBezTo>
                <a:cubicBezTo>
                  <a:pt x="304" y="266"/>
                  <a:pt x="309" y="271"/>
                  <a:pt x="309" y="277"/>
                </a:cubicBezTo>
                <a:cubicBezTo>
                  <a:pt x="309" y="283"/>
                  <a:pt x="304" y="288"/>
                  <a:pt x="298" y="288"/>
                </a:cubicBezTo>
                <a:cubicBezTo>
                  <a:pt x="277" y="288"/>
                  <a:pt x="277" y="288"/>
                  <a:pt x="277" y="288"/>
                </a:cubicBezTo>
                <a:cubicBezTo>
                  <a:pt x="271" y="288"/>
                  <a:pt x="266" y="283"/>
                  <a:pt x="266" y="277"/>
                </a:cubicBezTo>
                <a:cubicBezTo>
                  <a:pt x="266" y="271"/>
                  <a:pt x="271" y="266"/>
                  <a:pt x="277" y="266"/>
                </a:cubicBezTo>
                <a:close/>
                <a:moveTo>
                  <a:pt x="245" y="213"/>
                </a:moveTo>
                <a:cubicBezTo>
                  <a:pt x="245" y="207"/>
                  <a:pt x="250" y="202"/>
                  <a:pt x="256" y="202"/>
                </a:cubicBezTo>
                <a:cubicBezTo>
                  <a:pt x="262" y="202"/>
                  <a:pt x="266" y="207"/>
                  <a:pt x="266" y="213"/>
                </a:cubicBezTo>
                <a:cubicBezTo>
                  <a:pt x="266" y="234"/>
                  <a:pt x="266" y="234"/>
                  <a:pt x="266" y="234"/>
                </a:cubicBezTo>
                <a:cubicBezTo>
                  <a:pt x="266" y="240"/>
                  <a:pt x="262" y="245"/>
                  <a:pt x="256" y="245"/>
                </a:cubicBezTo>
                <a:cubicBezTo>
                  <a:pt x="250" y="245"/>
                  <a:pt x="245" y="240"/>
                  <a:pt x="245" y="234"/>
                </a:cubicBezTo>
                <a:lnTo>
                  <a:pt x="245" y="213"/>
                </a:lnTo>
                <a:close/>
                <a:moveTo>
                  <a:pt x="213" y="266"/>
                </a:moveTo>
                <a:cubicBezTo>
                  <a:pt x="234" y="266"/>
                  <a:pt x="234" y="266"/>
                  <a:pt x="234" y="266"/>
                </a:cubicBezTo>
                <a:cubicBezTo>
                  <a:pt x="240" y="266"/>
                  <a:pt x="245" y="271"/>
                  <a:pt x="245" y="277"/>
                </a:cubicBezTo>
                <a:cubicBezTo>
                  <a:pt x="245" y="283"/>
                  <a:pt x="240" y="288"/>
                  <a:pt x="234" y="288"/>
                </a:cubicBezTo>
                <a:cubicBezTo>
                  <a:pt x="213" y="288"/>
                  <a:pt x="213" y="288"/>
                  <a:pt x="213" y="288"/>
                </a:cubicBezTo>
                <a:cubicBezTo>
                  <a:pt x="207" y="288"/>
                  <a:pt x="202" y="283"/>
                  <a:pt x="202" y="277"/>
                </a:cubicBezTo>
                <a:cubicBezTo>
                  <a:pt x="202" y="271"/>
                  <a:pt x="207" y="266"/>
                  <a:pt x="213"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9" name="Group 454"/>
          <p:cNvGrpSpPr>
            <a:grpSpLocks noChangeAspect="1"/>
          </p:cNvGrpSpPr>
          <p:nvPr/>
        </p:nvGrpSpPr>
        <p:grpSpPr bwMode="auto">
          <a:xfrm>
            <a:off x="2501740" y="2533030"/>
            <a:ext cx="369021" cy="369021"/>
            <a:chOff x="1912" y="1576"/>
            <a:chExt cx="340" cy="340"/>
          </a:xfrm>
          <a:solidFill>
            <a:schemeClr val="accent5"/>
          </a:solidFill>
        </p:grpSpPr>
        <p:sp>
          <p:nvSpPr>
            <p:cNvPr id="290" name="Freeform 455"/>
            <p:cNvSpPr>
              <a:spLocks noEditPoints="1"/>
            </p:cNvSpPr>
            <p:nvPr/>
          </p:nvSpPr>
          <p:spPr bwMode="auto">
            <a:xfrm>
              <a:off x="2004" y="1653"/>
              <a:ext cx="171" cy="170"/>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456"/>
            <p:cNvSpPr>
              <a:spLocks noEditPoints="1"/>
            </p:cNvSpPr>
            <p:nvPr/>
          </p:nvSpPr>
          <p:spPr bwMode="auto">
            <a:xfrm>
              <a:off x="1912"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2" name="Freeform 460"/>
          <p:cNvSpPr>
            <a:spLocks noChangeAspect="1" noEditPoints="1"/>
          </p:cNvSpPr>
          <p:nvPr/>
        </p:nvSpPr>
        <p:spPr bwMode="auto">
          <a:xfrm>
            <a:off x="2082672" y="2533030"/>
            <a:ext cx="369021" cy="370106"/>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3" name="Freeform 529"/>
          <p:cNvSpPr>
            <a:spLocks noChangeAspect="1" noEditPoints="1"/>
          </p:cNvSpPr>
          <p:nvPr/>
        </p:nvSpPr>
        <p:spPr bwMode="auto">
          <a:xfrm>
            <a:off x="2920808" y="2533030"/>
            <a:ext cx="368120" cy="367041"/>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4" name="Group 532"/>
          <p:cNvGrpSpPr>
            <a:grpSpLocks noChangeAspect="1"/>
          </p:cNvGrpSpPr>
          <p:nvPr/>
        </p:nvGrpSpPr>
        <p:grpSpPr bwMode="auto">
          <a:xfrm>
            <a:off x="3338975" y="2533030"/>
            <a:ext cx="367041" cy="367041"/>
            <a:chOff x="4511" y="2388"/>
            <a:chExt cx="340" cy="340"/>
          </a:xfrm>
          <a:solidFill>
            <a:schemeClr val="accent6"/>
          </a:solidFill>
        </p:grpSpPr>
        <p:sp>
          <p:nvSpPr>
            <p:cNvPr id="295" name="Freeform 533"/>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534"/>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8" name="Freeform 538"/>
          <p:cNvSpPr>
            <a:spLocks noChangeAspect="1" noEditPoints="1"/>
          </p:cNvSpPr>
          <p:nvPr/>
        </p:nvSpPr>
        <p:spPr bwMode="auto">
          <a:xfrm>
            <a:off x="3756063" y="2533030"/>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9" name="Group 541"/>
          <p:cNvGrpSpPr>
            <a:grpSpLocks noChangeAspect="1"/>
          </p:cNvGrpSpPr>
          <p:nvPr/>
        </p:nvGrpSpPr>
        <p:grpSpPr bwMode="auto">
          <a:xfrm>
            <a:off x="4173151" y="2533030"/>
            <a:ext cx="367041" cy="367041"/>
            <a:chOff x="5326" y="2494"/>
            <a:chExt cx="340" cy="340"/>
          </a:xfrm>
          <a:solidFill>
            <a:schemeClr val="accent6"/>
          </a:solidFill>
        </p:grpSpPr>
        <p:sp>
          <p:nvSpPr>
            <p:cNvPr id="30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3" name="TextBox 302"/>
          <p:cNvSpPr txBox="1"/>
          <p:nvPr/>
        </p:nvSpPr>
        <p:spPr>
          <a:xfrm>
            <a:off x="3741687" y="2951787"/>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Lightbulb</a:t>
            </a:r>
            <a:r>
              <a:rPr lang="en-US" sz="1000" dirty="0">
                <a:solidFill>
                  <a:srgbClr val="313131"/>
                </a:solidFill>
              </a:rPr>
              <a:t> 2</a:t>
            </a:r>
          </a:p>
        </p:txBody>
      </p:sp>
      <p:grpSp>
        <p:nvGrpSpPr>
          <p:cNvPr id="304" name="Group 536"/>
          <p:cNvGrpSpPr>
            <a:grpSpLocks noChangeAspect="1"/>
          </p:cNvGrpSpPr>
          <p:nvPr/>
        </p:nvGrpSpPr>
        <p:grpSpPr bwMode="auto">
          <a:xfrm>
            <a:off x="5009307" y="2533030"/>
            <a:ext cx="369021" cy="369021"/>
            <a:chOff x="2631" y="1992"/>
            <a:chExt cx="340" cy="340"/>
          </a:xfrm>
          <a:solidFill>
            <a:schemeClr val="accent6"/>
          </a:solidFill>
        </p:grpSpPr>
        <p:sp>
          <p:nvSpPr>
            <p:cNvPr id="305" name="Freeform 537"/>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538"/>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7" name="Freeform 542"/>
          <p:cNvSpPr>
            <a:spLocks noChangeAspect="1" noEditPoints="1"/>
          </p:cNvSpPr>
          <p:nvPr/>
        </p:nvSpPr>
        <p:spPr bwMode="auto">
          <a:xfrm>
            <a:off x="4590239" y="2533030"/>
            <a:ext cx="369021" cy="36902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8" name="Freeform 83"/>
          <p:cNvSpPr>
            <a:spLocks noChangeAspect="1" noEditPoints="1"/>
          </p:cNvSpPr>
          <p:nvPr/>
        </p:nvSpPr>
        <p:spPr bwMode="auto">
          <a:xfrm>
            <a:off x="5428375" y="2533030"/>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9" name="Group 308"/>
          <p:cNvGrpSpPr>
            <a:grpSpLocks noChangeAspect="1"/>
          </p:cNvGrpSpPr>
          <p:nvPr/>
        </p:nvGrpSpPr>
        <p:grpSpPr bwMode="auto">
          <a:xfrm>
            <a:off x="5847134" y="2533030"/>
            <a:ext cx="367631" cy="367631"/>
            <a:chOff x="5024" y="2494"/>
            <a:chExt cx="340" cy="340"/>
          </a:xfrm>
          <a:solidFill>
            <a:schemeClr val="accent1"/>
          </a:solidFill>
        </p:grpSpPr>
        <p:sp>
          <p:nvSpPr>
            <p:cNvPr id="310" name="Freeform 87"/>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88"/>
            <p:cNvSpPr>
              <a:spLocks noEditPoints="1"/>
            </p:cNvSpPr>
            <p:nvPr/>
          </p:nvSpPr>
          <p:spPr bwMode="auto">
            <a:xfrm>
              <a:off x="5116" y="2558"/>
              <a:ext cx="166" cy="212"/>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2" name="Freeform 43"/>
          <p:cNvSpPr>
            <a:spLocks noChangeAspect="1" noEditPoints="1"/>
          </p:cNvSpPr>
          <p:nvPr/>
        </p:nvSpPr>
        <p:spPr bwMode="auto">
          <a:xfrm>
            <a:off x="6264812" y="2533030"/>
            <a:ext cx="370106" cy="369021"/>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3" name="Group 46"/>
          <p:cNvGrpSpPr>
            <a:grpSpLocks noChangeAspect="1"/>
          </p:cNvGrpSpPr>
          <p:nvPr/>
        </p:nvGrpSpPr>
        <p:grpSpPr bwMode="auto">
          <a:xfrm>
            <a:off x="6684965" y="2533030"/>
            <a:ext cx="369021" cy="369021"/>
            <a:chOff x="3479" y="-1"/>
            <a:chExt cx="340" cy="340"/>
          </a:xfrm>
          <a:solidFill>
            <a:schemeClr val="accent1"/>
          </a:solidFill>
        </p:grpSpPr>
        <p:sp>
          <p:nvSpPr>
            <p:cNvPr id="314" name="Freeform 47"/>
            <p:cNvSpPr>
              <a:spLocks noEditPoints="1"/>
            </p:cNvSpPr>
            <p:nvPr/>
          </p:nvSpPr>
          <p:spPr bwMode="auto">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48"/>
            <p:cNvSpPr>
              <a:spLocks noEditPoints="1"/>
            </p:cNvSpPr>
            <p:nvPr/>
          </p:nvSpPr>
          <p:spPr bwMode="auto">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6" name="Freeform 52"/>
          <p:cNvSpPr>
            <a:spLocks noChangeAspect="1" noEditPoints="1"/>
          </p:cNvSpPr>
          <p:nvPr/>
        </p:nvSpPr>
        <p:spPr bwMode="auto">
          <a:xfrm>
            <a:off x="7104033" y="2533030"/>
            <a:ext cx="369021" cy="369021"/>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7" name="Group 55"/>
          <p:cNvGrpSpPr>
            <a:grpSpLocks noChangeAspect="1"/>
          </p:cNvGrpSpPr>
          <p:nvPr/>
        </p:nvGrpSpPr>
        <p:grpSpPr bwMode="auto">
          <a:xfrm>
            <a:off x="7523097" y="2533030"/>
            <a:ext cx="369021" cy="369021"/>
            <a:chOff x="4263" y="0"/>
            <a:chExt cx="340" cy="340"/>
          </a:xfrm>
          <a:solidFill>
            <a:schemeClr val="accent1"/>
          </a:solidFill>
        </p:grpSpPr>
        <p:sp>
          <p:nvSpPr>
            <p:cNvPr id="318" name="Freeform 56"/>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Freeform 57"/>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5806245"/>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Gestures</a:t>
            </a:r>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74501" y="211879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ouch</a:t>
            </a:r>
          </a:p>
        </p:txBody>
      </p:sp>
      <p:sp>
        <p:nvSpPr>
          <p:cNvPr id="423" name="TextBox 422"/>
          <p:cNvSpPr txBox="1"/>
          <p:nvPr/>
        </p:nvSpPr>
        <p:spPr>
          <a:xfrm>
            <a:off x="1206905" y="2118797"/>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wo finger move</a:t>
            </a:r>
          </a:p>
        </p:txBody>
      </p:sp>
      <p:sp>
        <p:nvSpPr>
          <p:cNvPr id="424" name="TextBox 423"/>
          <p:cNvSpPr txBox="1"/>
          <p:nvPr/>
        </p:nvSpPr>
        <p:spPr>
          <a:xfrm>
            <a:off x="2054126"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wo finger swipe left</a:t>
            </a:r>
          </a:p>
        </p:txBody>
      </p:sp>
      <p:sp>
        <p:nvSpPr>
          <p:cNvPr id="425" name="TextBox 424"/>
          <p:cNvSpPr txBox="1"/>
          <p:nvPr/>
        </p:nvSpPr>
        <p:spPr>
          <a:xfrm>
            <a:off x="3742218"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wo finger tap</a:t>
            </a:r>
          </a:p>
        </p:txBody>
      </p:sp>
      <p:sp>
        <p:nvSpPr>
          <p:cNvPr id="426" name="TextBox 425"/>
          <p:cNvSpPr txBox="1"/>
          <p:nvPr/>
        </p:nvSpPr>
        <p:spPr>
          <a:xfrm>
            <a:off x="4586264"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Zoom in</a:t>
            </a:r>
          </a:p>
        </p:txBody>
      </p:sp>
      <p:sp>
        <p:nvSpPr>
          <p:cNvPr id="427" name="TextBox 426"/>
          <p:cNvSpPr txBox="1"/>
          <p:nvPr/>
        </p:nvSpPr>
        <p:spPr>
          <a:xfrm>
            <a:off x="2898172"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wo finger swipe right</a:t>
            </a:r>
          </a:p>
        </p:txBody>
      </p:sp>
      <p:sp>
        <p:nvSpPr>
          <p:cNvPr id="428" name="TextBox 427"/>
          <p:cNvSpPr txBox="1"/>
          <p:nvPr/>
        </p:nvSpPr>
        <p:spPr>
          <a:xfrm>
            <a:off x="543030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Zoom out</a:t>
            </a:r>
          </a:p>
        </p:txBody>
      </p:sp>
      <p:sp>
        <p:nvSpPr>
          <p:cNvPr id="472" name="TextBox 471"/>
          <p:cNvSpPr txBox="1"/>
          <p:nvPr/>
        </p:nvSpPr>
        <p:spPr>
          <a:xfrm>
            <a:off x="374501" y="290105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 grab</a:t>
            </a:r>
          </a:p>
        </p:txBody>
      </p:sp>
      <p:sp>
        <p:nvSpPr>
          <p:cNvPr id="473" name="TextBox 472"/>
          <p:cNvSpPr txBox="1"/>
          <p:nvPr/>
        </p:nvSpPr>
        <p:spPr>
          <a:xfrm>
            <a:off x="1209034" y="2901057"/>
            <a:ext cx="833967" cy="461665"/>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 pointing down</a:t>
            </a:r>
          </a:p>
        </p:txBody>
      </p:sp>
      <p:sp>
        <p:nvSpPr>
          <p:cNvPr id="474" name="TextBox 473"/>
          <p:cNvSpPr txBox="1"/>
          <p:nvPr/>
        </p:nvSpPr>
        <p:spPr>
          <a:xfrm>
            <a:off x="2058384" y="290105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 pointing left</a:t>
            </a:r>
          </a:p>
        </p:txBody>
      </p:sp>
      <p:sp>
        <p:nvSpPr>
          <p:cNvPr id="475" name="TextBox 474"/>
          <p:cNvSpPr txBox="1"/>
          <p:nvPr/>
        </p:nvSpPr>
        <p:spPr>
          <a:xfrm>
            <a:off x="3750733" y="290105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 pointing up</a:t>
            </a:r>
          </a:p>
        </p:txBody>
      </p:sp>
      <p:sp>
        <p:nvSpPr>
          <p:cNvPr id="477" name="TextBox 476"/>
          <p:cNvSpPr txBox="1"/>
          <p:nvPr/>
        </p:nvSpPr>
        <p:spPr>
          <a:xfrm>
            <a:off x="2904559" y="2901057"/>
            <a:ext cx="830792" cy="461665"/>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nd pointing right</a:t>
            </a:r>
          </a:p>
        </p:txBody>
      </p:sp>
      <p:sp>
        <p:nvSpPr>
          <p:cNvPr id="522" name="TextBox 521"/>
          <p:cNvSpPr txBox="1"/>
          <p:nvPr/>
        </p:nvSpPr>
        <p:spPr>
          <a:xfrm>
            <a:off x="385134" y="3788999"/>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uble tap</a:t>
            </a:r>
          </a:p>
        </p:txBody>
      </p:sp>
      <p:sp>
        <p:nvSpPr>
          <p:cNvPr id="523" name="TextBox 522"/>
          <p:cNvSpPr txBox="1"/>
          <p:nvPr/>
        </p:nvSpPr>
        <p:spPr>
          <a:xfrm>
            <a:off x="1214125" y="3788999"/>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old</a:t>
            </a:r>
          </a:p>
        </p:txBody>
      </p:sp>
      <p:sp>
        <p:nvSpPr>
          <p:cNvPr id="524" name="TextBox 523"/>
          <p:cNvSpPr txBox="1"/>
          <p:nvPr/>
        </p:nvSpPr>
        <p:spPr>
          <a:xfrm>
            <a:off x="2057933"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ve</a:t>
            </a:r>
          </a:p>
        </p:txBody>
      </p:sp>
      <p:sp>
        <p:nvSpPr>
          <p:cNvPr id="525" name="TextBox 524"/>
          <p:cNvSpPr txBox="1"/>
          <p:nvPr/>
        </p:nvSpPr>
        <p:spPr>
          <a:xfrm>
            <a:off x="3739199"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tate</a:t>
            </a:r>
          </a:p>
        </p:txBody>
      </p:sp>
      <p:sp>
        <p:nvSpPr>
          <p:cNvPr id="526" name="TextBox 525"/>
          <p:cNvSpPr txBox="1"/>
          <p:nvPr/>
        </p:nvSpPr>
        <p:spPr>
          <a:xfrm>
            <a:off x="4579832"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wipe left</a:t>
            </a:r>
          </a:p>
        </p:txBody>
      </p:sp>
      <p:sp>
        <p:nvSpPr>
          <p:cNvPr id="527" name="TextBox 526"/>
          <p:cNvSpPr txBox="1"/>
          <p:nvPr/>
        </p:nvSpPr>
        <p:spPr>
          <a:xfrm>
            <a:off x="2898566"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nch</a:t>
            </a:r>
          </a:p>
        </p:txBody>
      </p:sp>
      <p:sp>
        <p:nvSpPr>
          <p:cNvPr id="528" name="TextBox 527"/>
          <p:cNvSpPr txBox="1"/>
          <p:nvPr/>
        </p:nvSpPr>
        <p:spPr>
          <a:xfrm>
            <a:off x="5420465"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wipe</a:t>
            </a:r>
          </a:p>
        </p:txBody>
      </p:sp>
      <p:sp>
        <p:nvSpPr>
          <p:cNvPr id="530" name="TextBox 529"/>
          <p:cNvSpPr txBox="1"/>
          <p:nvPr/>
        </p:nvSpPr>
        <p:spPr>
          <a:xfrm>
            <a:off x="6261100" y="378899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ap</a:t>
            </a:r>
          </a:p>
        </p:txBody>
      </p:sp>
      <p:sp>
        <p:nvSpPr>
          <p:cNvPr id="256" name="Freeform 255"/>
          <p:cNvSpPr>
            <a:spLocks noChangeAspect="1" noEditPoints="1"/>
          </p:cNvSpPr>
          <p:nvPr/>
        </p:nvSpPr>
        <p:spPr bwMode="auto">
          <a:xfrm>
            <a:off x="406400" y="1698117"/>
            <a:ext cx="367041"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8"/>
          <p:cNvGrpSpPr>
            <a:grpSpLocks noChangeAspect="1"/>
          </p:cNvGrpSpPr>
          <p:nvPr/>
        </p:nvGrpSpPr>
        <p:grpSpPr bwMode="auto">
          <a:xfrm>
            <a:off x="825665" y="1698117"/>
            <a:ext cx="367041" cy="367041"/>
            <a:chOff x="1346" y="303"/>
            <a:chExt cx="340" cy="340"/>
          </a:xfrm>
          <a:solidFill>
            <a:schemeClr val="accent1"/>
          </a:solidFill>
        </p:grpSpPr>
        <p:sp>
          <p:nvSpPr>
            <p:cNvPr id="258"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14"/>
          <p:cNvSpPr>
            <a:spLocks noChangeAspect="1" noEditPoints="1"/>
          </p:cNvSpPr>
          <p:nvPr/>
        </p:nvSpPr>
        <p:spPr bwMode="auto">
          <a:xfrm>
            <a:off x="1244930" y="1698117"/>
            <a:ext cx="367041" cy="367041"/>
          </a:xfrm>
          <a:custGeom>
            <a:avLst/>
            <a:gdLst>
              <a:gd name="T0" fmla="*/ 0 w 512"/>
              <a:gd name="T1" fmla="*/ 256 h 512"/>
              <a:gd name="T2" fmla="*/ 512 w 512"/>
              <a:gd name="T3" fmla="*/ 256 h 512"/>
              <a:gd name="T4" fmla="*/ 328 w 512"/>
              <a:gd name="T5" fmla="*/ 412 h 512"/>
              <a:gd name="T6" fmla="*/ 313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181 h 512"/>
              <a:gd name="T26" fmla="*/ 224 w 512"/>
              <a:gd name="T27" fmla="*/ 202 h 512"/>
              <a:gd name="T28" fmla="*/ 224 w 512"/>
              <a:gd name="T29" fmla="*/ 288 h 512"/>
              <a:gd name="T30" fmla="*/ 202 w 512"/>
              <a:gd name="T31" fmla="*/ 288 h 512"/>
              <a:gd name="T32" fmla="*/ 202 w 512"/>
              <a:gd name="T33" fmla="*/ 202 h 512"/>
              <a:gd name="T34" fmla="*/ 181 w 512"/>
              <a:gd name="T35" fmla="*/ 202 h 512"/>
              <a:gd name="T36" fmla="*/ 175 w 512"/>
              <a:gd name="T37" fmla="*/ 340 h 512"/>
              <a:gd name="T38" fmla="*/ 131 w 512"/>
              <a:gd name="T39" fmla="*/ 281 h 512"/>
              <a:gd name="T40" fmla="*/ 117 w 512"/>
              <a:gd name="T41" fmla="*/ 277 h 512"/>
              <a:gd name="T42" fmla="*/ 116 w 512"/>
              <a:gd name="T43" fmla="*/ 295 h 512"/>
              <a:gd name="T44" fmla="*/ 190 w 512"/>
              <a:gd name="T45" fmla="*/ 411 h 512"/>
              <a:gd name="T46" fmla="*/ 175 w 512"/>
              <a:gd name="T47" fmla="*/ 414 h 512"/>
              <a:gd name="T48" fmla="*/ 107 w 512"/>
              <a:gd name="T49" fmla="*/ 258 h 512"/>
              <a:gd name="T50" fmla="*/ 150 w 512"/>
              <a:gd name="T51" fmla="*/ 272 h 512"/>
              <a:gd name="T52" fmla="*/ 160 w 512"/>
              <a:gd name="T53" fmla="*/ 202 h 512"/>
              <a:gd name="T54" fmla="*/ 207 w 512"/>
              <a:gd name="T55" fmla="*/ 175 h 512"/>
              <a:gd name="T56" fmla="*/ 266 w 512"/>
              <a:gd name="T57" fmla="*/ 192 h 512"/>
              <a:gd name="T58" fmla="*/ 277 w 512"/>
              <a:gd name="T59" fmla="*/ 245 h 512"/>
              <a:gd name="T60" fmla="*/ 320 w 512"/>
              <a:gd name="T61" fmla="*/ 256 h 512"/>
              <a:gd name="T62" fmla="*/ 352 w 512"/>
              <a:gd name="T63" fmla="*/ 330 h 512"/>
              <a:gd name="T64" fmla="*/ 415 w 512"/>
              <a:gd name="T65" fmla="*/ 174 h 512"/>
              <a:gd name="T66" fmla="*/ 391 w 512"/>
              <a:gd name="T67" fmla="*/ 199 h 512"/>
              <a:gd name="T68" fmla="*/ 376 w 512"/>
              <a:gd name="T69" fmla="*/ 199 h 512"/>
              <a:gd name="T70" fmla="*/ 379 w 512"/>
              <a:gd name="T71" fmla="*/ 181 h 512"/>
              <a:gd name="T72" fmla="*/ 352 w 512"/>
              <a:gd name="T73" fmla="*/ 209 h 512"/>
              <a:gd name="T74" fmla="*/ 370 w 512"/>
              <a:gd name="T75" fmla="*/ 205 h 512"/>
              <a:gd name="T76" fmla="*/ 349 w 512"/>
              <a:gd name="T77" fmla="*/ 242 h 512"/>
              <a:gd name="T78" fmla="*/ 341 w 512"/>
              <a:gd name="T79" fmla="*/ 245 h 512"/>
              <a:gd name="T80" fmla="*/ 333 w 512"/>
              <a:gd name="T81" fmla="*/ 242 h 512"/>
              <a:gd name="T82" fmla="*/ 312 w 512"/>
              <a:gd name="T83" fmla="*/ 205 h 512"/>
              <a:gd name="T84" fmla="*/ 330 w 512"/>
              <a:gd name="T85" fmla="*/ 209 h 512"/>
              <a:gd name="T86" fmla="*/ 303 w 512"/>
              <a:gd name="T87" fmla="*/ 181 h 512"/>
              <a:gd name="T88" fmla="*/ 306 w 512"/>
              <a:gd name="T89" fmla="*/ 199 h 512"/>
              <a:gd name="T90" fmla="*/ 291 w 512"/>
              <a:gd name="T91" fmla="*/ 199 h 512"/>
              <a:gd name="T92" fmla="*/ 267 w 512"/>
              <a:gd name="T93" fmla="*/ 174 h 512"/>
              <a:gd name="T94" fmla="*/ 269 w 512"/>
              <a:gd name="T95" fmla="*/ 163 h 512"/>
              <a:gd name="T96" fmla="*/ 306 w 512"/>
              <a:gd name="T97" fmla="*/ 141 h 512"/>
              <a:gd name="T98" fmla="*/ 303 w 512"/>
              <a:gd name="T99" fmla="*/ 160 h 512"/>
              <a:gd name="T100" fmla="*/ 330 w 512"/>
              <a:gd name="T101" fmla="*/ 132 h 512"/>
              <a:gd name="T102" fmla="*/ 320 w 512"/>
              <a:gd name="T103" fmla="*/ 138 h 512"/>
              <a:gd name="T104" fmla="*/ 312 w 512"/>
              <a:gd name="T105" fmla="*/ 120 h 512"/>
              <a:gd name="T106" fmla="*/ 337 w 512"/>
              <a:gd name="T107" fmla="*/ 96 h 512"/>
              <a:gd name="T108" fmla="*/ 349 w 512"/>
              <a:gd name="T109" fmla="*/ 99 h 512"/>
              <a:gd name="T110" fmla="*/ 370 w 512"/>
              <a:gd name="T111" fmla="*/ 135 h 512"/>
              <a:gd name="T112" fmla="*/ 355 w 512"/>
              <a:gd name="T113" fmla="*/ 135 h 512"/>
              <a:gd name="T114" fmla="*/ 352 w 512"/>
              <a:gd name="T115" fmla="*/ 160 h 512"/>
              <a:gd name="T116" fmla="*/ 376 w 512"/>
              <a:gd name="T117" fmla="*/ 157 h 512"/>
              <a:gd name="T118" fmla="*/ 391 w 512"/>
              <a:gd name="T119" fmla="*/ 141 h 512"/>
              <a:gd name="T120" fmla="*/ 415 w 512"/>
              <a:gd name="T121" fmla="*/ 1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5" y="415"/>
                  <a:pt x="313" y="413"/>
                </a:cubicBezTo>
                <a:cubicBezTo>
                  <a:pt x="308" y="409"/>
                  <a:pt x="308" y="403"/>
                  <a:pt x="311" y="398"/>
                </a:cubicBezTo>
                <a:cubicBezTo>
                  <a:pt x="333" y="373"/>
                  <a:pt x="330" y="332"/>
                  <a:pt x="330" y="331"/>
                </a:cubicBezTo>
                <a:cubicBezTo>
                  <a:pt x="330" y="288"/>
                  <a:pt x="330" y="288"/>
                  <a:pt x="330" y="288"/>
                </a:cubicBezTo>
                <a:cubicBezTo>
                  <a:pt x="330" y="282"/>
                  <a:pt x="325" y="277"/>
                  <a:pt x="319" y="277"/>
                </a:cubicBezTo>
                <a:cubicBezTo>
                  <a:pt x="314" y="277"/>
                  <a:pt x="309" y="281"/>
                  <a:pt x="309" y="287"/>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192"/>
                  <a:pt x="245" y="192"/>
                  <a:pt x="245" y="192"/>
                </a:cubicBezTo>
                <a:cubicBezTo>
                  <a:pt x="245" y="186"/>
                  <a:pt x="240" y="181"/>
                  <a:pt x="234" y="181"/>
                </a:cubicBezTo>
                <a:cubicBezTo>
                  <a:pt x="228" y="181"/>
                  <a:pt x="224" y="186"/>
                  <a:pt x="224" y="192"/>
                </a:cubicBezTo>
                <a:cubicBezTo>
                  <a:pt x="224" y="202"/>
                  <a:pt x="224" y="202"/>
                  <a:pt x="224" y="202"/>
                </a:cubicBezTo>
                <a:cubicBezTo>
                  <a:pt x="224" y="213"/>
                  <a:pt x="224" y="213"/>
                  <a:pt x="224" y="213"/>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60" y="286"/>
                  <a:pt x="160" y="293"/>
                </a:cubicBezTo>
                <a:cubicBezTo>
                  <a:pt x="160" y="202"/>
                  <a:pt x="160" y="202"/>
                  <a:pt x="160" y="202"/>
                </a:cubicBezTo>
                <a:cubicBezTo>
                  <a:pt x="160" y="185"/>
                  <a:pt x="174" y="170"/>
                  <a:pt x="192" y="170"/>
                </a:cubicBezTo>
                <a:cubicBezTo>
                  <a:pt x="197" y="170"/>
                  <a:pt x="203" y="172"/>
                  <a:pt x="207" y="175"/>
                </a:cubicBezTo>
                <a:cubicBezTo>
                  <a:pt x="213" y="166"/>
                  <a:pt x="223" y="160"/>
                  <a:pt x="234" y="160"/>
                </a:cubicBezTo>
                <a:cubicBezTo>
                  <a:pt x="252" y="160"/>
                  <a:pt x="266" y="174"/>
                  <a:pt x="266" y="192"/>
                </a:cubicBezTo>
                <a:cubicBezTo>
                  <a:pt x="266" y="247"/>
                  <a:pt x="266" y="247"/>
                  <a:pt x="266" y="247"/>
                </a:cubicBezTo>
                <a:cubicBezTo>
                  <a:pt x="266"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5" y="174"/>
                </a:moveTo>
                <a:cubicBezTo>
                  <a:pt x="414" y="176"/>
                  <a:pt x="414" y="177"/>
                  <a:pt x="413" y="178"/>
                </a:cubicBez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8" y="243"/>
                  <a:pt x="346" y="244"/>
                  <a:pt x="345" y="244"/>
                </a:cubicBezTo>
                <a:cubicBezTo>
                  <a:pt x="344" y="245"/>
                  <a:pt x="342" y="245"/>
                  <a:pt x="341" y="245"/>
                </a:cubicBezTo>
                <a:cubicBezTo>
                  <a:pt x="340" y="245"/>
                  <a:pt x="338" y="245"/>
                  <a:pt x="337" y="244"/>
                </a:cubicBezTo>
                <a:cubicBezTo>
                  <a:pt x="336" y="244"/>
                  <a:pt x="334" y="243"/>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8" y="177"/>
                  <a:pt x="268" y="176"/>
                  <a:pt x="267" y="174"/>
                </a:cubicBezTo>
                <a:cubicBezTo>
                  <a:pt x="266" y="172"/>
                  <a:pt x="266" y="169"/>
                  <a:pt x="267" y="166"/>
                </a:cubicBezTo>
                <a:cubicBezTo>
                  <a:pt x="268" y="165"/>
                  <a:pt x="268" y="164"/>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4" y="98"/>
                  <a:pt x="336" y="97"/>
                  <a:pt x="337" y="96"/>
                </a:cubicBezTo>
                <a:cubicBezTo>
                  <a:pt x="340" y="95"/>
                  <a:pt x="342" y="95"/>
                  <a:pt x="345" y="96"/>
                </a:cubicBezTo>
                <a:cubicBezTo>
                  <a:pt x="346" y="97"/>
                  <a:pt x="348" y="98"/>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4" y="164"/>
                  <a:pt x="414" y="165"/>
                  <a:pt x="415" y="166"/>
                </a:cubicBezTo>
                <a:cubicBezTo>
                  <a:pt x="416" y="169"/>
                  <a:pt x="416" y="172"/>
                  <a:pt x="415" y="17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17"/>
          <p:cNvGrpSpPr>
            <a:grpSpLocks noChangeAspect="1"/>
          </p:cNvGrpSpPr>
          <p:nvPr/>
        </p:nvGrpSpPr>
        <p:grpSpPr bwMode="auto">
          <a:xfrm>
            <a:off x="1664195" y="1697038"/>
            <a:ext cx="367041" cy="368120"/>
            <a:chOff x="1516" y="151"/>
            <a:chExt cx="340" cy="341"/>
          </a:xfrm>
          <a:solidFill>
            <a:schemeClr val="accent1"/>
          </a:solidFill>
        </p:grpSpPr>
        <p:sp>
          <p:nvSpPr>
            <p:cNvPr id="262" name="Freeform 18"/>
            <p:cNvSpPr>
              <a:spLocks noEditPoints="1"/>
            </p:cNvSpPr>
            <p:nvPr/>
          </p:nvSpPr>
          <p:spPr bwMode="auto">
            <a:xfrm>
              <a:off x="1516" y="1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9"/>
            <p:cNvSpPr>
              <a:spLocks noEditPoints="1"/>
            </p:cNvSpPr>
            <p:nvPr/>
          </p:nvSpPr>
          <p:spPr bwMode="auto">
            <a:xfrm>
              <a:off x="1575" y="214"/>
              <a:ext cx="217" cy="214"/>
            </a:xfrm>
            <a:custGeom>
              <a:avLst/>
              <a:gdLst>
                <a:gd name="T0" fmla="*/ 239 w 327"/>
                <a:gd name="T1" fmla="*/ 317 h 321"/>
                <a:gd name="T2" fmla="*/ 224 w 327"/>
                <a:gd name="T3" fmla="*/ 318 h 321"/>
                <a:gd name="T4" fmla="*/ 241 w 327"/>
                <a:gd name="T5" fmla="*/ 236 h 321"/>
                <a:gd name="T6" fmla="*/ 230 w 327"/>
                <a:gd name="T7" fmla="*/ 182 h 321"/>
                <a:gd name="T8" fmla="*/ 220 w 327"/>
                <a:gd name="T9" fmla="*/ 193 h 321"/>
                <a:gd name="T10" fmla="*/ 209 w 327"/>
                <a:gd name="T11" fmla="*/ 203 h 321"/>
                <a:gd name="T12" fmla="*/ 199 w 327"/>
                <a:gd name="T13" fmla="*/ 193 h 321"/>
                <a:gd name="T14" fmla="*/ 188 w 327"/>
                <a:gd name="T15" fmla="*/ 171 h 321"/>
                <a:gd name="T16" fmla="*/ 177 w 327"/>
                <a:gd name="T17" fmla="*/ 193 h 321"/>
                <a:gd name="T18" fmla="*/ 156 w 327"/>
                <a:gd name="T19" fmla="*/ 193 h 321"/>
                <a:gd name="T20" fmla="*/ 145 w 327"/>
                <a:gd name="T21" fmla="*/ 86 h 321"/>
                <a:gd name="T22" fmla="*/ 135 w 327"/>
                <a:gd name="T23" fmla="*/ 107 h 321"/>
                <a:gd name="T24" fmla="*/ 135 w 327"/>
                <a:gd name="T25" fmla="*/ 193 h 321"/>
                <a:gd name="T26" fmla="*/ 113 w 327"/>
                <a:gd name="T27" fmla="*/ 193 h 321"/>
                <a:gd name="T28" fmla="*/ 113 w 327"/>
                <a:gd name="T29" fmla="*/ 107 h 321"/>
                <a:gd name="T30" fmla="*/ 92 w 327"/>
                <a:gd name="T31" fmla="*/ 107 h 321"/>
                <a:gd name="T32" fmla="*/ 86 w 327"/>
                <a:gd name="T33" fmla="*/ 245 h 321"/>
                <a:gd name="T34" fmla="*/ 42 w 327"/>
                <a:gd name="T35" fmla="*/ 186 h 321"/>
                <a:gd name="T36" fmla="*/ 28 w 327"/>
                <a:gd name="T37" fmla="*/ 182 h 321"/>
                <a:gd name="T38" fmla="*/ 27 w 327"/>
                <a:gd name="T39" fmla="*/ 200 h 321"/>
                <a:gd name="T40" fmla="*/ 101 w 327"/>
                <a:gd name="T41" fmla="*/ 316 h 321"/>
                <a:gd name="T42" fmla="*/ 86 w 327"/>
                <a:gd name="T43" fmla="*/ 319 h 321"/>
                <a:gd name="T44" fmla="*/ 18 w 327"/>
                <a:gd name="T45" fmla="*/ 163 h 321"/>
                <a:gd name="T46" fmla="*/ 61 w 327"/>
                <a:gd name="T47" fmla="*/ 177 h 321"/>
                <a:gd name="T48" fmla="*/ 71 w 327"/>
                <a:gd name="T49" fmla="*/ 107 h 321"/>
                <a:gd name="T50" fmla="*/ 118 w 327"/>
                <a:gd name="T51" fmla="*/ 80 h 321"/>
                <a:gd name="T52" fmla="*/ 177 w 327"/>
                <a:gd name="T53" fmla="*/ 97 h 321"/>
                <a:gd name="T54" fmla="*/ 188 w 327"/>
                <a:gd name="T55" fmla="*/ 150 h 321"/>
                <a:gd name="T56" fmla="*/ 231 w 327"/>
                <a:gd name="T57" fmla="*/ 161 h 321"/>
                <a:gd name="T58" fmla="*/ 263 w 327"/>
                <a:gd name="T59" fmla="*/ 235 h 321"/>
                <a:gd name="T60" fmla="*/ 324 w 327"/>
                <a:gd name="T61" fmla="*/ 68 h 321"/>
                <a:gd name="T62" fmla="*/ 287 w 327"/>
                <a:gd name="T63" fmla="*/ 46 h 321"/>
                <a:gd name="T64" fmla="*/ 290 w 327"/>
                <a:gd name="T65" fmla="*/ 65 h 321"/>
                <a:gd name="T66" fmla="*/ 263 w 327"/>
                <a:gd name="T67" fmla="*/ 37 h 321"/>
                <a:gd name="T68" fmla="*/ 273 w 327"/>
                <a:gd name="T69" fmla="*/ 43 h 321"/>
                <a:gd name="T70" fmla="*/ 281 w 327"/>
                <a:gd name="T71" fmla="*/ 25 h 321"/>
                <a:gd name="T72" fmla="*/ 256 w 327"/>
                <a:gd name="T73" fmla="*/ 1 h 321"/>
                <a:gd name="T74" fmla="*/ 244 w 327"/>
                <a:gd name="T75" fmla="*/ 4 h 321"/>
                <a:gd name="T76" fmla="*/ 223 w 327"/>
                <a:gd name="T77" fmla="*/ 40 h 321"/>
                <a:gd name="T78" fmla="*/ 238 w 327"/>
                <a:gd name="T79" fmla="*/ 40 h 321"/>
                <a:gd name="T80" fmla="*/ 241 w 327"/>
                <a:gd name="T81" fmla="*/ 65 h 321"/>
                <a:gd name="T82" fmla="*/ 217 w 327"/>
                <a:gd name="T83" fmla="*/ 62 h 321"/>
                <a:gd name="T84" fmla="*/ 202 w 327"/>
                <a:gd name="T85" fmla="*/ 46 h 321"/>
                <a:gd name="T86" fmla="*/ 178 w 327"/>
                <a:gd name="T87" fmla="*/ 71 h 321"/>
                <a:gd name="T88" fmla="*/ 180 w 327"/>
                <a:gd name="T89" fmla="*/ 83 h 321"/>
                <a:gd name="T90" fmla="*/ 209 w 327"/>
                <a:gd name="T91" fmla="*/ 107 h 321"/>
                <a:gd name="T92" fmla="*/ 217 w 327"/>
                <a:gd name="T93" fmla="*/ 89 h 321"/>
                <a:gd name="T94" fmla="*/ 241 w 327"/>
                <a:gd name="T95" fmla="*/ 86 h 321"/>
                <a:gd name="T96" fmla="*/ 238 w 327"/>
                <a:gd name="T97" fmla="*/ 110 h 321"/>
                <a:gd name="T98" fmla="*/ 223 w 327"/>
                <a:gd name="T99" fmla="*/ 126 h 321"/>
                <a:gd name="T100" fmla="*/ 248 w 327"/>
                <a:gd name="T101" fmla="*/ 149 h 321"/>
                <a:gd name="T102" fmla="*/ 256 w 327"/>
                <a:gd name="T103" fmla="*/ 149 h 321"/>
                <a:gd name="T104" fmla="*/ 281 w 327"/>
                <a:gd name="T105" fmla="*/ 126 h 321"/>
                <a:gd name="T106" fmla="*/ 266 w 327"/>
                <a:gd name="T107" fmla="*/ 110 h 321"/>
                <a:gd name="T108" fmla="*/ 263 w 327"/>
                <a:gd name="T109" fmla="*/ 86 h 321"/>
                <a:gd name="T110" fmla="*/ 287 w 327"/>
                <a:gd name="T111" fmla="*/ 89 h 321"/>
                <a:gd name="T112" fmla="*/ 295 w 327"/>
                <a:gd name="T113" fmla="*/ 107 h 321"/>
                <a:gd name="T114" fmla="*/ 324 w 327"/>
                <a:gd name="T115" fmla="*/ 83 h 321"/>
                <a:gd name="T116" fmla="*/ 326 w 327"/>
                <a:gd name="T117" fmla="*/ 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21">
                  <a:moveTo>
                    <a:pt x="263" y="235"/>
                  </a:moveTo>
                  <a:cubicBezTo>
                    <a:pt x="263" y="237"/>
                    <a:pt x="266" y="285"/>
                    <a:pt x="239" y="317"/>
                  </a:cubicBezTo>
                  <a:cubicBezTo>
                    <a:pt x="237" y="319"/>
                    <a:pt x="233" y="321"/>
                    <a:pt x="230" y="321"/>
                  </a:cubicBezTo>
                  <a:cubicBezTo>
                    <a:pt x="228" y="321"/>
                    <a:pt x="226" y="320"/>
                    <a:pt x="224" y="318"/>
                  </a:cubicBezTo>
                  <a:cubicBezTo>
                    <a:pt x="219" y="314"/>
                    <a:pt x="219" y="308"/>
                    <a:pt x="222" y="303"/>
                  </a:cubicBezTo>
                  <a:cubicBezTo>
                    <a:pt x="244" y="278"/>
                    <a:pt x="241" y="237"/>
                    <a:pt x="241" y="236"/>
                  </a:cubicBezTo>
                  <a:cubicBezTo>
                    <a:pt x="241" y="193"/>
                    <a:pt x="241" y="193"/>
                    <a:pt x="241" y="193"/>
                  </a:cubicBezTo>
                  <a:cubicBezTo>
                    <a:pt x="241" y="187"/>
                    <a:pt x="236" y="182"/>
                    <a:pt x="230" y="182"/>
                  </a:cubicBezTo>
                  <a:cubicBezTo>
                    <a:pt x="225" y="182"/>
                    <a:pt x="220" y="186"/>
                    <a:pt x="220" y="192"/>
                  </a:cubicBezTo>
                  <a:cubicBezTo>
                    <a:pt x="220" y="193"/>
                    <a:pt x="220" y="193"/>
                    <a:pt x="220" y="193"/>
                  </a:cubicBezTo>
                  <a:cubicBezTo>
                    <a:pt x="220" y="199"/>
                    <a:pt x="215" y="203"/>
                    <a:pt x="209" y="203"/>
                  </a:cubicBezTo>
                  <a:cubicBezTo>
                    <a:pt x="209" y="203"/>
                    <a:pt x="209" y="203"/>
                    <a:pt x="209" y="203"/>
                  </a:cubicBezTo>
                  <a:cubicBezTo>
                    <a:pt x="209" y="203"/>
                    <a:pt x="209" y="203"/>
                    <a:pt x="209" y="203"/>
                  </a:cubicBezTo>
                  <a:cubicBezTo>
                    <a:pt x="203" y="203"/>
                    <a:pt x="199" y="199"/>
                    <a:pt x="199" y="193"/>
                  </a:cubicBezTo>
                  <a:cubicBezTo>
                    <a:pt x="199" y="182"/>
                    <a:pt x="199" y="182"/>
                    <a:pt x="199" y="182"/>
                  </a:cubicBezTo>
                  <a:cubicBezTo>
                    <a:pt x="199" y="176"/>
                    <a:pt x="194" y="171"/>
                    <a:pt x="188" y="171"/>
                  </a:cubicBezTo>
                  <a:cubicBezTo>
                    <a:pt x="182" y="171"/>
                    <a:pt x="177" y="176"/>
                    <a:pt x="177" y="182"/>
                  </a:cubicBezTo>
                  <a:cubicBezTo>
                    <a:pt x="177" y="193"/>
                    <a:pt x="177" y="193"/>
                    <a:pt x="177" y="193"/>
                  </a:cubicBezTo>
                  <a:cubicBezTo>
                    <a:pt x="177" y="199"/>
                    <a:pt x="173" y="203"/>
                    <a:pt x="167" y="203"/>
                  </a:cubicBezTo>
                  <a:cubicBezTo>
                    <a:pt x="161" y="203"/>
                    <a:pt x="156" y="199"/>
                    <a:pt x="156" y="193"/>
                  </a:cubicBezTo>
                  <a:cubicBezTo>
                    <a:pt x="156" y="97"/>
                    <a:pt x="156" y="97"/>
                    <a:pt x="156" y="97"/>
                  </a:cubicBezTo>
                  <a:cubicBezTo>
                    <a:pt x="156" y="91"/>
                    <a:pt x="151" y="86"/>
                    <a:pt x="145" y="86"/>
                  </a:cubicBezTo>
                  <a:cubicBezTo>
                    <a:pt x="139" y="86"/>
                    <a:pt x="135" y="91"/>
                    <a:pt x="135" y="97"/>
                  </a:cubicBezTo>
                  <a:cubicBezTo>
                    <a:pt x="135" y="107"/>
                    <a:pt x="135" y="107"/>
                    <a:pt x="135" y="107"/>
                  </a:cubicBezTo>
                  <a:cubicBezTo>
                    <a:pt x="135" y="118"/>
                    <a:pt x="135" y="118"/>
                    <a:pt x="135" y="118"/>
                  </a:cubicBezTo>
                  <a:cubicBezTo>
                    <a:pt x="135" y="193"/>
                    <a:pt x="135" y="193"/>
                    <a:pt x="135" y="193"/>
                  </a:cubicBezTo>
                  <a:cubicBezTo>
                    <a:pt x="135" y="199"/>
                    <a:pt x="130" y="203"/>
                    <a:pt x="124" y="203"/>
                  </a:cubicBezTo>
                  <a:cubicBezTo>
                    <a:pt x="118" y="203"/>
                    <a:pt x="113" y="199"/>
                    <a:pt x="113" y="193"/>
                  </a:cubicBezTo>
                  <a:cubicBezTo>
                    <a:pt x="113" y="118"/>
                    <a:pt x="113" y="118"/>
                    <a:pt x="113" y="118"/>
                  </a:cubicBezTo>
                  <a:cubicBezTo>
                    <a:pt x="113" y="107"/>
                    <a:pt x="113" y="107"/>
                    <a:pt x="113" y="107"/>
                  </a:cubicBezTo>
                  <a:cubicBezTo>
                    <a:pt x="113" y="101"/>
                    <a:pt x="109" y="97"/>
                    <a:pt x="103" y="97"/>
                  </a:cubicBezTo>
                  <a:cubicBezTo>
                    <a:pt x="97" y="97"/>
                    <a:pt x="92" y="101"/>
                    <a:pt x="92" y="107"/>
                  </a:cubicBezTo>
                  <a:cubicBezTo>
                    <a:pt x="92" y="235"/>
                    <a:pt x="92" y="235"/>
                    <a:pt x="92" y="235"/>
                  </a:cubicBezTo>
                  <a:cubicBezTo>
                    <a:pt x="92" y="240"/>
                    <a:pt x="90" y="243"/>
                    <a:pt x="86" y="245"/>
                  </a:cubicBezTo>
                  <a:cubicBezTo>
                    <a:pt x="82" y="247"/>
                    <a:pt x="78" y="246"/>
                    <a:pt x="74" y="243"/>
                  </a:cubicBezTo>
                  <a:cubicBezTo>
                    <a:pt x="60" y="231"/>
                    <a:pt x="45" y="193"/>
                    <a:pt x="42" y="186"/>
                  </a:cubicBezTo>
                  <a:cubicBezTo>
                    <a:pt x="41" y="184"/>
                    <a:pt x="39" y="182"/>
                    <a:pt x="36" y="181"/>
                  </a:cubicBezTo>
                  <a:cubicBezTo>
                    <a:pt x="33" y="181"/>
                    <a:pt x="31" y="181"/>
                    <a:pt x="28" y="182"/>
                  </a:cubicBezTo>
                  <a:cubicBezTo>
                    <a:pt x="24" y="184"/>
                    <a:pt x="24" y="193"/>
                    <a:pt x="27" y="199"/>
                  </a:cubicBezTo>
                  <a:cubicBezTo>
                    <a:pt x="27" y="199"/>
                    <a:pt x="27" y="199"/>
                    <a:pt x="27" y="200"/>
                  </a:cubicBezTo>
                  <a:cubicBezTo>
                    <a:pt x="28" y="200"/>
                    <a:pt x="54" y="274"/>
                    <a:pt x="98" y="301"/>
                  </a:cubicBezTo>
                  <a:cubicBezTo>
                    <a:pt x="103" y="304"/>
                    <a:pt x="104" y="311"/>
                    <a:pt x="101" y="316"/>
                  </a:cubicBezTo>
                  <a:cubicBezTo>
                    <a:pt x="99" y="319"/>
                    <a:pt x="96" y="321"/>
                    <a:pt x="92" y="321"/>
                  </a:cubicBezTo>
                  <a:cubicBezTo>
                    <a:pt x="90" y="321"/>
                    <a:pt x="88" y="320"/>
                    <a:pt x="86" y="319"/>
                  </a:cubicBezTo>
                  <a:cubicBezTo>
                    <a:pt x="38" y="289"/>
                    <a:pt x="10" y="215"/>
                    <a:pt x="7" y="208"/>
                  </a:cubicBezTo>
                  <a:cubicBezTo>
                    <a:pt x="0" y="192"/>
                    <a:pt x="2" y="171"/>
                    <a:pt x="18" y="163"/>
                  </a:cubicBezTo>
                  <a:cubicBezTo>
                    <a:pt x="26" y="159"/>
                    <a:pt x="35" y="158"/>
                    <a:pt x="43" y="161"/>
                  </a:cubicBezTo>
                  <a:cubicBezTo>
                    <a:pt x="51" y="164"/>
                    <a:pt x="58" y="170"/>
                    <a:pt x="61" y="177"/>
                  </a:cubicBezTo>
                  <a:cubicBezTo>
                    <a:pt x="64" y="184"/>
                    <a:pt x="67" y="191"/>
                    <a:pt x="71" y="198"/>
                  </a:cubicBezTo>
                  <a:cubicBezTo>
                    <a:pt x="71" y="107"/>
                    <a:pt x="71" y="107"/>
                    <a:pt x="71" y="107"/>
                  </a:cubicBezTo>
                  <a:cubicBezTo>
                    <a:pt x="71" y="90"/>
                    <a:pt x="85" y="75"/>
                    <a:pt x="103" y="75"/>
                  </a:cubicBezTo>
                  <a:cubicBezTo>
                    <a:pt x="108" y="75"/>
                    <a:pt x="114" y="77"/>
                    <a:pt x="118" y="80"/>
                  </a:cubicBezTo>
                  <a:cubicBezTo>
                    <a:pt x="124" y="71"/>
                    <a:pt x="134" y="65"/>
                    <a:pt x="145" y="65"/>
                  </a:cubicBezTo>
                  <a:cubicBezTo>
                    <a:pt x="163" y="65"/>
                    <a:pt x="177" y="79"/>
                    <a:pt x="177" y="97"/>
                  </a:cubicBezTo>
                  <a:cubicBezTo>
                    <a:pt x="177" y="152"/>
                    <a:pt x="177" y="152"/>
                    <a:pt x="177" y="152"/>
                  </a:cubicBezTo>
                  <a:cubicBezTo>
                    <a:pt x="181" y="151"/>
                    <a:pt x="184" y="150"/>
                    <a:pt x="188" y="150"/>
                  </a:cubicBezTo>
                  <a:cubicBezTo>
                    <a:pt x="199" y="150"/>
                    <a:pt x="209" y="156"/>
                    <a:pt x="215" y="165"/>
                  </a:cubicBezTo>
                  <a:cubicBezTo>
                    <a:pt x="220" y="162"/>
                    <a:pt x="225" y="161"/>
                    <a:pt x="231" y="161"/>
                  </a:cubicBezTo>
                  <a:cubicBezTo>
                    <a:pt x="248" y="161"/>
                    <a:pt x="263" y="175"/>
                    <a:pt x="263" y="193"/>
                  </a:cubicBezTo>
                  <a:lnTo>
                    <a:pt x="263" y="235"/>
                  </a:lnTo>
                  <a:close/>
                  <a:moveTo>
                    <a:pt x="326" y="71"/>
                  </a:moveTo>
                  <a:cubicBezTo>
                    <a:pt x="325" y="70"/>
                    <a:pt x="325" y="69"/>
                    <a:pt x="324" y="68"/>
                  </a:cubicBezTo>
                  <a:cubicBezTo>
                    <a:pt x="302" y="46"/>
                    <a:pt x="302" y="46"/>
                    <a:pt x="302" y="46"/>
                  </a:cubicBezTo>
                  <a:cubicBezTo>
                    <a:pt x="298" y="42"/>
                    <a:pt x="291" y="42"/>
                    <a:pt x="287" y="46"/>
                  </a:cubicBezTo>
                  <a:cubicBezTo>
                    <a:pt x="283" y="51"/>
                    <a:pt x="283" y="57"/>
                    <a:pt x="287" y="62"/>
                  </a:cubicBezTo>
                  <a:cubicBezTo>
                    <a:pt x="290" y="65"/>
                    <a:pt x="290" y="65"/>
                    <a:pt x="290" y="65"/>
                  </a:cubicBezTo>
                  <a:cubicBezTo>
                    <a:pt x="263" y="65"/>
                    <a:pt x="263" y="65"/>
                    <a:pt x="263" y="65"/>
                  </a:cubicBezTo>
                  <a:cubicBezTo>
                    <a:pt x="263" y="37"/>
                    <a:pt x="263" y="37"/>
                    <a:pt x="263" y="37"/>
                  </a:cubicBezTo>
                  <a:cubicBezTo>
                    <a:pt x="266" y="40"/>
                    <a:pt x="266" y="40"/>
                    <a:pt x="266" y="40"/>
                  </a:cubicBezTo>
                  <a:cubicBezTo>
                    <a:pt x="268" y="42"/>
                    <a:pt x="271" y="43"/>
                    <a:pt x="273" y="43"/>
                  </a:cubicBezTo>
                  <a:cubicBezTo>
                    <a:pt x="276" y="43"/>
                    <a:pt x="279" y="42"/>
                    <a:pt x="281" y="40"/>
                  </a:cubicBezTo>
                  <a:cubicBezTo>
                    <a:pt x="285" y="36"/>
                    <a:pt x="285" y="29"/>
                    <a:pt x="281" y="25"/>
                  </a:cubicBezTo>
                  <a:cubicBezTo>
                    <a:pt x="260" y="4"/>
                    <a:pt x="260" y="4"/>
                    <a:pt x="260" y="4"/>
                  </a:cubicBezTo>
                  <a:cubicBezTo>
                    <a:pt x="259" y="3"/>
                    <a:pt x="257" y="2"/>
                    <a:pt x="256" y="1"/>
                  </a:cubicBezTo>
                  <a:cubicBezTo>
                    <a:pt x="253" y="0"/>
                    <a:pt x="251" y="0"/>
                    <a:pt x="248" y="1"/>
                  </a:cubicBezTo>
                  <a:cubicBezTo>
                    <a:pt x="247" y="2"/>
                    <a:pt x="245" y="3"/>
                    <a:pt x="244" y="4"/>
                  </a:cubicBezTo>
                  <a:cubicBezTo>
                    <a:pt x="223" y="25"/>
                    <a:pt x="223" y="25"/>
                    <a:pt x="223" y="25"/>
                  </a:cubicBezTo>
                  <a:cubicBezTo>
                    <a:pt x="219" y="29"/>
                    <a:pt x="219" y="36"/>
                    <a:pt x="223" y="40"/>
                  </a:cubicBezTo>
                  <a:cubicBezTo>
                    <a:pt x="225" y="42"/>
                    <a:pt x="228" y="43"/>
                    <a:pt x="231" y="43"/>
                  </a:cubicBezTo>
                  <a:cubicBezTo>
                    <a:pt x="233" y="43"/>
                    <a:pt x="236" y="42"/>
                    <a:pt x="238" y="40"/>
                  </a:cubicBezTo>
                  <a:cubicBezTo>
                    <a:pt x="241" y="37"/>
                    <a:pt x="241" y="37"/>
                    <a:pt x="241" y="37"/>
                  </a:cubicBezTo>
                  <a:cubicBezTo>
                    <a:pt x="241" y="65"/>
                    <a:pt x="241" y="65"/>
                    <a:pt x="241" y="65"/>
                  </a:cubicBezTo>
                  <a:cubicBezTo>
                    <a:pt x="214" y="65"/>
                    <a:pt x="214" y="65"/>
                    <a:pt x="214" y="65"/>
                  </a:cubicBezTo>
                  <a:cubicBezTo>
                    <a:pt x="217" y="62"/>
                    <a:pt x="217" y="62"/>
                    <a:pt x="217" y="62"/>
                  </a:cubicBezTo>
                  <a:cubicBezTo>
                    <a:pt x="221" y="57"/>
                    <a:pt x="221" y="51"/>
                    <a:pt x="217" y="46"/>
                  </a:cubicBezTo>
                  <a:cubicBezTo>
                    <a:pt x="213" y="42"/>
                    <a:pt x="206" y="42"/>
                    <a:pt x="202" y="46"/>
                  </a:cubicBezTo>
                  <a:cubicBezTo>
                    <a:pt x="180" y="68"/>
                    <a:pt x="180" y="68"/>
                    <a:pt x="180" y="68"/>
                  </a:cubicBezTo>
                  <a:cubicBezTo>
                    <a:pt x="179" y="69"/>
                    <a:pt x="179" y="70"/>
                    <a:pt x="178" y="71"/>
                  </a:cubicBezTo>
                  <a:cubicBezTo>
                    <a:pt x="177" y="74"/>
                    <a:pt x="177" y="77"/>
                    <a:pt x="178" y="79"/>
                  </a:cubicBezTo>
                  <a:cubicBezTo>
                    <a:pt x="179" y="81"/>
                    <a:pt x="179" y="82"/>
                    <a:pt x="180" y="83"/>
                  </a:cubicBezTo>
                  <a:cubicBezTo>
                    <a:pt x="202" y="104"/>
                    <a:pt x="202" y="104"/>
                    <a:pt x="202" y="104"/>
                  </a:cubicBezTo>
                  <a:cubicBezTo>
                    <a:pt x="204" y="106"/>
                    <a:pt x="207" y="107"/>
                    <a:pt x="209" y="107"/>
                  </a:cubicBezTo>
                  <a:cubicBezTo>
                    <a:pt x="212" y="107"/>
                    <a:pt x="215" y="106"/>
                    <a:pt x="217" y="104"/>
                  </a:cubicBezTo>
                  <a:cubicBezTo>
                    <a:pt x="221" y="100"/>
                    <a:pt x="221" y="93"/>
                    <a:pt x="217" y="89"/>
                  </a:cubicBezTo>
                  <a:cubicBezTo>
                    <a:pt x="214" y="86"/>
                    <a:pt x="214" y="86"/>
                    <a:pt x="214" y="86"/>
                  </a:cubicBezTo>
                  <a:cubicBezTo>
                    <a:pt x="241" y="86"/>
                    <a:pt x="241" y="86"/>
                    <a:pt x="241" y="86"/>
                  </a:cubicBezTo>
                  <a:cubicBezTo>
                    <a:pt x="241" y="114"/>
                    <a:pt x="241" y="114"/>
                    <a:pt x="241" y="114"/>
                  </a:cubicBezTo>
                  <a:cubicBezTo>
                    <a:pt x="238" y="110"/>
                    <a:pt x="238" y="110"/>
                    <a:pt x="238" y="110"/>
                  </a:cubicBezTo>
                  <a:cubicBezTo>
                    <a:pt x="234" y="106"/>
                    <a:pt x="227" y="106"/>
                    <a:pt x="223" y="110"/>
                  </a:cubicBezTo>
                  <a:cubicBezTo>
                    <a:pt x="219" y="115"/>
                    <a:pt x="219" y="121"/>
                    <a:pt x="223" y="126"/>
                  </a:cubicBezTo>
                  <a:cubicBezTo>
                    <a:pt x="244" y="147"/>
                    <a:pt x="244" y="147"/>
                    <a:pt x="244" y="147"/>
                  </a:cubicBezTo>
                  <a:cubicBezTo>
                    <a:pt x="245" y="148"/>
                    <a:pt x="247" y="149"/>
                    <a:pt x="248" y="149"/>
                  </a:cubicBezTo>
                  <a:cubicBezTo>
                    <a:pt x="249" y="150"/>
                    <a:pt x="251" y="150"/>
                    <a:pt x="252" y="150"/>
                  </a:cubicBezTo>
                  <a:cubicBezTo>
                    <a:pt x="253" y="150"/>
                    <a:pt x="255" y="150"/>
                    <a:pt x="256" y="149"/>
                  </a:cubicBezTo>
                  <a:cubicBezTo>
                    <a:pt x="257" y="149"/>
                    <a:pt x="259" y="148"/>
                    <a:pt x="260" y="147"/>
                  </a:cubicBezTo>
                  <a:cubicBezTo>
                    <a:pt x="281" y="126"/>
                    <a:pt x="281" y="126"/>
                    <a:pt x="281" y="126"/>
                  </a:cubicBezTo>
                  <a:cubicBezTo>
                    <a:pt x="285" y="121"/>
                    <a:pt x="285" y="115"/>
                    <a:pt x="281" y="110"/>
                  </a:cubicBezTo>
                  <a:cubicBezTo>
                    <a:pt x="277" y="106"/>
                    <a:pt x="270" y="106"/>
                    <a:pt x="266" y="110"/>
                  </a:cubicBezTo>
                  <a:cubicBezTo>
                    <a:pt x="263" y="114"/>
                    <a:pt x="263" y="114"/>
                    <a:pt x="263" y="114"/>
                  </a:cubicBezTo>
                  <a:cubicBezTo>
                    <a:pt x="263" y="86"/>
                    <a:pt x="263" y="86"/>
                    <a:pt x="263" y="86"/>
                  </a:cubicBezTo>
                  <a:cubicBezTo>
                    <a:pt x="290" y="86"/>
                    <a:pt x="290" y="86"/>
                    <a:pt x="290" y="86"/>
                  </a:cubicBezTo>
                  <a:cubicBezTo>
                    <a:pt x="287" y="89"/>
                    <a:pt x="287" y="89"/>
                    <a:pt x="287" y="89"/>
                  </a:cubicBezTo>
                  <a:cubicBezTo>
                    <a:pt x="283" y="93"/>
                    <a:pt x="283" y="100"/>
                    <a:pt x="287" y="104"/>
                  </a:cubicBezTo>
                  <a:cubicBezTo>
                    <a:pt x="289" y="106"/>
                    <a:pt x="292" y="107"/>
                    <a:pt x="295" y="107"/>
                  </a:cubicBezTo>
                  <a:cubicBezTo>
                    <a:pt x="297" y="107"/>
                    <a:pt x="300" y="106"/>
                    <a:pt x="302" y="104"/>
                  </a:cubicBezTo>
                  <a:cubicBezTo>
                    <a:pt x="324" y="83"/>
                    <a:pt x="324" y="83"/>
                    <a:pt x="324" y="83"/>
                  </a:cubicBezTo>
                  <a:cubicBezTo>
                    <a:pt x="325" y="82"/>
                    <a:pt x="325" y="81"/>
                    <a:pt x="326" y="79"/>
                  </a:cubicBezTo>
                  <a:cubicBezTo>
                    <a:pt x="327" y="77"/>
                    <a:pt x="327" y="74"/>
                    <a:pt x="326"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23"/>
          <p:cNvSpPr>
            <a:spLocks noChangeAspect="1" noEditPoints="1"/>
          </p:cNvSpPr>
          <p:nvPr/>
        </p:nvSpPr>
        <p:spPr bwMode="auto">
          <a:xfrm>
            <a:off x="2083460" y="1698117"/>
            <a:ext cx="367041" cy="36704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09 w 512"/>
              <a:gd name="T33" fmla="*/ 287 h 512"/>
              <a:gd name="T34" fmla="*/ 298 w 512"/>
              <a:gd name="T35" fmla="*/ 266 h 512"/>
              <a:gd name="T36" fmla="*/ 288 w 512"/>
              <a:gd name="T37" fmla="*/ 288 h 512"/>
              <a:gd name="T38" fmla="*/ 266 w 512"/>
              <a:gd name="T39" fmla="*/ 288 h 512"/>
              <a:gd name="T40" fmla="*/ 256 w 512"/>
              <a:gd name="T41" fmla="*/ 170 h 512"/>
              <a:gd name="T42" fmla="*/ 245 w 512"/>
              <a:gd name="T43" fmla="*/ 202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25 w 512"/>
              <a:gd name="T69" fmla="*/ 173 h 512"/>
              <a:gd name="T70" fmla="*/ 288 w 512"/>
              <a:gd name="T71" fmla="*/ 181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2"/>
                  <a:pt x="351" y="332"/>
                  <a:pt x="351" y="331"/>
                </a:cubicBezTo>
                <a:cubicBezTo>
                  <a:pt x="351" y="288"/>
                  <a:pt x="351" y="288"/>
                  <a:pt x="351" y="288"/>
                </a:cubicBezTo>
                <a:cubicBezTo>
                  <a:pt x="351" y="282"/>
                  <a:pt x="347" y="277"/>
                  <a:pt x="341" y="277"/>
                </a:cubicBezTo>
                <a:cubicBezTo>
                  <a:pt x="335"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7"/>
                  <a:pt x="309" y="287"/>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9"/>
                  <a:pt x="196" y="340"/>
                </a:cubicBezTo>
                <a:cubicBezTo>
                  <a:pt x="192" y="342"/>
                  <a:pt x="187" y="341"/>
                  <a:pt x="184" y="338"/>
                </a:cubicBezTo>
                <a:cubicBezTo>
                  <a:pt x="172" y="326"/>
                  <a:pt x="154" y="286"/>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8"/>
                  <a:pt x="177" y="285"/>
                  <a:pt x="181" y="292"/>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26"/>
          <p:cNvGrpSpPr>
            <a:grpSpLocks noChangeAspect="1"/>
          </p:cNvGrpSpPr>
          <p:nvPr/>
        </p:nvGrpSpPr>
        <p:grpSpPr bwMode="auto">
          <a:xfrm>
            <a:off x="2502725" y="1698117"/>
            <a:ext cx="367041" cy="367041"/>
            <a:chOff x="2391" y="339"/>
            <a:chExt cx="340" cy="340"/>
          </a:xfrm>
          <a:solidFill>
            <a:schemeClr val="accent1"/>
          </a:solidFill>
        </p:grpSpPr>
        <p:sp>
          <p:nvSpPr>
            <p:cNvPr id="266" name="Freeform 27"/>
            <p:cNvSpPr>
              <a:spLocks noEditPoints="1"/>
            </p:cNvSpPr>
            <p:nvPr/>
          </p:nvSpPr>
          <p:spPr bwMode="auto">
            <a:xfrm>
              <a:off x="2391" y="3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28"/>
            <p:cNvSpPr>
              <a:spLocks noEditPoints="1"/>
            </p:cNvSpPr>
            <p:nvPr/>
          </p:nvSpPr>
          <p:spPr bwMode="auto">
            <a:xfrm>
              <a:off x="2465" y="403"/>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91 h 320"/>
                <a:gd name="T14" fmla="*/ 187 w 265"/>
                <a:gd name="T15" fmla="*/ 170 h 320"/>
                <a:gd name="T16" fmla="*/ 177 w 265"/>
                <a:gd name="T17" fmla="*/ 192 h 320"/>
                <a:gd name="T18" fmla="*/ 155 w 265"/>
                <a:gd name="T19" fmla="*/ 192 h 320"/>
                <a:gd name="T20" fmla="*/ 145 w 265"/>
                <a:gd name="T21" fmla="*/ 74 h 320"/>
                <a:gd name="T22" fmla="*/ 134 w 265"/>
                <a:gd name="T23" fmla="*/ 106 h 320"/>
                <a:gd name="T24" fmla="*/ 123 w 265"/>
                <a:gd name="T25" fmla="*/ 202 h 320"/>
                <a:gd name="T26" fmla="*/ 113 w 265"/>
                <a:gd name="T27" fmla="*/ 106 h 320"/>
                <a:gd name="T28" fmla="*/ 91 w 265"/>
                <a:gd name="T29" fmla="*/ 106 h 320"/>
                <a:gd name="T30" fmla="*/ 85 w 265"/>
                <a:gd name="T31" fmla="*/ 244 h 320"/>
                <a:gd name="T32" fmla="*/ 41 w 265"/>
                <a:gd name="T33" fmla="*/ 185 h 320"/>
                <a:gd name="T34" fmla="*/ 27 w 265"/>
                <a:gd name="T35" fmla="*/ 181 h 320"/>
                <a:gd name="T36" fmla="*/ 27 w 265"/>
                <a:gd name="T37" fmla="*/ 199 h 320"/>
                <a:gd name="T38" fmla="*/ 100 w 265"/>
                <a:gd name="T39" fmla="*/ 315 h 320"/>
                <a:gd name="T40" fmla="*/ 86 w 265"/>
                <a:gd name="T41" fmla="*/ 318 h 320"/>
                <a:gd name="T42" fmla="*/ 18 w 265"/>
                <a:gd name="T43" fmla="*/ 162 h 320"/>
                <a:gd name="T44" fmla="*/ 61 w 265"/>
                <a:gd name="T45" fmla="*/ 176 h 320"/>
                <a:gd name="T46" fmla="*/ 70 w 265"/>
                <a:gd name="T47" fmla="*/ 106 h 320"/>
                <a:gd name="T48" fmla="*/ 114 w 265"/>
                <a:gd name="T49" fmla="*/ 77 h 320"/>
                <a:gd name="T50" fmla="*/ 177 w 265"/>
                <a:gd name="T51" fmla="*/ 85 h 320"/>
                <a:gd name="T52" fmla="*/ 187 w 265"/>
                <a:gd name="T53" fmla="*/ 149 h 320"/>
                <a:gd name="T54" fmla="*/ 230 w 265"/>
                <a:gd name="T55" fmla="*/ 160 h 320"/>
                <a:gd name="T56" fmla="*/ 262 w 265"/>
                <a:gd name="T57" fmla="*/ 234 h 320"/>
                <a:gd name="T58" fmla="*/ 49 w 265"/>
                <a:gd name="T59" fmla="*/ 64 h 320"/>
                <a:gd name="T60" fmla="*/ 91 w 265"/>
                <a:gd name="T61" fmla="*/ 53 h 320"/>
                <a:gd name="T62" fmla="*/ 78 w 265"/>
                <a:gd name="T63" fmla="*/ 42 h 320"/>
                <a:gd name="T64" fmla="*/ 233 w 265"/>
                <a:gd name="T65" fmla="*/ 60 h 320"/>
                <a:gd name="T66" fmla="*/ 248 w 265"/>
                <a:gd name="T67" fmla="*/ 61 h 320"/>
                <a:gd name="T68" fmla="*/ 145 w 265"/>
                <a:gd name="T69" fmla="*/ 0 h 320"/>
                <a:gd name="T70" fmla="*/ 59 w 265"/>
                <a:gd name="T71" fmla="*/ 21 h 320"/>
                <a:gd name="T72" fmla="*/ 38 w 265"/>
                <a:gd name="T73" fmla="*/ 21 h 320"/>
                <a:gd name="T74" fmla="*/ 49 w 265"/>
                <a:gd name="T75"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6"/>
                    <a:pt x="240" y="236"/>
                    <a:pt x="240" y="235"/>
                  </a:cubicBezTo>
                  <a:cubicBezTo>
                    <a:pt x="240" y="192"/>
                    <a:pt x="240" y="192"/>
                    <a:pt x="240" y="192"/>
                  </a:cubicBezTo>
                  <a:cubicBezTo>
                    <a:pt x="240" y="186"/>
                    <a:pt x="236"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91"/>
                    <a:pt x="198" y="191"/>
                    <a:pt x="198" y="191"/>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3"/>
                    <a:pt x="85" y="244"/>
                  </a:cubicBezTo>
                  <a:cubicBezTo>
                    <a:pt x="81" y="246"/>
                    <a:pt x="76" y="245"/>
                    <a:pt x="73" y="242"/>
                  </a:cubicBezTo>
                  <a:cubicBezTo>
                    <a:pt x="61" y="230"/>
                    <a:pt x="43" y="190"/>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2"/>
                    <a:pt x="66" y="189"/>
                    <a:pt x="70" y="196"/>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32"/>
          <p:cNvSpPr>
            <a:spLocks noChangeAspect="1" noEditPoints="1"/>
          </p:cNvSpPr>
          <p:nvPr/>
        </p:nvSpPr>
        <p:spPr bwMode="auto">
          <a:xfrm>
            <a:off x="2921990" y="1698117"/>
            <a:ext cx="367041" cy="367041"/>
          </a:xfrm>
          <a:custGeom>
            <a:avLst/>
            <a:gdLst>
              <a:gd name="T0" fmla="*/ 0 w 512"/>
              <a:gd name="T1" fmla="*/ 256 h 512"/>
              <a:gd name="T2" fmla="*/ 512 w 512"/>
              <a:gd name="T3" fmla="*/ 256 h 512"/>
              <a:gd name="T4" fmla="*/ 152 w 512"/>
              <a:gd name="T5" fmla="*/ 142 h 512"/>
              <a:gd name="T6" fmla="*/ 341 w 512"/>
              <a:gd name="T7" fmla="*/ 125 h 512"/>
              <a:gd name="T8" fmla="*/ 352 w 512"/>
              <a:gd name="T9" fmla="*/ 106 h 512"/>
              <a:gd name="T10" fmla="*/ 362 w 512"/>
              <a:gd name="T11" fmla="*/ 149 h 512"/>
              <a:gd name="T12" fmla="*/ 320 w 512"/>
              <a:gd name="T13" fmla="*/ 160 h 512"/>
              <a:gd name="T14" fmla="*/ 320 w 512"/>
              <a:gd name="T15" fmla="*/ 138 h 512"/>
              <a:gd name="T16" fmla="*/ 256 w 512"/>
              <a:gd name="T17" fmla="*/ 117 h 512"/>
              <a:gd name="T18" fmla="*/ 160 w 512"/>
              <a:gd name="T19" fmla="*/ 160 h 512"/>
              <a:gd name="T20" fmla="*/ 152 w 512"/>
              <a:gd name="T21" fmla="*/ 142 h 512"/>
              <a:gd name="T22" fmla="*/ 341 w 512"/>
              <a:gd name="T23" fmla="*/ 416 h 512"/>
              <a:gd name="T24" fmla="*/ 333 w 512"/>
              <a:gd name="T25" fmla="*/ 398 h 512"/>
              <a:gd name="T26" fmla="*/ 352 w 512"/>
              <a:gd name="T27" fmla="*/ 288 h 512"/>
              <a:gd name="T28" fmla="*/ 330 w 512"/>
              <a:gd name="T29" fmla="*/ 287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181 h 512"/>
              <a:gd name="T42" fmla="*/ 245 w 512"/>
              <a:gd name="T43" fmla="*/ 181 h 512"/>
              <a:gd name="T44" fmla="*/ 245 w 512"/>
              <a:gd name="T45" fmla="*/ 288 h 512"/>
              <a:gd name="T46" fmla="*/ 224 w 512"/>
              <a:gd name="T47" fmla="*/ 288 h 512"/>
              <a:gd name="T48" fmla="*/ 213 w 512"/>
              <a:gd name="T49" fmla="*/ 192 h 512"/>
              <a:gd name="T50" fmla="*/ 202 w 512"/>
              <a:gd name="T51" fmla="*/ 330 h 512"/>
              <a:gd name="T52" fmla="*/ 185 w 512"/>
              <a:gd name="T53" fmla="*/ 338 h 512"/>
              <a:gd name="T54" fmla="*/ 146 w 512"/>
              <a:gd name="T55" fmla="*/ 276 h 512"/>
              <a:gd name="T56" fmla="*/ 137 w 512"/>
              <a:gd name="T57" fmla="*/ 294 h 512"/>
              <a:gd name="T58" fmla="*/ 208 w 512"/>
              <a:gd name="T59" fmla="*/ 396 h 512"/>
              <a:gd name="T60" fmla="*/ 202 w 512"/>
              <a:gd name="T61" fmla="*/ 416 h 512"/>
              <a:gd name="T62" fmla="*/ 118 w 512"/>
              <a:gd name="T63" fmla="*/ 303 h 512"/>
              <a:gd name="T64" fmla="*/ 153 w 512"/>
              <a:gd name="T65" fmla="*/ 256 h 512"/>
              <a:gd name="T66" fmla="*/ 181 w 512"/>
              <a:gd name="T67" fmla="*/ 293 h 512"/>
              <a:gd name="T68" fmla="*/ 213 w 512"/>
              <a:gd name="T69" fmla="*/ 170 h 512"/>
              <a:gd name="T70" fmla="*/ 256 w 512"/>
              <a:gd name="T71" fmla="*/ 149 h 512"/>
              <a:gd name="T72" fmla="*/ 288 w 512"/>
              <a:gd name="T73" fmla="*/ 247 h 512"/>
              <a:gd name="T74" fmla="*/ 325 w 512"/>
              <a:gd name="T75" fmla="*/ 260 h 512"/>
              <a:gd name="T76" fmla="*/ 373 w 512"/>
              <a:gd name="T77" fmla="*/ 288 h 512"/>
              <a:gd name="T78" fmla="*/ 349 w 512"/>
              <a:gd name="T79"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52" y="142"/>
                </a:moveTo>
                <a:cubicBezTo>
                  <a:pt x="179" y="113"/>
                  <a:pt x="216"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22" y="117"/>
                  <a:pt x="190" y="131"/>
                  <a:pt x="168" y="156"/>
                </a:cubicBezTo>
                <a:cubicBezTo>
                  <a:pt x="166" y="158"/>
                  <a:pt x="163" y="160"/>
                  <a:pt x="160" y="160"/>
                </a:cubicBezTo>
                <a:cubicBezTo>
                  <a:pt x="158" y="160"/>
                  <a:pt x="155" y="159"/>
                  <a:pt x="153" y="157"/>
                </a:cubicBezTo>
                <a:cubicBezTo>
                  <a:pt x="149" y="153"/>
                  <a:pt x="148" y="146"/>
                  <a:pt x="152" y="142"/>
                </a:cubicBezTo>
                <a:close/>
                <a:moveTo>
                  <a:pt x="349" y="412"/>
                </a:moveTo>
                <a:cubicBezTo>
                  <a:pt x="347" y="414"/>
                  <a:pt x="344" y="416"/>
                  <a:pt x="341" y="416"/>
                </a:cubicBezTo>
                <a:cubicBezTo>
                  <a:pt x="338" y="416"/>
                  <a:pt x="336" y="415"/>
                  <a:pt x="334" y="413"/>
                </a:cubicBezTo>
                <a:cubicBezTo>
                  <a:pt x="330" y="409"/>
                  <a:pt x="329" y="403"/>
                  <a:pt x="333" y="398"/>
                </a:cubicBezTo>
                <a:cubicBezTo>
                  <a:pt x="354" y="373"/>
                  <a:pt x="352" y="332"/>
                  <a:pt x="352" y="331"/>
                </a:cubicBezTo>
                <a:cubicBezTo>
                  <a:pt x="352" y="288"/>
                  <a:pt x="352" y="288"/>
                  <a:pt x="352" y="288"/>
                </a:cubicBezTo>
                <a:cubicBezTo>
                  <a:pt x="352" y="282"/>
                  <a:pt x="347" y="277"/>
                  <a:pt x="341" y="277"/>
                </a:cubicBezTo>
                <a:cubicBezTo>
                  <a:pt x="335" y="277"/>
                  <a:pt x="331" y="282"/>
                  <a:pt x="330" y="287"/>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35"/>
          <p:cNvGrpSpPr>
            <a:grpSpLocks noChangeAspect="1"/>
          </p:cNvGrpSpPr>
          <p:nvPr/>
        </p:nvGrpSpPr>
        <p:grpSpPr bwMode="auto">
          <a:xfrm>
            <a:off x="3341255" y="1698117"/>
            <a:ext cx="367041" cy="367041"/>
            <a:chOff x="3241" y="151"/>
            <a:chExt cx="340" cy="340"/>
          </a:xfrm>
          <a:solidFill>
            <a:schemeClr val="accent1"/>
          </a:solidFill>
        </p:grpSpPr>
        <p:sp>
          <p:nvSpPr>
            <p:cNvPr id="270" name="Freeform 36"/>
            <p:cNvSpPr>
              <a:spLocks noEditPoints="1"/>
            </p:cNvSpPr>
            <p:nvPr/>
          </p:nvSpPr>
          <p:spPr bwMode="auto">
            <a:xfrm>
              <a:off x="3241" y="1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37"/>
            <p:cNvSpPr>
              <a:spLocks noEditPoints="1"/>
            </p:cNvSpPr>
            <p:nvPr/>
          </p:nvSpPr>
          <p:spPr bwMode="auto">
            <a:xfrm>
              <a:off x="3315" y="215"/>
              <a:ext cx="176" cy="212"/>
            </a:xfrm>
            <a:custGeom>
              <a:avLst/>
              <a:gdLst>
                <a:gd name="T0" fmla="*/ 230 w 265"/>
                <a:gd name="T1" fmla="*/ 320 h 320"/>
                <a:gd name="T2" fmla="*/ 222 w 265"/>
                <a:gd name="T3" fmla="*/ 302 h 320"/>
                <a:gd name="T4" fmla="*/ 241 w 265"/>
                <a:gd name="T5" fmla="*/ 192 h 320"/>
                <a:gd name="T6" fmla="*/ 219 w 265"/>
                <a:gd name="T7" fmla="*/ 191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85 h 320"/>
                <a:gd name="T20" fmla="*/ 134 w 265"/>
                <a:gd name="T21" fmla="*/ 85 h 320"/>
                <a:gd name="T22" fmla="*/ 134 w 265"/>
                <a:gd name="T23" fmla="*/ 192 h 320"/>
                <a:gd name="T24" fmla="*/ 113 w 265"/>
                <a:gd name="T25" fmla="*/ 192 h 320"/>
                <a:gd name="T26" fmla="*/ 102 w 265"/>
                <a:gd name="T27" fmla="*/ 96 h 320"/>
                <a:gd name="T28" fmla="*/ 91 w 265"/>
                <a:gd name="T29" fmla="*/ 234 h 320"/>
                <a:gd name="T30" fmla="*/ 74 w 265"/>
                <a:gd name="T31" fmla="*/ 242 h 320"/>
                <a:gd name="T32" fmla="*/ 35 w 265"/>
                <a:gd name="T33" fmla="*/ 180 h 320"/>
                <a:gd name="T34" fmla="*/ 26 w 265"/>
                <a:gd name="T35" fmla="*/ 198 h 320"/>
                <a:gd name="T36" fmla="*/ 97 w 265"/>
                <a:gd name="T37" fmla="*/ 300 h 320"/>
                <a:gd name="T38" fmla="*/ 91 w 265"/>
                <a:gd name="T39" fmla="*/ 320 h 320"/>
                <a:gd name="T40" fmla="*/ 7 w 265"/>
                <a:gd name="T41" fmla="*/ 207 h 320"/>
                <a:gd name="T42" fmla="*/ 42 w 265"/>
                <a:gd name="T43" fmla="*/ 160 h 320"/>
                <a:gd name="T44" fmla="*/ 70 w 265"/>
                <a:gd name="T45" fmla="*/ 197 h 320"/>
                <a:gd name="T46" fmla="*/ 102 w 265"/>
                <a:gd name="T47" fmla="*/ 74 h 320"/>
                <a:gd name="T48" fmla="*/ 145 w 265"/>
                <a:gd name="T49" fmla="*/ 53 h 320"/>
                <a:gd name="T50" fmla="*/ 177 w 265"/>
                <a:gd name="T51" fmla="*/ 151 h 320"/>
                <a:gd name="T52" fmla="*/ 214 w 265"/>
                <a:gd name="T53" fmla="*/ 164 h 320"/>
                <a:gd name="T54" fmla="*/ 262 w 265"/>
                <a:gd name="T55" fmla="*/ 192 h 320"/>
                <a:gd name="T56" fmla="*/ 238 w 265"/>
                <a:gd name="T57" fmla="*/ 316 h 320"/>
                <a:gd name="T58" fmla="*/ 57 w 265"/>
                <a:gd name="T59" fmla="*/ 60 h 320"/>
                <a:gd name="T60" fmla="*/ 212 w 265"/>
                <a:gd name="T61" fmla="*/ 42 h 320"/>
                <a:gd name="T62" fmla="*/ 198 w 265"/>
                <a:gd name="T63" fmla="*/ 53 h 320"/>
                <a:gd name="T64" fmla="*/ 241 w 265"/>
                <a:gd name="T65" fmla="*/ 64 h 320"/>
                <a:gd name="T66" fmla="*/ 251 w 265"/>
                <a:gd name="T67" fmla="*/ 21 h 320"/>
                <a:gd name="T68" fmla="*/ 230 w 265"/>
                <a:gd name="T69" fmla="*/ 21 h 320"/>
                <a:gd name="T70" fmla="*/ 145 w 265"/>
                <a:gd name="T71" fmla="*/ 0 h 320"/>
                <a:gd name="T72" fmla="*/ 42 w 265"/>
                <a:gd name="T73" fmla="*/ 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9" y="313"/>
                    <a:pt x="218" y="307"/>
                    <a:pt x="222" y="302"/>
                  </a:cubicBezTo>
                  <a:cubicBezTo>
                    <a:pt x="243" y="277"/>
                    <a:pt x="241" y="236"/>
                    <a:pt x="241" y="235"/>
                  </a:cubicBezTo>
                  <a:cubicBezTo>
                    <a:pt x="241" y="192"/>
                    <a:pt x="241" y="192"/>
                    <a:pt x="241" y="192"/>
                  </a:cubicBezTo>
                  <a:cubicBezTo>
                    <a:pt x="241" y="186"/>
                    <a:pt x="236" y="181"/>
                    <a:pt x="230" y="181"/>
                  </a:cubicBezTo>
                  <a:cubicBezTo>
                    <a:pt x="224" y="181"/>
                    <a:pt x="220" y="186"/>
                    <a:pt x="219" y="191"/>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5" y="284"/>
                    <a:pt x="238" y="316"/>
                  </a:cubicBezTo>
                  <a:close/>
                  <a:moveTo>
                    <a:pt x="49" y="64"/>
                  </a:moveTo>
                  <a:cubicBezTo>
                    <a:pt x="52" y="64"/>
                    <a:pt x="55" y="62"/>
                    <a:pt x="57" y="60"/>
                  </a:cubicBezTo>
                  <a:cubicBezTo>
                    <a:pt x="79" y="35"/>
                    <a:pt x="111"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05" y="0"/>
                    <a:pt x="68" y="17"/>
                    <a:pt x="41" y="46"/>
                  </a:cubicBezTo>
                  <a:cubicBezTo>
                    <a:pt x="37" y="50"/>
                    <a:pt x="38" y="57"/>
                    <a:pt x="42" y="61"/>
                  </a:cubicBezTo>
                  <a:cubicBezTo>
                    <a:pt x="44" y="63"/>
                    <a:pt x="47" y="64"/>
                    <a:pt x="4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41"/>
          <p:cNvSpPr>
            <a:spLocks noChangeAspect="1" noEditPoints="1"/>
          </p:cNvSpPr>
          <p:nvPr/>
        </p:nvSpPr>
        <p:spPr bwMode="auto">
          <a:xfrm>
            <a:off x="3760520" y="1698117"/>
            <a:ext cx="367041" cy="367041"/>
          </a:xfrm>
          <a:custGeom>
            <a:avLst/>
            <a:gdLst>
              <a:gd name="T0" fmla="*/ 0 w 512"/>
              <a:gd name="T1" fmla="*/ 256 h 512"/>
              <a:gd name="T2" fmla="*/ 512 w 512"/>
              <a:gd name="T3" fmla="*/ 256 h 512"/>
              <a:gd name="T4" fmla="*/ 245 w 512"/>
              <a:gd name="T5" fmla="*/ 106 h 512"/>
              <a:gd name="T6" fmla="*/ 351 w 512"/>
              <a:gd name="T7" fmla="*/ 225 h 512"/>
              <a:gd name="T8" fmla="*/ 339 w 512"/>
              <a:gd name="T9" fmla="*/ 234 h 512"/>
              <a:gd name="T10" fmla="*/ 330 w 512"/>
              <a:gd name="T11" fmla="*/ 213 h 512"/>
              <a:gd name="T12" fmla="*/ 160 w 512"/>
              <a:gd name="T13" fmla="*/ 213 h 512"/>
              <a:gd name="T14" fmla="*/ 151 w 512"/>
              <a:gd name="T15" fmla="*/ 234 h 512"/>
              <a:gd name="T16" fmla="*/ 138 w 512"/>
              <a:gd name="T17" fmla="*/ 213 h 512"/>
              <a:gd name="T18" fmla="*/ 349 w 512"/>
              <a:gd name="T19" fmla="*/ 412 h 512"/>
              <a:gd name="T20" fmla="*/ 334 w 512"/>
              <a:gd name="T21" fmla="*/ 413 h 512"/>
              <a:gd name="T22" fmla="*/ 352 w 512"/>
              <a:gd name="T23" fmla="*/ 331 h 512"/>
              <a:gd name="T24" fmla="*/ 341 w 512"/>
              <a:gd name="T25" fmla="*/ 277 h 512"/>
              <a:gd name="T26" fmla="*/ 330 w 512"/>
              <a:gd name="T27" fmla="*/ 288 h 512"/>
              <a:gd name="T28" fmla="*/ 309 w 512"/>
              <a:gd name="T29" fmla="*/ 288 h 512"/>
              <a:gd name="T30" fmla="*/ 309 w 512"/>
              <a:gd name="T31" fmla="*/ 277 h 512"/>
              <a:gd name="T32" fmla="*/ 288 w 512"/>
              <a:gd name="T33" fmla="*/ 277 h 512"/>
              <a:gd name="T34" fmla="*/ 277 w 512"/>
              <a:gd name="T35" fmla="*/ 298 h 512"/>
              <a:gd name="T36" fmla="*/ 266 w 512"/>
              <a:gd name="T37" fmla="*/ 181 h 512"/>
              <a:gd name="T38" fmla="*/ 245 w 512"/>
              <a:gd name="T39" fmla="*/ 181 h 512"/>
              <a:gd name="T40" fmla="*/ 245 w 512"/>
              <a:gd name="T41" fmla="*/ 224 h 512"/>
              <a:gd name="T42" fmla="*/ 234 w 512"/>
              <a:gd name="T43" fmla="*/ 298 h 512"/>
              <a:gd name="T44" fmla="*/ 224 w 512"/>
              <a:gd name="T45" fmla="*/ 224 h 512"/>
              <a:gd name="T46" fmla="*/ 213 w 512"/>
              <a:gd name="T47" fmla="*/ 192 h 512"/>
              <a:gd name="T48" fmla="*/ 202 w 512"/>
              <a:gd name="T49" fmla="*/ 330 h 512"/>
              <a:gd name="T50" fmla="*/ 185 w 512"/>
              <a:gd name="T51" fmla="*/ 338 h 512"/>
              <a:gd name="T52" fmla="*/ 146 w 512"/>
              <a:gd name="T53" fmla="*/ 276 h 512"/>
              <a:gd name="T54" fmla="*/ 137 w 512"/>
              <a:gd name="T55" fmla="*/ 294 h 512"/>
              <a:gd name="T56" fmla="*/ 208 w 512"/>
              <a:gd name="T57" fmla="*/ 396 h 512"/>
              <a:gd name="T58" fmla="*/ 202 w 512"/>
              <a:gd name="T59" fmla="*/ 416 h 512"/>
              <a:gd name="T60" fmla="*/ 118 w 512"/>
              <a:gd name="T61" fmla="*/ 303 h 512"/>
              <a:gd name="T62" fmla="*/ 153 w 512"/>
              <a:gd name="T63" fmla="*/ 256 h 512"/>
              <a:gd name="T64" fmla="*/ 181 w 512"/>
              <a:gd name="T65" fmla="*/ 293 h 512"/>
              <a:gd name="T66" fmla="*/ 213 w 512"/>
              <a:gd name="T67" fmla="*/ 170 h 512"/>
              <a:gd name="T68" fmla="*/ 256 w 512"/>
              <a:gd name="T69" fmla="*/ 149 h 512"/>
              <a:gd name="T70" fmla="*/ 288 w 512"/>
              <a:gd name="T71" fmla="*/ 247 h 512"/>
              <a:gd name="T72" fmla="*/ 325 w 512"/>
              <a:gd name="T73" fmla="*/ 260 h 512"/>
              <a:gd name="T74" fmla="*/ 373 w 512"/>
              <a:gd name="T75" fmla="*/ 288 h 512"/>
              <a:gd name="T76" fmla="*/ 349 w 512"/>
              <a:gd name="T77"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304" y="106"/>
                  <a:pt x="352" y="154"/>
                  <a:pt x="352" y="213"/>
                </a:cubicBezTo>
                <a:cubicBezTo>
                  <a:pt x="352" y="217"/>
                  <a:pt x="351" y="221"/>
                  <a:pt x="351" y="225"/>
                </a:cubicBezTo>
                <a:cubicBezTo>
                  <a:pt x="350" y="230"/>
                  <a:pt x="346" y="234"/>
                  <a:pt x="340" y="234"/>
                </a:cubicBezTo>
                <a:cubicBezTo>
                  <a:pt x="340" y="234"/>
                  <a:pt x="340" y="234"/>
                  <a:pt x="339" y="234"/>
                </a:cubicBezTo>
                <a:cubicBezTo>
                  <a:pt x="333" y="234"/>
                  <a:pt x="329" y="228"/>
                  <a:pt x="330" y="222"/>
                </a:cubicBezTo>
                <a:cubicBezTo>
                  <a:pt x="330" y="219"/>
                  <a:pt x="330" y="216"/>
                  <a:pt x="330" y="213"/>
                </a:cubicBezTo>
                <a:cubicBezTo>
                  <a:pt x="330" y="166"/>
                  <a:pt x="292" y="128"/>
                  <a:pt x="245" y="128"/>
                </a:cubicBezTo>
                <a:cubicBezTo>
                  <a:pt x="198" y="128"/>
                  <a:pt x="160" y="166"/>
                  <a:pt x="160" y="213"/>
                </a:cubicBezTo>
                <a:cubicBezTo>
                  <a:pt x="160" y="216"/>
                  <a:pt x="160" y="219"/>
                  <a:pt x="160" y="223"/>
                </a:cubicBezTo>
                <a:cubicBezTo>
                  <a:pt x="161" y="228"/>
                  <a:pt x="157" y="234"/>
                  <a:pt x="151" y="234"/>
                </a:cubicBezTo>
                <a:cubicBezTo>
                  <a:pt x="145" y="235"/>
                  <a:pt x="140" y="231"/>
                  <a:pt x="139" y="225"/>
                </a:cubicBezTo>
                <a:cubicBezTo>
                  <a:pt x="139" y="221"/>
                  <a:pt x="138" y="217"/>
                  <a:pt x="138" y="213"/>
                </a:cubicBezTo>
                <a:cubicBezTo>
                  <a:pt x="138" y="154"/>
                  <a:pt x="186" y="106"/>
                  <a:pt x="245" y="106"/>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2" y="331"/>
                  <a:pt x="352" y="331"/>
                </a:cubicBezTo>
                <a:cubicBezTo>
                  <a:pt x="352" y="288"/>
                  <a:pt x="352" y="288"/>
                  <a:pt x="352" y="288"/>
                </a:cubicBezTo>
                <a:cubicBezTo>
                  <a:pt x="352" y="282"/>
                  <a:pt x="347" y="277"/>
                  <a:pt x="341" y="277"/>
                </a:cubicBezTo>
                <a:cubicBezTo>
                  <a:pt x="336"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5"/>
                  <a:pt x="309" y="284"/>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24"/>
                  <a:pt x="245" y="224"/>
                  <a:pt x="245" y="224"/>
                </a:cubicBezTo>
                <a:cubicBezTo>
                  <a:pt x="245" y="288"/>
                  <a:pt x="245" y="288"/>
                  <a:pt x="245" y="288"/>
                </a:cubicBezTo>
                <a:cubicBezTo>
                  <a:pt x="245" y="294"/>
                  <a:pt x="240" y="298"/>
                  <a:pt x="234" y="298"/>
                </a:cubicBezTo>
                <a:cubicBezTo>
                  <a:pt x="228" y="298"/>
                  <a:pt x="224" y="294"/>
                  <a:pt x="224" y="288"/>
                </a:cubicBezTo>
                <a:cubicBezTo>
                  <a:pt x="224" y="224"/>
                  <a:pt x="224" y="224"/>
                  <a:pt x="224" y="224"/>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44"/>
          <p:cNvGrpSpPr>
            <a:grpSpLocks noChangeAspect="1"/>
          </p:cNvGrpSpPr>
          <p:nvPr/>
        </p:nvGrpSpPr>
        <p:grpSpPr bwMode="auto">
          <a:xfrm>
            <a:off x="4179785" y="1698117"/>
            <a:ext cx="367041" cy="367041"/>
            <a:chOff x="3670" y="730"/>
            <a:chExt cx="340" cy="340"/>
          </a:xfrm>
          <a:solidFill>
            <a:schemeClr val="accent1"/>
          </a:solidFill>
        </p:grpSpPr>
        <p:sp>
          <p:nvSpPr>
            <p:cNvPr id="274" name="Freeform 45"/>
            <p:cNvSpPr>
              <a:spLocks noEditPoints="1"/>
            </p:cNvSpPr>
            <p:nvPr/>
          </p:nvSpPr>
          <p:spPr bwMode="auto">
            <a:xfrm>
              <a:off x="3670" y="7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46"/>
            <p:cNvSpPr>
              <a:spLocks noEditPoints="1"/>
            </p:cNvSpPr>
            <p:nvPr/>
          </p:nvSpPr>
          <p:spPr bwMode="auto">
            <a:xfrm>
              <a:off x="3744" y="800"/>
              <a:ext cx="176" cy="206"/>
            </a:xfrm>
            <a:custGeom>
              <a:avLst/>
              <a:gdLst>
                <a:gd name="T0" fmla="*/ 27 w 265"/>
                <a:gd name="T1" fmla="*/ 107 h 310"/>
                <a:gd name="T2" fmla="*/ 241 w 265"/>
                <a:gd name="T3" fmla="*/ 107 h 310"/>
                <a:gd name="T4" fmla="*/ 229 w 265"/>
                <a:gd name="T5" fmla="*/ 128 h 310"/>
                <a:gd name="T6" fmla="*/ 219 w 265"/>
                <a:gd name="T7" fmla="*/ 116 h 310"/>
                <a:gd name="T8" fmla="*/ 134 w 265"/>
                <a:gd name="T9" fmla="*/ 22 h 310"/>
                <a:gd name="T10" fmla="*/ 49 w 265"/>
                <a:gd name="T11" fmla="*/ 117 h 310"/>
                <a:gd name="T12" fmla="*/ 28 w 265"/>
                <a:gd name="T13" fmla="*/ 119 h 310"/>
                <a:gd name="T14" fmla="*/ 262 w 265"/>
                <a:gd name="T15" fmla="*/ 182 h 310"/>
                <a:gd name="T16" fmla="*/ 214 w 265"/>
                <a:gd name="T17" fmla="*/ 154 h 310"/>
                <a:gd name="T18" fmla="*/ 177 w 265"/>
                <a:gd name="T19" fmla="*/ 141 h 310"/>
                <a:gd name="T20" fmla="*/ 145 w 265"/>
                <a:gd name="T21" fmla="*/ 43 h 310"/>
                <a:gd name="T22" fmla="*/ 102 w 265"/>
                <a:gd name="T23" fmla="*/ 64 h 310"/>
                <a:gd name="T24" fmla="*/ 70 w 265"/>
                <a:gd name="T25" fmla="*/ 187 h 310"/>
                <a:gd name="T26" fmla="*/ 42 w 265"/>
                <a:gd name="T27" fmla="*/ 150 h 310"/>
                <a:gd name="T28" fmla="*/ 7 w 265"/>
                <a:gd name="T29" fmla="*/ 197 h 310"/>
                <a:gd name="T30" fmla="*/ 91 w 265"/>
                <a:gd name="T31" fmla="*/ 310 h 310"/>
                <a:gd name="T32" fmla="*/ 97 w 265"/>
                <a:gd name="T33" fmla="*/ 290 h 310"/>
                <a:gd name="T34" fmla="*/ 26 w 265"/>
                <a:gd name="T35" fmla="*/ 188 h 310"/>
                <a:gd name="T36" fmla="*/ 35 w 265"/>
                <a:gd name="T37" fmla="*/ 170 h 310"/>
                <a:gd name="T38" fmla="*/ 74 w 265"/>
                <a:gd name="T39" fmla="*/ 232 h 310"/>
                <a:gd name="T40" fmla="*/ 91 w 265"/>
                <a:gd name="T41" fmla="*/ 224 h 310"/>
                <a:gd name="T42" fmla="*/ 102 w 265"/>
                <a:gd name="T43" fmla="*/ 86 h 310"/>
                <a:gd name="T44" fmla="*/ 113 w 265"/>
                <a:gd name="T45" fmla="*/ 118 h 310"/>
                <a:gd name="T46" fmla="*/ 123 w 265"/>
                <a:gd name="T47" fmla="*/ 192 h 310"/>
                <a:gd name="T48" fmla="*/ 134 w 265"/>
                <a:gd name="T49" fmla="*/ 118 h 310"/>
                <a:gd name="T50" fmla="*/ 134 w 265"/>
                <a:gd name="T51" fmla="*/ 75 h 310"/>
                <a:gd name="T52" fmla="*/ 155 w 265"/>
                <a:gd name="T53" fmla="*/ 75 h 310"/>
                <a:gd name="T54" fmla="*/ 166 w 265"/>
                <a:gd name="T55" fmla="*/ 192 h 310"/>
                <a:gd name="T56" fmla="*/ 177 w 265"/>
                <a:gd name="T57" fmla="*/ 171 h 310"/>
                <a:gd name="T58" fmla="*/ 198 w 265"/>
                <a:gd name="T59" fmla="*/ 171 h 310"/>
                <a:gd name="T60" fmla="*/ 198 w 265"/>
                <a:gd name="T61" fmla="*/ 182 h 310"/>
                <a:gd name="T62" fmla="*/ 219 w 265"/>
                <a:gd name="T63" fmla="*/ 182 h 310"/>
                <a:gd name="T64" fmla="*/ 230 w 265"/>
                <a:gd name="T65" fmla="*/ 171 h 310"/>
                <a:gd name="T66" fmla="*/ 241 w 265"/>
                <a:gd name="T67" fmla="*/ 225 h 310"/>
                <a:gd name="T68" fmla="*/ 223 w 265"/>
                <a:gd name="T69" fmla="*/ 307 h 310"/>
                <a:gd name="T70" fmla="*/ 238 w 265"/>
                <a:gd name="T71"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310">
                  <a:moveTo>
                    <a:pt x="28" y="119"/>
                  </a:moveTo>
                  <a:cubicBezTo>
                    <a:pt x="28" y="115"/>
                    <a:pt x="27" y="111"/>
                    <a:pt x="27" y="107"/>
                  </a:cubicBezTo>
                  <a:cubicBezTo>
                    <a:pt x="27" y="48"/>
                    <a:pt x="75" y="0"/>
                    <a:pt x="134" y="0"/>
                  </a:cubicBezTo>
                  <a:cubicBezTo>
                    <a:pt x="193" y="0"/>
                    <a:pt x="241" y="48"/>
                    <a:pt x="241" y="107"/>
                  </a:cubicBezTo>
                  <a:cubicBezTo>
                    <a:pt x="241" y="111"/>
                    <a:pt x="240" y="115"/>
                    <a:pt x="240" y="119"/>
                  </a:cubicBezTo>
                  <a:cubicBezTo>
                    <a:pt x="239" y="124"/>
                    <a:pt x="235" y="128"/>
                    <a:pt x="229" y="128"/>
                  </a:cubicBezTo>
                  <a:cubicBezTo>
                    <a:pt x="229" y="128"/>
                    <a:pt x="229" y="128"/>
                    <a:pt x="228" y="128"/>
                  </a:cubicBezTo>
                  <a:cubicBezTo>
                    <a:pt x="222" y="128"/>
                    <a:pt x="218" y="122"/>
                    <a:pt x="219" y="116"/>
                  </a:cubicBezTo>
                  <a:cubicBezTo>
                    <a:pt x="219" y="113"/>
                    <a:pt x="219" y="110"/>
                    <a:pt x="219" y="107"/>
                  </a:cubicBezTo>
                  <a:cubicBezTo>
                    <a:pt x="219" y="60"/>
                    <a:pt x="181" y="22"/>
                    <a:pt x="134" y="22"/>
                  </a:cubicBezTo>
                  <a:cubicBezTo>
                    <a:pt x="87" y="22"/>
                    <a:pt x="49" y="60"/>
                    <a:pt x="49" y="107"/>
                  </a:cubicBezTo>
                  <a:cubicBezTo>
                    <a:pt x="49" y="110"/>
                    <a:pt x="49" y="113"/>
                    <a:pt x="49" y="117"/>
                  </a:cubicBezTo>
                  <a:cubicBezTo>
                    <a:pt x="50" y="122"/>
                    <a:pt x="46" y="128"/>
                    <a:pt x="40" y="128"/>
                  </a:cubicBezTo>
                  <a:cubicBezTo>
                    <a:pt x="34" y="129"/>
                    <a:pt x="29" y="125"/>
                    <a:pt x="28" y="119"/>
                  </a:cubicBezTo>
                  <a:close/>
                  <a:moveTo>
                    <a:pt x="262" y="224"/>
                  </a:moveTo>
                  <a:cubicBezTo>
                    <a:pt x="262" y="182"/>
                    <a:pt x="262" y="182"/>
                    <a:pt x="262" y="182"/>
                  </a:cubicBezTo>
                  <a:cubicBezTo>
                    <a:pt x="262" y="164"/>
                    <a:pt x="248" y="150"/>
                    <a:pt x="230" y="150"/>
                  </a:cubicBezTo>
                  <a:cubicBezTo>
                    <a:pt x="224" y="150"/>
                    <a:pt x="219" y="151"/>
                    <a:pt x="214" y="154"/>
                  </a:cubicBezTo>
                  <a:cubicBezTo>
                    <a:pt x="209" y="145"/>
                    <a:pt x="199" y="139"/>
                    <a:pt x="187" y="139"/>
                  </a:cubicBezTo>
                  <a:cubicBezTo>
                    <a:pt x="184" y="139"/>
                    <a:pt x="180" y="140"/>
                    <a:pt x="177" y="141"/>
                  </a:cubicBezTo>
                  <a:cubicBezTo>
                    <a:pt x="177" y="75"/>
                    <a:pt x="177" y="75"/>
                    <a:pt x="177" y="75"/>
                  </a:cubicBezTo>
                  <a:cubicBezTo>
                    <a:pt x="177" y="57"/>
                    <a:pt x="162" y="43"/>
                    <a:pt x="145" y="43"/>
                  </a:cubicBezTo>
                  <a:cubicBezTo>
                    <a:pt x="130" y="43"/>
                    <a:pt x="118" y="53"/>
                    <a:pt x="114" y="67"/>
                  </a:cubicBezTo>
                  <a:cubicBezTo>
                    <a:pt x="110" y="65"/>
                    <a:pt x="106" y="64"/>
                    <a:pt x="102" y="64"/>
                  </a:cubicBezTo>
                  <a:cubicBezTo>
                    <a:pt x="84" y="64"/>
                    <a:pt x="70" y="79"/>
                    <a:pt x="70" y="96"/>
                  </a:cubicBezTo>
                  <a:cubicBezTo>
                    <a:pt x="70" y="187"/>
                    <a:pt x="70" y="187"/>
                    <a:pt x="70" y="187"/>
                  </a:cubicBezTo>
                  <a:cubicBezTo>
                    <a:pt x="66" y="180"/>
                    <a:pt x="63" y="173"/>
                    <a:pt x="61" y="166"/>
                  </a:cubicBezTo>
                  <a:cubicBezTo>
                    <a:pt x="57" y="159"/>
                    <a:pt x="50" y="153"/>
                    <a:pt x="42" y="150"/>
                  </a:cubicBezTo>
                  <a:cubicBezTo>
                    <a:pt x="34" y="147"/>
                    <a:pt x="25" y="148"/>
                    <a:pt x="18" y="152"/>
                  </a:cubicBezTo>
                  <a:cubicBezTo>
                    <a:pt x="2" y="160"/>
                    <a:pt x="0" y="181"/>
                    <a:pt x="7" y="197"/>
                  </a:cubicBezTo>
                  <a:cubicBezTo>
                    <a:pt x="10" y="204"/>
                    <a:pt x="38" y="278"/>
                    <a:pt x="86" y="308"/>
                  </a:cubicBezTo>
                  <a:cubicBezTo>
                    <a:pt x="87" y="309"/>
                    <a:pt x="89" y="310"/>
                    <a:pt x="91" y="310"/>
                  </a:cubicBezTo>
                  <a:cubicBezTo>
                    <a:pt x="95" y="310"/>
                    <a:pt x="98" y="308"/>
                    <a:pt x="100" y="305"/>
                  </a:cubicBezTo>
                  <a:cubicBezTo>
                    <a:pt x="103" y="300"/>
                    <a:pt x="102" y="293"/>
                    <a:pt x="97" y="290"/>
                  </a:cubicBezTo>
                  <a:cubicBezTo>
                    <a:pt x="54" y="263"/>
                    <a:pt x="27" y="189"/>
                    <a:pt x="27" y="189"/>
                  </a:cubicBezTo>
                  <a:cubicBezTo>
                    <a:pt x="27" y="188"/>
                    <a:pt x="26" y="188"/>
                    <a:pt x="26" y="188"/>
                  </a:cubicBezTo>
                  <a:cubicBezTo>
                    <a:pt x="23" y="182"/>
                    <a:pt x="23" y="173"/>
                    <a:pt x="27" y="171"/>
                  </a:cubicBezTo>
                  <a:cubicBezTo>
                    <a:pt x="30" y="170"/>
                    <a:pt x="33" y="170"/>
                    <a:pt x="35" y="170"/>
                  </a:cubicBezTo>
                  <a:cubicBezTo>
                    <a:pt x="38" y="171"/>
                    <a:pt x="40" y="173"/>
                    <a:pt x="41" y="175"/>
                  </a:cubicBezTo>
                  <a:cubicBezTo>
                    <a:pt x="44" y="182"/>
                    <a:pt x="60" y="220"/>
                    <a:pt x="74" y="232"/>
                  </a:cubicBezTo>
                  <a:cubicBezTo>
                    <a:pt x="77" y="235"/>
                    <a:pt x="81" y="236"/>
                    <a:pt x="85" y="234"/>
                  </a:cubicBezTo>
                  <a:cubicBezTo>
                    <a:pt x="89" y="232"/>
                    <a:pt x="91" y="229"/>
                    <a:pt x="91" y="224"/>
                  </a:cubicBezTo>
                  <a:cubicBezTo>
                    <a:pt x="91" y="96"/>
                    <a:pt x="91" y="96"/>
                    <a:pt x="91" y="96"/>
                  </a:cubicBezTo>
                  <a:cubicBezTo>
                    <a:pt x="91" y="90"/>
                    <a:pt x="96" y="86"/>
                    <a:pt x="102" y="86"/>
                  </a:cubicBezTo>
                  <a:cubicBezTo>
                    <a:pt x="108" y="86"/>
                    <a:pt x="113" y="90"/>
                    <a:pt x="113" y="96"/>
                  </a:cubicBezTo>
                  <a:cubicBezTo>
                    <a:pt x="113" y="118"/>
                    <a:pt x="113" y="118"/>
                    <a:pt x="113" y="118"/>
                  </a:cubicBezTo>
                  <a:cubicBezTo>
                    <a:pt x="113" y="182"/>
                    <a:pt x="113" y="182"/>
                    <a:pt x="113" y="182"/>
                  </a:cubicBezTo>
                  <a:cubicBezTo>
                    <a:pt x="113" y="188"/>
                    <a:pt x="117" y="192"/>
                    <a:pt x="123" y="192"/>
                  </a:cubicBezTo>
                  <a:cubicBezTo>
                    <a:pt x="129" y="192"/>
                    <a:pt x="134" y="188"/>
                    <a:pt x="134" y="182"/>
                  </a:cubicBezTo>
                  <a:cubicBezTo>
                    <a:pt x="134" y="118"/>
                    <a:pt x="134" y="118"/>
                    <a:pt x="134" y="118"/>
                  </a:cubicBezTo>
                  <a:cubicBezTo>
                    <a:pt x="134" y="96"/>
                    <a:pt x="134" y="96"/>
                    <a:pt x="134" y="96"/>
                  </a:cubicBezTo>
                  <a:cubicBezTo>
                    <a:pt x="134" y="75"/>
                    <a:pt x="134" y="75"/>
                    <a:pt x="134" y="75"/>
                  </a:cubicBezTo>
                  <a:cubicBezTo>
                    <a:pt x="134" y="69"/>
                    <a:pt x="139" y="64"/>
                    <a:pt x="145" y="64"/>
                  </a:cubicBezTo>
                  <a:cubicBezTo>
                    <a:pt x="151" y="64"/>
                    <a:pt x="155" y="69"/>
                    <a:pt x="155" y="75"/>
                  </a:cubicBezTo>
                  <a:cubicBezTo>
                    <a:pt x="155" y="182"/>
                    <a:pt x="155" y="182"/>
                    <a:pt x="155" y="182"/>
                  </a:cubicBezTo>
                  <a:cubicBezTo>
                    <a:pt x="155" y="188"/>
                    <a:pt x="160" y="192"/>
                    <a:pt x="166" y="192"/>
                  </a:cubicBezTo>
                  <a:cubicBezTo>
                    <a:pt x="172" y="192"/>
                    <a:pt x="177" y="188"/>
                    <a:pt x="177" y="182"/>
                  </a:cubicBezTo>
                  <a:cubicBezTo>
                    <a:pt x="177" y="171"/>
                    <a:pt x="177" y="171"/>
                    <a:pt x="177" y="171"/>
                  </a:cubicBezTo>
                  <a:cubicBezTo>
                    <a:pt x="177" y="165"/>
                    <a:pt x="181" y="160"/>
                    <a:pt x="187" y="160"/>
                  </a:cubicBezTo>
                  <a:cubicBezTo>
                    <a:pt x="193" y="160"/>
                    <a:pt x="198" y="165"/>
                    <a:pt x="198" y="171"/>
                  </a:cubicBezTo>
                  <a:cubicBezTo>
                    <a:pt x="198" y="178"/>
                    <a:pt x="198" y="178"/>
                    <a:pt x="198" y="178"/>
                  </a:cubicBezTo>
                  <a:cubicBezTo>
                    <a:pt x="198" y="179"/>
                    <a:pt x="198" y="181"/>
                    <a:pt x="198" y="182"/>
                  </a:cubicBezTo>
                  <a:cubicBezTo>
                    <a:pt x="198" y="188"/>
                    <a:pt x="203" y="192"/>
                    <a:pt x="209" y="192"/>
                  </a:cubicBezTo>
                  <a:cubicBezTo>
                    <a:pt x="215" y="192"/>
                    <a:pt x="219" y="188"/>
                    <a:pt x="219" y="182"/>
                  </a:cubicBezTo>
                  <a:cubicBezTo>
                    <a:pt x="219" y="180"/>
                    <a:pt x="219" y="180"/>
                    <a:pt x="219" y="180"/>
                  </a:cubicBezTo>
                  <a:cubicBezTo>
                    <a:pt x="220" y="175"/>
                    <a:pt x="225" y="171"/>
                    <a:pt x="230" y="171"/>
                  </a:cubicBezTo>
                  <a:cubicBezTo>
                    <a:pt x="236" y="171"/>
                    <a:pt x="241" y="176"/>
                    <a:pt x="241" y="182"/>
                  </a:cubicBezTo>
                  <a:cubicBezTo>
                    <a:pt x="241" y="225"/>
                    <a:pt x="241" y="225"/>
                    <a:pt x="241" y="225"/>
                  </a:cubicBezTo>
                  <a:cubicBezTo>
                    <a:pt x="241" y="225"/>
                    <a:pt x="243" y="267"/>
                    <a:pt x="222" y="292"/>
                  </a:cubicBezTo>
                  <a:cubicBezTo>
                    <a:pt x="218" y="297"/>
                    <a:pt x="218" y="303"/>
                    <a:pt x="223" y="307"/>
                  </a:cubicBezTo>
                  <a:cubicBezTo>
                    <a:pt x="225" y="309"/>
                    <a:pt x="227" y="310"/>
                    <a:pt x="230" y="310"/>
                  </a:cubicBezTo>
                  <a:cubicBezTo>
                    <a:pt x="233" y="310"/>
                    <a:pt x="236" y="308"/>
                    <a:pt x="238" y="306"/>
                  </a:cubicBezTo>
                  <a:cubicBezTo>
                    <a:pt x="265" y="274"/>
                    <a:pt x="262" y="226"/>
                    <a:pt x="262"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Freeform 50"/>
          <p:cNvSpPr>
            <a:spLocks noChangeAspect="1" noEditPoints="1"/>
          </p:cNvSpPr>
          <p:nvPr/>
        </p:nvSpPr>
        <p:spPr bwMode="auto">
          <a:xfrm>
            <a:off x="4599050" y="1698117"/>
            <a:ext cx="367041" cy="367041"/>
          </a:xfrm>
          <a:custGeom>
            <a:avLst/>
            <a:gdLst>
              <a:gd name="T0" fmla="*/ 0 w 512"/>
              <a:gd name="T1" fmla="*/ 256 h 512"/>
              <a:gd name="T2" fmla="*/ 512 w 512"/>
              <a:gd name="T3" fmla="*/ 256 h 512"/>
              <a:gd name="T4" fmla="*/ 166 w 512"/>
              <a:gd name="T5" fmla="*/ 113 h 512"/>
              <a:gd name="T6" fmla="*/ 208 w 512"/>
              <a:gd name="T7" fmla="*/ 116 h 512"/>
              <a:gd name="T8" fmla="*/ 206 w 512"/>
              <a:gd name="T9" fmla="*/ 158 h 512"/>
              <a:gd name="T10" fmla="*/ 194 w 512"/>
              <a:gd name="T11" fmla="*/ 150 h 512"/>
              <a:gd name="T12" fmla="*/ 183 w 512"/>
              <a:gd name="T13" fmla="*/ 159 h 512"/>
              <a:gd name="T14" fmla="*/ 169 w 512"/>
              <a:gd name="T15" fmla="*/ 162 h 512"/>
              <a:gd name="T16" fmla="*/ 175 w 512"/>
              <a:gd name="T17" fmla="*/ 133 h 512"/>
              <a:gd name="T18" fmla="*/ 158 w 512"/>
              <a:gd name="T19" fmla="*/ 126 h 512"/>
              <a:gd name="T20" fmla="*/ 121 w 512"/>
              <a:gd name="T21" fmla="*/ 244 h 512"/>
              <a:gd name="T22" fmla="*/ 105 w 512"/>
              <a:gd name="T23" fmla="*/ 206 h 512"/>
              <a:gd name="T24" fmla="*/ 126 w 512"/>
              <a:gd name="T25" fmla="*/ 202 h 512"/>
              <a:gd name="T26" fmla="*/ 136 w 512"/>
              <a:gd name="T27" fmla="*/ 192 h 512"/>
              <a:gd name="T28" fmla="*/ 154 w 512"/>
              <a:gd name="T29" fmla="*/ 204 h 512"/>
              <a:gd name="T30" fmla="*/ 149 w 512"/>
              <a:gd name="T31" fmla="*/ 217 h 512"/>
              <a:gd name="T32" fmla="*/ 153 w 512"/>
              <a:gd name="T33" fmla="*/ 238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96" y="107"/>
                  <a:pt x="196" y="107"/>
                  <a:pt x="196" y="107"/>
                </a:cubicBezTo>
                <a:cubicBezTo>
                  <a:pt x="202" y="106"/>
                  <a:pt x="207" y="110"/>
                  <a:pt x="208" y="116"/>
                </a:cubicBezTo>
                <a:cubicBezTo>
                  <a:pt x="214" y="145"/>
                  <a:pt x="214" y="145"/>
                  <a:pt x="214" y="145"/>
                </a:cubicBezTo>
                <a:cubicBezTo>
                  <a:pt x="216" y="151"/>
                  <a:pt x="212" y="157"/>
                  <a:pt x="206" y="158"/>
                </a:cubicBezTo>
                <a:cubicBezTo>
                  <a:pt x="205" y="158"/>
                  <a:pt x="205" y="158"/>
                  <a:pt x="204" y="158"/>
                </a:cubicBezTo>
                <a:cubicBezTo>
                  <a:pt x="199" y="158"/>
                  <a:pt x="195" y="155"/>
                  <a:pt x="194" y="150"/>
                </a:cubicBezTo>
                <a:cubicBezTo>
                  <a:pt x="193" y="145"/>
                  <a:pt x="193" y="145"/>
                  <a:pt x="193" y="145"/>
                </a:cubicBezTo>
                <a:cubicBezTo>
                  <a:pt x="183" y="159"/>
                  <a:pt x="183" y="159"/>
                  <a:pt x="183" y="159"/>
                </a:cubicBezTo>
                <a:cubicBezTo>
                  <a:pt x="181" y="162"/>
                  <a:pt x="178" y="164"/>
                  <a:pt x="174" y="164"/>
                </a:cubicBezTo>
                <a:cubicBezTo>
                  <a:pt x="172" y="164"/>
                  <a:pt x="170" y="164"/>
                  <a:pt x="169" y="162"/>
                </a:cubicBezTo>
                <a:cubicBezTo>
                  <a:pt x="164" y="159"/>
                  <a:pt x="162" y="152"/>
                  <a:pt x="166" y="148"/>
                </a:cubicBezTo>
                <a:cubicBezTo>
                  <a:pt x="175" y="133"/>
                  <a:pt x="175" y="133"/>
                  <a:pt x="175" y="133"/>
                </a:cubicBezTo>
                <a:cubicBezTo>
                  <a:pt x="171" y="134"/>
                  <a:pt x="171" y="134"/>
                  <a:pt x="171" y="134"/>
                </a:cubicBezTo>
                <a:cubicBezTo>
                  <a:pt x="165" y="135"/>
                  <a:pt x="159" y="132"/>
                  <a:pt x="158" y="126"/>
                </a:cubicBezTo>
                <a:cubicBezTo>
                  <a:pt x="157" y="120"/>
                  <a:pt x="161" y="115"/>
                  <a:pt x="166" y="113"/>
                </a:cubicBezTo>
                <a:close/>
                <a:moveTo>
                  <a:pt x="121" y="244"/>
                </a:moveTo>
                <a:cubicBezTo>
                  <a:pt x="116" y="244"/>
                  <a:pt x="112" y="241"/>
                  <a:pt x="111" y="236"/>
                </a:cubicBezTo>
                <a:cubicBezTo>
                  <a:pt x="105" y="206"/>
                  <a:pt x="105" y="206"/>
                  <a:pt x="105" y="206"/>
                </a:cubicBezTo>
                <a:cubicBezTo>
                  <a:pt x="104" y="200"/>
                  <a:pt x="107" y="195"/>
                  <a:pt x="113" y="193"/>
                </a:cubicBezTo>
                <a:cubicBezTo>
                  <a:pt x="119" y="192"/>
                  <a:pt x="125" y="196"/>
                  <a:pt x="126" y="202"/>
                </a:cubicBezTo>
                <a:cubicBezTo>
                  <a:pt x="127" y="206"/>
                  <a:pt x="127" y="206"/>
                  <a:pt x="127" y="206"/>
                </a:cubicBezTo>
                <a:cubicBezTo>
                  <a:pt x="136" y="192"/>
                  <a:pt x="136" y="192"/>
                  <a:pt x="136" y="192"/>
                </a:cubicBezTo>
                <a:cubicBezTo>
                  <a:pt x="139" y="187"/>
                  <a:pt x="146" y="186"/>
                  <a:pt x="151" y="189"/>
                </a:cubicBezTo>
                <a:cubicBezTo>
                  <a:pt x="156" y="192"/>
                  <a:pt x="157" y="199"/>
                  <a:pt x="154" y="204"/>
                </a:cubicBezTo>
                <a:cubicBezTo>
                  <a:pt x="144" y="218"/>
                  <a:pt x="144" y="218"/>
                  <a:pt x="144" y="218"/>
                </a:cubicBezTo>
                <a:cubicBezTo>
                  <a:pt x="149" y="217"/>
                  <a:pt x="149" y="217"/>
                  <a:pt x="149" y="217"/>
                </a:cubicBezTo>
                <a:cubicBezTo>
                  <a:pt x="155" y="216"/>
                  <a:pt x="160" y="220"/>
                  <a:pt x="161" y="225"/>
                </a:cubicBezTo>
                <a:cubicBezTo>
                  <a:pt x="163" y="231"/>
                  <a:pt x="159" y="237"/>
                  <a:pt x="153" y="238"/>
                </a:cubicBezTo>
                <a:cubicBezTo>
                  <a:pt x="123" y="244"/>
                  <a:pt x="123" y="244"/>
                  <a:pt x="123" y="244"/>
                </a:cubicBezTo>
                <a:cubicBezTo>
                  <a:pt x="123" y="244"/>
                  <a:pt x="122"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7" name="Group 81"/>
          <p:cNvGrpSpPr>
            <a:grpSpLocks noChangeAspect="1"/>
          </p:cNvGrpSpPr>
          <p:nvPr/>
        </p:nvGrpSpPr>
        <p:grpSpPr bwMode="auto">
          <a:xfrm>
            <a:off x="5856846" y="1698117"/>
            <a:ext cx="367041" cy="367041"/>
            <a:chOff x="4452" y="1348"/>
            <a:chExt cx="340" cy="340"/>
          </a:xfrm>
          <a:solidFill>
            <a:schemeClr val="accent1"/>
          </a:solidFill>
        </p:grpSpPr>
        <p:sp>
          <p:nvSpPr>
            <p:cNvPr id="278" name="Freeform 82"/>
            <p:cNvSpPr>
              <a:spLocks noEditPoints="1"/>
            </p:cNvSpPr>
            <p:nvPr/>
          </p:nvSpPr>
          <p:spPr bwMode="auto">
            <a:xfrm>
              <a:off x="4452" y="13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83"/>
            <p:cNvSpPr>
              <a:spLocks noEditPoints="1"/>
            </p:cNvSpPr>
            <p:nvPr/>
          </p:nvSpPr>
          <p:spPr bwMode="auto">
            <a:xfrm>
              <a:off x="4521" y="1418"/>
              <a:ext cx="195" cy="206"/>
            </a:xfrm>
            <a:custGeom>
              <a:avLst/>
              <a:gdLst>
                <a:gd name="T0" fmla="*/ 26 w 293"/>
                <a:gd name="T1" fmla="*/ 133 h 310"/>
                <a:gd name="T2" fmla="*/ 11 w 293"/>
                <a:gd name="T3" fmla="*/ 136 h 310"/>
                <a:gd name="T4" fmla="*/ 18 w 293"/>
                <a:gd name="T5" fmla="*/ 107 h 310"/>
                <a:gd name="T6" fmla="*/ 1 w 293"/>
                <a:gd name="T7" fmla="*/ 100 h 310"/>
                <a:gd name="T8" fmla="*/ 39 w 293"/>
                <a:gd name="T9" fmla="*/ 81 h 310"/>
                <a:gd name="T10" fmla="*/ 57 w 293"/>
                <a:gd name="T11" fmla="*/ 119 h 310"/>
                <a:gd name="T12" fmla="*/ 47 w 293"/>
                <a:gd name="T13" fmla="*/ 132 h 310"/>
                <a:gd name="T14" fmla="*/ 36 w 293"/>
                <a:gd name="T15" fmla="*/ 119 h 310"/>
                <a:gd name="T16" fmla="*/ 70 w 293"/>
                <a:gd name="T17" fmla="*/ 58 h 310"/>
                <a:gd name="T18" fmla="*/ 102 w 293"/>
                <a:gd name="T19" fmla="*/ 52 h 310"/>
                <a:gd name="T20" fmla="*/ 98 w 293"/>
                <a:gd name="T21" fmla="*/ 31 h 310"/>
                <a:gd name="T22" fmla="*/ 103 w 293"/>
                <a:gd name="T23" fmla="*/ 18 h 310"/>
                <a:gd name="T24" fmla="*/ 85 w 293"/>
                <a:gd name="T25" fmla="*/ 6 h 310"/>
                <a:gd name="T26" fmla="*/ 75 w 293"/>
                <a:gd name="T27" fmla="*/ 16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36" y="119"/>
                  </a:moveTo>
                  <a:cubicBezTo>
                    <a:pt x="26" y="133"/>
                    <a:pt x="26" y="133"/>
                    <a:pt x="26" y="133"/>
                  </a:cubicBezTo>
                  <a:cubicBezTo>
                    <a:pt x="24" y="136"/>
                    <a:pt x="21" y="138"/>
                    <a:pt x="17" y="138"/>
                  </a:cubicBezTo>
                  <a:cubicBezTo>
                    <a:pt x="15" y="138"/>
                    <a:pt x="13" y="138"/>
                    <a:pt x="11" y="136"/>
                  </a:cubicBezTo>
                  <a:cubicBezTo>
                    <a:pt x="7" y="133"/>
                    <a:pt x="5" y="126"/>
                    <a:pt x="8" y="122"/>
                  </a:cubicBezTo>
                  <a:cubicBezTo>
                    <a:pt x="18" y="107"/>
                    <a:pt x="18" y="107"/>
                    <a:pt x="18" y="107"/>
                  </a:cubicBezTo>
                  <a:cubicBezTo>
                    <a:pt x="13" y="108"/>
                    <a:pt x="13" y="108"/>
                    <a:pt x="13" y="108"/>
                  </a:cubicBezTo>
                  <a:cubicBezTo>
                    <a:pt x="8" y="109"/>
                    <a:pt x="2" y="106"/>
                    <a:pt x="1" y="100"/>
                  </a:cubicBezTo>
                  <a:cubicBezTo>
                    <a:pt x="0" y="94"/>
                    <a:pt x="3" y="89"/>
                    <a:pt x="9" y="87"/>
                  </a:cubicBezTo>
                  <a:cubicBezTo>
                    <a:pt x="39" y="81"/>
                    <a:pt x="39" y="81"/>
                    <a:pt x="39" y="81"/>
                  </a:cubicBezTo>
                  <a:cubicBezTo>
                    <a:pt x="45" y="80"/>
                    <a:pt x="50" y="84"/>
                    <a:pt x="51" y="90"/>
                  </a:cubicBezTo>
                  <a:cubicBezTo>
                    <a:pt x="57" y="119"/>
                    <a:pt x="57" y="119"/>
                    <a:pt x="57" y="119"/>
                  </a:cubicBezTo>
                  <a:cubicBezTo>
                    <a:pt x="59" y="125"/>
                    <a:pt x="55" y="131"/>
                    <a:pt x="49" y="132"/>
                  </a:cubicBezTo>
                  <a:cubicBezTo>
                    <a:pt x="48" y="132"/>
                    <a:pt x="48" y="132"/>
                    <a:pt x="47" y="132"/>
                  </a:cubicBezTo>
                  <a:cubicBezTo>
                    <a:pt x="42" y="132"/>
                    <a:pt x="37" y="129"/>
                    <a:pt x="36" y="124"/>
                  </a:cubicBezTo>
                  <a:lnTo>
                    <a:pt x="36" y="119"/>
                  </a:lnTo>
                  <a:close/>
                  <a:moveTo>
                    <a:pt x="60" y="50"/>
                  </a:moveTo>
                  <a:cubicBezTo>
                    <a:pt x="61" y="55"/>
                    <a:pt x="65" y="58"/>
                    <a:pt x="70" y="58"/>
                  </a:cubicBezTo>
                  <a:cubicBezTo>
                    <a:pt x="71" y="58"/>
                    <a:pt x="72" y="58"/>
                    <a:pt x="73" y="58"/>
                  </a:cubicBezTo>
                  <a:cubicBezTo>
                    <a:pt x="102" y="52"/>
                    <a:pt x="102" y="52"/>
                    <a:pt x="102" y="52"/>
                  </a:cubicBezTo>
                  <a:cubicBezTo>
                    <a:pt x="108" y="51"/>
                    <a:pt x="112" y="45"/>
                    <a:pt x="110" y="39"/>
                  </a:cubicBezTo>
                  <a:cubicBezTo>
                    <a:pt x="109" y="34"/>
                    <a:pt x="104" y="30"/>
                    <a:pt x="98" y="31"/>
                  </a:cubicBezTo>
                  <a:cubicBezTo>
                    <a:pt x="94" y="32"/>
                    <a:pt x="94" y="32"/>
                    <a:pt x="94" y="32"/>
                  </a:cubicBezTo>
                  <a:cubicBezTo>
                    <a:pt x="103" y="18"/>
                    <a:pt x="103" y="18"/>
                    <a:pt x="103" y="18"/>
                  </a:cubicBezTo>
                  <a:cubicBezTo>
                    <a:pt x="106" y="13"/>
                    <a:pt x="105" y="6"/>
                    <a:pt x="100" y="3"/>
                  </a:cubicBezTo>
                  <a:cubicBezTo>
                    <a:pt x="95" y="0"/>
                    <a:pt x="88" y="1"/>
                    <a:pt x="85" y="6"/>
                  </a:cubicBezTo>
                  <a:cubicBezTo>
                    <a:pt x="76" y="20"/>
                    <a:pt x="76" y="20"/>
                    <a:pt x="76" y="20"/>
                  </a:cubicBezTo>
                  <a:cubicBezTo>
                    <a:pt x="75" y="16"/>
                    <a:pt x="75" y="16"/>
                    <a:pt x="75" y="16"/>
                  </a:cubicBezTo>
                  <a:cubicBezTo>
                    <a:pt x="74" y="10"/>
                    <a:pt x="68" y="6"/>
                    <a:pt x="62" y="7"/>
                  </a:cubicBezTo>
                  <a:cubicBezTo>
                    <a:pt x="57" y="9"/>
                    <a:pt x="53" y="14"/>
                    <a:pt x="54" y="20"/>
                  </a:cubicBezTo>
                  <a:lnTo>
                    <a:pt x="60" y="50"/>
                  </a:ln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0" name="Freeform 87"/>
          <p:cNvSpPr>
            <a:spLocks noChangeAspect="1" noEditPoints="1"/>
          </p:cNvSpPr>
          <p:nvPr/>
        </p:nvSpPr>
        <p:spPr bwMode="auto">
          <a:xfrm>
            <a:off x="5437580" y="1698117"/>
            <a:ext cx="367041" cy="367041"/>
          </a:xfrm>
          <a:custGeom>
            <a:avLst/>
            <a:gdLst>
              <a:gd name="T0" fmla="*/ 0 w 512"/>
              <a:gd name="T1" fmla="*/ 256 h 512"/>
              <a:gd name="T2" fmla="*/ 512 w 512"/>
              <a:gd name="T3" fmla="*/ 256 h 512"/>
              <a:gd name="T4" fmla="*/ 166 w 512"/>
              <a:gd name="T5" fmla="*/ 113 h 512"/>
              <a:gd name="T6" fmla="*/ 180 w 512"/>
              <a:gd name="T7" fmla="*/ 126 h 512"/>
              <a:gd name="T8" fmla="*/ 204 w 512"/>
              <a:gd name="T9" fmla="*/ 109 h 512"/>
              <a:gd name="T10" fmla="*/ 198 w 512"/>
              <a:gd name="T11" fmla="*/ 138 h 512"/>
              <a:gd name="T12" fmla="*/ 214 w 512"/>
              <a:gd name="T13" fmla="*/ 145 h 512"/>
              <a:gd name="T14" fmla="*/ 177 w 512"/>
              <a:gd name="T15" fmla="*/ 164 h 512"/>
              <a:gd name="T16" fmla="*/ 164 w 512"/>
              <a:gd name="T17" fmla="*/ 156 h 512"/>
              <a:gd name="T18" fmla="*/ 166 w 512"/>
              <a:gd name="T19" fmla="*/ 113 h 512"/>
              <a:gd name="T20" fmla="*/ 115 w 512"/>
              <a:gd name="T21" fmla="*/ 242 h 512"/>
              <a:gd name="T22" fmla="*/ 122 w 512"/>
              <a:gd name="T23" fmla="*/ 213 h 512"/>
              <a:gd name="T24" fmla="*/ 105 w 512"/>
              <a:gd name="T25" fmla="*/ 206 h 512"/>
              <a:gd name="T26" fmla="*/ 143 w 512"/>
              <a:gd name="T27" fmla="*/ 187 h 512"/>
              <a:gd name="T28" fmla="*/ 161 w 512"/>
              <a:gd name="T29" fmla="*/ 225 h 512"/>
              <a:gd name="T30" fmla="*/ 151 w 512"/>
              <a:gd name="T31" fmla="*/ 238 h 512"/>
              <a:gd name="T32" fmla="*/ 140 w 512"/>
              <a:gd name="T33" fmla="*/ 225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72" y="112"/>
                  <a:pt x="178" y="116"/>
                  <a:pt x="179" y="122"/>
                </a:cubicBezTo>
                <a:cubicBezTo>
                  <a:pt x="180" y="126"/>
                  <a:pt x="180" y="126"/>
                  <a:pt x="180" y="126"/>
                </a:cubicBezTo>
                <a:cubicBezTo>
                  <a:pt x="189" y="112"/>
                  <a:pt x="189" y="112"/>
                  <a:pt x="189" y="112"/>
                </a:cubicBezTo>
                <a:cubicBezTo>
                  <a:pt x="192" y="107"/>
                  <a:pt x="199" y="106"/>
                  <a:pt x="204" y="109"/>
                </a:cubicBezTo>
                <a:cubicBezTo>
                  <a:pt x="209" y="112"/>
                  <a:pt x="210" y="119"/>
                  <a:pt x="207" y="124"/>
                </a:cubicBezTo>
                <a:cubicBezTo>
                  <a:pt x="198" y="138"/>
                  <a:pt x="198" y="138"/>
                  <a:pt x="198" y="138"/>
                </a:cubicBezTo>
                <a:cubicBezTo>
                  <a:pt x="202" y="137"/>
                  <a:pt x="202" y="137"/>
                  <a:pt x="202" y="137"/>
                </a:cubicBezTo>
                <a:cubicBezTo>
                  <a:pt x="208" y="136"/>
                  <a:pt x="213" y="140"/>
                  <a:pt x="214" y="145"/>
                </a:cubicBezTo>
                <a:cubicBezTo>
                  <a:pt x="216" y="151"/>
                  <a:pt x="212" y="157"/>
                  <a:pt x="206" y="158"/>
                </a:cubicBezTo>
                <a:cubicBezTo>
                  <a:pt x="177" y="164"/>
                  <a:pt x="177" y="164"/>
                  <a:pt x="177" y="164"/>
                </a:cubicBezTo>
                <a:cubicBezTo>
                  <a:pt x="176" y="164"/>
                  <a:pt x="175" y="164"/>
                  <a:pt x="174" y="164"/>
                </a:cubicBezTo>
                <a:cubicBezTo>
                  <a:pt x="169" y="164"/>
                  <a:pt x="165" y="161"/>
                  <a:pt x="164" y="156"/>
                </a:cubicBezTo>
                <a:cubicBezTo>
                  <a:pt x="158" y="126"/>
                  <a:pt x="158" y="126"/>
                  <a:pt x="158" y="126"/>
                </a:cubicBezTo>
                <a:cubicBezTo>
                  <a:pt x="157" y="120"/>
                  <a:pt x="161" y="115"/>
                  <a:pt x="166" y="113"/>
                </a:cubicBezTo>
                <a:close/>
                <a:moveTo>
                  <a:pt x="121" y="244"/>
                </a:moveTo>
                <a:cubicBezTo>
                  <a:pt x="119" y="244"/>
                  <a:pt x="117" y="244"/>
                  <a:pt x="115" y="242"/>
                </a:cubicBezTo>
                <a:cubicBezTo>
                  <a:pt x="111" y="239"/>
                  <a:pt x="109" y="232"/>
                  <a:pt x="112" y="228"/>
                </a:cubicBezTo>
                <a:cubicBezTo>
                  <a:pt x="122" y="213"/>
                  <a:pt x="122" y="213"/>
                  <a:pt x="122" y="213"/>
                </a:cubicBezTo>
                <a:cubicBezTo>
                  <a:pt x="117" y="214"/>
                  <a:pt x="117" y="214"/>
                  <a:pt x="117" y="214"/>
                </a:cubicBezTo>
                <a:cubicBezTo>
                  <a:pt x="112" y="215"/>
                  <a:pt x="106" y="212"/>
                  <a:pt x="105" y="206"/>
                </a:cubicBezTo>
                <a:cubicBezTo>
                  <a:pt x="104" y="200"/>
                  <a:pt x="107" y="195"/>
                  <a:pt x="113" y="193"/>
                </a:cubicBezTo>
                <a:cubicBezTo>
                  <a:pt x="143" y="187"/>
                  <a:pt x="143" y="187"/>
                  <a:pt x="143" y="187"/>
                </a:cubicBezTo>
                <a:cubicBezTo>
                  <a:pt x="149" y="186"/>
                  <a:pt x="154" y="190"/>
                  <a:pt x="155" y="196"/>
                </a:cubicBezTo>
                <a:cubicBezTo>
                  <a:pt x="161" y="225"/>
                  <a:pt x="161" y="225"/>
                  <a:pt x="161" y="225"/>
                </a:cubicBezTo>
                <a:cubicBezTo>
                  <a:pt x="163" y="231"/>
                  <a:pt x="159" y="237"/>
                  <a:pt x="153" y="238"/>
                </a:cubicBezTo>
                <a:cubicBezTo>
                  <a:pt x="152" y="238"/>
                  <a:pt x="152" y="238"/>
                  <a:pt x="151" y="238"/>
                </a:cubicBezTo>
                <a:cubicBezTo>
                  <a:pt x="146" y="238"/>
                  <a:pt x="141" y="235"/>
                  <a:pt x="140" y="230"/>
                </a:cubicBezTo>
                <a:cubicBezTo>
                  <a:pt x="140" y="225"/>
                  <a:pt x="140" y="225"/>
                  <a:pt x="140" y="225"/>
                </a:cubicBezTo>
                <a:cubicBezTo>
                  <a:pt x="130" y="239"/>
                  <a:pt x="130" y="239"/>
                  <a:pt x="130" y="239"/>
                </a:cubicBezTo>
                <a:cubicBezTo>
                  <a:pt x="128" y="242"/>
                  <a:pt x="125"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1" name="Group 90"/>
          <p:cNvGrpSpPr>
            <a:grpSpLocks noChangeAspect="1"/>
          </p:cNvGrpSpPr>
          <p:nvPr/>
        </p:nvGrpSpPr>
        <p:grpSpPr bwMode="auto">
          <a:xfrm>
            <a:off x="5018315" y="1698117"/>
            <a:ext cx="367041" cy="367041"/>
            <a:chOff x="4381" y="1224"/>
            <a:chExt cx="340" cy="340"/>
          </a:xfrm>
          <a:solidFill>
            <a:schemeClr val="accent1"/>
          </a:solidFill>
        </p:grpSpPr>
        <p:sp>
          <p:nvSpPr>
            <p:cNvPr id="282" name="Freeform 281"/>
            <p:cNvSpPr>
              <a:spLocks noEditPoints="1"/>
            </p:cNvSpPr>
            <p:nvPr/>
          </p:nvSpPr>
          <p:spPr bwMode="auto">
            <a:xfrm>
              <a:off x="4381" y="12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282"/>
            <p:cNvSpPr>
              <a:spLocks noEditPoints="1"/>
            </p:cNvSpPr>
            <p:nvPr/>
          </p:nvSpPr>
          <p:spPr bwMode="auto">
            <a:xfrm>
              <a:off x="4450" y="1294"/>
              <a:ext cx="195" cy="206"/>
            </a:xfrm>
            <a:custGeom>
              <a:avLst/>
              <a:gdLst>
                <a:gd name="T0" fmla="*/ 19 w 293"/>
                <a:gd name="T1" fmla="*/ 138 h 310"/>
                <a:gd name="T2" fmla="*/ 7 w 293"/>
                <a:gd name="T3" fmla="*/ 130 h 310"/>
                <a:gd name="T4" fmla="*/ 9 w 293"/>
                <a:gd name="T5" fmla="*/ 87 h 310"/>
                <a:gd name="T6" fmla="*/ 23 w 293"/>
                <a:gd name="T7" fmla="*/ 100 h 310"/>
                <a:gd name="T8" fmla="*/ 47 w 293"/>
                <a:gd name="T9" fmla="*/ 83 h 310"/>
                <a:gd name="T10" fmla="*/ 40 w 293"/>
                <a:gd name="T11" fmla="*/ 112 h 310"/>
                <a:gd name="T12" fmla="*/ 57 w 293"/>
                <a:gd name="T13" fmla="*/ 119 h 310"/>
                <a:gd name="T14" fmla="*/ 67 w 293"/>
                <a:gd name="T15" fmla="*/ 28 h 310"/>
                <a:gd name="T16" fmla="*/ 62 w 293"/>
                <a:gd name="T17" fmla="*/ 42 h 310"/>
                <a:gd name="T18" fmla="*/ 70 w 293"/>
                <a:gd name="T19" fmla="*/ 58 h 310"/>
                <a:gd name="T20" fmla="*/ 89 w 293"/>
                <a:gd name="T21" fmla="*/ 39 h 310"/>
                <a:gd name="T22" fmla="*/ 100 w 293"/>
                <a:gd name="T23" fmla="*/ 52 h 310"/>
                <a:gd name="T24" fmla="*/ 110 w 293"/>
                <a:gd name="T25" fmla="*/ 39 h 310"/>
                <a:gd name="T26" fmla="*/ 92 w 293"/>
                <a:gd name="T27" fmla="*/ 1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49" y="132"/>
                  </a:moveTo>
                  <a:cubicBezTo>
                    <a:pt x="19" y="138"/>
                    <a:pt x="19" y="138"/>
                    <a:pt x="19" y="138"/>
                  </a:cubicBezTo>
                  <a:cubicBezTo>
                    <a:pt x="19" y="138"/>
                    <a:pt x="18" y="138"/>
                    <a:pt x="17" y="138"/>
                  </a:cubicBezTo>
                  <a:cubicBezTo>
                    <a:pt x="12" y="138"/>
                    <a:pt x="8" y="135"/>
                    <a:pt x="7" y="130"/>
                  </a:cubicBezTo>
                  <a:cubicBezTo>
                    <a:pt x="1" y="100"/>
                    <a:pt x="1" y="100"/>
                    <a:pt x="1" y="100"/>
                  </a:cubicBezTo>
                  <a:cubicBezTo>
                    <a:pt x="0" y="94"/>
                    <a:pt x="3" y="89"/>
                    <a:pt x="9" y="87"/>
                  </a:cubicBezTo>
                  <a:cubicBezTo>
                    <a:pt x="15" y="86"/>
                    <a:pt x="21" y="90"/>
                    <a:pt x="22" y="96"/>
                  </a:cubicBezTo>
                  <a:cubicBezTo>
                    <a:pt x="23" y="100"/>
                    <a:pt x="23" y="100"/>
                    <a:pt x="23" y="100"/>
                  </a:cubicBezTo>
                  <a:cubicBezTo>
                    <a:pt x="32" y="86"/>
                    <a:pt x="32" y="86"/>
                    <a:pt x="32" y="86"/>
                  </a:cubicBezTo>
                  <a:cubicBezTo>
                    <a:pt x="35" y="81"/>
                    <a:pt x="42" y="80"/>
                    <a:pt x="47" y="83"/>
                  </a:cubicBezTo>
                  <a:cubicBezTo>
                    <a:pt x="52" y="86"/>
                    <a:pt x="53" y="93"/>
                    <a:pt x="50" y="98"/>
                  </a:cubicBezTo>
                  <a:cubicBezTo>
                    <a:pt x="40" y="112"/>
                    <a:pt x="40" y="112"/>
                    <a:pt x="40" y="112"/>
                  </a:cubicBezTo>
                  <a:cubicBezTo>
                    <a:pt x="45" y="111"/>
                    <a:pt x="45" y="111"/>
                    <a:pt x="45" y="111"/>
                  </a:cubicBezTo>
                  <a:cubicBezTo>
                    <a:pt x="51" y="110"/>
                    <a:pt x="56" y="114"/>
                    <a:pt x="57" y="119"/>
                  </a:cubicBezTo>
                  <a:cubicBezTo>
                    <a:pt x="59" y="125"/>
                    <a:pt x="55" y="131"/>
                    <a:pt x="49" y="132"/>
                  </a:cubicBezTo>
                  <a:close/>
                  <a:moveTo>
                    <a:pt x="67" y="28"/>
                  </a:moveTo>
                  <a:cubicBezTo>
                    <a:pt x="71" y="27"/>
                    <a:pt x="71" y="27"/>
                    <a:pt x="71" y="27"/>
                  </a:cubicBezTo>
                  <a:cubicBezTo>
                    <a:pt x="62" y="42"/>
                    <a:pt x="62" y="42"/>
                    <a:pt x="62" y="42"/>
                  </a:cubicBezTo>
                  <a:cubicBezTo>
                    <a:pt x="58" y="46"/>
                    <a:pt x="60" y="53"/>
                    <a:pt x="65" y="56"/>
                  </a:cubicBezTo>
                  <a:cubicBezTo>
                    <a:pt x="66" y="58"/>
                    <a:pt x="68" y="58"/>
                    <a:pt x="70" y="58"/>
                  </a:cubicBezTo>
                  <a:cubicBezTo>
                    <a:pt x="74" y="58"/>
                    <a:pt x="77" y="56"/>
                    <a:pt x="79" y="53"/>
                  </a:cubicBezTo>
                  <a:cubicBezTo>
                    <a:pt x="89" y="39"/>
                    <a:pt x="89" y="39"/>
                    <a:pt x="89" y="39"/>
                  </a:cubicBezTo>
                  <a:cubicBezTo>
                    <a:pt x="90" y="44"/>
                    <a:pt x="90" y="44"/>
                    <a:pt x="90" y="44"/>
                  </a:cubicBezTo>
                  <a:cubicBezTo>
                    <a:pt x="91" y="49"/>
                    <a:pt x="95" y="52"/>
                    <a:pt x="100" y="52"/>
                  </a:cubicBezTo>
                  <a:cubicBezTo>
                    <a:pt x="101" y="52"/>
                    <a:pt x="101" y="52"/>
                    <a:pt x="102" y="52"/>
                  </a:cubicBezTo>
                  <a:cubicBezTo>
                    <a:pt x="108" y="51"/>
                    <a:pt x="112" y="45"/>
                    <a:pt x="110" y="39"/>
                  </a:cubicBezTo>
                  <a:cubicBezTo>
                    <a:pt x="104" y="10"/>
                    <a:pt x="104" y="10"/>
                    <a:pt x="104" y="10"/>
                  </a:cubicBezTo>
                  <a:cubicBezTo>
                    <a:pt x="103" y="4"/>
                    <a:pt x="98" y="0"/>
                    <a:pt x="92" y="1"/>
                  </a:cubicBezTo>
                  <a:cubicBezTo>
                    <a:pt x="62" y="7"/>
                    <a:pt x="62" y="7"/>
                    <a:pt x="62" y="7"/>
                  </a:cubicBezTo>
                  <a:cubicBezTo>
                    <a:pt x="57" y="9"/>
                    <a:pt x="53" y="14"/>
                    <a:pt x="54" y="20"/>
                  </a:cubicBezTo>
                  <a:cubicBezTo>
                    <a:pt x="55" y="26"/>
                    <a:pt x="61" y="29"/>
                    <a:pt x="67" y="28"/>
                  </a:cubicBez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4" name="Freeform 143"/>
          <p:cNvSpPr>
            <a:spLocks noChangeAspect="1" noEditPoints="1"/>
          </p:cNvSpPr>
          <p:nvPr/>
        </p:nvSpPr>
        <p:spPr bwMode="auto">
          <a:xfrm>
            <a:off x="406400" y="2533203"/>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5" name="Group 146"/>
          <p:cNvGrpSpPr>
            <a:grpSpLocks noChangeAspect="1"/>
          </p:cNvGrpSpPr>
          <p:nvPr/>
        </p:nvGrpSpPr>
        <p:grpSpPr bwMode="auto">
          <a:xfrm>
            <a:off x="826504" y="2533203"/>
            <a:ext cx="368121" cy="367041"/>
            <a:chOff x="4468" y="1187"/>
            <a:chExt cx="341" cy="340"/>
          </a:xfrm>
          <a:solidFill>
            <a:schemeClr val="accent2"/>
          </a:solidFill>
        </p:grpSpPr>
        <p:sp>
          <p:nvSpPr>
            <p:cNvPr id="286" name="Freeform 147"/>
            <p:cNvSpPr>
              <a:spLocks noEditPoints="1"/>
            </p:cNvSpPr>
            <p:nvPr/>
          </p:nvSpPr>
          <p:spPr bwMode="auto">
            <a:xfrm>
              <a:off x="4468" y="118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148"/>
            <p:cNvSpPr>
              <a:spLocks/>
            </p:cNvSpPr>
            <p:nvPr/>
          </p:nvSpPr>
          <p:spPr bwMode="auto">
            <a:xfrm>
              <a:off x="4560" y="1293"/>
              <a:ext cx="157" cy="128"/>
            </a:xfrm>
            <a:custGeom>
              <a:avLst/>
              <a:gdLst>
                <a:gd name="T0" fmla="*/ 209 w 236"/>
                <a:gd name="T1" fmla="*/ 187 h 193"/>
                <a:gd name="T2" fmla="*/ 201 w 236"/>
                <a:gd name="T3" fmla="*/ 191 h 193"/>
                <a:gd name="T4" fmla="*/ 194 w 236"/>
                <a:gd name="T5" fmla="*/ 188 h 193"/>
                <a:gd name="T6" fmla="*/ 193 w 236"/>
                <a:gd name="T7" fmla="*/ 173 h 193"/>
                <a:gd name="T8" fmla="*/ 214 w 236"/>
                <a:gd name="T9" fmla="*/ 106 h 193"/>
                <a:gd name="T10" fmla="*/ 214 w 236"/>
                <a:gd name="T11" fmla="*/ 64 h 193"/>
                <a:gd name="T12" fmla="*/ 201 w 236"/>
                <a:gd name="T13" fmla="*/ 53 h 193"/>
                <a:gd name="T14" fmla="*/ 192 w 236"/>
                <a:gd name="T15" fmla="*/ 67 h 193"/>
                <a:gd name="T16" fmla="*/ 182 w 236"/>
                <a:gd name="T17" fmla="*/ 78 h 193"/>
                <a:gd name="T18" fmla="*/ 171 w 236"/>
                <a:gd name="T19" fmla="*/ 67 h 193"/>
                <a:gd name="T20" fmla="*/ 171 w 236"/>
                <a:gd name="T21" fmla="*/ 42 h 193"/>
                <a:gd name="T22" fmla="*/ 159 w 236"/>
                <a:gd name="T23" fmla="*/ 32 h 193"/>
                <a:gd name="T24" fmla="*/ 150 w 236"/>
                <a:gd name="T25" fmla="*/ 45 h 193"/>
                <a:gd name="T26" fmla="*/ 150 w 236"/>
                <a:gd name="T27" fmla="*/ 65 h 193"/>
                <a:gd name="T28" fmla="*/ 139 w 236"/>
                <a:gd name="T29" fmla="*/ 75 h 193"/>
                <a:gd name="T30" fmla="*/ 128 w 236"/>
                <a:gd name="T31" fmla="*/ 65 h 193"/>
                <a:gd name="T32" fmla="*/ 128 w 236"/>
                <a:gd name="T33" fmla="*/ 31 h 193"/>
                <a:gd name="T34" fmla="*/ 117 w 236"/>
                <a:gd name="T35" fmla="*/ 21 h 193"/>
                <a:gd name="T36" fmla="*/ 107 w 236"/>
                <a:gd name="T37" fmla="*/ 34 h 193"/>
                <a:gd name="T38" fmla="*/ 107 w 236"/>
                <a:gd name="T39" fmla="*/ 42 h 193"/>
                <a:gd name="T40" fmla="*/ 107 w 236"/>
                <a:gd name="T41" fmla="*/ 65 h 193"/>
                <a:gd name="T42" fmla="*/ 96 w 236"/>
                <a:gd name="T43" fmla="*/ 75 h 193"/>
                <a:gd name="T44" fmla="*/ 86 w 236"/>
                <a:gd name="T45" fmla="*/ 65 h 193"/>
                <a:gd name="T46" fmla="*/ 86 w 236"/>
                <a:gd name="T47" fmla="*/ 42 h 193"/>
                <a:gd name="T48" fmla="*/ 75 w 236"/>
                <a:gd name="T49" fmla="*/ 31 h 193"/>
                <a:gd name="T50" fmla="*/ 64 w 236"/>
                <a:gd name="T51" fmla="*/ 42 h 193"/>
                <a:gd name="T52" fmla="*/ 64 w 236"/>
                <a:gd name="T53" fmla="*/ 107 h 193"/>
                <a:gd name="T54" fmla="*/ 54 w 236"/>
                <a:gd name="T55" fmla="*/ 118 h 193"/>
                <a:gd name="T56" fmla="*/ 43 w 236"/>
                <a:gd name="T57" fmla="*/ 107 h 193"/>
                <a:gd name="T58" fmla="*/ 43 w 236"/>
                <a:gd name="T59" fmla="*/ 64 h 193"/>
                <a:gd name="T60" fmla="*/ 35 w 236"/>
                <a:gd name="T61" fmla="*/ 67 h 193"/>
                <a:gd name="T62" fmla="*/ 22 w 236"/>
                <a:gd name="T63" fmla="*/ 99 h 193"/>
                <a:gd name="T64" fmla="*/ 68 w 236"/>
                <a:gd name="T65" fmla="*/ 173 h 193"/>
                <a:gd name="T66" fmla="*/ 72 w 236"/>
                <a:gd name="T67" fmla="*/ 188 h 193"/>
                <a:gd name="T68" fmla="*/ 63 w 236"/>
                <a:gd name="T69" fmla="*/ 193 h 193"/>
                <a:gd name="T70" fmla="*/ 57 w 236"/>
                <a:gd name="T71" fmla="*/ 192 h 193"/>
                <a:gd name="T72" fmla="*/ 0 w 236"/>
                <a:gd name="T73" fmla="*/ 99 h 193"/>
                <a:gd name="T74" fmla="*/ 23 w 236"/>
                <a:gd name="T75" fmla="*/ 49 h 193"/>
                <a:gd name="T76" fmla="*/ 43 w 236"/>
                <a:gd name="T77" fmla="*/ 43 h 193"/>
                <a:gd name="T78" fmla="*/ 43 w 236"/>
                <a:gd name="T79" fmla="*/ 42 h 193"/>
                <a:gd name="T80" fmla="*/ 75 w 236"/>
                <a:gd name="T81" fmla="*/ 10 h 193"/>
                <a:gd name="T82" fmla="*/ 91 w 236"/>
                <a:gd name="T83" fmla="*/ 15 h 193"/>
                <a:gd name="T84" fmla="*/ 117 w 236"/>
                <a:gd name="T85" fmla="*/ 0 h 193"/>
                <a:gd name="T86" fmla="*/ 145 w 236"/>
                <a:gd name="T87" fmla="*/ 15 h 193"/>
                <a:gd name="T88" fmla="*/ 159 w 236"/>
                <a:gd name="T89" fmla="*/ 10 h 193"/>
                <a:gd name="T90" fmla="*/ 191 w 236"/>
                <a:gd name="T91" fmla="*/ 34 h 193"/>
                <a:gd name="T92" fmla="*/ 201 w 236"/>
                <a:gd name="T93" fmla="*/ 32 h 193"/>
                <a:gd name="T94" fmla="*/ 235 w 236"/>
                <a:gd name="T95" fmla="*/ 64 h 193"/>
                <a:gd name="T96" fmla="*/ 235 w 236"/>
                <a:gd name="T97" fmla="*/ 106 h 193"/>
                <a:gd name="T98" fmla="*/ 209 w 236"/>
                <a:gd name="T99" fmla="*/ 1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93">
                  <a:moveTo>
                    <a:pt x="209" y="187"/>
                  </a:moveTo>
                  <a:cubicBezTo>
                    <a:pt x="207" y="189"/>
                    <a:pt x="204" y="191"/>
                    <a:pt x="201" y="191"/>
                  </a:cubicBezTo>
                  <a:cubicBezTo>
                    <a:pt x="199" y="191"/>
                    <a:pt x="196" y="190"/>
                    <a:pt x="194" y="188"/>
                  </a:cubicBezTo>
                  <a:cubicBezTo>
                    <a:pt x="190" y="184"/>
                    <a:pt x="189" y="178"/>
                    <a:pt x="193" y="173"/>
                  </a:cubicBezTo>
                  <a:cubicBezTo>
                    <a:pt x="215" y="148"/>
                    <a:pt x="214" y="107"/>
                    <a:pt x="214" y="106"/>
                  </a:cubicBezTo>
                  <a:cubicBezTo>
                    <a:pt x="214" y="64"/>
                    <a:pt x="214" y="64"/>
                    <a:pt x="214" y="64"/>
                  </a:cubicBezTo>
                  <a:cubicBezTo>
                    <a:pt x="214" y="58"/>
                    <a:pt x="207" y="53"/>
                    <a:pt x="201" y="53"/>
                  </a:cubicBezTo>
                  <a:cubicBezTo>
                    <a:pt x="196" y="53"/>
                    <a:pt x="192" y="61"/>
                    <a:pt x="192" y="67"/>
                  </a:cubicBezTo>
                  <a:cubicBezTo>
                    <a:pt x="192" y="73"/>
                    <a:pt x="188" y="78"/>
                    <a:pt x="182" y="78"/>
                  </a:cubicBezTo>
                  <a:cubicBezTo>
                    <a:pt x="176" y="78"/>
                    <a:pt x="171" y="73"/>
                    <a:pt x="171" y="67"/>
                  </a:cubicBezTo>
                  <a:cubicBezTo>
                    <a:pt x="171" y="63"/>
                    <a:pt x="171" y="42"/>
                    <a:pt x="171" y="42"/>
                  </a:cubicBezTo>
                  <a:cubicBezTo>
                    <a:pt x="171" y="36"/>
                    <a:pt x="166" y="32"/>
                    <a:pt x="159" y="32"/>
                  </a:cubicBezTo>
                  <a:cubicBezTo>
                    <a:pt x="154" y="32"/>
                    <a:pt x="150" y="39"/>
                    <a:pt x="150" y="45"/>
                  </a:cubicBezTo>
                  <a:cubicBezTo>
                    <a:pt x="150" y="65"/>
                    <a:pt x="150" y="65"/>
                    <a:pt x="150" y="65"/>
                  </a:cubicBezTo>
                  <a:cubicBezTo>
                    <a:pt x="150" y="71"/>
                    <a:pt x="145" y="75"/>
                    <a:pt x="139" y="75"/>
                  </a:cubicBezTo>
                  <a:cubicBezTo>
                    <a:pt x="133" y="75"/>
                    <a:pt x="128" y="71"/>
                    <a:pt x="128" y="65"/>
                  </a:cubicBezTo>
                  <a:cubicBezTo>
                    <a:pt x="128" y="31"/>
                    <a:pt x="128" y="31"/>
                    <a:pt x="128" y="31"/>
                  </a:cubicBezTo>
                  <a:cubicBezTo>
                    <a:pt x="128" y="26"/>
                    <a:pt x="123" y="21"/>
                    <a:pt x="117" y="21"/>
                  </a:cubicBezTo>
                  <a:cubicBezTo>
                    <a:pt x="111" y="21"/>
                    <a:pt x="107" y="28"/>
                    <a:pt x="107" y="34"/>
                  </a:cubicBezTo>
                  <a:cubicBezTo>
                    <a:pt x="107" y="35"/>
                    <a:pt x="107" y="40"/>
                    <a:pt x="107" y="42"/>
                  </a:cubicBezTo>
                  <a:cubicBezTo>
                    <a:pt x="107" y="65"/>
                    <a:pt x="107" y="65"/>
                    <a:pt x="107" y="65"/>
                  </a:cubicBezTo>
                  <a:cubicBezTo>
                    <a:pt x="107" y="71"/>
                    <a:pt x="102" y="75"/>
                    <a:pt x="96" y="75"/>
                  </a:cubicBezTo>
                  <a:cubicBezTo>
                    <a:pt x="90" y="75"/>
                    <a:pt x="86" y="71"/>
                    <a:pt x="86" y="65"/>
                  </a:cubicBezTo>
                  <a:cubicBezTo>
                    <a:pt x="86" y="42"/>
                    <a:pt x="86" y="42"/>
                    <a:pt x="86" y="42"/>
                  </a:cubicBezTo>
                  <a:cubicBezTo>
                    <a:pt x="86" y="36"/>
                    <a:pt x="81" y="31"/>
                    <a:pt x="75" y="31"/>
                  </a:cubicBezTo>
                  <a:cubicBezTo>
                    <a:pt x="69" y="31"/>
                    <a:pt x="64" y="36"/>
                    <a:pt x="64" y="42"/>
                  </a:cubicBezTo>
                  <a:cubicBezTo>
                    <a:pt x="64" y="107"/>
                    <a:pt x="64" y="107"/>
                    <a:pt x="64" y="107"/>
                  </a:cubicBezTo>
                  <a:cubicBezTo>
                    <a:pt x="64" y="113"/>
                    <a:pt x="60" y="118"/>
                    <a:pt x="54" y="118"/>
                  </a:cubicBezTo>
                  <a:cubicBezTo>
                    <a:pt x="48" y="118"/>
                    <a:pt x="43" y="113"/>
                    <a:pt x="43" y="107"/>
                  </a:cubicBezTo>
                  <a:cubicBezTo>
                    <a:pt x="43" y="64"/>
                    <a:pt x="43" y="64"/>
                    <a:pt x="43" y="64"/>
                  </a:cubicBezTo>
                  <a:cubicBezTo>
                    <a:pt x="40" y="64"/>
                    <a:pt x="37" y="65"/>
                    <a:pt x="35" y="67"/>
                  </a:cubicBezTo>
                  <a:cubicBezTo>
                    <a:pt x="27" y="72"/>
                    <a:pt x="21" y="86"/>
                    <a:pt x="22" y="99"/>
                  </a:cubicBezTo>
                  <a:cubicBezTo>
                    <a:pt x="22" y="121"/>
                    <a:pt x="23" y="145"/>
                    <a:pt x="68" y="173"/>
                  </a:cubicBezTo>
                  <a:cubicBezTo>
                    <a:pt x="73" y="177"/>
                    <a:pt x="75" y="183"/>
                    <a:pt x="72" y="188"/>
                  </a:cubicBezTo>
                  <a:cubicBezTo>
                    <a:pt x="70" y="191"/>
                    <a:pt x="66" y="193"/>
                    <a:pt x="63" y="193"/>
                  </a:cubicBezTo>
                  <a:cubicBezTo>
                    <a:pt x="61" y="193"/>
                    <a:pt x="59" y="193"/>
                    <a:pt x="57" y="192"/>
                  </a:cubicBezTo>
                  <a:cubicBezTo>
                    <a:pt x="7" y="160"/>
                    <a:pt x="1" y="130"/>
                    <a:pt x="0" y="99"/>
                  </a:cubicBezTo>
                  <a:cubicBezTo>
                    <a:pt x="0" y="79"/>
                    <a:pt x="9" y="58"/>
                    <a:pt x="23" y="49"/>
                  </a:cubicBezTo>
                  <a:cubicBezTo>
                    <a:pt x="29" y="45"/>
                    <a:pt x="36" y="43"/>
                    <a:pt x="43" y="43"/>
                  </a:cubicBezTo>
                  <a:cubicBezTo>
                    <a:pt x="43" y="42"/>
                    <a:pt x="43" y="42"/>
                    <a:pt x="43" y="42"/>
                  </a:cubicBezTo>
                  <a:cubicBezTo>
                    <a:pt x="43" y="24"/>
                    <a:pt x="57" y="10"/>
                    <a:pt x="75" y="10"/>
                  </a:cubicBezTo>
                  <a:cubicBezTo>
                    <a:pt x="81" y="10"/>
                    <a:pt x="87" y="12"/>
                    <a:pt x="91" y="15"/>
                  </a:cubicBezTo>
                  <a:cubicBezTo>
                    <a:pt x="97" y="6"/>
                    <a:pt x="106" y="0"/>
                    <a:pt x="117" y="0"/>
                  </a:cubicBezTo>
                  <a:cubicBezTo>
                    <a:pt x="129" y="0"/>
                    <a:pt x="139" y="6"/>
                    <a:pt x="145" y="15"/>
                  </a:cubicBezTo>
                  <a:cubicBezTo>
                    <a:pt x="149" y="12"/>
                    <a:pt x="154" y="10"/>
                    <a:pt x="159" y="10"/>
                  </a:cubicBezTo>
                  <a:cubicBezTo>
                    <a:pt x="175" y="10"/>
                    <a:pt x="187" y="20"/>
                    <a:pt x="191" y="34"/>
                  </a:cubicBezTo>
                  <a:cubicBezTo>
                    <a:pt x="194" y="33"/>
                    <a:pt x="197" y="32"/>
                    <a:pt x="201" y="32"/>
                  </a:cubicBezTo>
                  <a:cubicBezTo>
                    <a:pt x="219" y="32"/>
                    <a:pt x="235" y="46"/>
                    <a:pt x="235" y="64"/>
                  </a:cubicBezTo>
                  <a:cubicBezTo>
                    <a:pt x="235" y="106"/>
                    <a:pt x="235" y="106"/>
                    <a:pt x="235" y="106"/>
                  </a:cubicBezTo>
                  <a:cubicBezTo>
                    <a:pt x="235" y="108"/>
                    <a:pt x="236" y="155"/>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8" name="Freeform 152"/>
          <p:cNvSpPr>
            <a:spLocks noChangeAspect="1" noEditPoints="1"/>
          </p:cNvSpPr>
          <p:nvPr/>
        </p:nvSpPr>
        <p:spPr bwMode="auto">
          <a:xfrm>
            <a:off x="1246609" y="253320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39 h 512"/>
              <a:gd name="T12" fmla="*/ 373 w 512"/>
              <a:gd name="T13" fmla="*/ 281 h 512"/>
              <a:gd name="T14" fmla="*/ 339 w 512"/>
              <a:gd name="T15" fmla="*/ 313 h 512"/>
              <a:gd name="T16" fmla="*/ 325 w 512"/>
              <a:gd name="T17" fmla="*/ 309 h 512"/>
              <a:gd name="T18" fmla="*/ 297 w 512"/>
              <a:gd name="T19" fmla="*/ 323 h 512"/>
              <a:gd name="T20" fmla="*/ 287 w 512"/>
              <a:gd name="T21" fmla="*/ 321 h 512"/>
              <a:gd name="T22" fmla="*/ 255 w 512"/>
              <a:gd name="T23" fmla="*/ 344 h 512"/>
              <a:gd name="T24" fmla="*/ 245 w 512"/>
              <a:gd name="T25" fmla="*/ 342 h 512"/>
              <a:gd name="T26" fmla="*/ 245 w 512"/>
              <a:gd name="T27" fmla="*/ 367 h 512"/>
              <a:gd name="T28" fmla="*/ 213 w 512"/>
              <a:gd name="T29" fmla="*/ 399 h 512"/>
              <a:gd name="T30" fmla="*/ 181 w 512"/>
              <a:gd name="T31" fmla="*/ 367 h 512"/>
              <a:gd name="T32" fmla="*/ 181 w 512"/>
              <a:gd name="T33" fmla="*/ 268 h 512"/>
              <a:gd name="T34" fmla="*/ 172 w 512"/>
              <a:gd name="T35" fmla="*/ 294 h 512"/>
              <a:gd name="T36" fmla="*/ 171 w 512"/>
              <a:gd name="T37" fmla="*/ 297 h 512"/>
              <a:gd name="T38" fmla="*/ 152 w 512"/>
              <a:gd name="T39" fmla="*/ 313 h 512"/>
              <a:gd name="T40" fmla="*/ 127 w 512"/>
              <a:gd name="T41" fmla="*/ 311 h 512"/>
              <a:gd name="T42" fmla="*/ 116 w 512"/>
              <a:gd name="T43" fmla="*/ 267 h 512"/>
              <a:gd name="T44" fmla="*/ 196 w 512"/>
              <a:gd name="T45" fmla="*/ 153 h 512"/>
              <a:gd name="T46" fmla="*/ 211 w 512"/>
              <a:gd name="T47" fmla="*/ 156 h 512"/>
              <a:gd name="T48" fmla="*/ 207 w 512"/>
              <a:gd name="T49" fmla="*/ 171 h 512"/>
              <a:gd name="T50" fmla="*/ 136 w 512"/>
              <a:gd name="T51" fmla="*/ 274 h 512"/>
              <a:gd name="T52" fmla="*/ 136 w 512"/>
              <a:gd name="T53" fmla="*/ 275 h 512"/>
              <a:gd name="T54" fmla="*/ 137 w 512"/>
              <a:gd name="T55" fmla="*/ 292 h 512"/>
              <a:gd name="T56" fmla="*/ 151 w 512"/>
              <a:gd name="T57" fmla="*/ 288 h 512"/>
              <a:gd name="T58" fmla="*/ 187 w 512"/>
              <a:gd name="T59" fmla="*/ 229 h 512"/>
              <a:gd name="T60" fmla="*/ 197 w 512"/>
              <a:gd name="T61" fmla="*/ 230 h 512"/>
              <a:gd name="T62" fmla="*/ 202 w 512"/>
              <a:gd name="T63" fmla="*/ 239 h 512"/>
              <a:gd name="T64" fmla="*/ 202 w 512"/>
              <a:gd name="T65" fmla="*/ 367 h 512"/>
              <a:gd name="T66" fmla="*/ 213 w 512"/>
              <a:gd name="T67" fmla="*/ 377 h 512"/>
              <a:gd name="T68" fmla="*/ 224 w 512"/>
              <a:gd name="T69" fmla="*/ 367 h 512"/>
              <a:gd name="T70" fmla="*/ 224 w 512"/>
              <a:gd name="T71" fmla="*/ 277 h 512"/>
              <a:gd name="T72" fmla="*/ 234 w 512"/>
              <a:gd name="T73" fmla="*/ 266 h 512"/>
              <a:gd name="T74" fmla="*/ 245 w 512"/>
              <a:gd name="T75" fmla="*/ 277 h 512"/>
              <a:gd name="T76" fmla="*/ 245 w 512"/>
              <a:gd name="T77" fmla="*/ 309 h 512"/>
              <a:gd name="T78" fmla="*/ 255 w 512"/>
              <a:gd name="T79" fmla="*/ 323 h 512"/>
              <a:gd name="T80" fmla="*/ 266 w 512"/>
              <a:gd name="T81" fmla="*/ 313 h 512"/>
              <a:gd name="T82" fmla="*/ 266 w 512"/>
              <a:gd name="T83" fmla="*/ 277 h 512"/>
              <a:gd name="T84" fmla="*/ 277 w 512"/>
              <a:gd name="T85" fmla="*/ 266 h 512"/>
              <a:gd name="T86" fmla="*/ 288 w 512"/>
              <a:gd name="T87" fmla="*/ 277 h 512"/>
              <a:gd name="T88" fmla="*/ 288 w 512"/>
              <a:gd name="T89" fmla="*/ 290 h 512"/>
              <a:gd name="T90" fmla="*/ 297 w 512"/>
              <a:gd name="T91" fmla="*/ 302 h 512"/>
              <a:gd name="T92" fmla="*/ 309 w 512"/>
              <a:gd name="T93" fmla="*/ 292 h 512"/>
              <a:gd name="T94" fmla="*/ 309 w 512"/>
              <a:gd name="T95" fmla="*/ 277 h 512"/>
              <a:gd name="T96" fmla="*/ 320 w 512"/>
              <a:gd name="T97" fmla="*/ 266 h 512"/>
              <a:gd name="T98" fmla="*/ 327 w 512"/>
              <a:gd name="T99" fmla="*/ 270 h 512"/>
              <a:gd name="T100" fmla="*/ 331 w 512"/>
              <a:gd name="T101" fmla="*/ 278 h 512"/>
              <a:gd name="T102" fmla="*/ 339 w 512"/>
              <a:gd name="T103" fmla="*/ 292 h 512"/>
              <a:gd name="T104" fmla="*/ 352 w 512"/>
              <a:gd name="T105" fmla="*/ 281 h 512"/>
              <a:gd name="T106" fmla="*/ 352 w 512"/>
              <a:gd name="T107" fmla="*/ 239 h 512"/>
              <a:gd name="T108" fmla="*/ 331 w 512"/>
              <a:gd name="T109" fmla="*/ 171 h 512"/>
              <a:gd name="T110" fmla="*/ 332 w 512"/>
              <a:gd name="T111" fmla="*/ 156 h 512"/>
              <a:gd name="T112" fmla="*/ 347 w 512"/>
              <a:gd name="T113" fmla="*/ 157 h 512"/>
              <a:gd name="T114" fmla="*/ 373 w 512"/>
              <a:gd name="T115" fmla="*/ 2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39"/>
                </a:moveTo>
                <a:cubicBezTo>
                  <a:pt x="373" y="281"/>
                  <a:pt x="373" y="281"/>
                  <a:pt x="373" y="281"/>
                </a:cubicBezTo>
                <a:cubicBezTo>
                  <a:pt x="373" y="299"/>
                  <a:pt x="357" y="313"/>
                  <a:pt x="339" y="313"/>
                </a:cubicBezTo>
                <a:cubicBezTo>
                  <a:pt x="334" y="313"/>
                  <a:pt x="329" y="312"/>
                  <a:pt x="325" y="309"/>
                </a:cubicBezTo>
                <a:cubicBezTo>
                  <a:pt x="319" y="317"/>
                  <a:pt x="309" y="323"/>
                  <a:pt x="297" y="323"/>
                </a:cubicBezTo>
                <a:cubicBezTo>
                  <a:pt x="293" y="323"/>
                  <a:pt x="290" y="322"/>
                  <a:pt x="287" y="321"/>
                </a:cubicBezTo>
                <a:cubicBezTo>
                  <a:pt x="283" y="334"/>
                  <a:pt x="270" y="344"/>
                  <a:pt x="255" y="344"/>
                </a:cubicBezTo>
                <a:cubicBezTo>
                  <a:pt x="251" y="344"/>
                  <a:pt x="248" y="343"/>
                  <a:pt x="245" y="342"/>
                </a:cubicBezTo>
                <a:cubicBezTo>
                  <a:pt x="245" y="367"/>
                  <a:pt x="245" y="367"/>
                  <a:pt x="245" y="367"/>
                </a:cubicBezTo>
                <a:cubicBezTo>
                  <a:pt x="245" y="384"/>
                  <a:pt x="231" y="399"/>
                  <a:pt x="213" y="399"/>
                </a:cubicBezTo>
                <a:cubicBezTo>
                  <a:pt x="195" y="399"/>
                  <a:pt x="181" y="384"/>
                  <a:pt x="181" y="367"/>
                </a:cubicBezTo>
                <a:cubicBezTo>
                  <a:pt x="181" y="268"/>
                  <a:pt x="181" y="268"/>
                  <a:pt x="181" y="268"/>
                </a:cubicBezTo>
                <a:cubicBezTo>
                  <a:pt x="177" y="277"/>
                  <a:pt x="173" y="287"/>
                  <a:pt x="172" y="294"/>
                </a:cubicBezTo>
                <a:cubicBezTo>
                  <a:pt x="171" y="295"/>
                  <a:pt x="171" y="296"/>
                  <a:pt x="171" y="297"/>
                </a:cubicBezTo>
                <a:cubicBezTo>
                  <a:pt x="167" y="304"/>
                  <a:pt x="160" y="310"/>
                  <a:pt x="152" y="313"/>
                </a:cubicBezTo>
                <a:cubicBezTo>
                  <a:pt x="144" y="316"/>
                  <a:pt x="135" y="315"/>
                  <a:pt x="127" y="311"/>
                </a:cubicBezTo>
                <a:cubicBezTo>
                  <a:pt x="111" y="303"/>
                  <a:pt x="109" y="282"/>
                  <a:pt x="116" y="267"/>
                </a:cubicBezTo>
                <a:cubicBezTo>
                  <a:pt x="119" y="258"/>
                  <a:pt x="148" y="183"/>
                  <a:pt x="196" y="153"/>
                </a:cubicBezTo>
                <a:cubicBezTo>
                  <a:pt x="201" y="150"/>
                  <a:pt x="207" y="151"/>
                  <a:pt x="211" y="156"/>
                </a:cubicBezTo>
                <a:cubicBezTo>
                  <a:pt x="214" y="161"/>
                  <a:pt x="212" y="168"/>
                  <a:pt x="207" y="171"/>
                </a:cubicBezTo>
                <a:cubicBezTo>
                  <a:pt x="164" y="198"/>
                  <a:pt x="136" y="274"/>
                  <a:pt x="136" y="274"/>
                </a:cubicBezTo>
                <a:cubicBezTo>
                  <a:pt x="136" y="275"/>
                  <a:pt x="136" y="275"/>
                  <a:pt x="136" y="275"/>
                </a:cubicBezTo>
                <a:cubicBezTo>
                  <a:pt x="133" y="281"/>
                  <a:pt x="133" y="290"/>
                  <a:pt x="137" y="292"/>
                </a:cubicBezTo>
                <a:cubicBezTo>
                  <a:pt x="142" y="295"/>
                  <a:pt x="148" y="293"/>
                  <a:pt x="151" y="288"/>
                </a:cubicBezTo>
                <a:cubicBezTo>
                  <a:pt x="153" y="279"/>
                  <a:pt x="163" y="241"/>
                  <a:pt x="187" y="229"/>
                </a:cubicBezTo>
                <a:cubicBezTo>
                  <a:pt x="190" y="227"/>
                  <a:pt x="194" y="228"/>
                  <a:pt x="197" y="230"/>
                </a:cubicBezTo>
                <a:cubicBezTo>
                  <a:pt x="200" y="231"/>
                  <a:pt x="202" y="235"/>
                  <a:pt x="202" y="239"/>
                </a:cubicBezTo>
                <a:cubicBezTo>
                  <a:pt x="202" y="367"/>
                  <a:pt x="202" y="367"/>
                  <a:pt x="202" y="367"/>
                </a:cubicBezTo>
                <a:cubicBezTo>
                  <a:pt x="202" y="373"/>
                  <a:pt x="207" y="377"/>
                  <a:pt x="213" y="377"/>
                </a:cubicBezTo>
                <a:cubicBezTo>
                  <a:pt x="219" y="377"/>
                  <a:pt x="224" y="373"/>
                  <a:pt x="224" y="367"/>
                </a:cubicBezTo>
                <a:cubicBezTo>
                  <a:pt x="224" y="277"/>
                  <a:pt x="224" y="277"/>
                  <a:pt x="224" y="277"/>
                </a:cubicBezTo>
                <a:cubicBezTo>
                  <a:pt x="224" y="271"/>
                  <a:pt x="228" y="266"/>
                  <a:pt x="234" y="266"/>
                </a:cubicBezTo>
                <a:cubicBezTo>
                  <a:pt x="240" y="266"/>
                  <a:pt x="245" y="271"/>
                  <a:pt x="245" y="277"/>
                </a:cubicBezTo>
                <a:cubicBezTo>
                  <a:pt x="245" y="309"/>
                  <a:pt x="245" y="309"/>
                  <a:pt x="245" y="309"/>
                </a:cubicBezTo>
                <a:cubicBezTo>
                  <a:pt x="245" y="315"/>
                  <a:pt x="250" y="323"/>
                  <a:pt x="255" y="323"/>
                </a:cubicBezTo>
                <a:cubicBezTo>
                  <a:pt x="260" y="323"/>
                  <a:pt x="266" y="320"/>
                  <a:pt x="266" y="313"/>
                </a:cubicBezTo>
                <a:cubicBezTo>
                  <a:pt x="266" y="277"/>
                  <a:pt x="266" y="277"/>
                  <a:pt x="266" y="277"/>
                </a:cubicBezTo>
                <a:cubicBezTo>
                  <a:pt x="266" y="271"/>
                  <a:pt x="271" y="266"/>
                  <a:pt x="277" y="266"/>
                </a:cubicBezTo>
                <a:cubicBezTo>
                  <a:pt x="283" y="266"/>
                  <a:pt x="288" y="271"/>
                  <a:pt x="288" y="277"/>
                </a:cubicBezTo>
                <a:cubicBezTo>
                  <a:pt x="288" y="290"/>
                  <a:pt x="288" y="290"/>
                  <a:pt x="288" y="290"/>
                </a:cubicBezTo>
                <a:cubicBezTo>
                  <a:pt x="288" y="295"/>
                  <a:pt x="293" y="302"/>
                  <a:pt x="297" y="302"/>
                </a:cubicBezTo>
                <a:cubicBezTo>
                  <a:pt x="303" y="302"/>
                  <a:pt x="309" y="298"/>
                  <a:pt x="309" y="292"/>
                </a:cubicBezTo>
                <a:cubicBezTo>
                  <a:pt x="309" y="277"/>
                  <a:pt x="309" y="277"/>
                  <a:pt x="309" y="277"/>
                </a:cubicBezTo>
                <a:cubicBezTo>
                  <a:pt x="309" y="271"/>
                  <a:pt x="314" y="266"/>
                  <a:pt x="320" y="266"/>
                </a:cubicBezTo>
                <a:cubicBezTo>
                  <a:pt x="323" y="266"/>
                  <a:pt x="326" y="268"/>
                  <a:pt x="327" y="270"/>
                </a:cubicBezTo>
                <a:cubicBezTo>
                  <a:pt x="330" y="272"/>
                  <a:pt x="331" y="274"/>
                  <a:pt x="331" y="278"/>
                </a:cubicBezTo>
                <a:cubicBezTo>
                  <a:pt x="331" y="284"/>
                  <a:pt x="335" y="292"/>
                  <a:pt x="339" y="292"/>
                </a:cubicBezTo>
                <a:cubicBezTo>
                  <a:pt x="346" y="292"/>
                  <a:pt x="352" y="287"/>
                  <a:pt x="352" y="281"/>
                </a:cubicBezTo>
                <a:cubicBezTo>
                  <a:pt x="352" y="239"/>
                  <a:pt x="352" y="239"/>
                  <a:pt x="352" y="239"/>
                </a:cubicBezTo>
                <a:cubicBezTo>
                  <a:pt x="352" y="238"/>
                  <a:pt x="353" y="197"/>
                  <a:pt x="331" y="171"/>
                </a:cubicBezTo>
                <a:cubicBezTo>
                  <a:pt x="327" y="166"/>
                  <a:pt x="327" y="160"/>
                  <a:pt x="332" y="156"/>
                </a:cubicBezTo>
                <a:cubicBezTo>
                  <a:pt x="337" y="152"/>
                  <a:pt x="344" y="153"/>
                  <a:pt x="347" y="157"/>
                </a:cubicBezTo>
                <a:cubicBezTo>
                  <a:pt x="376" y="189"/>
                  <a:pt x="373" y="237"/>
                  <a:pt x="373" y="2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9" name="Group 155"/>
          <p:cNvGrpSpPr>
            <a:grpSpLocks noChangeAspect="1"/>
          </p:cNvGrpSpPr>
          <p:nvPr/>
        </p:nvGrpSpPr>
        <p:grpSpPr bwMode="auto">
          <a:xfrm>
            <a:off x="1665634" y="2533203"/>
            <a:ext cx="367041" cy="368121"/>
            <a:chOff x="4854" y="1018"/>
            <a:chExt cx="340" cy="341"/>
          </a:xfrm>
          <a:solidFill>
            <a:schemeClr val="accent2"/>
          </a:solidFill>
        </p:grpSpPr>
        <p:sp>
          <p:nvSpPr>
            <p:cNvPr id="290" name="Line 156"/>
            <p:cNvSpPr>
              <a:spLocks noChangeShapeType="1"/>
            </p:cNvSpPr>
            <p:nvPr/>
          </p:nvSpPr>
          <p:spPr bwMode="auto">
            <a:xfrm>
              <a:off x="5074" y="1161"/>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291" name="Freeform 157"/>
            <p:cNvSpPr>
              <a:spLocks/>
            </p:cNvSpPr>
            <p:nvPr/>
          </p:nvSpPr>
          <p:spPr bwMode="auto">
            <a:xfrm>
              <a:off x="4926" y="1118"/>
              <a:ext cx="178" cy="166"/>
            </a:xfrm>
            <a:custGeom>
              <a:avLst/>
              <a:gdLst>
                <a:gd name="T0" fmla="*/ 238 w 267"/>
                <a:gd name="T1" fmla="*/ 7 h 249"/>
                <a:gd name="T2" fmla="*/ 223 w 267"/>
                <a:gd name="T3" fmla="*/ 6 h 249"/>
                <a:gd name="T4" fmla="*/ 222 w 267"/>
                <a:gd name="T5" fmla="*/ 21 h 249"/>
                <a:gd name="T6" fmla="*/ 243 w 267"/>
                <a:gd name="T7" fmla="*/ 89 h 249"/>
                <a:gd name="T8" fmla="*/ 243 w 267"/>
                <a:gd name="T9" fmla="*/ 131 h 249"/>
                <a:gd name="T10" fmla="*/ 230 w 267"/>
                <a:gd name="T11" fmla="*/ 142 h 249"/>
                <a:gd name="T12" fmla="*/ 222 w 267"/>
                <a:gd name="T13" fmla="*/ 128 h 249"/>
                <a:gd name="T14" fmla="*/ 218 w 267"/>
                <a:gd name="T15" fmla="*/ 120 h 249"/>
                <a:gd name="T16" fmla="*/ 211 w 267"/>
                <a:gd name="T17" fmla="*/ 116 h 249"/>
                <a:gd name="T18" fmla="*/ 200 w 267"/>
                <a:gd name="T19" fmla="*/ 127 h 249"/>
                <a:gd name="T20" fmla="*/ 200 w 267"/>
                <a:gd name="T21" fmla="*/ 142 h 249"/>
                <a:gd name="T22" fmla="*/ 188 w 267"/>
                <a:gd name="T23" fmla="*/ 152 h 249"/>
                <a:gd name="T24" fmla="*/ 179 w 267"/>
                <a:gd name="T25" fmla="*/ 140 h 249"/>
                <a:gd name="T26" fmla="*/ 179 w 267"/>
                <a:gd name="T27" fmla="*/ 127 h 249"/>
                <a:gd name="T28" fmla="*/ 168 w 267"/>
                <a:gd name="T29" fmla="*/ 116 h 249"/>
                <a:gd name="T30" fmla="*/ 157 w 267"/>
                <a:gd name="T31" fmla="*/ 127 h 249"/>
                <a:gd name="T32" fmla="*/ 157 w 267"/>
                <a:gd name="T33" fmla="*/ 163 h 249"/>
                <a:gd name="T34" fmla="*/ 146 w 267"/>
                <a:gd name="T35" fmla="*/ 173 h 249"/>
                <a:gd name="T36" fmla="*/ 136 w 267"/>
                <a:gd name="T37" fmla="*/ 159 h 249"/>
                <a:gd name="T38" fmla="*/ 136 w 267"/>
                <a:gd name="T39" fmla="*/ 159 h 249"/>
                <a:gd name="T40" fmla="*/ 136 w 267"/>
                <a:gd name="T41" fmla="*/ 127 h 249"/>
                <a:gd name="T42" fmla="*/ 125 w 267"/>
                <a:gd name="T43" fmla="*/ 116 h 249"/>
                <a:gd name="T44" fmla="*/ 115 w 267"/>
                <a:gd name="T45" fmla="*/ 127 h 249"/>
                <a:gd name="T46" fmla="*/ 115 w 267"/>
                <a:gd name="T47" fmla="*/ 217 h 249"/>
                <a:gd name="T48" fmla="*/ 104 w 267"/>
                <a:gd name="T49" fmla="*/ 227 h 249"/>
                <a:gd name="T50" fmla="*/ 93 w 267"/>
                <a:gd name="T51" fmla="*/ 217 h 249"/>
                <a:gd name="T52" fmla="*/ 93 w 267"/>
                <a:gd name="T53" fmla="*/ 89 h 249"/>
                <a:gd name="T54" fmla="*/ 88 w 267"/>
                <a:gd name="T55" fmla="*/ 80 h 249"/>
                <a:gd name="T56" fmla="*/ 78 w 267"/>
                <a:gd name="T57" fmla="*/ 79 h 249"/>
                <a:gd name="T58" fmla="*/ 42 w 267"/>
                <a:gd name="T59" fmla="*/ 138 h 249"/>
                <a:gd name="T60" fmla="*/ 28 w 267"/>
                <a:gd name="T61" fmla="*/ 142 h 249"/>
                <a:gd name="T62" fmla="*/ 27 w 267"/>
                <a:gd name="T63" fmla="*/ 125 h 249"/>
                <a:gd name="T64" fmla="*/ 27 w 267"/>
                <a:gd name="T65" fmla="*/ 124 h 249"/>
                <a:gd name="T66" fmla="*/ 98 w 267"/>
                <a:gd name="T67" fmla="*/ 21 h 249"/>
                <a:gd name="T68" fmla="*/ 102 w 267"/>
                <a:gd name="T69" fmla="*/ 6 h 249"/>
                <a:gd name="T70" fmla="*/ 87 w 267"/>
                <a:gd name="T71" fmla="*/ 3 h 249"/>
                <a:gd name="T72" fmla="*/ 7 w 267"/>
                <a:gd name="T73" fmla="*/ 117 h 249"/>
                <a:gd name="T74" fmla="*/ 18 w 267"/>
                <a:gd name="T75" fmla="*/ 161 h 249"/>
                <a:gd name="T76" fmla="*/ 43 w 267"/>
                <a:gd name="T77" fmla="*/ 163 h 249"/>
                <a:gd name="T78" fmla="*/ 62 w 267"/>
                <a:gd name="T79" fmla="*/ 147 h 249"/>
                <a:gd name="T80" fmla="*/ 63 w 267"/>
                <a:gd name="T81" fmla="*/ 144 h 249"/>
                <a:gd name="T82" fmla="*/ 72 w 267"/>
                <a:gd name="T83" fmla="*/ 118 h 249"/>
                <a:gd name="T84" fmla="*/ 72 w 267"/>
                <a:gd name="T85" fmla="*/ 217 h 249"/>
                <a:gd name="T86" fmla="*/ 104 w 267"/>
                <a:gd name="T87" fmla="*/ 249 h 249"/>
                <a:gd name="T88" fmla="*/ 136 w 267"/>
                <a:gd name="T89" fmla="*/ 217 h 249"/>
                <a:gd name="T90" fmla="*/ 136 w 267"/>
                <a:gd name="T91" fmla="*/ 192 h 249"/>
                <a:gd name="T92" fmla="*/ 146 w 267"/>
                <a:gd name="T93" fmla="*/ 194 h 249"/>
                <a:gd name="T94" fmla="*/ 178 w 267"/>
                <a:gd name="T95" fmla="*/ 171 h 249"/>
                <a:gd name="T96" fmla="*/ 188 w 267"/>
                <a:gd name="T97" fmla="*/ 173 h 249"/>
                <a:gd name="T98" fmla="*/ 216 w 267"/>
                <a:gd name="T99" fmla="*/ 159 h 249"/>
                <a:gd name="T100" fmla="*/ 230 w 267"/>
                <a:gd name="T101" fmla="*/ 163 h 249"/>
                <a:gd name="T102" fmla="*/ 264 w 267"/>
                <a:gd name="T103" fmla="*/ 131 h 249"/>
                <a:gd name="T104" fmla="*/ 264 w 267"/>
                <a:gd name="T105" fmla="*/ 89 h 249"/>
                <a:gd name="T106" fmla="*/ 238 w 267"/>
                <a:gd name="T107" fmla="*/ 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7" h="249">
                  <a:moveTo>
                    <a:pt x="238" y="7"/>
                  </a:moveTo>
                  <a:cubicBezTo>
                    <a:pt x="235" y="3"/>
                    <a:pt x="228" y="2"/>
                    <a:pt x="223" y="6"/>
                  </a:cubicBezTo>
                  <a:cubicBezTo>
                    <a:pt x="218" y="10"/>
                    <a:pt x="218" y="16"/>
                    <a:pt x="222" y="21"/>
                  </a:cubicBezTo>
                  <a:cubicBezTo>
                    <a:pt x="244" y="47"/>
                    <a:pt x="243" y="88"/>
                    <a:pt x="243" y="89"/>
                  </a:cubicBezTo>
                  <a:cubicBezTo>
                    <a:pt x="243" y="131"/>
                    <a:pt x="243" y="131"/>
                    <a:pt x="243" y="131"/>
                  </a:cubicBezTo>
                  <a:cubicBezTo>
                    <a:pt x="243" y="137"/>
                    <a:pt x="237" y="142"/>
                    <a:pt x="230" y="142"/>
                  </a:cubicBezTo>
                  <a:cubicBezTo>
                    <a:pt x="226" y="142"/>
                    <a:pt x="222" y="134"/>
                    <a:pt x="222" y="128"/>
                  </a:cubicBezTo>
                  <a:cubicBezTo>
                    <a:pt x="222" y="124"/>
                    <a:pt x="221" y="122"/>
                    <a:pt x="218" y="120"/>
                  </a:cubicBezTo>
                  <a:cubicBezTo>
                    <a:pt x="217" y="118"/>
                    <a:pt x="214" y="116"/>
                    <a:pt x="211" y="116"/>
                  </a:cubicBezTo>
                  <a:cubicBezTo>
                    <a:pt x="205" y="116"/>
                    <a:pt x="200" y="121"/>
                    <a:pt x="200" y="127"/>
                  </a:cubicBezTo>
                  <a:cubicBezTo>
                    <a:pt x="200" y="142"/>
                    <a:pt x="200" y="142"/>
                    <a:pt x="200" y="142"/>
                  </a:cubicBezTo>
                  <a:cubicBezTo>
                    <a:pt x="200" y="148"/>
                    <a:pt x="194" y="152"/>
                    <a:pt x="188" y="152"/>
                  </a:cubicBezTo>
                  <a:cubicBezTo>
                    <a:pt x="184" y="152"/>
                    <a:pt x="179" y="145"/>
                    <a:pt x="179" y="140"/>
                  </a:cubicBezTo>
                  <a:cubicBezTo>
                    <a:pt x="179" y="127"/>
                    <a:pt x="179" y="127"/>
                    <a:pt x="179" y="127"/>
                  </a:cubicBezTo>
                  <a:cubicBezTo>
                    <a:pt x="179" y="121"/>
                    <a:pt x="174" y="116"/>
                    <a:pt x="168" y="116"/>
                  </a:cubicBezTo>
                  <a:cubicBezTo>
                    <a:pt x="162" y="116"/>
                    <a:pt x="157" y="121"/>
                    <a:pt x="157" y="127"/>
                  </a:cubicBezTo>
                  <a:cubicBezTo>
                    <a:pt x="157" y="163"/>
                    <a:pt x="157" y="163"/>
                    <a:pt x="157" y="163"/>
                  </a:cubicBezTo>
                  <a:cubicBezTo>
                    <a:pt x="157" y="170"/>
                    <a:pt x="151" y="173"/>
                    <a:pt x="146" y="173"/>
                  </a:cubicBezTo>
                  <a:cubicBezTo>
                    <a:pt x="141" y="173"/>
                    <a:pt x="136" y="165"/>
                    <a:pt x="136" y="159"/>
                  </a:cubicBezTo>
                  <a:cubicBezTo>
                    <a:pt x="136" y="159"/>
                    <a:pt x="136" y="159"/>
                    <a:pt x="136" y="159"/>
                  </a:cubicBezTo>
                  <a:cubicBezTo>
                    <a:pt x="136" y="127"/>
                    <a:pt x="136" y="127"/>
                    <a:pt x="136" y="127"/>
                  </a:cubicBezTo>
                  <a:cubicBezTo>
                    <a:pt x="136" y="121"/>
                    <a:pt x="131" y="116"/>
                    <a:pt x="125" y="116"/>
                  </a:cubicBezTo>
                  <a:cubicBezTo>
                    <a:pt x="119" y="116"/>
                    <a:pt x="115" y="121"/>
                    <a:pt x="115" y="127"/>
                  </a:cubicBezTo>
                  <a:cubicBezTo>
                    <a:pt x="115" y="217"/>
                    <a:pt x="115" y="217"/>
                    <a:pt x="115" y="217"/>
                  </a:cubicBezTo>
                  <a:cubicBezTo>
                    <a:pt x="115" y="223"/>
                    <a:pt x="110" y="227"/>
                    <a:pt x="104" y="227"/>
                  </a:cubicBezTo>
                  <a:cubicBezTo>
                    <a:pt x="98" y="227"/>
                    <a:pt x="93" y="223"/>
                    <a:pt x="93" y="217"/>
                  </a:cubicBezTo>
                  <a:cubicBezTo>
                    <a:pt x="93" y="89"/>
                    <a:pt x="93" y="89"/>
                    <a:pt x="93" y="89"/>
                  </a:cubicBezTo>
                  <a:cubicBezTo>
                    <a:pt x="93" y="85"/>
                    <a:pt x="91" y="81"/>
                    <a:pt x="88" y="80"/>
                  </a:cubicBezTo>
                  <a:cubicBezTo>
                    <a:pt x="85" y="78"/>
                    <a:pt x="81" y="77"/>
                    <a:pt x="78" y="79"/>
                  </a:cubicBezTo>
                  <a:cubicBezTo>
                    <a:pt x="54" y="91"/>
                    <a:pt x="44" y="129"/>
                    <a:pt x="42" y="138"/>
                  </a:cubicBezTo>
                  <a:cubicBezTo>
                    <a:pt x="39" y="143"/>
                    <a:pt x="33" y="145"/>
                    <a:pt x="28" y="142"/>
                  </a:cubicBezTo>
                  <a:cubicBezTo>
                    <a:pt x="24" y="140"/>
                    <a:pt x="24" y="131"/>
                    <a:pt x="27" y="125"/>
                  </a:cubicBezTo>
                  <a:cubicBezTo>
                    <a:pt x="27" y="125"/>
                    <a:pt x="27" y="125"/>
                    <a:pt x="27" y="124"/>
                  </a:cubicBezTo>
                  <a:cubicBezTo>
                    <a:pt x="27" y="124"/>
                    <a:pt x="55" y="48"/>
                    <a:pt x="98" y="21"/>
                  </a:cubicBezTo>
                  <a:cubicBezTo>
                    <a:pt x="103" y="18"/>
                    <a:pt x="105" y="11"/>
                    <a:pt x="102" y="6"/>
                  </a:cubicBezTo>
                  <a:cubicBezTo>
                    <a:pt x="98" y="1"/>
                    <a:pt x="92" y="0"/>
                    <a:pt x="87" y="3"/>
                  </a:cubicBezTo>
                  <a:cubicBezTo>
                    <a:pt x="39" y="33"/>
                    <a:pt x="10" y="108"/>
                    <a:pt x="7" y="117"/>
                  </a:cubicBezTo>
                  <a:cubicBezTo>
                    <a:pt x="0" y="132"/>
                    <a:pt x="2" y="153"/>
                    <a:pt x="18" y="161"/>
                  </a:cubicBezTo>
                  <a:cubicBezTo>
                    <a:pt x="26" y="165"/>
                    <a:pt x="35" y="166"/>
                    <a:pt x="43" y="163"/>
                  </a:cubicBezTo>
                  <a:cubicBezTo>
                    <a:pt x="51" y="160"/>
                    <a:pt x="58" y="154"/>
                    <a:pt x="62" y="147"/>
                  </a:cubicBezTo>
                  <a:cubicBezTo>
                    <a:pt x="62" y="146"/>
                    <a:pt x="62" y="145"/>
                    <a:pt x="63" y="144"/>
                  </a:cubicBezTo>
                  <a:cubicBezTo>
                    <a:pt x="64" y="137"/>
                    <a:pt x="68" y="127"/>
                    <a:pt x="72" y="118"/>
                  </a:cubicBezTo>
                  <a:cubicBezTo>
                    <a:pt x="72" y="217"/>
                    <a:pt x="72" y="217"/>
                    <a:pt x="72" y="217"/>
                  </a:cubicBezTo>
                  <a:cubicBezTo>
                    <a:pt x="72" y="234"/>
                    <a:pt x="86" y="249"/>
                    <a:pt x="104" y="249"/>
                  </a:cubicBezTo>
                  <a:cubicBezTo>
                    <a:pt x="122" y="249"/>
                    <a:pt x="136" y="234"/>
                    <a:pt x="136" y="217"/>
                  </a:cubicBezTo>
                  <a:cubicBezTo>
                    <a:pt x="136" y="192"/>
                    <a:pt x="136" y="192"/>
                    <a:pt x="136" y="192"/>
                  </a:cubicBezTo>
                  <a:cubicBezTo>
                    <a:pt x="139" y="193"/>
                    <a:pt x="142" y="194"/>
                    <a:pt x="146" y="194"/>
                  </a:cubicBezTo>
                  <a:cubicBezTo>
                    <a:pt x="161" y="194"/>
                    <a:pt x="174" y="184"/>
                    <a:pt x="178" y="171"/>
                  </a:cubicBezTo>
                  <a:cubicBezTo>
                    <a:pt x="181" y="172"/>
                    <a:pt x="184" y="173"/>
                    <a:pt x="188" y="173"/>
                  </a:cubicBezTo>
                  <a:cubicBezTo>
                    <a:pt x="200" y="173"/>
                    <a:pt x="210" y="167"/>
                    <a:pt x="216" y="159"/>
                  </a:cubicBezTo>
                  <a:cubicBezTo>
                    <a:pt x="220" y="162"/>
                    <a:pt x="225" y="163"/>
                    <a:pt x="230" y="163"/>
                  </a:cubicBezTo>
                  <a:cubicBezTo>
                    <a:pt x="248" y="163"/>
                    <a:pt x="264" y="149"/>
                    <a:pt x="264" y="131"/>
                  </a:cubicBezTo>
                  <a:cubicBezTo>
                    <a:pt x="264" y="89"/>
                    <a:pt x="264" y="89"/>
                    <a:pt x="264" y="89"/>
                  </a:cubicBezTo>
                  <a:cubicBezTo>
                    <a:pt x="264" y="87"/>
                    <a:pt x="267" y="39"/>
                    <a:pt x="238"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158"/>
            <p:cNvSpPr>
              <a:spLocks noEditPoints="1"/>
            </p:cNvSpPr>
            <p:nvPr/>
          </p:nvSpPr>
          <p:spPr bwMode="auto">
            <a:xfrm>
              <a:off x="4854" y="101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3" name="Freeform 162"/>
          <p:cNvSpPr>
            <a:spLocks noChangeAspect="1" noEditPoints="1"/>
          </p:cNvSpPr>
          <p:nvPr/>
        </p:nvSpPr>
        <p:spPr bwMode="auto">
          <a:xfrm>
            <a:off x="2084659" y="253320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5 w 512"/>
              <a:gd name="T11" fmla="*/ 210 h 512"/>
              <a:gd name="T12" fmla="*/ 370 w 512"/>
              <a:gd name="T13" fmla="*/ 206 h 512"/>
              <a:gd name="T14" fmla="*/ 265 w 512"/>
              <a:gd name="T15" fmla="*/ 134 h 512"/>
              <a:gd name="T16" fmla="*/ 263 w 512"/>
              <a:gd name="T17" fmla="*/ 134 h 512"/>
              <a:gd name="T18" fmla="*/ 247 w 512"/>
              <a:gd name="T19" fmla="*/ 135 h 512"/>
              <a:gd name="T20" fmla="*/ 251 w 512"/>
              <a:gd name="T21" fmla="*/ 150 h 512"/>
              <a:gd name="T22" fmla="*/ 310 w 512"/>
              <a:gd name="T23" fmla="*/ 187 h 512"/>
              <a:gd name="T24" fmla="*/ 309 w 512"/>
              <a:gd name="T25" fmla="*/ 197 h 512"/>
              <a:gd name="T26" fmla="*/ 300 w 512"/>
              <a:gd name="T27" fmla="*/ 202 h 512"/>
              <a:gd name="T28" fmla="*/ 172 w 512"/>
              <a:gd name="T29" fmla="*/ 202 h 512"/>
              <a:gd name="T30" fmla="*/ 162 w 512"/>
              <a:gd name="T31" fmla="*/ 213 h 512"/>
              <a:gd name="T32" fmla="*/ 172 w 512"/>
              <a:gd name="T33" fmla="*/ 224 h 512"/>
              <a:gd name="T34" fmla="*/ 266 w 512"/>
              <a:gd name="T35" fmla="*/ 224 h 512"/>
              <a:gd name="T36" fmla="*/ 277 w 512"/>
              <a:gd name="T37" fmla="*/ 234 h 512"/>
              <a:gd name="T38" fmla="*/ 266 w 512"/>
              <a:gd name="T39" fmla="*/ 245 h 512"/>
              <a:gd name="T40" fmla="*/ 232 w 512"/>
              <a:gd name="T41" fmla="*/ 245 h 512"/>
              <a:gd name="T42" fmla="*/ 217 w 512"/>
              <a:gd name="T43" fmla="*/ 255 h 512"/>
              <a:gd name="T44" fmla="*/ 226 w 512"/>
              <a:gd name="T45" fmla="*/ 266 h 512"/>
              <a:gd name="T46" fmla="*/ 266 w 512"/>
              <a:gd name="T47" fmla="*/ 266 h 512"/>
              <a:gd name="T48" fmla="*/ 277 w 512"/>
              <a:gd name="T49" fmla="*/ 277 h 512"/>
              <a:gd name="T50" fmla="*/ 266 w 512"/>
              <a:gd name="T51" fmla="*/ 288 h 512"/>
              <a:gd name="T52" fmla="*/ 253 w 512"/>
              <a:gd name="T53" fmla="*/ 288 h 512"/>
              <a:gd name="T54" fmla="*/ 238 w 512"/>
              <a:gd name="T55" fmla="*/ 297 h 512"/>
              <a:gd name="T56" fmla="*/ 247 w 512"/>
              <a:gd name="T57" fmla="*/ 309 h 512"/>
              <a:gd name="T58" fmla="*/ 266 w 512"/>
              <a:gd name="T59" fmla="*/ 309 h 512"/>
              <a:gd name="T60" fmla="*/ 277 w 512"/>
              <a:gd name="T61" fmla="*/ 320 h 512"/>
              <a:gd name="T62" fmla="*/ 266 w 512"/>
              <a:gd name="T63" fmla="*/ 330 h 512"/>
              <a:gd name="T64" fmla="*/ 261 w 512"/>
              <a:gd name="T65" fmla="*/ 330 h 512"/>
              <a:gd name="T66" fmla="*/ 247 w 512"/>
              <a:gd name="T67" fmla="*/ 339 h 512"/>
              <a:gd name="T68" fmla="*/ 258 w 512"/>
              <a:gd name="T69" fmla="*/ 352 h 512"/>
              <a:gd name="T70" fmla="*/ 300 w 512"/>
              <a:gd name="T71" fmla="*/ 352 h 512"/>
              <a:gd name="T72" fmla="*/ 368 w 512"/>
              <a:gd name="T73" fmla="*/ 331 h 512"/>
              <a:gd name="T74" fmla="*/ 383 w 512"/>
              <a:gd name="T75" fmla="*/ 332 h 512"/>
              <a:gd name="T76" fmla="*/ 382 w 512"/>
              <a:gd name="T77" fmla="*/ 347 h 512"/>
              <a:gd name="T78" fmla="*/ 302 w 512"/>
              <a:gd name="T79" fmla="*/ 373 h 512"/>
              <a:gd name="T80" fmla="*/ 300 w 512"/>
              <a:gd name="T81" fmla="*/ 373 h 512"/>
              <a:gd name="T82" fmla="*/ 258 w 512"/>
              <a:gd name="T83" fmla="*/ 373 h 512"/>
              <a:gd name="T84" fmla="*/ 226 w 512"/>
              <a:gd name="T85" fmla="*/ 339 h 512"/>
              <a:gd name="T86" fmla="*/ 230 w 512"/>
              <a:gd name="T87" fmla="*/ 325 h 512"/>
              <a:gd name="T88" fmla="*/ 217 w 512"/>
              <a:gd name="T89" fmla="*/ 297 h 512"/>
              <a:gd name="T90" fmla="*/ 219 w 512"/>
              <a:gd name="T91" fmla="*/ 287 h 512"/>
              <a:gd name="T92" fmla="*/ 196 w 512"/>
              <a:gd name="T93" fmla="*/ 255 h 512"/>
              <a:gd name="T94" fmla="*/ 198 w 512"/>
              <a:gd name="T95" fmla="*/ 245 h 512"/>
              <a:gd name="T96" fmla="*/ 172 w 512"/>
              <a:gd name="T97" fmla="*/ 245 h 512"/>
              <a:gd name="T98" fmla="*/ 140 w 512"/>
              <a:gd name="T99" fmla="*/ 213 h 512"/>
              <a:gd name="T100" fmla="*/ 172 w 512"/>
              <a:gd name="T101" fmla="*/ 181 h 512"/>
              <a:gd name="T102" fmla="*/ 272 w 512"/>
              <a:gd name="T103" fmla="*/ 181 h 512"/>
              <a:gd name="T104" fmla="*/ 244 w 512"/>
              <a:gd name="T105" fmla="*/ 171 h 512"/>
              <a:gd name="T106" fmla="*/ 242 w 512"/>
              <a:gd name="T107" fmla="*/ 170 h 512"/>
              <a:gd name="T108" fmla="*/ 228 w 512"/>
              <a:gd name="T109" fmla="*/ 126 h 512"/>
              <a:gd name="T110" fmla="*/ 272 w 512"/>
              <a:gd name="T111" fmla="*/ 115 h 512"/>
              <a:gd name="T112" fmla="*/ 388 w 512"/>
              <a:gd name="T113" fmla="*/ 195 h 512"/>
              <a:gd name="T114" fmla="*/ 385 w 512"/>
              <a:gd name="T11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5" y="210"/>
                </a:moveTo>
                <a:cubicBezTo>
                  <a:pt x="380" y="213"/>
                  <a:pt x="373" y="211"/>
                  <a:pt x="370" y="206"/>
                </a:cubicBezTo>
                <a:cubicBezTo>
                  <a:pt x="343" y="163"/>
                  <a:pt x="265" y="135"/>
                  <a:pt x="265" y="134"/>
                </a:cubicBezTo>
                <a:cubicBezTo>
                  <a:pt x="264" y="134"/>
                  <a:pt x="264" y="134"/>
                  <a:pt x="263" y="134"/>
                </a:cubicBezTo>
                <a:cubicBezTo>
                  <a:pt x="258" y="131"/>
                  <a:pt x="249" y="131"/>
                  <a:pt x="247" y="135"/>
                </a:cubicBezTo>
                <a:cubicBezTo>
                  <a:pt x="244" y="141"/>
                  <a:pt x="246" y="147"/>
                  <a:pt x="251" y="150"/>
                </a:cubicBezTo>
                <a:cubicBezTo>
                  <a:pt x="260" y="153"/>
                  <a:pt x="298" y="163"/>
                  <a:pt x="310" y="187"/>
                </a:cubicBezTo>
                <a:cubicBezTo>
                  <a:pt x="311" y="190"/>
                  <a:pt x="311" y="194"/>
                  <a:pt x="309" y="197"/>
                </a:cubicBezTo>
                <a:cubicBezTo>
                  <a:pt x="307" y="200"/>
                  <a:pt x="304" y="202"/>
                  <a:pt x="300" y="202"/>
                </a:cubicBezTo>
                <a:cubicBezTo>
                  <a:pt x="172" y="202"/>
                  <a:pt x="172" y="202"/>
                  <a:pt x="172" y="202"/>
                </a:cubicBezTo>
                <a:cubicBezTo>
                  <a:pt x="166" y="202"/>
                  <a:pt x="162" y="207"/>
                  <a:pt x="162" y="213"/>
                </a:cubicBezTo>
                <a:cubicBezTo>
                  <a:pt x="162" y="219"/>
                  <a:pt x="166" y="224"/>
                  <a:pt x="172" y="224"/>
                </a:cubicBezTo>
                <a:cubicBezTo>
                  <a:pt x="266" y="224"/>
                  <a:pt x="266" y="224"/>
                  <a:pt x="266" y="224"/>
                </a:cubicBezTo>
                <a:cubicBezTo>
                  <a:pt x="272" y="224"/>
                  <a:pt x="277" y="228"/>
                  <a:pt x="277" y="234"/>
                </a:cubicBezTo>
                <a:cubicBezTo>
                  <a:pt x="277" y="240"/>
                  <a:pt x="272" y="245"/>
                  <a:pt x="266" y="245"/>
                </a:cubicBezTo>
                <a:cubicBezTo>
                  <a:pt x="232" y="245"/>
                  <a:pt x="232" y="245"/>
                  <a:pt x="232" y="245"/>
                </a:cubicBezTo>
                <a:cubicBezTo>
                  <a:pt x="225" y="245"/>
                  <a:pt x="217" y="250"/>
                  <a:pt x="217" y="255"/>
                </a:cubicBezTo>
                <a:cubicBezTo>
                  <a:pt x="217" y="259"/>
                  <a:pt x="219" y="266"/>
                  <a:pt x="226" y="266"/>
                </a:cubicBezTo>
                <a:cubicBezTo>
                  <a:pt x="266" y="266"/>
                  <a:pt x="266" y="266"/>
                  <a:pt x="266" y="266"/>
                </a:cubicBezTo>
                <a:cubicBezTo>
                  <a:pt x="272" y="266"/>
                  <a:pt x="277" y="271"/>
                  <a:pt x="277" y="277"/>
                </a:cubicBezTo>
                <a:cubicBezTo>
                  <a:pt x="277" y="283"/>
                  <a:pt x="272" y="288"/>
                  <a:pt x="266" y="288"/>
                </a:cubicBezTo>
                <a:cubicBezTo>
                  <a:pt x="253" y="288"/>
                  <a:pt x="253" y="288"/>
                  <a:pt x="253" y="288"/>
                </a:cubicBezTo>
                <a:cubicBezTo>
                  <a:pt x="246" y="288"/>
                  <a:pt x="238" y="293"/>
                  <a:pt x="238" y="297"/>
                </a:cubicBezTo>
                <a:cubicBezTo>
                  <a:pt x="238" y="302"/>
                  <a:pt x="241" y="309"/>
                  <a:pt x="247" y="309"/>
                </a:cubicBezTo>
                <a:cubicBezTo>
                  <a:pt x="266" y="309"/>
                  <a:pt x="266" y="309"/>
                  <a:pt x="266" y="309"/>
                </a:cubicBezTo>
                <a:cubicBezTo>
                  <a:pt x="272" y="309"/>
                  <a:pt x="277" y="314"/>
                  <a:pt x="277" y="320"/>
                </a:cubicBezTo>
                <a:cubicBezTo>
                  <a:pt x="277" y="326"/>
                  <a:pt x="272" y="330"/>
                  <a:pt x="266" y="330"/>
                </a:cubicBezTo>
                <a:cubicBezTo>
                  <a:pt x="261" y="330"/>
                  <a:pt x="261" y="330"/>
                  <a:pt x="261" y="330"/>
                </a:cubicBezTo>
                <a:cubicBezTo>
                  <a:pt x="254" y="330"/>
                  <a:pt x="247" y="335"/>
                  <a:pt x="247" y="339"/>
                </a:cubicBezTo>
                <a:cubicBezTo>
                  <a:pt x="247" y="345"/>
                  <a:pt x="252" y="352"/>
                  <a:pt x="258" y="352"/>
                </a:cubicBezTo>
                <a:cubicBezTo>
                  <a:pt x="300" y="352"/>
                  <a:pt x="300" y="352"/>
                  <a:pt x="300" y="352"/>
                </a:cubicBezTo>
                <a:cubicBezTo>
                  <a:pt x="301" y="352"/>
                  <a:pt x="342" y="353"/>
                  <a:pt x="368" y="331"/>
                </a:cubicBezTo>
                <a:cubicBezTo>
                  <a:pt x="373" y="327"/>
                  <a:pt x="379" y="328"/>
                  <a:pt x="383" y="332"/>
                </a:cubicBezTo>
                <a:cubicBezTo>
                  <a:pt x="387" y="337"/>
                  <a:pt x="386" y="343"/>
                  <a:pt x="382" y="347"/>
                </a:cubicBezTo>
                <a:cubicBezTo>
                  <a:pt x="353" y="371"/>
                  <a:pt x="312" y="373"/>
                  <a:pt x="302" y="373"/>
                </a:cubicBezTo>
                <a:cubicBezTo>
                  <a:pt x="301" y="373"/>
                  <a:pt x="300" y="373"/>
                  <a:pt x="300" y="373"/>
                </a:cubicBezTo>
                <a:cubicBezTo>
                  <a:pt x="258" y="373"/>
                  <a:pt x="258" y="373"/>
                  <a:pt x="258" y="373"/>
                </a:cubicBezTo>
                <a:cubicBezTo>
                  <a:pt x="240" y="373"/>
                  <a:pt x="226" y="357"/>
                  <a:pt x="226" y="339"/>
                </a:cubicBezTo>
                <a:cubicBezTo>
                  <a:pt x="226" y="334"/>
                  <a:pt x="227" y="329"/>
                  <a:pt x="230" y="325"/>
                </a:cubicBezTo>
                <a:cubicBezTo>
                  <a:pt x="222" y="319"/>
                  <a:pt x="217" y="309"/>
                  <a:pt x="217" y="297"/>
                </a:cubicBezTo>
                <a:cubicBezTo>
                  <a:pt x="217" y="294"/>
                  <a:pt x="218" y="290"/>
                  <a:pt x="219" y="287"/>
                </a:cubicBezTo>
                <a:cubicBezTo>
                  <a:pt x="206" y="284"/>
                  <a:pt x="196" y="271"/>
                  <a:pt x="196" y="255"/>
                </a:cubicBezTo>
                <a:cubicBezTo>
                  <a:pt x="196" y="251"/>
                  <a:pt x="197" y="248"/>
                  <a:pt x="198" y="245"/>
                </a:cubicBezTo>
                <a:cubicBezTo>
                  <a:pt x="172" y="245"/>
                  <a:pt x="172" y="245"/>
                  <a:pt x="172" y="245"/>
                </a:cubicBezTo>
                <a:cubicBezTo>
                  <a:pt x="155" y="245"/>
                  <a:pt x="140" y="231"/>
                  <a:pt x="140" y="213"/>
                </a:cubicBezTo>
                <a:cubicBezTo>
                  <a:pt x="140" y="195"/>
                  <a:pt x="155" y="181"/>
                  <a:pt x="172" y="181"/>
                </a:cubicBezTo>
                <a:cubicBezTo>
                  <a:pt x="272" y="181"/>
                  <a:pt x="272" y="181"/>
                  <a:pt x="272" y="181"/>
                </a:cubicBezTo>
                <a:cubicBezTo>
                  <a:pt x="263" y="176"/>
                  <a:pt x="252" y="172"/>
                  <a:pt x="244" y="171"/>
                </a:cubicBezTo>
                <a:cubicBezTo>
                  <a:pt x="244" y="170"/>
                  <a:pt x="243" y="170"/>
                  <a:pt x="242" y="170"/>
                </a:cubicBezTo>
                <a:cubicBezTo>
                  <a:pt x="226" y="162"/>
                  <a:pt x="220" y="142"/>
                  <a:pt x="228" y="126"/>
                </a:cubicBezTo>
                <a:cubicBezTo>
                  <a:pt x="236" y="109"/>
                  <a:pt x="257" y="107"/>
                  <a:pt x="272" y="115"/>
                </a:cubicBezTo>
                <a:cubicBezTo>
                  <a:pt x="281" y="117"/>
                  <a:pt x="358" y="147"/>
                  <a:pt x="388" y="195"/>
                </a:cubicBezTo>
                <a:cubicBezTo>
                  <a:pt x="391" y="200"/>
                  <a:pt x="390" y="207"/>
                  <a:pt x="385" y="21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4" name="Group 165"/>
          <p:cNvGrpSpPr>
            <a:grpSpLocks noChangeAspect="1"/>
          </p:cNvGrpSpPr>
          <p:nvPr/>
        </p:nvGrpSpPr>
        <p:grpSpPr bwMode="auto">
          <a:xfrm>
            <a:off x="2503684" y="2533203"/>
            <a:ext cx="367041" cy="367041"/>
            <a:chOff x="5180" y="1442"/>
            <a:chExt cx="340" cy="340"/>
          </a:xfrm>
          <a:solidFill>
            <a:schemeClr val="accent2"/>
          </a:solidFill>
        </p:grpSpPr>
        <p:sp>
          <p:nvSpPr>
            <p:cNvPr id="295" name="Freeform 166"/>
            <p:cNvSpPr>
              <a:spLocks noEditPoints="1"/>
            </p:cNvSpPr>
            <p:nvPr/>
          </p:nvSpPr>
          <p:spPr bwMode="auto">
            <a:xfrm>
              <a:off x="5180" y="1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167"/>
            <p:cNvSpPr>
              <a:spLocks/>
            </p:cNvSpPr>
            <p:nvPr/>
          </p:nvSpPr>
          <p:spPr bwMode="auto">
            <a:xfrm>
              <a:off x="5273" y="1513"/>
              <a:ext cx="167" cy="177"/>
            </a:xfrm>
            <a:custGeom>
              <a:avLst/>
              <a:gdLst>
                <a:gd name="T0" fmla="*/ 107 w 251"/>
                <a:gd name="T1" fmla="*/ 28 h 266"/>
                <a:gd name="T2" fmla="*/ 111 w 251"/>
                <a:gd name="T3" fmla="*/ 43 h 266"/>
                <a:gd name="T4" fmla="*/ 170 w 251"/>
                <a:gd name="T5" fmla="*/ 80 h 266"/>
                <a:gd name="T6" fmla="*/ 169 w 251"/>
                <a:gd name="T7" fmla="*/ 90 h 266"/>
                <a:gd name="T8" fmla="*/ 160 w 251"/>
                <a:gd name="T9" fmla="*/ 95 h 266"/>
                <a:gd name="T10" fmla="*/ 32 w 251"/>
                <a:gd name="T11" fmla="*/ 95 h 266"/>
                <a:gd name="T12" fmla="*/ 22 w 251"/>
                <a:gd name="T13" fmla="*/ 106 h 266"/>
                <a:gd name="T14" fmla="*/ 32 w 251"/>
                <a:gd name="T15" fmla="*/ 117 h 266"/>
                <a:gd name="T16" fmla="*/ 126 w 251"/>
                <a:gd name="T17" fmla="*/ 117 h 266"/>
                <a:gd name="T18" fmla="*/ 137 w 251"/>
                <a:gd name="T19" fmla="*/ 127 h 266"/>
                <a:gd name="T20" fmla="*/ 126 w 251"/>
                <a:gd name="T21" fmla="*/ 138 h 266"/>
                <a:gd name="T22" fmla="*/ 92 w 251"/>
                <a:gd name="T23" fmla="*/ 138 h 266"/>
                <a:gd name="T24" fmla="*/ 77 w 251"/>
                <a:gd name="T25" fmla="*/ 148 h 266"/>
                <a:gd name="T26" fmla="*/ 86 w 251"/>
                <a:gd name="T27" fmla="*/ 159 h 266"/>
                <a:gd name="T28" fmla="*/ 126 w 251"/>
                <a:gd name="T29" fmla="*/ 159 h 266"/>
                <a:gd name="T30" fmla="*/ 137 w 251"/>
                <a:gd name="T31" fmla="*/ 170 h 266"/>
                <a:gd name="T32" fmla="*/ 126 w 251"/>
                <a:gd name="T33" fmla="*/ 181 h 266"/>
                <a:gd name="T34" fmla="*/ 113 w 251"/>
                <a:gd name="T35" fmla="*/ 181 h 266"/>
                <a:gd name="T36" fmla="*/ 98 w 251"/>
                <a:gd name="T37" fmla="*/ 190 h 266"/>
                <a:gd name="T38" fmla="*/ 107 w 251"/>
                <a:gd name="T39" fmla="*/ 202 h 266"/>
                <a:gd name="T40" fmla="*/ 126 w 251"/>
                <a:gd name="T41" fmla="*/ 202 h 266"/>
                <a:gd name="T42" fmla="*/ 137 w 251"/>
                <a:gd name="T43" fmla="*/ 213 h 266"/>
                <a:gd name="T44" fmla="*/ 126 w 251"/>
                <a:gd name="T45" fmla="*/ 223 h 266"/>
                <a:gd name="T46" fmla="*/ 121 w 251"/>
                <a:gd name="T47" fmla="*/ 223 h 266"/>
                <a:gd name="T48" fmla="*/ 107 w 251"/>
                <a:gd name="T49" fmla="*/ 232 h 266"/>
                <a:gd name="T50" fmla="*/ 118 w 251"/>
                <a:gd name="T51" fmla="*/ 245 h 266"/>
                <a:gd name="T52" fmla="*/ 160 w 251"/>
                <a:gd name="T53" fmla="*/ 245 h 266"/>
                <a:gd name="T54" fmla="*/ 228 w 251"/>
                <a:gd name="T55" fmla="*/ 224 h 266"/>
                <a:gd name="T56" fmla="*/ 243 w 251"/>
                <a:gd name="T57" fmla="*/ 225 h 266"/>
                <a:gd name="T58" fmla="*/ 242 w 251"/>
                <a:gd name="T59" fmla="*/ 240 h 266"/>
                <a:gd name="T60" fmla="*/ 162 w 251"/>
                <a:gd name="T61" fmla="*/ 266 h 266"/>
                <a:gd name="T62" fmla="*/ 160 w 251"/>
                <a:gd name="T63" fmla="*/ 266 h 266"/>
                <a:gd name="T64" fmla="*/ 118 w 251"/>
                <a:gd name="T65" fmla="*/ 266 h 266"/>
                <a:gd name="T66" fmla="*/ 86 w 251"/>
                <a:gd name="T67" fmla="*/ 232 h 266"/>
                <a:gd name="T68" fmla="*/ 90 w 251"/>
                <a:gd name="T69" fmla="*/ 218 h 266"/>
                <a:gd name="T70" fmla="*/ 77 w 251"/>
                <a:gd name="T71" fmla="*/ 190 h 266"/>
                <a:gd name="T72" fmla="*/ 79 w 251"/>
                <a:gd name="T73" fmla="*/ 180 h 266"/>
                <a:gd name="T74" fmla="*/ 56 w 251"/>
                <a:gd name="T75" fmla="*/ 148 h 266"/>
                <a:gd name="T76" fmla="*/ 58 w 251"/>
                <a:gd name="T77" fmla="*/ 138 h 266"/>
                <a:gd name="T78" fmla="*/ 32 w 251"/>
                <a:gd name="T79" fmla="*/ 138 h 266"/>
                <a:gd name="T80" fmla="*/ 0 w 251"/>
                <a:gd name="T81" fmla="*/ 106 h 266"/>
                <a:gd name="T82" fmla="*/ 32 w 251"/>
                <a:gd name="T83" fmla="*/ 74 h 266"/>
                <a:gd name="T84" fmla="*/ 132 w 251"/>
                <a:gd name="T85" fmla="*/ 74 h 266"/>
                <a:gd name="T86" fmla="*/ 104 w 251"/>
                <a:gd name="T87" fmla="*/ 64 h 266"/>
                <a:gd name="T88" fmla="*/ 102 w 251"/>
                <a:gd name="T89" fmla="*/ 63 h 266"/>
                <a:gd name="T90" fmla="*/ 88 w 251"/>
                <a:gd name="T91" fmla="*/ 19 h 266"/>
                <a:gd name="T92" fmla="*/ 132 w 251"/>
                <a:gd name="T93" fmla="*/ 8 h 266"/>
                <a:gd name="T94" fmla="*/ 248 w 251"/>
                <a:gd name="T95" fmla="*/ 88 h 266"/>
                <a:gd name="T96" fmla="*/ 245 w 251"/>
                <a:gd name="T97" fmla="*/ 103 h 266"/>
                <a:gd name="T98" fmla="*/ 230 w 251"/>
                <a:gd name="T99" fmla="*/ 99 h 266"/>
                <a:gd name="T100" fmla="*/ 125 w 251"/>
                <a:gd name="T101" fmla="*/ 27 h 266"/>
                <a:gd name="T102" fmla="*/ 123 w 251"/>
                <a:gd name="T103" fmla="*/ 27 h 266"/>
                <a:gd name="T104" fmla="*/ 107 w 251"/>
                <a:gd name="T105" fmla="*/ 2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266">
                  <a:moveTo>
                    <a:pt x="107" y="28"/>
                  </a:moveTo>
                  <a:cubicBezTo>
                    <a:pt x="104" y="34"/>
                    <a:pt x="106" y="40"/>
                    <a:pt x="111" y="43"/>
                  </a:cubicBezTo>
                  <a:cubicBezTo>
                    <a:pt x="120" y="46"/>
                    <a:pt x="158" y="56"/>
                    <a:pt x="170" y="80"/>
                  </a:cubicBezTo>
                  <a:cubicBezTo>
                    <a:pt x="171" y="83"/>
                    <a:pt x="171" y="87"/>
                    <a:pt x="169" y="90"/>
                  </a:cubicBezTo>
                  <a:cubicBezTo>
                    <a:pt x="167" y="93"/>
                    <a:pt x="164" y="95"/>
                    <a:pt x="160" y="95"/>
                  </a:cubicBezTo>
                  <a:cubicBezTo>
                    <a:pt x="32" y="95"/>
                    <a:pt x="32" y="95"/>
                    <a:pt x="32" y="95"/>
                  </a:cubicBezTo>
                  <a:cubicBezTo>
                    <a:pt x="26" y="95"/>
                    <a:pt x="22" y="100"/>
                    <a:pt x="22" y="106"/>
                  </a:cubicBezTo>
                  <a:cubicBezTo>
                    <a:pt x="22" y="112"/>
                    <a:pt x="26" y="117"/>
                    <a:pt x="32" y="117"/>
                  </a:cubicBezTo>
                  <a:cubicBezTo>
                    <a:pt x="126" y="117"/>
                    <a:pt x="126" y="117"/>
                    <a:pt x="126" y="117"/>
                  </a:cubicBezTo>
                  <a:cubicBezTo>
                    <a:pt x="132" y="117"/>
                    <a:pt x="137" y="121"/>
                    <a:pt x="137" y="127"/>
                  </a:cubicBezTo>
                  <a:cubicBezTo>
                    <a:pt x="137" y="133"/>
                    <a:pt x="132" y="138"/>
                    <a:pt x="126" y="138"/>
                  </a:cubicBezTo>
                  <a:cubicBezTo>
                    <a:pt x="92" y="138"/>
                    <a:pt x="92" y="138"/>
                    <a:pt x="92" y="138"/>
                  </a:cubicBezTo>
                  <a:cubicBezTo>
                    <a:pt x="85" y="138"/>
                    <a:pt x="77" y="143"/>
                    <a:pt x="77" y="148"/>
                  </a:cubicBezTo>
                  <a:cubicBezTo>
                    <a:pt x="77" y="152"/>
                    <a:pt x="79" y="159"/>
                    <a:pt x="86" y="159"/>
                  </a:cubicBezTo>
                  <a:cubicBezTo>
                    <a:pt x="126" y="159"/>
                    <a:pt x="126" y="159"/>
                    <a:pt x="126" y="159"/>
                  </a:cubicBezTo>
                  <a:cubicBezTo>
                    <a:pt x="132" y="159"/>
                    <a:pt x="137" y="164"/>
                    <a:pt x="137" y="170"/>
                  </a:cubicBezTo>
                  <a:cubicBezTo>
                    <a:pt x="137" y="176"/>
                    <a:pt x="132" y="181"/>
                    <a:pt x="126" y="181"/>
                  </a:cubicBezTo>
                  <a:cubicBezTo>
                    <a:pt x="113" y="181"/>
                    <a:pt x="113" y="181"/>
                    <a:pt x="113" y="181"/>
                  </a:cubicBezTo>
                  <a:cubicBezTo>
                    <a:pt x="106" y="181"/>
                    <a:pt x="98" y="186"/>
                    <a:pt x="98" y="190"/>
                  </a:cubicBezTo>
                  <a:cubicBezTo>
                    <a:pt x="98" y="195"/>
                    <a:pt x="101" y="202"/>
                    <a:pt x="107" y="202"/>
                  </a:cubicBezTo>
                  <a:cubicBezTo>
                    <a:pt x="126" y="202"/>
                    <a:pt x="126" y="202"/>
                    <a:pt x="126" y="202"/>
                  </a:cubicBezTo>
                  <a:cubicBezTo>
                    <a:pt x="132" y="202"/>
                    <a:pt x="137" y="207"/>
                    <a:pt x="137" y="213"/>
                  </a:cubicBezTo>
                  <a:cubicBezTo>
                    <a:pt x="137" y="219"/>
                    <a:pt x="132" y="223"/>
                    <a:pt x="126" y="223"/>
                  </a:cubicBezTo>
                  <a:cubicBezTo>
                    <a:pt x="121" y="223"/>
                    <a:pt x="121" y="223"/>
                    <a:pt x="121" y="223"/>
                  </a:cubicBezTo>
                  <a:cubicBezTo>
                    <a:pt x="114" y="223"/>
                    <a:pt x="107" y="228"/>
                    <a:pt x="107" y="232"/>
                  </a:cubicBezTo>
                  <a:cubicBezTo>
                    <a:pt x="107" y="238"/>
                    <a:pt x="112" y="245"/>
                    <a:pt x="118" y="245"/>
                  </a:cubicBezTo>
                  <a:cubicBezTo>
                    <a:pt x="160" y="245"/>
                    <a:pt x="160" y="245"/>
                    <a:pt x="160" y="245"/>
                  </a:cubicBezTo>
                  <a:cubicBezTo>
                    <a:pt x="161" y="245"/>
                    <a:pt x="202" y="246"/>
                    <a:pt x="228" y="224"/>
                  </a:cubicBezTo>
                  <a:cubicBezTo>
                    <a:pt x="233" y="220"/>
                    <a:pt x="239" y="221"/>
                    <a:pt x="243" y="225"/>
                  </a:cubicBezTo>
                  <a:cubicBezTo>
                    <a:pt x="247" y="230"/>
                    <a:pt x="246" y="236"/>
                    <a:pt x="242" y="240"/>
                  </a:cubicBezTo>
                  <a:cubicBezTo>
                    <a:pt x="213" y="264"/>
                    <a:pt x="172" y="266"/>
                    <a:pt x="162" y="266"/>
                  </a:cubicBezTo>
                  <a:cubicBezTo>
                    <a:pt x="161" y="266"/>
                    <a:pt x="160" y="266"/>
                    <a:pt x="160" y="266"/>
                  </a:cubicBezTo>
                  <a:cubicBezTo>
                    <a:pt x="118" y="266"/>
                    <a:pt x="118" y="266"/>
                    <a:pt x="118" y="266"/>
                  </a:cubicBezTo>
                  <a:cubicBezTo>
                    <a:pt x="100" y="266"/>
                    <a:pt x="86" y="250"/>
                    <a:pt x="86" y="232"/>
                  </a:cubicBezTo>
                  <a:cubicBezTo>
                    <a:pt x="86" y="227"/>
                    <a:pt x="87" y="222"/>
                    <a:pt x="90" y="218"/>
                  </a:cubicBezTo>
                  <a:cubicBezTo>
                    <a:pt x="82" y="212"/>
                    <a:pt x="77" y="202"/>
                    <a:pt x="77" y="190"/>
                  </a:cubicBezTo>
                  <a:cubicBezTo>
                    <a:pt x="77" y="187"/>
                    <a:pt x="78" y="183"/>
                    <a:pt x="79" y="180"/>
                  </a:cubicBezTo>
                  <a:cubicBezTo>
                    <a:pt x="66" y="177"/>
                    <a:pt x="56" y="164"/>
                    <a:pt x="56" y="148"/>
                  </a:cubicBezTo>
                  <a:cubicBezTo>
                    <a:pt x="56" y="144"/>
                    <a:pt x="57" y="141"/>
                    <a:pt x="58" y="138"/>
                  </a:cubicBezTo>
                  <a:cubicBezTo>
                    <a:pt x="32" y="138"/>
                    <a:pt x="32" y="138"/>
                    <a:pt x="32" y="138"/>
                  </a:cubicBezTo>
                  <a:cubicBezTo>
                    <a:pt x="15" y="138"/>
                    <a:pt x="0" y="124"/>
                    <a:pt x="0" y="106"/>
                  </a:cubicBezTo>
                  <a:cubicBezTo>
                    <a:pt x="0" y="88"/>
                    <a:pt x="15" y="74"/>
                    <a:pt x="32" y="74"/>
                  </a:cubicBezTo>
                  <a:cubicBezTo>
                    <a:pt x="132" y="74"/>
                    <a:pt x="132" y="74"/>
                    <a:pt x="132" y="74"/>
                  </a:cubicBezTo>
                  <a:cubicBezTo>
                    <a:pt x="123" y="69"/>
                    <a:pt x="112" y="65"/>
                    <a:pt x="104" y="64"/>
                  </a:cubicBezTo>
                  <a:cubicBezTo>
                    <a:pt x="104" y="63"/>
                    <a:pt x="103" y="63"/>
                    <a:pt x="102" y="63"/>
                  </a:cubicBezTo>
                  <a:cubicBezTo>
                    <a:pt x="86" y="55"/>
                    <a:pt x="80" y="35"/>
                    <a:pt x="88" y="19"/>
                  </a:cubicBezTo>
                  <a:cubicBezTo>
                    <a:pt x="96" y="2"/>
                    <a:pt x="117" y="0"/>
                    <a:pt x="132" y="8"/>
                  </a:cubicBezTo>
                  <a:cubicBezTo>
                    <a:pt x="141" y="10"/>
                    <a:pt x="218" y="40"/>
                    <a:pt x="248" y="88"/>
                  </a:cubicBezTo>
                  <a:cubicBezTo>
                    <a:pt x="251" y="93"/>
                    <a:pt x="250" y="100"/>
                    <a:pt x="245" y="103"/>
                  </a:cubicBezTo>
                  <a:cubicBezTo>
                    <a:pt x="240" y="106"/>
                    <a:pt x="233" y="104"/>
                    <a:pt x="230" y="99"/>
                  </a:cubicBezTo>
                  <a:cubicBezTo>
                    <a:pt x="203" y="56"/>
                    <a:pt x="125" y="28"/>
                    <a:pt x="125" y="27"/>
                  </a:cubicBezTo>
                  <a:cubicBezTo>
                    <a:pt x="124" y="27"/>
                    <a:pt x="124" y="27"/>
                    <a:pt x="123" y="27"/>
                  </a:cubicBezTo>
                  <a:cubicBezTo>
                    <a:pt x="118" y="24"/>
                    <a:pt x="109" y="24"/>
                    <a:pt x="10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7" name="Freeform 171"/>
          <p:cNvSpPr>
            <a:spLocks noChangeAspect="1" noEditPoints="1"/>
          </p:cNvSpPr>
          <p:nvPr/>
        </p:nvSpPr>
        <p:spPr bwMode="auto">
          <a:xfrm>
            <a:off x="2922709" y="253320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8" name="Group 174"/>
          <p:cNvGrpSpPr>
            <a:grpSpLocks noChangeAspect="1"/>
          </p:cNvGrpSpPr>
          <p:nvPr/>
        </p:nvGrpSpPr>
        <p:grpSpPr bwMode="auto">
          <a:xfrm>
            <a:off x="3341734" y="2533203"/>
            <a:ext cx="367041" cy="367041"/>
            <a:chOff x="5265" y="1631"/>
            <a:chExt cx="340" cy="340"/>
          </a:xfrm>
          <a:solidFill>
            <a:schemeClr val="accent2"/>
          </a:solidFill>
        </p:grpSpPr>
        <p:sp>
          <p:nvSpPr>
            <p:cNvPr id="299" name="Freeform 175"/>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176"/>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1" name="Freeform 180"/>
          <p:cNvSpPr>
            <a:spLocks noChangeAspect="1" noEditPoints="1"/>
          </p:cNvSpPr>
          <p:nvPr/>
        </p:nvSpPr>
        <p:spPr bwMode="auto">
          <a:xfrm>
            <a:off x="3760759" y="253320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65 h 512"/>
              <a:gd name="T12" fmla="*/ 339 w 512"/>
              <a:gd name="T13" fmla="*/ 369 h 512"/>
              <a:gd name="T14" fmla="*/ 332 w 512"/>
              <a:gd name="T15" fmla="*/ 366 h 512"/>
              <a:gd name="T16" fmla="*/ 331 w 512"/>
              <a:gd name="T17" fmla="*/ 351 h 512"/>
              <a:gd name="T18" fmla="*/ 352 w 512"/>
              <a:gd name="T19" fmla="*/ 284 h 512"/>
              <a:gd name="T20" fmla="*/ 352 w 512"/>
              <a:gd name="T21" fmla="*/ 242 h 512"/>
              <a:gd name="T22" fmla="*/ 339 w 512"/>
              <a:gd name="T23" fmla="*/ 231 h 512"/>
              <a:gd name="T24" fmla="*/ 330 w 512"/>
              <a:gd name="T25" fmla="*/ 245 h 512"/>
              <a:gd name="T26" fmla="*/ 320 w 512"/>
              <a:gd name="T27" fmla="*/ 256 h 512"/>
              <a:gd name="T28" fmla="*/ 309 w 512"/>
              <a:gd name="T29" fmla="*/ 245 h 512"/>
              <a:gd name="T30" fmla="*/ 309 w 512"/>
              <a:gd name="T31" fmla="*/ 245 h 512"/>
              <a:gd name="T32" fmla="*/ 309 w 512"/>
              <a:gd name="T33" fmla="*/ 245 h 512"/>
              <a:gd name="T34" fmla="*/ 309 w 512"/>
              <a:gd name="T35" fmla="*/ 231 h 512"/>
              <a:gd name="T36" fmla="*/ 297 w 512"/>
              <a:gd name="T37" fmla="*/ 221 h 512"/>
              <a:gd name="T38" fmla="*/ 288 w 512"/>
              <a:gd name="T39" fmla="*/ 234 h 512"/>
              <a:gd name="T40" fmla="*/ 288 w 512"/>
              <a:gd name="T41" fmla="*/ 245 h 512"/>
              <a:gd name="T42" fmla="*/ 277 w 512"/>
              <a:gd name="T43" fmla="*/ 256 h 512"/>
              <a:gd name="T44" fmla="*/ 266 w 512"/>
              <a:gd name="T45" fmla="*/ 245 h 512"/>
              <a:gd name="T46" fmla="*/ 266 w 512"/>
              <a:gd name="T47" fmla="*/ 209 h 512"/>
              <a:gd name="T48" fmla="*/ 255 w 512"/>
              <a:gd name="T49" fmla="*/ 199 h 512"/>
              <a:gd name="T50" fmla="*/ 245 w 512"/>
              <a:gd name="T51" fmla="*/ 213 h 512"/>
              <a:gd name="T52" fmla="*/ 245 w 512"/>
              <a:gd name="T53" fmla="*/ 245 h 512"/>
              <a:gd name="T54" fmla="*/ 234 w 512"/>
              <a:gd name="T55" fmla="*/ 256 h 512"/>
              <a:gd name="T56" fmla="*/ 224 w 512"/>
              <a:gd name="T57" fmla="*/ 245 h 512"/>
              <a:gd name="T58" fmla="*/ 224 w 512"/>
              <a:gd name="T59" fmla="*/ 156 h 512"/>
              <a:gd name="T60" fmla="*/ 213 w 512"/>
              <a:gd name="T61" fmla="*/ 145 h 512"/>
              <a:gd name="T62" fmla="*/ 202 w 512"/>
              <a:gd name="T63" fmla="*/ 156 h 512"/>
              <a:gd name="T64" fmla="*/ 202 w 512"/>
              <a:gd name="T65" fmla="*/ 284 h 512"/>
              <a:gd name="T66" fmla="*/ 197 w 512"/>
              <a:gd name="T67" fmla="*/ 293 h 512"/>
              <a:gd name="T68" fmla="*/ 187 w 512"/>
              <a:gd name="T69" fmla="*/ 293 h 512"/>
              <a:gd name="T70" fmla="*/ 150 w 512"/>
              <a:gd name="T71" fmla="*/ 234 h 512"/>
              <a:gd name="T72" fmla="*/ 144 w 512"/>
              <a:gd name="T73" fmla="*/ 230 h 512"/>
              <a:gd name="T74" fmla="*/ 135 w 512"/>
              <a:gd name="T75" fmla="*/ 231 h 512"/>
              <a:gd name="T76" fmla="*/ 134 w 512"/>
              <a:gd name="T77" fmla="*/ 247 h 512"/>
              <a:gd name="T78" fmla="*/ 134 w 512"/>
              <a:gd name="T79" fmla="*/ 248 h 512"/>
              <a:gd name="T80" fmla="*/ 206 w 512"/>
              <a:gd name="T81" fmla="*/ 351 h 512"/>
              <a:gd name="T82" fmla="*/ 210 w 512"/>
              <a:gd name="T83" fmla="*/ 366 h 512"/>
              <a:gd name="T84" fmla="*/ 201 w 512"/>
              <a:gd name="T85" fmla="*/ 371 h 512"/>
              <a:gd name="T86" fmla="*/ 195 w 512"/>
              <a:gd name="T87" fmla="*/ 369 h 512"/>
              <a:gd name="T88" fmla="*/ 115 w 512"/>
              <a:gd name="T89" fmla="*/ 256 h 512"/>
              <a:gd name="T90" fmla="*/ 126 w 512"/>
              <a:gd name="T91" fmla="*/ 211 h 512"/>
              <a:gd name="T92" fmla="*/ 151 w 512"/>
              <a:gd name="T93" fmla="*/ 210 h 512"/>
              <a:gd name="T94" fmla="*/ 170 w 512"/>
              <a:gd name="T95" fmla="*/ 226 h 512"/>
              <a:gd name="T96" fmla="*/ 171 w 512"/>
              <a:gd name="T97" fmla="*/ 228 h 512"/>
              <a:gd name="T98" fmla="*/ 181 w 512"/>
              <a:gd name="T99" fmla="*/ 256 h 512"/>
              <a:gd name="T100" fmla="*/ 181 w 512"/>
              <a:gd name="T101" fmla="*/ 156 h 512"/>
              <a:gd name="T102" fmla="*/ 213 w 512"/>
              <a:gd name="T103" fmla="*/ 124 h 512"/>
              <a:gd name="T104" fmla="*/ 245 w 512"/>
              <a:gd name="T105" fmla="*/ 156 h 512"/>
              <a:gd name="T106" fmla="*/ 245 w 512"/>
              <a:gd name="T107" fmla="*/ 180 h 512"/>
              <a:gd name="T108" fmla="*/ 255 w 512"/>
              <a:gd name="T109" fmla="*/ 178 h 512"/>
              <a:gd name="T110" fmla="*/ 287 w 512"/>
              <a:gd name="T111" fmla="*/ 202 h 512"/>
              <a:gd name="T112" fmla="*/ 297 w 512"/>
              <a:gd name="T113" fmla="*/ 199 h 512"/>
              <a:gd name="T114" fmla="*/ 325 w 512"/>
              <a:gd name="T115" fmla="*/ 214 h 512"/>
              <a:gd name="T116" fmla="*/ 339 w 512"/>
              <a:gd name="T117" fmla="*/ 210 h 512"/>
              <a:gd name="T118" fmla="*/ 373 w 512"/>
              <a:gd name="T119" fmla="*/ 242 h 512"/>
              <a:gd name="T120" fmla="*/ 373 w 512"/>
              <a:gd name="T121" fmla="*/ 284 h 512"/>
              <a:gd name="T122" fmla="*/ 347 w 512"/>
              <a:gd name="T123"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65"/>
                </a:moveTo>
                <a:cubicBezTo>
                  <a:pt x="345" y="367"/>
                  <a:pt x="342" y="369"/>
                  <a:pt x="339" y="369"/>
                </a:cubicBezTo>
                <a:cubicBezTo>
                  <a:pt x="337" y="369"/>
                  <a:pt x="334" y="368"/>
                  <a:pt x="332" y="366"/>
                </a:cubicBezTo>
                <a:cubicBezTo>
                  <a:pt x="328" y="362"/>
                  <a:pt x="327" y="356"/>
                  <a:pt x="331" y="351"/>
                </a:cubicBezTo>
                <a:cubicBezTo>
                  <a:pt x="353" y="325"/>
                  <a:pt x="352" y="285"/>
                  <a:pt x="352" y="284"/>
                </a:cubicBezTo>
                <a:cubicBezTo>
                  <a:pt x="352" y="242"/>
                  <a:pt x="352" y="242"/>
                  <a:pt x="352" y="242"/>
                </a:cubicBezTo>
                <a:cubicBezTo>
                  <a:pt x="352" y="236"/>
                  <a:pt x="345" y="231"/>
                  <a:pt x="339" y="231"/>
                </a:cubicBezTo>
                <a:cubicBezTo>
                  <a:pt x="334" y="231"/>
                  <a:pt x="330" y="239"/>
                  <a:pt x="330" y="245"/>
                </a:cubicBezTo>
                <a:cubicBezTo>
                  <a:pt x="330" y="251"/>
                  <a:pt x="326" y="256"/>
                  <a:pt x="320" y="256"/>
                </a:cubicBezTo>
                <a:cubicBezTo>
                  <a:pt x="314" y="256"/>
                  <a:pt x="309" y="251"/>
                  <a:pt x="309" y="245"/>
                </a:cubicBezTo>
                <a:cubicBezTo>
                  <a:pt x="309" y="245"/>
                  <a:pt x="309" y="245"/>
                  <a:pt x="309" y="245"/>
                </a:cubicBezTo>
                <a:cubicBezTo>
                  <a:pt x="309" y="245"/>
                  <a:pt x="309" y="245"/>
                  <a:pt x="309" y="245"/>
                </a:cubicBezTo>
                <a:cubicBezTo>
                  <a:pt x="309" y="231"/>
                  <a:pt x="309" y="231"/>
                  <a:pt x="309" y="231"/>
                </a:cubicBezTo>
                <a:cubicBezTo>
                  <a:pt x="309" y="225"/>
                  <a:pt x="303" y="221"/>
                  <a:pt x="297" y="221"/>
                </a:cubicBezTo>
                <a:cubicBezTo>
                  <a:pt x="292" y="221"/>
                  <a:pt x="288" y="228"/>
                  <a:pt x="288" y="234"/>
                </a:cubicBezTo>
                <a:cubicBezTo>
                  <a:pt x="288" y="245"/>
                  <a:pt x="288" y="245"/>
                  <a:pt x="288" y="245"/>
                </a:cubicBezTo>
                <a:cubicBezTo>
                  <a:pt x="288" y="251"/>
                  <a:pt x="283" y="256"/>
                  <a:pt x="277" y="256"/>
                </a:cubicBezTo>
                <a:cubicBezTo>
                  <a:pt x="271" y="256"/>
                  <a:pt x="266" y="251"/>
                  <a:pt x="266" y="245"/>
                </a:cubicBezTo>
                <a:cubicBezTo>
                  <a:pt x="266" y="209"/>
                  <a:pt x="266" y="209"/>
                  <a:pt x="266" y="209"/>
                </a:cubicBezTo>
                <a:cubicBezTo>
                  <a:pt x="266" y="203"/>
                  <a:pt x="260" y="199"/>
                  <a:pt x="255" y="199"/>
                </a:cubicBezTo>
                <a:cubicBezTo>
                  <a:pt x="250" y="199"/>
                  <a:pt x="245" y="206"/>
                  <a:pt x="245" y="213"/>
                </a:cubicBezTo>
                <a:cubicBezTo>
                  <a:pt x="245" y="245"/>
                  <a:pt x="245" y="245"/>
                  <a:pt x="245" y="245"/>
                </a:cubicBezTo>
                <a:cubicBezTo>
                  <a:pt x="245" y="251"/>
                  <a:pt x="240" y="256"/>
                  <a:pt x="234" y="256"/>
                </a:cubicBezTo>
                <a:cubicBezTo>
                  <a:pt x="228" y="256"/>
                  <a:pt x="224" y="251"/>
                  <a:pt x="224" y="245"/>
                </a:cubicBezTo>
                <a:cubicBezTo>
                  <a:pt x="224" y="156"/>
                  <a:pt x="224" y="156"/>
                  <a:pt x="224" y="156"/>
                </a:cubicBezTo>
                <a:cubicBezTo>
                  <a:pt x="224" y="150"/>
                  <a:pt x="219" y="145"/>
                  <a:pt x="213" y="145"/>
                </a:cubicBezTo>
                <a:cubicBezTo>
                  <a:pt x="207" y="145"/>
                  <a:pt x="202" y="150"/>
                  <a:pt x="202" y="156"/>
                </a:cubicBezTo>
                <a:cubicBezTo>
                  <a:pt x="202" y="284"/>
                  <a:pt x="202" y="284"/>
                  <a:pt x="202" y="284"/>
                </a:cubicBezTo>
                <a:cubicBezTo>
                  <a:pt x="202" y="288"/>
                  <a:pt x="200" y="291"/>
                  <a:pt x="197" y="293"/>
                </a:cubicBezTo>
                <a:cubicBezTo>
                  <a:pt x="194" y="295"/>
                  <a:pt x="190" y="295"/>
                  <a:pt x="187" y="293"/>
                </a:cubicBezTo>
                <a:cubicBezTo>
                  <a:pt x="163" y="281"/>
                  <a:pt x="153" y="243"/>
                  <a:pt x="150" y="234"/>
                </a:cubicBezTo>
                <a:cubicBezTo>
                  <a:pt x="149" y="232"/>
                  <a:pt x="147" y="231"/>
                  <a:pt x="144" y="230"/>
                </a:cubicBezTo>
                <a:cubicBezTo>
                  <a:pt x="141" y="229"/>
                  <a:pt x="138" y="229"/>
                  <a:pt x="135" y="231"/>
                </a:cubicBezTo>
                <a:cubicBezTo>
                  <a:pt x="131" y="233"/>
                  <a:pt x="131" y="241"/>
                  <a:pt x="134" y="247"/>
                </a:cubicBezTo>
                <a:cubicBezTo>
                  <a:pt x="134" y="247"/>
                  <a:pt x="134" y="248"/>
                  <a:pt x="134" y="248"/>
                </a:cubicBezTo>
                <a:cubicBezTo>
                  <a:pt x="135" y="249"/>
                  <a:pt x="163" y="324"/>
                  <a:pt x="206" y="351"/>
                </a:cubicBezTo>
                <a:cubicBezTo>
                  <a:pt x="211" y="354"/>
                  <a:pt x="213" y="361"/>
                  <a:pt x="210" y="366"/>
                </a:cubicBezTo>
                <a:cubicBezTo>
                  <a:pt x="208" y="369"/>
                  <a:pt x="204" y="371"/>
                  <a:pt x="201" y="371"/>
                </a:cubicBezTo>
                <a:cubicBezTo>
                  <a:pt x="199" y="371"/>
                  <a:pt x="197" y="371"/>
                  <a:pt x="195" y="369"/>
                </a:cubicBezTo>
                <a:cubicBezTo>
                  <a:pt x="147" y="340"/>
                  <a:pt x="117" y="264"/>
                  <a:pt x="115" y="256"/>
                </a:cubicBezTo>
                <a:cubicBezTo>
                  <a:pt x="107" y="241"/>
                  <a:pt x="109" y="220"/>
                  <a:pt x="126" y="211"/>
                </a:cubicBezTo>
                <a:cubicBezTo>
                  <a:pt x="133" y="208"/>
                  <a:pt x="142" y="207"/>
                  <a:pt x="151" y="210"/>
                </a:cubicBezTo>
                <a:cubicBezTo>
                  <a:pt x="159" y="212"/>
                  <a:pt x="166" y="218"/>
                  <a:pt x="170" y="226"/>
                </a:cubicBezTo>
                <a:cubicBezTo>
                  <a:pt x="170" y="226"/>
                  <a:pt x="170" y="227"/>
                  <a:pt x="171" y="228"/>
                </a:cubicBezTo>
                <a:cubicBezTo>
                  <a:pt x="172" y="236"/>
                  <a:pt x="176" y="246"/>
                  <a:pt x="181" y="256"/>
                </a:cubicBezTo>
                <a:cubicBezTo>
                  <a:pt x="181" y="156"/>
                  <a:pt x="181" y="156"/>
                  <a:pt x="181" y="156"/>
                </a:cubicBezTo>
                <a:cubicBezTo>
                  <a:pt x="181" y="138"/>
                  <a:pt x="195" y="124"/>
                  <a:pt x="213" y="124"/>
                </a:cubicBezTo>
                <a:cubicBezTo>
                  <a:pt x="231" y="124"/>
                  <a:pt x="245" y="138"/>
                  <a:pt x="245" y="156"/>
                </a:cubicBezTo>
                <a:cubicBezTo>
                  <a:pt x="245" y="180"/>
                  <a:pt x="245" y="180"/>
                  <a:pt x="245" y="180"/>
                </a:cubicBezTo>
                <a:cubicBezTo>
                  <a:pt x="248" y="179"/>
                  <a:pt x="251" y="178"/>
                  <a:pt x="255" y="178"/>
                </a:cubicBezTo>
                <a:cubicBezTo>
                  <a:pt x="270" y="178"/>
                  <a:pt x="283" y="188"/>
                  <a:pt x="287" y="202"/>
                </a:cubicBezTo>
                <a:cubicBezTo>
                  <a:pt x="290" y="200"/>
                  <a:pt x="293" y="199"/>
                  <a:pt x="297" y="199"/>
                </a:cubicBezTo>
                <a:cubicBezTo>
                  <a:pt x="309" y="199"/>
                  <a:pt x="319" y="205"/>
                  <a:pt x="325" y="214"/>
                </a:cubicBezTo>
                <a:cubicBezTo>
                  <a:pt x="329" y="211"/>
                  <a:pt x="334" y="210"/>
                  <a:pt x="339" y="210"/>
                </a:cubicBezTo>
                <a:cubicBezTo>
                  <a:pt x="357" y="210"/>
                  <a:pt x="373" y="224"/>
                  <a:pt x="373" y="242"/>
                </a:cubicBezTo>
                <a:cubicBezTo>
                  <a:pt x="373" y="284"/>
                  <a:pt x="373" y="284"/>
                  <a:pt x="373" y="284"/>
                </a:cubicBezTo>
                <a:cubicBezTo>
                  <a:pt x="373" y="286"/>
                  <a:pt x="374" y="333"/>
                  <a:pt x="347" y="36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2" name="Group 183"/>
          <p:cNvGrpSpPr>
            <a:grpSpLocks noChangeAspect="1"/>
          </p:cNvGrpSpPr>
          <p:nvPr/>
        </p:nvGrpSpPr>
        <p:grpSpPr bwMode="auto">
          <a:xfrm>
            <a:off x="4179785" y="2533203"/>
            <a:ext cx="367041" cy="367041"/>
            <a:chOff x="5593" y="1515"/>
            <a:chExt cx="340" cy="340"/>
          </a:xfrm>
          <a:solidFill>
            <a:schemeClr val="accent2"/>
          </a:solidFill>
        </p:grpSpPr>
        <p:sp>
          <p:nvSpPr>
            <p:cNvPr id="303" name="Freeform 302"/>
            <p:cNvSpPr>
              <a:spLocks noEditPoints="1"/>
            </p:cNvSpPr>
            <p:nvPr/>
          </p:nvSpPr>
          <p:spPr bwMode="auto">
            <a:xfrm>
              <a:off x="5593" y="15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303"/>
            <p:cNvSpPr>
              <a:spLocks/>
            </p:cNvSpPr>
            <p:nvPr/>
          </p:nvSpPr>
          <p:spPr bwMode="auto">
            <a:xfrm>
              <a:off x="5664" y="1597"/>
              <a:ext cx="177" cy="164"/>
            </a:xfrm>
            <a:custGeom>
              <a:avLst/>
              <a:gdLst>
                <a:gd name="T0" fmla="*/ 240 w 267"/>
                <a:gd name="T1" fmla="*/ 241 h 247"/>
                <a:gd name="T2" fmla="*/ 232 w 267"/>
                <a:gd name="T3" fmla="*/ 245 h 247"/>
                <a:gd name="T4" fmla="*/ 225 w 267"/>
                <a:gd name="T5" fmla="*/ 242 h 247"/>
                <a:gd name="T6" fmla="*/ 224 w 267"/>
                <a:gd name="T7" fmla="*/ 227 h 247"/>
                <a:gd name="T8" fmla="*/ 245 w 267"/>
                <a:gd name="T9" fmla="*/ 160 h 247"/>
                <a:gd name="T10" fmla="*/ 245 w 267"/>
                <a:gd name="T11" fmla="*/ 118 h 247"/>
                <a:gd name="T12" fmla="*/ 232 w 267"/>
                <a:gd name="T13" fmla="*/ 107 h 247"/>
                <a:gd name="T14" fmla="*/ 223 w 267"/>
                <a:gd name="T15" fmla="*/ 121 h 247"/>
                <a:gd name="T16" fmla="*/ 213 w 267"/>
                <a:gd name="T17" fmla="*/ 132 h 247"/>
                <a:gd name="T18" fmla="*/ 202 w 267"/>
                <a:gd name="T19" fmla="*/ 121 h 247"/>
                <a:gd name="T20" fmla="*/ 202 w 267"/>
                <a:gd name="T21" fmla="*/ 121 h 247"/>
                <a:gd name="T22" fmla="*/ 202 w 267"/>
                <a:gd name="T23" fmla="*/ 121 h 247"/>
                <a:gd name="T24" fmla="*/ 202 w 267"/>
                <a:gd name="T25" fmla="*/ 107 h 247"/>
                <a:gd name="T26" fmla="*/ 190 w 267"/>
                <a:gd name="T27" fmla="*/ 97 h 247"/>
                <a:gd name="T28" fmla="*/ 181 w 267"/>
                <a:gd name="T29" fmla="*/ 110 h 247"/>
                <a:gd name="T30" fmla="*/ 181 w 267"/>
                <a:gd name="T31" fmla="*/ 121 h 247"/>
                <a:gd name="T32" fmla="*/ 170 w 267"/>
                <a:gd name="T33" fmla="*/ 132 h 247"/>
                <a:gd name="T34" fmla="*/ 159 w 267"/>
                <a:gd name="T35" fmla="*/ 121 h 247"/>
                <a:gd name="T36" fmla="*/ 159 w 267"/>
                <a:gd name="T37" fmla="*/ 85 h 247"/>
                <a:gd name="T38" fmla="*/ 148 w 267"/>
                <a:gd name="T39" fmla="*/ 75 h 247"/>
                <a:gd name="T40" fmla="*/ 138 w 267"/>
                <a:gd name="T41" fmla="*/ 89 h 247"/>
                <a:gd name="T42" fmla="*/ 138 w 267"/>
                <a:gd name="T43" fmla="*/ 121 h 247"/>
                <a:gd name="T44" fmla="*/ 127 w 267"/>
                <a:gd name="T45" fmla="*/ 132 h 247"/>
                <a:gd name="T46" fmla="*/ 117 w 267"/>
                <a:gd name="T47" fmla="*/ 121 h 247"/>
                <a:gd name="T48" fmla="*/ 117 w 267"/>
                <a:gd name="T49" fmla="*/ 32 h 247"/>
                <a:gd name="T50" fmla="*/ 106 w 267"/>
                <a:gd name="T51" fmla="*/ 21 h 247"/>
                <a:gd name="T52" fmla="*/ 95 w 267"/>
                <a:gd name="T53" fmla="*/ 32 h 247"/>
                <a:gd name="T54" fmla="*/ 95 w 267"/>
                <a:gd name="T55" fmla="*/ 160 h 247"/>
                <a:gd name="T56" fmla="*/ 90 w 267"/>
                <a:gd name="T57" fmla="*/ 169 h 247"/>
                <a:gd name="T58" fmla="*/ 80 w 267"/>
                <a:gd name="T59" fmla="*/ 169 h 247"/>
                <a:gd name="T60" fmla="*/ 43 w 267"/>
                <a:gd name="T61" fmla="*/ 110 h 247"/>
                <a:gd name="T62" fmla="*/ 37 w 267"/>
                <a:gd name="T63" fmla="*/ 106 h 247"/>
                <a:gd name="T64" fmla="*/ 28 w 267"/>
                <a:gd name="T65" fmla="*/ 107 h 247"/>
                <a:gd name="T66" fmla="*/ 27 w 267"/>
                <a:gd name="T67" fmla="*/ 123 h 247"/>
                <a:gd name="T68" fmla="*/ 27 w 267"/>
                <a:gd name="T69" fmla="*/ 124 h 247"/>
                <a:gd name="T70" fmla="*/ 99 w 267"/>
                <a:gd name="T71" fmla="*/ 227 h 247"/>
                <a:gd name="T72" fmla="*/ 103 w 267"/>
                <a:gd name="T73" fmla="*/ 242 h 247"/>
                <a:gd name="T74" fmla="*/ 94 w 267"/>
                <a:gd name="T75" fmla="*/ 247 h 247"/>
                <a:gd name="T76" fmla="*/ 88 w 267"/>
                <a:gd name="T77" fmla="*/ 245 h 247"/>
                <a:gd name="T78" fmla="*/ 8 w 267"/>
                <a:gd name="T79" fmla="*/ 132 h 247"/>
                <a:gd name="T80" fmla="*/ 19 w 267"/>
                <a:gd name="T81" fmla="*/ 87 h 247"/>
                <a:gd name="T82" fmla="*/ 44 w 267"/>
                <a:gd name="T83" fmla="*/ 86 h 247"/>
                <a:gd name="T84" fmla="*/ 63 w 267"/>
                <a:gd name="T85" fmla="*/ 102 h 247"/>
                <a:gd name="T86" fmla="*/ 64 w 267"/>
                <a:gd name="T87" fmla="*/ 104 h 247"/>
                <a:gd name="T88" fmla="*/ 74 w 267"/>
                <a:gd name="T89" fmla="*/ 132 h 247"/>
                <a:gd name="T90" fmla="*/ 74 w 267"/>
                <a:gd name="T91" fmla="*/ 32 h 247"/>
                <a:gd name="T92" fmla="*/ 106 w 267"/>
                <a:gd name="T93" fmla="*/ 0 h 247"/>
                <a:gd name="T94" fmla="*/ 138 w 267"/>
                <a:gd name="T95" fmla="*/ 32 h 247"/>
                <a:gd name="T96" fmla="*/ 138 w 267"/>
                <a:gd name="T97" fmla="*/ 56 h 247"/>
                <a:gd name="T98" fmla="*/ 148 w 267"/>
                <a:gd name="T99" fmla="*/ 54 h 247"/>
                <a:gd name="T100" fmla="*/ 180 w 267"/>
                <a:gd name="T101" fmla="*/ 78 h 247"/>
                <a:gd name="T102" fmla="*/ 190 w 267"/>
                <a:gd name="T103" fmla="*/ 75 h 247"/>
                <a:gd name="T104" fmla="*/ 218 w 267"/>
                <a:gd name="T105" fmla="*/ 90 h 247"/>
                <a:gd name="T106" fmla="*/ 232 w 267"/>
                <a:gd name="T107" fmla="*/ 86 h 247"/>
                <a:gd name="T108" fmla="*/ 266 w 267"/>
                <a:gd name="T109" fmla="*/ 118 h 247"/>
                <a:gd name="T110" fmla="*/ 266 w 267"/>
                <a:gd name="T111" fmla="*/ 160 h 247"/>
                <a:gd name="T112" fmla="*/ 240 w 267"/>
                <a:gd name="T113"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247">
                  <a:moveTo>
                    <a:pt x="240" y="241"/>
                  </a:moveTo>
                  <a:cubicBezTo>
                    <a:pt x="238" y="243"/>
                    <a:pt x="235" y="245"/>
                    <a:pt x="232" y="245"/>
                  </a:cubicBezTo>
                  <a:cubicBezTo>
                    <a:pt x="230" y="245"/>
                    <a:pt x="227" y="244"/>
                    <a:pt x="225" y="242"/>
                  </a:cubicBezTo>
                  <a:cubicBezTo>
                    <a:pt x="221" y="238"/>
                    <a:pt x="220" y="232"/>
                    <a:pt x="224" y="227"/>
                  </a:cubicBezTo>
                  <a:cubicBezTo>
                    <a:pt x="246" y="201"/>
                    <a:pt x="245" y="161"/>
                    <a:pt x="245" y="160"/>
                  </a:cubicBezTo>
                  <a:cubicBezTo>
                    <a:pt x="245" y="118"/>
                    <a:pt x="245" y="118"/>
                    <a:pt x="245" y="118"/>
                  </a:cubicBezTo>
                  <a:cubicBezTo>
                    <a:pt x="245" y="112"/>
                    <a:pt x="238" y="107"/>
                    <a:pt x="232" y="107"/>
                  </a:cubicBezTo>
                  <a:cubicBezTo>
                    <a:pt x="227" y="107"/>
                    <a:pt x="223" y="115"/>
                    <a:pt x="223" y="121"/>
                  </a:cubicBezTo>
                  <a:cubicBezTo>
                    <a:pt x="223" y="127"/>
                    <a:pt x="219" y="132"/>
                    <a:pt x="213" y="132"/>
                  </a:cubicBezTo>
                  <a:cubicBezTo>
                    <a:pt x="207" y="132"/>
                    <a:pt x="202" y="127"/>
                    <a:pt x="202" y="121"/>
                  </a:cubicBezTo>
                  <a:cubicBezTo>
                    <a:pt x="202" y="121"/>
                    <a:pt x="202" y="121"/>
                    <a:pt x="202" y="121"/>
                  </a:cubicBezTo>
                  <a:cubicBezTo>
                    <a:pt x="202" y="121"/>
                    <a:pt x="202" y="121"/>
                    <a:pt x="202" y="121"/>
                  </a:cubicBezTo>
                  <a:cubicBezTo>
                    <a:pt x="202" y="107"/>
                    <a:pt x="202" y="107"/>
                    <a:pt x="202" y="107"/>
                  </a:cubicBezTo>
                  <a:cubicBezTo>
                    <a:pt x="202" y="101"/>
                    <a:pt x="196" y="97"/>
                    <a:pt x="190" y="97"/>
                  </a:cubicBezTo>
                  <a:cubicBezTo>
                    <a:pt x="185" y="97"/>
                    <a:pt x="181" y="104"/>
                    <a:pt x="181" y="110"/>
                  </a:cubicBezTo>
                  <a:cubicBezTo>
                    <a:pt x="181" y="121"/>
                    <a:pt x="181" y="121"/>
                    <a:pt x="181" y="121"/>
                  </a:cubicBezTo>
                  <a:cubicBezTo>
                    <a:pt x="181" y="127"/>
                    <a:pt x="176" y="132"/>
                    <a:pt x="170" y="132"/>
                  </a:cubicBezTo>
                  <a:cubicBezTo>
                    <a:pt x="164" y="132"/>
                    <a:pt x="159" y="127"/>
                    <a:pt x="159" y="121"/>
                  </a:cubicBezTo>
                  <a:cubicBezTo>
                    <a:pt x="159" y="85"/>
                    <a:pt x="159" y="85"/>
                    <a:pt x="159" y="85"/>
                  </a:cubicBezTo>
                  <a:cubicBezTo>
                    <a:pt x="159" y="79"/>
                    <a:pt x="153" y="75"/>
                    <a:pt x="148" y="75"/>
                  </a:cubicBezTo>
                  <a:cubicBezTo>
                    <a:pt x="143" y="75"/>
                    <a:pt x="138" y="82"/>
                    <a:pt x="138" y="89"/>
                  </a:cubicBezTo>
                  <a:cubicBezTo>
                    <a:pt x="138" y="121"/>
                    <a:pt x="138" y="121"/>
                    <a:pt x="138" y="121"/>
                  </a:cubicBezTo>
                  <a:cubicBezTo>
                    <a:pt x="138" y="127"/>
                    <a:pt x="133" y="132"/>
                    <a:pt x="127" y="132"/>
                  </a:cubicBezTo>
                  <a:cubicBezTo>
                    <a:pt x="121" y="132"/>
                    <a:pt x="117" y="127"/>
                    <a:pt x="117" y="121"/>
                  </a:cubicBezTo>
                  <a:cubicBezTo>
                    <a:pt x="117" y="32"/>
                    <a:pt x="117" y="32"/>
                    <a:pt x="117" y="32"/>
                  </a:cubicBezTo>
                  <a:cubicBezTo>
                    <a:pt x="117" y="26"/>
                    <a:pt x="112" y="21"/>
                    <a:pt x="106" y="21"/>
                  </a:cubicBezTo>
                  <a:cubicBezTo>
                    <a:pt x="100" y="21"/>
                    <a:pt x="95" y="26"/>
                    <a:pt x="95" y="32"/>
                  </a:cubicBezTo>
                  <a:cubicBezTo>
                    <a:pt x="95" y="160"/>
                    <a:pt x="95" y="160"/>
                    <a:pt x="95" y="160"/>
                  </a:cubicBezTo>
                  <a:cubicBezTo>
                    <a:pt x="95" y="164"/>
                    <a:pt x="93" y="167"/>
                    <a:pt x="90" y="169"/>
                  </a:cubicBezTo>
                  <a:cubicBezTo>
                    <a:pt x="87" y="171"/>
                    <a:pt x="83" y="171"/>
                    <a:pt x="80" y="169"/>
                  </a:cubicBezTo>
                  <a:cubicBezTo>
                    <a:pt x="56" y="157"/>
                    <a:pt x="46" y="119"/>
                    <a:pt x="43" y="110"/>
                  </a:cubicBezTo>
                  <a:cubicBezTo>
                    <a:pt x="42" y="108"/>
                    <a:pt x="40" y="107"/>
                    <a:pt x="37" y="106"/>
                  </a:cubicBezTo>
                  <a:cubicBezTo>
                    <a:pt x="34" y="105"/>
                    <a:pt x="31" y="105"/>
                    <a:pt x="28" y="107"/>
                  </a:cubicBezTo>
                  <a:cubicBezTo>
                    <a:pt x="24" y="109"/>
                    <a:pt x="24" y="117"/>
                    <a:pt x="27" y="123"/>
                  </a:cubicBezTo>
                  <a:cubicBezTo>
                    <a:pt x="27" y="123"/>
                    <a:pt x="27" y="124"/>
                    <a:pt x="27" y="124"/>
                  </a:cubicBezTo>
                  <a:cubicBezTo>
                    <a:pt x="28" y="125"/>
                    <a:pt x="56" y="200"/>
                    <a:pt x="99" y="227"/>
                  </a:cubicBezTo>
                  <a:cubicBezTo>
                    <a:pt x="104" y="230"/>
                    <a:pt x="106" y="237"/>
                    <a:pt x="103" y="242"/>
                  </a:cubicBezTo>
                  <a:cubicBezTo>
                    <a:pt x="101" y="245"/>
                    <a:pt x="97" y="247"/>
                    <a:pt x="94" y="247"/>
                  </a:cubicBezTo>
                  <a:cubicBezTo>
                    <a:pt x="92" y="247"/>
                    <a:pt x="90" y="247"/>
                    <a:pt x="88" y="245"/>
                  </a:cubicBezTo>
                  <a:cubicBezTo>
                    <a:pt x="40" y="216"/>
                    <a:pt x="10" y="140"/>
                    <a:pt x="8" y="132"/>
                  </a:cubicBezTo>
                  <a:cubicBezTo>
                    <a:pt x="0" y="117"/>
                    <a:pt x="2" y="96"/>
                    <a:pt x="19" y="87"/>
                  </a:cubicBezTo>
                  <a:cubicBezTo>
                    <a:pt x="26" y="84"/>
                    <a:pt x="35" y="83"/>
                    <a:pt x="44" y="86"/>
                  </a:cubicBezTo>
                  <a:cubicBezTo>
                    <a:pt x="52" y="88"/>
                    <a:pt x="59" y="94"/>
                    <a:pt x="63" y="102"/>
                  </a:cubicBezTo>
                  <a:cubicBezTo>
                    <a:pt x="63" y="102"/>
                    <a:pt x="63" y="103"/>
                    <a:pt x="64" y="104"/>
                  </a:cubicBezTo>
                  <a:cubicBezTo>
                    <a:pt x="65" y="112"/>
                    <a:pt x="69" y="122"/>
                    <a:pt x="74" y="132"/>
                  </a:cubicBezTo>
                  <a:cubicBezTo>
                    <a:pt x="74" y="32"/>
                    <a:pt x="74" y="32"/>
                    <a:pt x="74" y="32"/>
                  </a:cubicBezTo>
                  <a:cubicBezTo>
                    <a:pt x="74" y="14"/>
                    <a:pt x="88" y="0"/>
                    <a:pt x="106" y="0"/>
                  </a:cubicBezTo>
                  <a:cubicBezTo>
                    <a:pt x="124" y="0"/>
                    <a:pt x="138" y="14"/>
                    <a:pt x="138" y="32"/>
                  </a:cubicBezTo>
                  <a:cubicBezTo>
                    <a:pt x="138" y="56"/>
                    <a:pt x="138" y="56"/>
                    <a:pt x="138" y="56"/>
                  </a:cubicBezTo>
                  <a:cubicBezTo>
                    <a:pt x="141" y="55"/>
                    <a:pt x="144" y="54"/>
                    <a:pt x="148" y="54"/>
                  </a:cubicBezTo>
                  <a:cubicBezTo>
                    <a:pt x="163" y="54"/>
                    <a:pt x="176" y="64"/>
                    <a:pt x="180" y="78"/>
                  </a:cubicBezTo>
                  <a:cubicBezTo>
                    <a:pt x="183" y="76"/>
                    <a:pt x="186" y="75"/>
                    <a:pt x="190" y="75"/>
                  </a:cubicBezTo>
                  <a:cubicBezTo>
                    <a:pt x="202" y="75"/>
                    <a:pt x="212" y="81"/>
                    <a:pt x="218" y="90"/>
                  </a:cubicBezTo>
                  <a:cubicBezTo>
                    <a:pt x="222" y="87"/>
                    <a:pt x="227" y="86"/>
                    <a:pt x="232" y="86"/>
                  </a:cubicBezTo>
                  <a:cubicBezTo>
                    <a:pt x="250" y="86"/>
                    <a:pt x="266" y="100"/>
                    <a:pt x="266" y="118"/>
                  </a:cubicBezTo>
                  <a:cubicBezTo>
                    <a:pt x="266" y="160"/>
                    <a:pt x="266" y="160"/>
                    <a:pt x="266" y="160"/>
                  </a:cubicBezTo>
                  <a:cubicBezTo>
                    <a:pt x="266" y="162"/>
                    <a:pt x="267" y="209"/>
                    <a:pt x="240" y="2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986"/>
          <p:cNvSpPr>
            <a:spLocks noChangeAspect="1" noEditPoints="1"/>
          </p:cNvSpPr>
          <p:nvPr/>
        </p:nvSpPr>
        <p:spPr bwMode="auto">
          <a:xfrm>
            <a:off x="406400" y="3374131"/>
            <a:ext cx="367631" cy="36763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6" name="Group 989"/>
          <p:cNvGrpSpPr>
            <a:grpSpLocks noChangeAspect="1"/>
          </p:cNvGrpSpPr>
          <p:nvPr/>
        </p:nvGrpSpPr>
        <p:grpSpPr bwMode="auto">
          <a:xfrm>
            <a:off x="827519" y="3374131"/>
            <a:ext cx="367631" cy="367631"/>
            <a:chOff x="2394" y="4156"/>
            <a:chExt cx="340" cy="340"/>
          </a:xfrm>
          <a:solidFill>
            <a:schemeClr val="accent5"/>
          </a:solidFill>
        </p:grpSpPr>
        <p:sp>
          <p:nvSpPr>
            <p:cNvPr id="307" name="Line 990"/>
            <p:cNvSpPr>
              <a:spLocks noChangeShapeType="1"/>
            </p:cNvSpPr>
            <p:nvPr/>
          </p:nvSpPr>
          <p:spPr bwMode="auto">
            <a:xfrm>
              <a:off x="2528" y="441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308" name="Freeform 991"/>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992"/>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0" name="Freeform 996"/>
          <p:cNvSpPr>
            <a:spLocks noChangeAspect="1" noEditPoints="1"/>
          </p:cNvSpPr>
          <p:nvPr/>
        </p:nvSpPr>
        <p:spPr bwMode="auto">
          <a:xfrm>
            <a:off x="1248638" y="3374131"/>
            <a:ext cx="367631" cy="367631"/>
          </a:xfrm>
          <a:custGeom>
            <a:avLst/>
            <a:gdLst>
              <a:gd name="T0" fmla="*/ 277 w 512"/>
              <a:gd name="T1" fmla="*/ 165 h 512"/>
              <a:gd name="T2" fmla="*/ 373 w 512"/>
              <a:gd name="T3" fmla="*/ 165 h 512"/>
              <a:gd name="T4" fmla="*/ 341 w 512"/>
              <a:gd name="T5" fmla="*/ 181 h 512"/>
              <a:gd name="T6" fmla="*/ 309 w 512"/>
              <a:gd name="T7" fmla="*/ 170 h 512"/>
              <a:gd name="T8" fmla="*/ 320 w 512"/>
              <a:gd name="T9" fmla="*/ 138 h 512"/>
              <a:gd name="T10" fmla="*/ 330 w 512"/>
              <a:gd name="T11" fmla="*/ 160 h 512"/>
              <a:gd name="T12" fmla="*/ 352 w 512"/>
              <a:gd name="T13" fmla="*/ 170 h 512"/>
              <a:gd name="T14" fmla="*/ 256 w 512"/>
              <a:gd name="T15" fmla="*/ 0 h 512"/>
              <a:gd name="T16" fmla="*/ 256 w 512"/>
              <a:gd name="T17" fmla="*/ 512 h 512"/>
              <a:gd name="T18" fmla="*/ 256 w 512"/>
              <a:gd name="T19" fmla="*/ 0 h 512"/>
              <a:gd name="T20" fmla="*/ 330 w 512"/>
              <a:gd name="T21" fmla="*/ 416 h 512"/>
              <a:gd name="T22" fmla="*/ 322 w 512"/>
              <a:gd name="T23" fmla="*/ 398 h 512"/>
              <a:gd name="T24" fmla="*/ 340 w 512"/>
              <a:gd name="T25" fmla="*/ 288 h 512"/>
              <a:gd name="T26" fmla="*/ 320 w 512"/>
              <a:gd name="T27" fmla="*/ 286 h 512"/>
              <a:gd name="T28" fmla="*/ 309 w 512"/>
              <a:gd name="T29" fmla="*/ 298 h 512"/>
              <a:gd name="T30" fmla="*/ 309 w 512"/>
              <a:gd name="T31" fmla="*/ 298 h 512"/>
              <a:gd name="T32" fmla="*/ 298 w 512"/>
              <a:gd name="T33" fmla="*/ 277 h 512"/>
              <a:gd name="T34" fmla="*/ 277 w 512"/>
              <a:gd name="T35" fmla="*/ 277 h 512"/>
              <a:gd name="T36" fmla="*/ 266 w 512"/>
              <a:gd name="T37" fmla="*/ 298 h 512"/>
              <a:gd name="T38" fmla="*/ 256 w 512"/>
              <a:gd name="T39" fmla="*/ 256 h 512"/>
              <a:gd name="T40" fmla="*/ 234 w 512"/>
              <a:gd name="T41" fmla="*/ 256 h 512"/>
              <a:gd name="T42" fmla="*/ 224 w 512"/>
              <a:gd name="T43" fmla="*/ 298 h 512"/>
              <a:gd name="T44" fmla="*/ 213 w 512"/>
              <a:gd name="T45" fmla="*/ 202 h 512"/>
              <a:gd name="T46" fmla="*/ 192 w 512"/>
              <a:gd name="T47" fmla="*/ 202 h 512"/>
              <a:gd name="T48" fmla="*/ 185 w 512"/>
              <a:gd name="T49" fmla="*/ 340 h 512"/>
              <a:gd name="T50" fmla="*/ 142 w 512"/>
              <a:gd name="T51" fmla="*/ 281 h 512"/>
              <a:gd name="T52" fmla="*/ 128 w 512"/>
              <a:gd name="T53" fmla="*/ 277 h 512"/>
              <a:gd name="T54" fmla="*/ 127 w 512"/>
              <a:gd name="T55" fmla="*/ 295 h 512"/>
              <a:gd name="T56" fmla="*/ 201 w 512"/>
              <a:gd name="T57" fmla="*/ 411 h 512"/>
              <a:gd name="T58" fmla="*/ 186 w 512"/>
              <a:gd name="T59" fmla="*/ 414 h 512"/>
              <a:gd name="T60" fmla="*/ 118 w 512"/>
              <a:gd name="T61" fmla="*/ 258 h 512"/>
              <a:gd name="T62" fmla="*/ 161 w 512"/>
              <a:gd name="T63" fmla="*/ 272 h 512"/>
              <a:gd name="T64" fmla="*/ 170 w 512"/>
              <a:gd name="T65" fmla="*/ 202 h 512"/>
              <a:gd name="T66" fmla="*/ 234 w 512"/>
              <a:gd name="T67" fmla="*/ 202 h 512"/>
              <a:gd name="T68" fmla="*/ 245 w 512"/>
              <a:gd name="T69" fmla="*/ 224 h 512"/>
              <a:gd name="T70" fmla="*/ 288 w 512"/>
              <a:gd name="T71" fmla="*/ 245 h 512"/>
              <a:gd name="T72" fmla="*/ 330 w 512"/>
              <a:gd name="T73" fmla="*/ 256 h 512"/>
              <a:gd name="T74" fmla="*/ 362 w 512"/>
              <a:gd name="T75" fmla="*/ 330 h 512"/>
              <a:gd name="T76" fmla="*/ 325 w 512"/>
              <a:gd name="T77" fmla="*/ 234 h 512"/>
              <a:gd name="T78" fmla="*/ 325 w 512"/>
              <a:gd name="T79" fmla="*/ 96 h 512"/>
              <a:gd name="T80" fmla="*/ 325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25" y="117"/>
                </a:moveTo>
                <a:cubicBezTo>
                  <a:pt x="299" y="117"/>
                  <a:pt x="277" y="139"/>
                  <a:pt x="277" y="165"/>
                </a:cubicBezTo>
                <a:cubicBezTo>
                  <a:pt x="277" y="191"/>
                  <a:pt x="299" y="213"/>
                  <a:pt x="325" y="213"/>
                </a:cubicBezTo>
                <a:cubicBezTo>
                  <a:pt x="351" y="213"/>
                  <a:pt x="373" y="191"/>
                  <a:pt x="373" y="165"/>
                </a:cubicBezTo>
                <a:cubicBezTo>
                  <a:pt x="373" y="139"/>
                  <a:pt x="351" y="117"/>
                  <a:pt x="325" y="117"/>
                </a:cubicBezTo>
                <a:close/>
                <a:moveTo>
                  <a:pt x="341" y="181"/>
                </a:moveTo>
                <a:cubicBezTo>
                  <a:pt x="320" y="181"/>
                  <a:pt x="320" y="181"/>
                  <a:pt x="320" y="181"/>
                </a:cubicBezTo>
                <a:cubicBezTo>
                  <a:pt x="314" y="181"/>
                  <a:pt x="309" y="176"/>
                  <a:pt x="309" y="170"/>
                </a:cubicBezTo>
                <a:cubicBezTo>
                  <a:pt x="309" y="149"/>
                  <a:pt x="309" y="149"/>
                  <a:pt x="309" y="149"/>
                </a:cubicBezTo>
                <a:cubicBezTo>
                  <a:pt x="309" y="143"/>
                  <a:pt x="314" y="138"/>
                  <a:pt x="320" y="138"/>
                </a:cubicBezTo>
                <a:cubicBezTo>
                  <a:pt x="326" y="138"/>
                  <a:pt x="330" y="143"/>
                  <a:pt x="330" y="149"/>
                </a:cubicBezTo>
                <a:cubicBezTo>
                  <a:pt x="330" y="160"/>
                  <a:pt x="330" y="160"/>
                  <a:pt x="330" y="160"/>
                </a:cubicBezTo>
                <a:cubicBezTo>
                  <a:pt x="341" y="160"/>
                  <a:pt x="341" y="160"/>
                  <a:pt x="341" y="160"/>
                </a:cubicBezTo>
                <a:cubicBezTo>
                  <a:pt x="347" y="160"/>
                  <a:pt x="352" y="164"/>
                  <a:pt x="352" y="170"/>
                </a:cubicBezTo>
                <a:cubicBezTo>
                  <a:pt x="352" y="176"/>
                  <a:pt x="347" y="181"/>
                  <a:pt x="341"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8" y="412"/>
                </a:moveTo>
                <a:cubicBezTo>
                  <a:pt x="336" y="414"/>
                  <a:pt x="333" y="416"/>
                  <a:pt x="330" y="416"/>
                </a:cubicBezTo>
                <a:cubicBezTo>
                  <a:pt x="327" y="416"/>
                  <a:pt x="325" y="415"/>
                  <a:pt x="323" y="413"/>
                </a:cubicBezTo>
                <a:cubicBezTo>
                  <a:pt x="319" y="409"/>
                  <a:pt x="318" y="403"/>
                  <a:pt x="322" y="398"/>
                </a:cubicBezTo>
                <a:cubicBezTo>
                  <a:pt x="343" y="373"/>
                  <a:pt x="340" y="332"/>
                  <a:pt x="340" y="331"/>
                </a:cubicBezTo>
                <a:cubicBezTo>
                  <a:pt x="340" y="288"/>
                  <a:pt x="340" y="288"/>
                  <a:pt x="340" y="288"/>
                </a:cubicBezTo>
                <a:cubicBezTo>
                  <a:pt x="340" y="282"/>
                  <a:pt x="336" y="277"/>
                  <a:pt x="330" y="277"/>
                </a:cubicBezTo>
                <a:cubicBezTo>
                  <a:pt x="325" y="277"/>
                  <a:pt x="320" y="281"/>
                  <a:pt x="320" y="286"/>
                </a:cubicBezTo>
                <a:cubicBezTo>
                  <a:pt x="320" y="288"/>
                  <a:pt x="320" y="288"/>
                  <a:pt x="320" y="288"/>
                </a:cubicBezTo>
                <a:cubicBezTo>
                  <a:pt x="320" y="294"/>
                  <a:pt x="315" y="298"/>
                  <a:pt x="309" y="298"/>
                </a:cubicBezTo>
                <a:cubicBezTo>
                  <a:pt x="309" y="298"/>
                  <a:pt x="309" y="298"/>
                  <a:pt x="309" y="298"/>
                </a:cubicBezTo>
                <a:cubicBezTo>
                  <a:pt x="309" y="298"/>
                  <a:pt x="309" y="298"/>
                  <a:pt x="309" y="298"/>
                </a:cubicBezTo>
                <a:cubicBezTo>
                  <a:pt x="303" y="298"/>
                  <a:pt x="298" y="294"/>
                  <a:pt x="298" y="288"/>
                </a:cubicBezTo>
                <a:cubicBezTo>
                  <a:pt x="298" y="277"/>
                  <a:pt x="298" y="277"/>
                  <a:pt x="298" y="277"/>
                </a:cubicBezTo>
                <a:cubicBezTo>
                  <a:pt x="298" y="271"/>
                  <a:pt x="294" y="266"/>
                  <a:pt x="288" y="266"/>
                </a:cubicBezTo>
                <a:cubicBezTo>
                  <a:pt x="282" y="266"/>
                  <a:pt x="277" y="271"/>
                  <a:pt x="277" y="277"/>
                </a:cubicBezTo>
                <a:cubicBezTo>
                  <a:pt x="277" y="288"/>
                  <a:pt x="277" y="288"/>
                  <a:pt x="277" y="288"/>
                </a:cubicBezTo>
                <a:cubicBezTo>
                  <a:pt x="277" y="294"/>
                  <a:pt x="272" y="298"/>
                  <a:pt x="266" y="298"/>
                </a:cubicBezTo>
                <a:cubicBezTo>
                  <a:pt x="260" y="298"/>
                  <a:pt x="256" y="294"/>
                  <a:pt x="256" y="288"/>
                </a:cubicBezTo>
                <a:cubicBezTo>
                  <a:pt x="256" y="256"/>
                  <a:pt x="256" y="256"/>
                  <a:pt x="256" y="256"/>
                </a:cubicBezTo>
                <a:cubicBezTo>
                  <a:pt x="256" y="250"/>
                  <a:pt x="251" y="245"/>
                  <a:pt x="245" y="245"/>
                </a:cubicBezTo>
                <a:cubicBezTo>
                  <a:pt x="239" y="245"/>
                  <a:pt x="234" y="250"/>
                  <a:pt x="234" y="256"/>
                </a:cubicBezTo>
                <a:cubicBezTo>
                  <a:pt x="234" y="288"/>
                  <a:pt x="234" y="288"/>
                  <a:pt x="234" y="288"/>
                </a:cubicBezTo>
                <a:cubicBezTo>
                  <a:pt x="234" y="294"/>
                  <a:pt x="230" y="298"/>
                  <a:pt x="224" y="298"/>
                </a:cubicBezTo>
                <a:cubicBezTo>
                  <a:pt x="218" y="298"/>
                  <a:pt x="213" y="294"/>
                  <a:pt x="213" y="288"/>
                </a:cubicBezTo>
                <a:cubicBezTo>
                  <a:pt x="213" y="202"/>
                  <a:pt x="213" y="202"/>
                  <a:pt x="213" y="202"/>
                </a:cubicBezTo>
                <a:cubicBezTo>
                  <a:pt x="213" y="196"/>
                  <a:pt x="208" y="192"/>
                  <a:pt x="202" y="192"/>
                </a:cubicBezTo>
                <a:cubicBezTo>
                  <a:pt x="196" y="192"/>
                  <a:pt x="192" y="196"/>
                  <a:pt x="192" y="202"/>
                </a:cubicBezTo>
                <a:cubicBezTo>
                  <a:pt x="192" y="330"/>
                  <a:pt x="192" y="330"/>
                  <a:pt x="192" y="330"/>
                </a:cubicBezTo>
                <a:cubicBezTo>
                  <a:pt x="192" y="335"/>
                  <a:pt x="189" y="338"/>
                  <a:pt x="185" y="340"/>
                </a:cubicBezTo>
                <a:cubicBezTo>
                  <a:pt x="182" y="342"/>
                  <a:pt x="177" y="341"/>
                  <a:pt x="174" y="338"/>
                </a:cubicBezTo>
                <a:cubicBezTo>
                  <a:pt x="160" y="326"/>
                  <a:pt x="145" y="288"/>
                  <a:pt x="142" y="281"/>
                </a:cubicBezTo>
                <a:cubicBezTo>
                  <a:pt x="141" y="279"/>
                  <a:pt x="139" y="277"/>
                  <a:pt x="136" y="276"/>
                </a:cubicBezTo>
                <a:cubicBezTo>
                  <a:pt x="133" y="276"/>
                  <a:pt x="130" y="276"/>
                  <a:pt x="128" y="277"/>
                </a:cubicBezTo>
                <a:cubicBezTo>
                  <a:pt x="123" y="279"/>
                  <a:pt x="124" y="288"/>
                  <a:pt x="127" y="294"/>
                </a:cubicBezTo>
                <a:cubicBezTo>
                  <a:pt x="127" y="294"/>
                  <a:pt x="127" y="294"/>
                  <a:pt x="127" y="295"/>
                </a:cubicBezTo>
                <a:cubicBezTo>
                  <a:pt x="127" y="295"/>
                  <a:pt x="154" y="369"/>
                  <a:pt x="197" y="396"/>
                </a:cubicBezTo>
                <a:cubicBezTo>
                  <a:pt x="202" y="399"/>
                  <a:pt x="204" y="406"/>
                  <a:pt x="201" y="411"/>
                </a:cubicBezTo>
                <a:cubicBezTo>
                  <a:pt x="199" y="414"/>
                  <a:pt x="195" y="416"/>
                  <a:pt x="192" y="416"/>
                </a:cubicBezTo>
                <a:cubicBezTo>
                  <a:pt x="190" y="416"/>
                  <a:pt x="188" y="415"/>
                  <a:pt x="186" y="414"/>
                </a:cubicBezTo>
                <a:cubicBezTo>
                  <a:pt x="138" y="384"/>
                  <a:pt x="110" y="310"/>
                  <a:pt x="107" y="303"/>
                </a:cubicBezTo>
                <a:cubicBezTo>
                  <a:pt x="100" y="287"/>
                  <a:pt x="102" y="266"/>
                  <a:pt x="118" y="258"/>
                </a:cubicBezTo>
                <a:cubicBezTo>
                  <a:pt x="126" y="254"/>
                  <a:pt x="134" y="253"/>
                  <a:pt x="143" y="256"/>
                </a:cubicBezTo>
                <a:cubicBezTo>
                  <a:pt x="151" y="259"/>
                  <a:pt x="157" y="265"/>
                  <a:pt x="161" y="272"/>
                </a:cubicBezTo>
                <a:cubicBezTo>
                  <a:pt x="164" y="279"/>
                  <a:pt x="167" y="286"/>
                  <a:pt x="170" y="293"/>
                </a:cubicBezTo>
                <a:cubicBezTo>
                  <a:pt x="170" y="202"/>
                  <a:pt x="170" y="202"/>
                  <a:pt x="170" y="202"/>
                </a:cubicBezTo>
                <a:cubicBezTo>
                  <a:pt x="170" y="185"/>
                  <a:pt x="185" y="170"/>
                  <a:pt x="202" y="170"/>
                </a:cubicBezTo>
                <a:cubicBezTo>
                  <a:pt x="220" y="170"/>
                  <a:pt x="234" y="185"/>
                  <a:pt x="234" y="202"/>
                </a:cubicBezTo>
                <a:cubicBezTo>
                  <a:pt x="234" y="226"/>
                  <a:pt x="234" y="226"/>
                  <a:pt x="234" y="226"/>
                </a:cubicBezTo>
                <a:cubicBezTo>
                  <a:pt x="238" y="224"/>
                  <a:pt x="241" y="224"/>
                  <a:pt x="245" y="224"/>
                </a:cubicBezTo>
                <a:cubicBezTo>
                  <a:pt x="260" y="224"/>
                  <a:pt x="272" y="234"/>
                  <a:pt x="276" y="247"/>
                </a:cubicBezTo>
                <a:cubicBezTo>
                  <a:pt x="279" y="246"/>
                  <a:pt x="283" y="245"/>
                  <a:pt x="288" y="245"/>
                </a:cubicBezTo>
                <a:cubicBezTo>
                  <a:pt x="299" y="245"/>
                  <a:pt x="309" y="251"/>
                  <a:pt x="315" y="260"/>
                </a:cubicBezTo>
                <a:cubicBezTo>
                  <a:pt x="319" y="257"/>
                  <a:pt x="325" y="256"/>
                  <a:pt x="330" y="256"/>
                </a:cubicBezTo>
                <a:cubicBezTo>
                  <a:pt x="348" y="256"/>
                  <a:pt x="362" y="270"/>
                  <a:pt x="362" y="288"/>
                </a:cubicBezTo>
                <a:cubicBezTo>
                  <a:pt x="362" y="330"/>
                  <a:pt x="362" y="330"/>
                  <a:pt x="362" y="330"/>
                </a:cubicBezTo>
                <a:cubicBezTo>
                  <a:pt x="362" y="332"/>
                  <a:pt x="365" y="380"/>
                  <a:pt x="338" y="412"/>
                </a:cubicBezTo>
                <a:close/>
                <a:moveTo>
                  <a:pt x="325" y="234"/>
                </a:moveTo>
                <a:cubicBezTo>
                  <a:pt x="287" y="234"/>
                  <a:pt x="256" y="203"/>
                  <a:pt x="256" y="165"/>
                </a:cubicBezTo>
                <a:cubicBezTo>
                  <a:pt x="256" y="127"/>
                  <a:pt x="287" y="96"/>
                  <a:pt x="325" y="96"/>
                </a:cubicBezTo>
                <a:cubicBezTo>
                  <a:pt x="363" y="96"/>
                  <a:pt x="394" y="127"/>
                  <a:pt x="394" y="165"/>
                </a:cubicBezTo>
                <a:cubicBezTo>
                  <a:pt x="394" y="203"/>
                  <a:pt x="363" y="234"/>
                  <a:pt x="325" y="23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1" name="Group 999"/>
          <p:cNvGrpSpPr>
            <a:grpSpLocks noChangeAspect="1"/>
          </p:cNvGrpSpPr>
          <p:nvPr/>
        </p:nvGrpSpPr>
        <p:grpSpPr bwMode="auto">
          <a:xfrm>
            <a:off x="1669757" y="3374131"/>
            <a:ext cx="367631" cy="367631"/>
            <a:chOff x="2613" y="4204"/>
            <a:chExt cx="340" cy="340"/>
          </a:xfrm>
          <a:solidFill>
            <a:schemeClr val="accent5"/>
          </a:solidFill>
        </p:grpSpPr>
        <p:sp>
          <p:nvSpPr>
            <p:cNvPr id="312" name="Line 1000"/>
            <p:cNvSpPr>
              <a:spLocks noChangeShapeType="1"/>
            </p:cNvSpPr>
            <p:nvPr/>
          </p:nvSpPr>
          <p:spPr bwMode="auto">
            <a:xfrm>
              <a:off x="2733" y="4459"/>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313" name="Freeform 1001"/>
            <p:cNvSpPr>
              <a:spLocks noEditPoints="1"/>
            </p:cNvSpPr>
            <p:nvPr/>
          </p:nvSpPr>
          <p:spPr bwMode="auto">
            <a:xfrm>
              <a:off x="2613" y="4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1002"/>
            <p:cNvSpPr>
              <a:spLocks noEditPoints="1"/>
            </p:cNvSpPr>
            <p:nvPr/>
          </p:nvSpPr>
          <p:spPr bwMode="auto">
            <a:xfrm>
              <a:off x="2679" y="4268"/>
              <a:ext cx="196" cy="212"/>
            </a:xfrm>
            <a:custGeom>
              <a:avLst/>
              <a:gdLst>
                <a:gd name="T0" fmla="*/ 238 w 294"/>
                <a:gd name="T1" fmla="*/ 316 h 320"/>
                <a:gd name="T2" fmla="*/ 223 w 294"/>
                <a:gd name="T3" fmla="*/ 317 h 320"/>
                <a:gd name="T4" fmla="*/ 240 w 294"/>
                <a:gd name="T5" fmla="*/ 235 h 320"/>
                <a:gd name="T6" fmla="*/ 230 w 294"/>
                <a:gd name="T7" fmla="*/ 181 h 320"/>
                <a:gd name="T8" fmla="*/ 220 w 294"/>
                <a:gd name="T9" fmla="*/ 192 h 320"/>
                <a:gd name="T10" fmla="*/ 209 w 294"/>
                <a:gd name="T11" fmla="*/ 202 h 320"/>
                <a:gd name="T12" fmla="*/ 198 w 294"/>
                <a:gd name="T13" fmla="*/ 192 h 320"/>
                <a:gd name="T14" fmla="*/ 188 w 294"/>
                <a:gd name="T15" fmla="*/ 170 h 320"/>
                <a:gd name="T16" fmla="*/ 177 w 294"/>
                <a:gd name="T17" fmla="*/ 192 h 320"/>
                <a:gd name="T18" fmla="*/ 156 w 294"/>
                <a:gd name="T19" fmla="*/ 192 h 320"/>
                <a:gd name="T20" fmla="*/ 145 w 294"/>
                <a:gd name="T21" fmla="*/ 149 h 320"/>
                <a:gd name="T22" fmla="*/ 134 w 294"/>
                <a:gd name="T23" fmla="*/ 192 h 320"/>
                <a:gd name="T24" fmla="*/ 113 w 294"/>
                <a:gd name="T25" fmla="*/ 192 h 320"/>
                <a:gd name="T26" fmla="*/ 102 w 294"/>
                <a:gd name="T27" fmla="*/ 96 h 320"/>
                <a:gd name="T28" fmla="*/ 92 w 294"/>
                <a:gd name="T29" fmla="*/ 234 h 320"/>
                <a:gd name="T30" fmla="*/ 74 w 294"/>
                <a:gd name="T31" fmla="*/ 242 h 320"/>
                <a:gd name="T32" fmla="*/ 36 w 294"/>
                <a:gd name="T33" fmla="*/ 180 h 320"/>
                <a:gd name="T34" fmla="*/ 27 w 294"/>
                <a:gd name="T35" fmla="*/ 198 h 320"/>
                <a:gd name="T36" fmla="*/ 97 w 294"/>
                <a:gd name="T37" fmla="*/ 300 h 320"/>
                <a:gd name="T38" fmla="*/ 92 w 294"/>
                <a:gd name="T39" fmla="*/ 320 h 320"/>
                <a:gd name="T40" fmla="*/ 7 w 294"/>
                <a:gd name="T41" fmla="*/ 207 h 320"/>
                <a:gd name="T42" fmla="*/ 43 w 294"/>
                <a:gd name="T43" fmla="*/ 160 h 320"/>
                <a:gd name="T44" fmla="*/ 70 w 294"/>
                <a:gd name="T45" fmla="*/ 197 h 320"/>
                <a:gd name="T46" fmla="*/ 102 w 294"/>
                <a:gd name="T47" fmla="*/ 74 h 320"/>
                <a:gd name="T48" fmla="*/ 134 w 294"/>
                <a:gd name="T49" fmla="*/ 130 h 320"/>
                <a:gd name="T50" fmla="*/ 176 w 294"/>
                <a:gd name="T51" fmla="*/ 151 h 320"/>
                <a:gd name="T52" fmla="*/ 215 w 294"/>
                <a:gd name="T53" fmla="*/ 164 h 320"/>
                <a:gd name="T54" fmla="*/ 262 w 294"/>
                <a:gd name="T55" fmla="*/ 192 h 320"/>
                <a:gd name="T56" fmla="*/ 294 w 294"/>
                <a:gd name="T57" fmla="*/ 69 h 320"/>
                <a:gd name="T58" fmla="*/ 156 w 294"/>
                <a:gd name="T59" fmla="*/ 69 h 320"/>
                <a:gd name="T60" fmla="*/ 294 w 294"/>
                <a:gd name="T61" fmla="*/ 69 h 320"/>
                <a:gd name="T62" fmla="*/ 225 w 294"/>
                <a:gd name="T63" fmla="*/ 21 h 320"/>
                <a:gd name="T64" fmla="*/ 225 w 294"/>
                <a:gd name="T65" fmla="*/ 117 h 320"/>
                <a:gd name="T66" fmla="*/ 241 w 294"/>
                <a:gd name="T67" fmla="*/ 64 h 320"/>
                <a:gd name="T68" fmla="*/ 230 w 294"/>
                <a:gd name="T69" fmla="*/ 53 h 320"/>
                <a:gd name="T70" fmla="*/ 209 w 294"/>
                <a:gd name="T71" fmla="*/ 53 h 320"/>
                <a:gd name="T72" fmla="*/ 220 w 294"/>
                <a:gd name="T73" fmla="*/ 85 h 320"/>
                <a:gd name="T74" fmla="*/ 252 w 294"/>
                <a:gd name="T75" fmla="*/ 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320">
                  <a:moveTo>
                    <a:pt x="262" y="234"/>
                  </a:moveTo>
                  <a:cubicBezTo>
                    <a:pt x="262" y="236"/>
                    <a:pt x="265" y="284"/>
                    <a:pt x="238" y="316"/>
                  </a:cubicBezTo>
                  <a:cubicBezTo>
                    <a:pt x="236" y="318"/>
                    <a:pt x="233" y="320"/>
                    <a:pt x="230" y="320"/>
                  </a:cubicBezTo>
                  <a:cubicBezTo>
                    <a:pt x="227" y="320"/>
                    <a:pt x="225" y="319"/>
                    <a:pt x="223" y="317"/>
                  </a:cubicBezTo>
                  <a:cubicBezTo>
                    <a:pt x="219" y="313"/>
                    <a:pt x="218" y="307"/>
                    <a:pt x="222" y="302"/>
                  </a:cubicBezTo>
                  <a:cubicBezTo>
                    <a:pt x="243" y="277"/>
                    <a:pt x="240" y="236"/>
                    <a:pt x="240" y="235"/>
                  </a:cubicBezTo>
                  <a:cubicBezTo>
                    <a:pt x="240" y="192"/>
                    <a:pt x="240" y="192"/>
                    <a:pt x="240" y="192"/>
                  </a:cubicBezTo>
                  <a:cubicBezTo>
                    <a:pt x="240" y="186"/>
                    <a:pt x="236" y="181"/>
                    <a:pt x="230" y="181"/>
                  </a:cubicBezTo>
                  <a:cubicBezTo>
                    <a:pt x="225" y="181"/>
                    <a:pt x="220" y="185"/>
                    <a:pt x="220" y="190"/>
                  </a:cubicBezTo>
                  <a:cubicBezTo>
                    <a:pt x="220" y="192"/>
                    <a:pt x="220" y="192"/>
                    <a:pt x="220" y="192"/>
                  </a:cubicBezTo>
                  <a:cubicBezTo>
                    <a:pt x="220"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4" y="170"/>
                    <a:pt x="188" y="170"/>
                  </a:cubicBezTo>
                  <a:cubicBezTo>
                    <a:pt x="182" y="170"/>
                    <a:pt x="177" y="175"/>
                    <a:pt x="177" y="181"/>
                  </a:cubicBezTo>
                  <a:cubicBezTo>
                    <a:pt x="177" y="192"/>
                    <a:pt x="177" y="192"/>
                    <a:pt x="177" y="192"/>
                  </a:cubicBezTo>
                  <a:cubicBezTo>
                    <a:pt x="177" y="198"/>
                    <a:pt x="172" y="202"/>
                    <a:pt x="166" y="202"/>
                  </a:cubicBezTo>
                  <a:cubicBezTo>
                    <a:pt x="160" y="202"/>
                    <a:pt x="156" y="198"/>
                    <a:pt x="156" y="192"/>
                  </a:cubicBezTo>
                  <a:cubicBezTo>
                    <a:pt x="156" y="160"/>
                    <a:pt x="156" y="160"/>
                    <a:pt x="156" y="160"/>
                  </a:cubicBezTo>
                  <a:cubicBezTo>
                    <a:pt x="156" y="154"/>
                    <a:pt x="151" y="149"/>
                    <a:pt x="145" y="149"/>
                  </a:cubicBezTo>
                  <a:cubicBezTo>
                    <a:pt x="139" y="149"/>
                    <a:pt x="134" y="154"/>
                    <a:pt x="134" y="160"/>
                  </a:cubicBezTo>
                  <a:cubicBezTo>
                    <a:pt x="134" y="192"/>
                    <a:pt x="134" y="192"/>
                    <a:pt x="134" y="192"/>
                  </a:cubicBezTo>
                  <a:cubicBezTo>
                    <a:pt x="134" y="198"/>
                    <a:pt x="130" y="202"/>
                    <a:pt x="124" y="202"/>
                  </a:cubicBezTo>
                  <a:cubicBezTo>
                    <a:pt x="118" y="202"/>
                    <a:pt x="113" y="198"/>
                    <a:pt x="113" y="192"/>
                  </a:cubicBezTo>
                  <a:cubicBezTo>
                    <a:pt x="113" y="106"/>
                    <a:pt x="113" y="106"/>
                    <a:pt x="113" y="106"/>
                  </a:cubicBezTo>
                  <a:cubicBezTo>
                    <a:pt x="113" y="100"/>
                    <a:pt x="108" y="96"/>
                    <a:pt x="102" y="96"/>
                  </a:cubicBezTo>
                  <a:cubicBezTo>
                    <a:pt x="96" y="96"/>
                    <a:pt x="92" y="100"/>
                    <a:pt x="92" y="106"/>
                  </a:cubicBezTo>
                  <a:cubicBezTo>
                    <a:pt x="92" y="234"/>
                    <a:pt x="92" y="234"/>
                    <a:pt x="92" y="234"/>
                  </a:cubicBezTo>
                  <a:cubicBezTo>
                    <a:pt x="92" y="239"/>
                    <a:pt x="89" y="242"/>
                    <a:pt x="85" y="244"/>
                  </a:cubicBezTo>
                  <a:cubicBezTo>
                    <a:pt x="82" y="246"/>
                    <a:pt x="77" y="245"/>
                    <a:pt x="74" y="242"/>
                  </a:cubicBezTo>
                  <a:cubicBezTo>
                    <a:pt x="60" y="230"/>
                    <a:pt x="45" y="192"/>
                    <a:pt x="42" y="185"/>
                  </a:cubicBezTo>
                  <a:cubicBezTo>
                    <a:pt x="41" y="183"/>
                    <a:pt x="39" y="181"/>
                    <a:pt x="36" y="180"/>
                  </a:cubicBezTo>
                  <a:cubicBezTo>
                    <a:pt x="33" y="180"/>
                    <a:pt x="30" y="180"/>
                    <a:pt x="28" y="181"/>
                  </a:cubicBezTo>
                  <a:cubicBezTo>
                    <a:pt x="23" y="183"/>
                    <a:pt x="24" y="192"/>
                    <a:pt x="27" y="198"/>
                  </a:cubicBezTo>
                  <a:cubicBezTo>
                    <a:pt x="27" y="198"/>
                    <a:pt x="27" y="198"/>
                    <a:pt x="27" y="199"/>
                  </a:cubicBezTo>
                  <a:cubicBezTo>
                    <a:pt x="27" y="199"/>
                    <a:pt x="54" y="273"/>
                    <a:pt x="97" y="300"/>
                  </a:cubicBezTo>
                  <a:cubicBezTo>
                    <a:pt x="102" y="303"/>
                    <a:pt x="104" y="310"/>
                    <a:pt x="101" y="315"/>
                  </a:cubicBezTo>
                  <a:cubicBezTo>
                    <a:pt x="99" y="318"/>
                    <a:pt x="95" y="320"/>
                    <a:pt x="92" y="320"/>
                  </a:cubicBezTo>
                  <a:cubicBezTo>
                    <a:pt x="90" y="320"/>
                    <a:pt x="88" y="319"/>
                    <a:pt x="86" y="318"/>
                  </a:cubicBezTo>
                  <a:cubicBezTo>
                    <a:pt x="38" y="288"/>
                    <a:pt x="10" y="214"/>
                    <a:pt x="7" y="207"/>
                  </a:cubicBezTo>
                  <a:cubicBezTo>
                    <a:pt x="0" y="191"/>
                    <a:pt x="2" y="170"/>
                    <a:pt x="18" y="162"/>
                  </a:cubicBezTo>
                  <a:cubicBezTo>
                    <a:pt x="26" y="158"/>
                    <a:pt x="34" y="157"/>
                    <a:pt x="43" y="160"/>
                  </a:cubicBezTo>
                  <a:cubicBezTo>
                    <a:pt x="51" y="163"/>
                    <a:pt x="57" y="169"/>
                    <a:pt x="61" y="176"/>
                  </a:cubicBezTo>
                  <a:cubicBezTo>
                    <a:pt x="64" y="183"/>
                    <a:pt x="67" y="190"/>
                    <a:pt x="70" y="197"/>
                  </a:cubicBezTo>
                  <a:cubicBezTo>
                    <a:pt x="70" y="106"/>
                    <a:pt x="70" y="106"/>
                    <a:pt x="70" y="106"/>
                  </a:cubicBezTo>
                  <a:cubicBezTo>
                    <a:pt x="70" y="89"/>
                    <a:pt x="85" y="74"/>
                    <a:pt x="102" y="74"/>
                  </a:cubicBezTo>
                  <a:cubicBezTo>
                    <a:pt x="120" y="74"/>
                    <a:pt x="134" y="89"/>
                    <a:pt x="134" y="106"/>
                  </a:cubicBezTo>
                  <a:cubicBezTo>
                    <a:pt x="134" y="130"/>
                    <a:pt x="134" y="130"/>
                    <a:pt x="134" y="130"/>
                  </a:cubicBezTo>
                  <a:cubicBezTo>
                    <a:pt x="138" y="128"/>
                    <a:pt x="141" y="128"/>
                    <a:pt x="145" y="128"/>
                  </a:cubicBezTo>
                  <a:cubicBezTo>
                    <a:pt x="160" y="128"/>
                    <a:pt x="172" y="138"/>
                    <a:pt x="176" y="151"/>
                  </a:cubicBezTo>
                  <a:cubicBezTo>
                    <a:pt x="179" y="150"/>
                    <a:pt x="183" y="149"/>
                    <a:pt x="188" y="149"/>
                  </a:cubicBezTo>
                  <a:cubicBezTo>
                    <a:pt x="199" y="149"/>
                    <a:pt x="209" y="155"/>
                    <a:pt x="215" y="164"/>
                  </a:cubicBezTo>
                  <a:cubicBezTo>
                    <a:pt x="219" y="161"/>
                    <a:pt x="225" y="160"/>
                    <a:pt x="230" y="160"/>
                  </a:cubicBezTo>
                  <a:cubicBezTo>
                    <a:pt x="248" y="160"/>
                    <a:pt x="262" y="174"/>
                    <a:pt x="262" y="192"/>
                  </a:cubicBezTo>
                  <a:lnTo>
                    <a:pt x="262" y="234"/>
                  </a:lnTo>
                  <a:close/>
                  <a:moveTo>
                    <a:pt x="294" y="69"/>
                  </a:moveTo>
                  <a:cubicBezTo>
                    <a:pt x="294" y="107"/>
                    <a:pt x="263" y="138"/>
                    <a:pt x="225" y="138"/>
                  </a:cubicBezTo>
                  <a:cubicBezTo>
                    <a:pt x="187" y="138"/>
                    <a:pt x="156" y="107"/>
                    <a:pt x="156" y="69"/>
                  </a:cubicBezTo>
                  <a:cubicBezTo>
                    <a:pt x="156" y="31"/>
                    <a:pt x="187" y="0"/>
                    <a:pt x="225" y="0"/>
                  </a:cubicBezTo>
                  <a:cubicBezTo>
                    <a:pt x="263" y="0"/>
                    <a:pt x="294" y="31"/>
                    <a:pt x="294" y="69"/>
                  </a:cubicBezTo>
                  <a:close/>
                  <a:moveTo>
                    <a:pt x="273" y="69"/>
                  </a:moveTo>
                  <a:cubicBezTo>
                    <a:pt x="273" y="43"/>
                    <a:pt x="251" y="21"/>
                    <a:pt x="225" y="21"/>
                  </a:cubicBezTo>
                  <a:cubicBezTo>
                    <a:pt x="199" y="21"/>
                    <a:pt x="177" y="43"/>
                    <a:pt x="177" y="69"/>
                  </a:cubicBezTo>
                  <a:cubicBezTo>
                    <a:pt x="177" y="95"/>
                    <a:pt x="199" y="117"/>
                    <a:pt x="225" y="117"/>
                  </a:cubicBezTo>
                  <a:cubicBezTo>
                    <a:pt x="251" y="117"/>
                    <a:pt x="273" y="95"/>
                    <a:pt x="273" y="69"/>
                  </a:cubicBezTo>
                  <a:close/>
                  <a:moveTo>
                    <a:pt x="241" y="64"/>
                  </a:moveTo>
                  <a:cubicBezTo>
                    <a:pt x="230" y="64"/>
                    <a:pt x="230" y="64"/>
                    <a:pt x="230" y="64"/>
                  </a:cubicBezTo>
                  <a:cubicBezTo>
                    <a:pt x="230" y="53"/>
                    <a:pt x="230" y="53"/>
                    <a:pt x="230" y="53"/>
                  </a:cubicBezTo>
                  <a:cubicBezTo>
                    <a:pt x="230" y="47"/>
                    <a:pt x="226" y="42"/>
                    <a:pt x="220" y="42"/>
                  </a:cubicBezTo>
                  <a:cubicBezTo>
                    <a:pt x="214" y="42"/>
                    <a:pt x="209" y="47"/>
                    <a:pt x="209" y="53"/>
                  </a:cubicBezTo>
                  <a:cubicBezTo>
                    <a:pt x="209" y="74"/>
                    <a:pt x="209" y="74"/>
                    <a:pt x="209" y="74"/>
                  </a:cubicBezTo>
                  <a:cubicBezTo>
                    <a:pt x="209" y="80"/>
                    <a:pt x="214" y="85"/>
                    <a:pt x="220" y="85"/>
                  </a:cubicBezTo>
                  <a:cubicBezTo>
                    <a:pt x="241" y="85"/>
                    <a:pt x="241" y="85"/>
                    <a:pt x="241" y="85"/>
                  </a:cubicBezTo>
                  <a:cubicBezTo>
                    <a:pt x="247" y="85"/>
                    <a:pt x="252" y="80"/>
                    <a:pt x="252" y="74"/>
                  </a:cubicBezTo>
                  <a:cubicBezTo>
                    <a:pt x="252" y="68"/>
                    <a:pt x="247" y="64"/>
                    <a:pt x="2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5" name="Freeform 1006"/>
          <p:cNvSpPr>
            <a:spLocks noChangeAspect="1" noEditPoints="1"/>
          </p:cNvSpPr>
          <p:nvPr/>
        </p:nvSpPr>
        <p:spPr bwMode="auto">
          <a:xfrm>
            <a:off x="2090876" y="3374131"/>
            <a:ext cx="367631" cy="367631"/>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6" name="Group 1009"/>
          <p:cNvGrpSpPr>
            <a:grpSpLocks noChangeAspect="1"/>
          </p:cNvGrpSpPr>
          <p:nvPr/>
        </p:nvGrpSpPr>
        <p:grpSpPr bwMode="auto">
          <a:xfrm>
            <a:off x="2511995" y="3374131"/>
            <a:ext cx="367631" cy="368713"/>
            <a:chOff x="3277" y="4342"/>
            <a:chExt cx="340" cy="341"/>
          </a:xfrm>
          <a:solidFill>
            <a:schemeClr val="accent5"/>
          </a:solidFill>
        </p:grpSpPr>
        <p:sp>
          <p:nvSpPr>
            <p:cNvPr id="317" name="Line 1010"/>
            <p:cNvSpPr>
              <a:spLocks noChangeShapeType="1"/>
            </p:cNvSpPr>
            <p:nvPr/>
          </p:nvSpPr>
          <p:spPr bwMode="auto">
            <a:xfrm>
              <a:off x="3432" y="4399"/>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318" name="Line 1011"/>
            <p:cNvSpPr>
              <a:spLocks noChangeShapeType="1"/>
            </p:cNvSpPr>
            <p:nvPr/>
          </p:nvSpPr>
          <p:spPr bwMode="auto">
            <a:xfrm>
              <a:off x="3397" y="459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319" name="Freeform 1012"/>
            <p:cNvSpPr>
              <a:spLocks noEditPoints="1"/>
            </p:cNvSpPr>
            <p:nvPr/>
          </p:nvSpPr>
          <p:spPr bwMode="auto">
            <a:xfrm>
              <a:off x="3336" y="4405"/>
              <a:ext cx="218" cy="214"/>
            </a:xfrm>
            <a:custGeom>
              <a:avLst/>
              <a:gdLst>
                <a:gd name="T0" fmla="*/ 302 w 328"/>
                <a:gd name="T1" fmla="*/ 104 h 321"/>
                <a:gd name="T2" fmla="*/ 287 w 328"/>
                <a:gd name="T3" fmla="*/ 104 h 321"/>
                <a:gd name="T4" fmla="*/ 290 w 328"/>
                <a:gd name="T5" fmla="*/ 86 h 321"/>
                <a:gd name="T6" fmla="*/ 263 w 328"/>
                <a:gd name="T7" fmla="*/ 114 h 321"/>
                <a:gd name="T8" fmla="*/ 281 w 328"/>
                <a:gd name="T9" fmla="*/ 110 h 321"/>
                <a:gd name="T10" fmla="*/ 260 w 328"/>
                <a:gd name="T11" fmla="*/ 147 h 321"/>
                <a:gd name="T12" fmla="*/ 244 w 328"/>
                <a:gd name="T13" fmla="*/ 147 h 321"/>
                <a:gd name="T14" fmla="*/ 223 w 328"/>
                <a:gd name="T15" fmla="*/ 110 h 321"/>
                <a:gd name="T16" fmla="*/ 241 w 328"/>
                <a:gd name="T17" fmla="*/ 114 h 321"/>
                <a:gd name="T18" fmla="*/ 214 w 328"/>
                <a:gd name="T19" fmla="*/ 86 h 321"/>
                <a:gd name="T20" fmla="*/ 217 w 328"/>
                <a:gd name="T21" fmla="*/ 104 h 321"/>
                <a:gd name="T22" fmla="*/ 202 w 328"/>
                <a:gd name="T23" fmla="*/ 104 h 321"/>
                <a:gd name="T24" fmla="*/ 180 w 328"/>
                <a:gd name="T25" fmla="*/ 68 h 321"/>
                <a:gd name="T26" fmla="*/ 217 w 328"/>
                <a:gd name="T27" fmla="*/ 46 h 321"/>
                <a:gd name="T28" fmla="*/ 214 w 328"/>
                <a:gd name="T29" fmla="*/ 65 h 321"/>
                <a:gd name="T30" fmla="*/ 241 w 328"/>
                <a:gd name="T31" fmla="*/ 37 h 321"/>
                <a:gd name="T32" fmla="*/ 231 w 328"/>
                <a:gd name="T33" fmla="*/ 43 h 321"/>
                <a:gd name="T34" fmla="*/ 223 w 328"/>
                <a:gd name="T35" fmla="*/ 25 h 321"/>
                <a:gd name="T36" fmla="*/ 260 w 328"/>
                <a:gd name="T37" fmla="*/ 4 h 321"/>
                <a:gd name="T38" fmla="*/ 281 w 328"/>
                <a:gd name="T39" fmla="*/ 40 h 321"/>
                <a:gd name="T40" fmla="*/ 266 w 328"/>
                <a:gd name="T41" fmla="*/ 40 h 321"/>
                <a:gd name="T42" fmla="*/ 263 w 328"/>
                <a:gd name="T43" fmla="*/ 65 h 321"/>
                <a:gd name="T44" fmla="*/ 287 w 328"/>
                <a:gd name="T45" fmla="*/ 62 h 321"/>
                <a:gd name="T46" fmla="*/ 302 w 328"/>
                <a:gd name="T47" fmla="*/ 46 h 321"/>
                <a:gd name="T48" fmla="*/ 324 w 328"/>
                <a:gd name="T49" fmla="*/ 83 h 321"/>
                <a:gd name="T50" fmla="*/ 231 w 328"/>
                <a:gd name="T51" fmla="*/ 161 h 321"/>
                <a:gd name="T52" fmla="*/ 188 w 328"/>
                <a:gd name="T53" fmla="*/ 150 h 321"/>
                <a:gd name="T54" fmla="*/ 145 w 328"/>
                <a:gd name="T55" fmla="*/ 129 h 321"/>
                <a:gd name="T56" fmla="*/ 135 w 328"/>
                <a:gd name="T57" fmla="*/ 107 h 321"/>
                <a:gd name="T58" fmla="*/ 71 w 328"/>
                <a:gd name="T59" fmla="*/ 107 h 321"/>
                <a:gd name="T60" fmla="*/ 61 w 328"/>
                <a:gd name="T61" fmla="*/ 177 h 321"/>
                <a:gd name="T62" fmla="*/ 18 w 328"/>
                <a:gd name="T63" fmla="*/ 163 h 321"/>
                <a:gd name="T64" fmla="*/ 86 w 328"/>
                <a:gd name="T65" fmla="*/ 319 h 321"/>
                <a:gd name="T66" fmla="*/ 101 w 328"/>
                <a:gd name="T67" fmla="*/ 316 h 321"/>
                <a:gd name="T68" fmla="*/ 27 w 328"/>
                <a:gd name="T69" fmla="*/ 200 h 321"/>
                <a:gd name="T70" fmla="*/ 28 w 328"/>
                <a:gd name="T71" fmla="*/ 182 h 321"/>
                <a:gd name="T72" fmla="*/ 42 w 328"/>
                <a:gd name="T73" fmla="*/ 186 h 321"/>
                <a:gd name="T74" fmla="*/ 86 w 328"/>
                <a:gd name="T75" fmla="*/ 245 h 321"/>
                <a:gd name="T76" fmla="*/ 92 w 328"/>
                <a:gd name="T77" fmla="*/ 107 h 321"/>
                <a:gd name="T78" fmla="*/ 113 w 328"/>
                <a:gd name="T79" fmla="*/ 107 h 321"/>
                <a:gd name="T80" fmla="*/ 124 w 328"/>
                <a:gd name="T81" fmla="*/ 203 h 321"/>
                <a:gd name="T82" fmla="*/ 135 w 328"/>
                <a:gd name="T83" fmla="*/ 161 h 321"/>
                <a:gd name="T84" fmla="*/ 156 w 328"/>
                <a:gd name="T85" fmla="*/ 161 h 321"/>
                <a:gd name="T86" fmla="*/ 167 w 328"/>
                <a:gd name="T87" fmla="*/ 203 h 321"/>
                <a:gd name="T88" fmla="*/ 177 w 328"/>
                <a:gd name="T89" fmla="*/ 182 h 321"/>
                <a:gd name="T90" fmla="*/ 199 w 328"/>
                <a:gd name="T91" fmla="*/ 182 h 321"/>
                <a:gd name="T92" fmla="*/ 209 w 328"/>
                <a:gd name="T93" fmla="*/ 203 h 321"/>
                <a:gd name="T94" fmla="*/ 209 w 328"/>
                <a:gd name="T95" fmla="*/ 203 h 321"/>
                <a:gd name="T96" fmla="*/ 220 w 328"/>
                <a:gd name="T97" fmla="*/ 191 h 321"/>
                <a:gd name="T98" fmla="*/ 241 w 328"/>
                <a:gd name="T99" fmla="*/ 193 h 321"/>
                <a:gd name="T100" fmla="*/ 222 w 328"/>
                <a:gd name="T101" fmla="*/ 303 h 321"/>
                <a:gd name="T102" fmla="*/ 230 w 328"/>
                <a:gd name="T103" fmla="*/ 321 h 321"/>
                <a:gd name="T104" fmla="*/ 263 w 328"/>
                <a:gd name="T10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321">
                  <a:moveTo>
                    <a:pt x="324" y="83"/>
                  </a:moveTo>
                  <a:cubicBezTo>
                    <a:pt x="302" y="104"/>
                    <a:pt x="302" y="104"/>
                    <a:pt x="302" y="104"/>
                  </a:cubicBezTo>
                  <a:cubicBezTo>
                    <a:pt x="300" y="106"/>
                    <a:pt x="297" y="107"/>
                    <a:pt x="295" y="107"/>
                  </a:cubicBezTo>
                  <a:cubicBezTo>
                    <a:pt x="292" y="107"/>
                    <a:pt x="289" y="106"/>
                    <a:pt x="287" y="104"/>
                  </a:cubicBezTo>
                  <a:cubicBezTo>
                    <a:pt x="283" y="100"/>
                    <a:pt x="283" y="93"/>
                    <a:pt x="287" y="89"/>
                  </a:cubicBezTo>
                  <a:cubicBezTo>
                    <a:pt x="290" y="86"/>
                    <a:pt x="290" y="86"/>
                    <a:pt x="290" y="86"/>
                  </a:cubicBezTo>
                  <a:cubicBezTo>
                    <a:pt x="263" y="86"/>
                    <a:pt x="263" y="86"/>
                    <a:pt x="263" y="86"/>
                  </a:cubicBezTo>
                  <a:cubicBezTo>
                    <a:pt x="263" y="114"/>
                    <a:pt x="263" y="114"/>
                    <a:pt x="263" y="114"/>
                  </a:cubicBezTo>
                  <a:cubicBezTo>
                    <a:pt x="266" y="110"/>
                    <a:pt x="266" y="110"/>
                    <a:pt x="266" y="110"/>
                  </a:cubicBezTo>
                  <a:cubicBezTo>
                    <a:pt x="270" y="106"/>
                    <a:pt x="277" y="106"/>
                    <a:pt x="281" y="110"/>
                  </a:cubicBezTo>
                  <a:cubicBezTo>
                    <a:pt x="285" y="115"/>
                    <a:pt x="285" y="121"/>
                    <a:pt x="281" y="126"/>
                  </a:cubicBezTo>
                  <a:cubicBezTo>
                    <a:pt x="260" y="147"/>
                    <a:pt x="260" y="147"/>
                    <a:pt x="260" y="147"/>
                  </a:cubicBezTo>
                  <a:cubicBezTo>
                    <a:pt x="257" y="149"/>
                    <a:pt x="255" y="150"/>
                    <a:pt x="252" y="150"/>
                  </a:cubicBezTo>
                  <a:cubicBezTo>
                    <a:pt x="249" y="150"/>
                    <a:pt x="247" y="149"/>
                    <a:pt x="244" y="147"/>
                  </a:cubicBezTo>
                  <a:cubicBezTo>
                    <a:pt x="223" y="126"/>
                    <a:pt x="223" y="126"/>
                    <a:pt x="223" y="126"/>
                  </a:cubicBezTo>
                  <a:cubicBezTo>
                    <a:pt x="219" y="121"/>
                    <a:pt x="219" y="115"/>
                    <a:pt x="223" y="110"/>
                  </a:cubicBezTo>
                  <a:cubicBezTo>
                    <a:pt x="227" y="106"/>
                    <a:pt x="234" y="106"/>
                    <a:pt x="238" y="110"/>
                  </a:cubicBezTo>
                  <a:cubicBezTo>
                    <a:pt x="241" y="114"/>
                    <a:pt x="241" y="114"/>
                    <a:pt x="241" y="114"/>
                  </a:cubicBezTo>
                  <a:cubicBezTo>
                    <a:pt x="241" y="86"/>
                    <a:pt x="241" y="86"/>
                    <a:pt x="241" y="86"/>
                  </a:cubicBezTo>
                  <a:cubicBezTo>
                    <a:pt x="214" y="86"/>
                    <a:pt x="214" y="86"/>
                    <a:pt x="214" y="86"/>
                  </a:cubicBezTo>
                  <a:cubicBezTo>
                    <a:pt x="217" y="89"/>
                    <a:pt x="217" y="89"/>
                    <a:pt x="217" y="89"/>
                  </a:cubicBezTo>
                  <a:cubicBezTo>
                    <a:pt x="221" y="93"/>
                    <a:pt x="221" y="100"/>
                    <a:pt x="217" y="104"/>
                  </a:cubicBezTo>
                  <a:cubicBezTo>
                    <a:pt x="215" y="106"/>
                    <a:pt x="212" y="107"/>
                    <a:pt x="209" y="107"/>
                  </a:cubicBezTo>
                  <a:cubicBezTo>
                    <a:pt x="207" y="107"/>
                    <a:pt x="204" y="106"/>
                    <a:pt x="202" y="104"/>
                  </a:cubicBezTo>
                  <a:cubicBezTo>
                    <a:pt x="180" y="83"/>
                    <a:pt x="180" y="83"/>
                    <a:pt x="180" y="83"/>
                  </a:cubicBezTo>
                  <a:cubicBezTo>
                    <a:pt x="176" y="79"/>
                    <a:pt x="176" y="72"/>
                    <a:pt x="180" y="68"/>
                  </a:cubicBezTo>
                  <a:cubicBezTo>
                    <a:pt x="202" y="46"/>
                    <a:pt x="202" y="46"/>
                    <a:pt x="202" y="46"/>
                  </a:cubicBezTo>
                  <a:cubicBezTo>
                    <a:pt x="206" y="42"/>
                    <a:pt x="213" y="42"/>
                    <a:pt x="217" y="46"/>
                  </a:cubicBezTo>
                  <a:cubicBezTo>
                    <a:pt x="221" y="51"/>
                    <a:pt x="221" y="57"/>
                    <a:pt x="217" y="62"/>
                  </a:cubicBezTo>
                  <a:cubicBezTo>
                    <a:pt x="214" y="65"/>
                    <a:pt x="214" y="65"/>
                    <a:pt x="214" y="65"/>
                  </a:cubicBezTo>
                  <a:cubicBezTo>
                    <a:pt x="241" y="65"/>
                    <a:pt x="241" y="65"/>
                    <a:pt x="241" y="65"/>
                  </a:cubicBezTo>
                  <a:cubicBezTo>
                    <a:pt x="241" y="37"/>
                    <a:pt x="241" y="37"/>
                    <a:pt x="241" y="37"/>
                  </a:cubicBezTo>
                  <a:cubicBezTo>
                    <a:pt x="238" y="40"/>
                    <a:pt x="238" y="40"/>
                    <a:pt x="238" y="40"/>
                  </a:cubicBezTo>
                  <a:cubicBezTo>
                    <a:pt x="236" y="42"/>
                    <a:pt x="233" y="43"/>
                    <a:pt x="231" y="43"/>
                  </a:cubicBezTo>
                  <a:cubicBezTo>
                    <a:pt x="228" y="43"/>
                    <a:pt x="225" y="42"/>
                    <a:pt x="223" y="40"/>
                  </a:cubicBezTo>
                  <a:cubicBezTo>
                    <a:pt x="219" y="36"/>
                    <a:pt x="219" y="29"/>
                    <a:pt x="223" y="25"/>
                  </a:cubicBezTo>
                  <a:cubicBezTo>
                    <a:pt x="244" y="4"/>
                    <a:pt x="244" y="4"/>
                    <a:pt x="244" y="4"/>
                  </a:cubicBezTo>
                  <a:cubicBezTo>
                    <a:pt x="249" y="0"/>
                    <a:pt x="255" y="0"/>
                    <a:pt x="260" y="4"/>
                  </a:cubicBezTo>
                  <a:cubicBezTo>
                    <a:pt x="281" y="25"/>
                    <a:pt x="281" y="25"/>
                    <a:pt x="281" y="25"/>
                  </a:cubicBezTo>
                  <a:cubicBezTo>
                    <a:pt x="285" y="29"/>
                    <a:pt x="285" y="36"/>
                    <a:pt x="281" y="40"/>
                  </a:cubicBezTo>
                  <a:cubicBezTo>
                    <a:pt x="279" y="42"/>
                    <a:pt x="276" y="43"/>
                    <a:pt x="273" y="43"/>
                  </a:cubicBezTo>
                  <a:cubicBezTo>
                    <a:pt x="271" y="43"/>
                    <a:pt x="268" y="42"/>
                    <a:pt x="266" y="40"/>
                  </a:cubicBezTo>
                  <a:cubicBezTo>
                    <a:pt x="263" y="37"/>
                    <a:pt x="263" y="37"/>
                    <a:pt x="263" y="37"/>
                  </a:cubicBezTo>
                  <a:cubicBezTo>
                    <a:pt x="263" y="65"/>
                    <a:pt x="263" y="65"/>
                    <a:pt x="263" y="65"/>
                  </a:cubicBezTo>
                  <a:cubicBezTo>
                    <a:pt x="290" y="65"/>
                    <a:pt x="290" y="65"/>
                    <a:pt x="290" y="65"/>
                  </a:cubicBezTo>
                  <a:cubicBezTo>
                    <a:pt x="287" y="62"/>
                    <a:pt x="287" y="62"/>
                    <a:pt x="287" y="62"/>
                  </a:cubicBezTo>
                  <a:cubicBezTo>
                    <a:pt x="283" y="57"/>
                    <a:pt x="283" y="51"/>
                    <a:pt x="287" y="46"/>
                  </a:cubicBezTo>
                  <a:cubicBezTo>
                    <a:pt x="291" y="42"/>
                    <a:pt x="298" y="42"/>
                    <a:pt x="302" y="46"/>
                  </a:cubicBezTo>
                  <a:cubicBezTo>
                    <a:pt x="324" y="68"/>
                    <a:pt x="324" y="68"/>
                    <a:pt x="324" y="68"/>
                  </a:cubicBezTo>
                  <a:cubicBezTo>
                    <a:pt x="328" y="72"/>
                    <a:pt x="328" y="79"/>
                    <a:pt x="324" y="83"/>
                  </a:cubicBezTo>
                  <a:close/>
                  <a:moveTo>
                    <a:pt x="263" y="193"/>
                  </a:moveTo>
                  <a:cubicBezTo>
                    <a:pt x="263" y="175"/>
                    <a:pt x="248" y="161"/>
                    <a:pt x="231" y="161"/>
                  </a:cubicBezTo>
                  <a:cubicBezTo>
                    <a:pt x="225" y="161"/>
                    <a:pt x="220" y="162"/>
                    <a:pt x="215" y="165"/>
                  </a:cubicBezTo>
                  <a:cubicBezTo>
                    <a:pt x="209" y="156"/>
                    <a:pt x="199" y="150"/>
                    <a:pt x="188" y="150"/>
                  </a:cubicBezTo>
                  <a:cubicBezTo>
                    <a:pt x="184" y="150"/>
                    <a:pt x="180" y="151"/>
                    <a:pt x="176" y="152"/>
                  </a:cubicBezTo>
                  <a:cubicBezTo>
                    <a:pt x="172" y="139"/>
                    <a:pt x="160" y="129"/>
                    <a:pt x="145" y="129"/>
                  </a:cubicBezTo>
                  <a:cubicBezTo>
                    <a:pt x="142" y="129"/>
                    <a:pt x="138" y="129"/>
                    <a:pt x="135" y="131"/>
                  </a:cubicBezTo>
                  <a:cubicBezTo>
                    <a:pt x="135" y="107"/>
                    <a:pt x="135" y="107"/>
                    <a:pt x="135" y="107"/>
                  </a:cubicBezTo>
                  <a:cubicBezTo>
                    <a:pt x="135" y="90"/>
                    <a:pt x="120" y="75"/>
                    <a:pt x="103" y="75"/>
                  </a:cubicBezTo>
                  <a:cubicBezTo>
                    <a:pt x="85" y="75"/>
                    <a:pt x="71" y="90"/>
                    <a:pt x="71" y="107"/>
                  </a:cubicBezTo>
                  <a:cubicBezTo>
                    <a:pt x="71" y="198"/>
                    <a:pt x="71" y="198"/>
                    <a:pt x="71" y="198"/>
                  </a:cubicBezTo>
                  <a:cubicBezTo>
                    <a:pt x="67" y="191"/>
                    <a:pt x="64" y="184"/>
                    <a:pt x="61" y="177"/>
                  </a:cubicBezTo>
                  <a:cubicBezTo>
                    <a:pt x="58" y="170"/>
                    <a:pt x="51" y="164"/>
                    <a:pt x="43" y="161"/>
                  </a:cubicBezTo>
                  <a:cubicBezTo>
                    <a:pt x="35" y="158"/>
                    <a:pt x="26" y="159"/>
                    <a:pt x="18" y="163"/>
                  </a:cubicBezTo>
                  <a:cubicBezTo>
                    <a:pt x="2" y="171"/>
                    <a:pt x="0" y="192"/>
                    <a:pt x="7" y="208"/>
                  </a:cubicBezTo>
                  <a:cubicBezTo>
                    <a:pt x="10" y="215"/>
                    <a:pt x="38" y="289"/>
                    <a:pt x="86" y="319"/>
                  </a:cubicBezTo>
                  <a:cubicBezTo>
                    <a:pt x="88" y="320"/>
                    <a:pt x="90" y="321"/>
                    <a:pt x="92" y="321"/>
                  </a:cubicBezTo>
                  <a:cubicBezTo>
                    <a:pt x="96" y="321"/>
                    <a:pt x="99" y="319"/>
                    <a:pt x="101" y="316"/>
                  </a:cubicBezTo>
                  <a:cubicBezTo>
                    <a:pt x="104" y="311"/>
                    <a:pt x="103" y="304"/>
                    <a:pt x="98" y="301"/>
                  </a:cubicBezTo>
                  <a:cubicBezTo>
                    <a:pt x="54" y="274"/>
                    <a:pt x="28" y="200"/>
                    <a:pt x="27" y="200"/>
                  </a:cubicBezTo>
                  <a:cubicBezTo>
                    <a:pt x="27" y="199"/>
                    <a:pt x="27" y="199"/>
                    <a:pt x="27" y="199"/>
                  </a:cubicBezTo>
                  <a:cubicBezTo>
                    <a:pt x="24" y="193"/>
                    <a:pt x="24" y="184"/>
                    <a:pt x="28" y="182"/>
                  </a:cubicBezTo>
                  <a:cubicBezTo>
                    <a:pt x="31" y="181"/>
                    <a:pt x="33" y="181"/>
                    <a:pt x="36" y="181"/>
                  </a:cubicBezTo>
                  <a:cubicBezTo>
                    <a:pt x="39" y="182"/>
                    <a:pt x="41" y="184"/>
                    <a:pt x="42" y="186"/>
                  </a:cubicBezTo>
                  <a:cubicBezTo>
                    <a:pt x="45" y="193"/>
                    <a:pt x="60" y="231"/>
                    <a:pt x="74" y="243"/>
                  </a:cubicBezTo>
                  <a:cubicBezTo>
                    <a:pt x="78" y="246"/>
                    <a:pt x="82" y="247"/>
                    <a:pt x="86" y="245"/>
                  </a:cubicBezTo>
                  <a:cubicBezTo>
                    <a:pt x="90" y="243"/>
                    <a:pt x="92" y="240"/>
                    <a:pt x="92" y="235"/>
                  </a:cubicBezTo>
                  <a:cubicBezTo>
                    <a:pt x="92" y="107"/>
                    <a:pt x="92" y="107"/>
                    <a:pt x="92" y="107"/>
                  </a:cubicBezTo>
                  <a:cubicBezTo>
                    <a:pt x="92" y="101"/>
                    <a:pt x="97" y="97"/>
                    <a:pt x="103" y="97"/>
                  </a:cubicBezTo>
                  <a:cubicBezTo>
                    <a:pt x="109" y="97"/>
                    <a:pt x="113" y="101"/>
                    <a:pt x="113" y="107"/>
                  </a:cubicBezTo>
                  <a:cubicBezTo>
                    <a:pt x="113" y="193"/>
                    <a:pt x="113" y="193"/>
                    <a:pt x="113" y="193"/>
                  </a:cubicBezTo>
                  <a:cubicBezTo>
                    <a:pt x="113" y="199"/>
                    <a:pt x="118" y="203"/>
                    <a:pt x="124" y="203"/>
                  </a:cubicBezTo>
                  <a:cubicBezTo>
                    <a:pt x="130" y="203"/>
                    <a:pt x="135" y="199"/>
                    <a:pt x="135" y="193"/>
                  </a:cubicBezTo>
                  <a:cubicBezTo>
                    <a:pt x="135" y="161"/>
                    <a:pt x="135" y="161"/>
                    <a:pt x="135" y="161"/>
                  </a:cubicBezTo>
                  <a:cubicBezTo>
                    <a:pt x="135" y="155"/>
                    <a:pt x="139" y="150"/>
                    <a:pt x="145" y="150"/>
                  </a:cubicBezTo>
                  <a:cubicBezTo>
                    <a:pt x="151" y="150"/>
                    <a:pt x="156" y="155"/>
                    <a:pt x="156" y="161"/>
                  </a:cubicBezTo>
                  <a:cubicBezTo>
                    <a:pt x="156" y="193"/>
                    <a:pt x="156" y="193"/>
                    <a:pt x="156" y="193"/>
                  </a:cubicBezTo>
                  <a:cubicBezTo>
                    <a:pt x="156" y="199"/>
                    <a:pt x="161" y="203"/>
                    <a:pt x="167" y="203"/>
                  </a:cubicBezTo>
                  <a:cubicBezTo>
                    <a:pt x="173" y="203"/>
                    <a:pt x="177" y="199"/>
                    <a:pt x="177" y="193"/>
                  </a:cubicBezTo>
                  <a:cubicBezTo>
                    <a:pt x="177" y="182"/>
                    <a:pt x="177" y="182"/>
                    <a:pt x="177" y="182"/>
                  </a:cubicBezTo>
                  <a:cubicBezTo>
                    <a:pt x="177" y="176"/>
                    <a:pt x="182" y="171"/>
                    <a:pt x="188" y="171"/>
                  </a:cubicBezTo>
                  <a:cubicBezTo>
                    <a:pt x="194" y="171"/>
                    <a:pt x="199" y="176"/>
                    <a:pt x="199" y="182"/>
                  </a:cubicBezTo>
                  <a:cubicBezTo>
                    <a:pt x="199" y="193"/>
                    <a:pt x="199" y="193"/>
                    <a:pt x="199" y="193"/>
                  </a:cubicBezTo>
                  <a:cubicBezTo>
                    <a:pt x="199" y="199"/>
                    <a:pt x="203" y="203"/>
                    <a:pt x="209" y="203"/>
                  </a:cubicBezTo>
                  <a:cubicBezTo>
                    <a:pt x="209" y="203"/>
                    <a:pt x="209" y="203"/>
                    <a:pt x="209" y="203"/>
                  </a:cubicBezTo>
                  <a:cubicBezTo>
                    <a:pt x="209" y="203"/>
                    <a:pt x="209" y="203"/>
                    <a:pt x="209" y="203"/>
                  </a:cubicBezTo>
                  <a:cubicBezTo>
                    <a:pt x="215" y="203"/>
                    <a:pt x="220" y="199"/>
                    <a:pt x="220" y="193"/>
                  </a:cubicBezTo>
                  <a:cubicBezTo>
                    <a:pt x="220" y="191"/>
                    <a:pt x="220" y="191"/>
                    <a:pt x="220" y="191"/>
                  </a:cubicBezTo>
                  <a:cubicBezTo>
                    <a:pt x="221" y="186"/>
                    <a:pt x="225" y="182"/>
                    <a:pt x="230" y="182"/>
                  </a:cubicBezTo>
                  <a:cubicBezTo>
                    <a:pt x="236" y="182"/>
                    <a:pt x="241" y="187"/>
                    <a:pt x="241" y="193"/>
                  </a:cubicBezTo>
                  <a:cubicBezTo>
                    <a:pt x="241" y="236"/>
                    <a:pt x="241" y="236"/>
                    <a:pt x="241" y="236"/>
                  </a:cubicBezTo>
                  <a:cubicBezTo>
                    <a:pt x="241" y="237"/>
                    <a:pt x="244" y="278"/>
                    <a:pt x="222" y="303"/>
                  </a:cubicBezTo>
                  <a:cubicBezTo>
                    <a:pt x="218" y="308"/>
                    <a:pt x="219" y="314"/>
                    <a:pt x="223" y="318"/>
                  </a:cubicBezTo>
                  <a:cubicBezTo>
                    <a:pt x="225" y="320"/>
                    <a:pt x="228" y="321"/>
                    <a:pt x="230" y="321"/>
                  </a:cubicBezTo>
                  <a:cubicBezTo>
                    <a:pt x="233" y="321"/>
                    <a:pt x="237" y="319"/>
                    <a:pt x="239" y="317"/>
                  </a:cubicBezTo>
                  <a:cubicBezTo>
                    <a:pt x="266" y="285"/>
                    <a:pt x="263" y="237"/>
                    <a:pt x="263" y="235"/>
                  </a:cubicBezTo>
                  <a:lnTo>
                    <a:pt x="263" y="1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1013"/>
            <p:cNvSpPr>
              <a:spLocks noEditPoints="1"/>
            </p:cNvSpPr>
            <p:nvPr/>
          </p:nvSpPr>
          <p:spPr bwMode="auto">
            <a:xfrm>
              <a:off x="3277" y="43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1" name="Freeform 1017"/>
          <p:cNvSpPr>
            <a:spLocks noChangeAspect="1" noEditPoints="1"/>
          </p:cNvSpPr>
          <p:nvPr/>
        </p:nvSpPr>
        <p:spPr bwMode="auto">
          <a:xfrm>
            <a:off x="2933114" y="3374131"/>
            <a:ext cx="367631" cy="367631"/>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2" name="Group 1020"/>
          <p:cNvGrpSpPr>
            <a:grpSpLocks noChangeAspect="1"/>
          </p:cNvGrpSpPr>
          <p:nvPr/>
        </p:nvGrpSpPr>
        <p:grpSpPr bwMode="auto">
          <a:xfrm>
            <a:off x="3354233" y="3374131"/>
            <a:ext cx="367631" cy="367631"/>
            <a:chOff x="3497" y="3995"/>
            <a:chExt cx="340" cy="340"/>
          </a:xfrm>
          <a:solidFill>
            <a:schemeClr val="accent5"/>
          </a:solidFill>
        </p:grpSpPr>
        <p:sp>
          <p:nvSpPr>
            <p:cNvPr id="323" name="Freeform 1021"/>
            <p:cNvSpPr>
              <a:spLocks noEditPoints="1"/>
            </p:cNvSpPr>
            <p:nvPr/>
          </p:nvSpPr>
          <p:spPr bwMode="auto">
            <a:xfrm>
              <a:off x="3497" y="3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1022"/>
            <p:cNvSpPr>
              <a:spLocks noEditPoints="1"/>
            </p:cNvSpPr>
            <p:nvPr/>
          </p:nvSpPr>
          <p:spPr bwMode="auto">
            <a:xfrm>
              <a:off x="3561" y="4070"/>
              <a:ext cx="200" cy="201"/>
            </a:xfrm>
            <a:custGeom>
              <a:avLst/>
              <a:gdLst>
                <a:gd name="T0" fmla="*/ 48 w 300"/>
                <a:gd name="T1" fmla="*/ 98 h 303"/>
                <a:gd name="T2" fmla="*/ 87 w 300"/>
                <a:gd name="T3" fmla="*/ 43 h 303"/>
                <a:gd name="T4" fmla="*/ 94 w 300"/>
                <a:gd name="T5" fmla="*/ 59 h 303"/>
                <a:gd name="T6" fmla="*/ 107 w 300"/>
                <a:gd name="T7" fmla="*/ 51 h 303"/>
                <a:gd name="T8" fmla="*/ 107 w 300"/>
                <a:gd name="T9" fmla="*/ 9 h 303"/>
                <a:gd name="T10" fmla="*/ 65 w 300"/>
                <a:gd name="T11" fmla="*/ 9 h 303"/>
                <a:gd name="T12" fmla="*/ 78 w 300"/>
                <a:gd name="T13" fmla="*/ 23 h 303"/>
                <a:gd name="T14" fmla="*/ 22 w 300"/>
                <a:gd name="T15" fmla="*/ 90 h 303"/>
                <a:gd name="T16" fmla="*/ 3 w 300"/>
                <a:gd name="T17" fmla="*/ 101 h 303"/>
                <a:gd name="T18" fmla="*/ 25 w 300"/>
                <a:gd name="T19" fmla="*/ 132 h 303"/>
                <a:gd name="T20" fmla="*/ 33 w 300"/>
                <a:gd name="T21" fmla="*/ 131 h 303"/>
                <a:gd name="T22" fmla="*/ 63 w 300"/>
                <a:gd name="T23" fmla="*/ 102 h 303"/>
                <a:gd name="T24" fmla="*/ 297 w 300"/>
                <a:gd name="T25" fmla="*/ 175 h 303"/>
                <a:gd name="T26" fmla="*/ 250 w 300"/>
                <a:gd name="T27" fmla="*/ 147 h 303"/>
                <a:gd name="T28" fmla="*/ 211 w 300"/>
                <a:gd name="T29" fmla="*/ 134 h 303"/>
                <a:gd name="T30" fmla="*/ 169 w 300"/>
                <a:gd name="T31" fmla="*/ 113 h 303"/>
                <a:gd name="T32" fmla="*/ 137 w 300"/>
                <a:gd name="T33" fmla="*/ 57 h 303"/>
                <a:gd name="T34" fmla="*/ 105 w 300"/>
                <a:gd name="T35" fmla="*/ 180 h 303"/>
                <a:gd name="T36" fmla="*/ 77 w 300"/>
                <a:gd name="T37" fmla="*/ 143 h 303"/>
                <a:gd name="T38" fmla="*/ 41 w 300"/>
                <a:gd name="T39" fmla="*/ 190 h 303"/>
                <a:gd name="T40" fmla="*/ 126 w 300"/>
                <a:gd name="T41" fmla="*/ 303 h 303"/>
                <a:gd name="T42" fmla="*/ 132 w 300"/>
                <a:gd name="T43" fmla="*/ 283 h 303"/>
                <a:gd name="T44" fmla="*/ 60 w 300"/>
                <a:gd name="T45" fmla="*/ 181 h 303"/>
                <a:gd name="T46" fmla="*/ 70 w 300"/>
                <a:gd name="T47" fmla="*/ 163 h 303"/>
                <a:gd name="T48" fmla="*/ 108 w 300"/>
                <a:gd name="T49" fmla="*/ 225 h 303"/>
                <a:gd name="T50" fmla="*/ 127 w 300"/>
                <a:gd name="T51" fmla="*/ 217 h 303"/>
                <a:gd name="T52" fmla="*/ 137 w 300"/>
                <a:gd name="T53" fmla="*/ 79 h 303"/>
                <a:gd name="T54" fmla="*/ 148 w 300"/>
                <a:gd name="T55" fmla="*/ 175 h 303"/>
                <a:gd name="T56" fmla="*/ 169 w 300"/>
                <a:gd name="T57" fmla="*/ 175 h 303"/>
                <a:gd name="T58" fmla="*/ 180 w 300"/>
                <a:gd name="T59" fmla="*/ 132 h 303"/>
                <a:gd name="T60" fmla="*/ 191 w 300"/>
                <a:gd name="T61" fmla="*/ 175 h 303"/>
                <a:gd name="T62" fmla="*/ 212 w 300"/>
                <a:gd name="T63" fmla="*/ 175 h 303"/>
                <a:gd name="T64" fmla="*/ 223 w 300"/>
                <a:gd name="T65" fmla="*/ 153 h 303"/>
                <a:gd name="T66" fmla="*/ 233 w 300"/>
                <a:gd name="T67" fmla="*/ 175 h 303"/>
                <a:gd name="T68" fmla="*/ 244 w 300"/>
                <a:gd name="T69" fmla="*/ 185 h 303"/>
                <a:gd name="T70" fmla="*/ 255 w 300"/>
                <a:gd name="T71" fmla="*/ 175 h 303"/>
                <a:gd name="T72" fmla="*/ 276 w 300"/>
                <a:gd name="T73" fmla="*/ 175 h 303"/>
                <a:gd name="T74" fmla="*/ 257 w 300"/>
                <a:gd name="T75" fmla="*/ 285 h 303"/>
                <a:gd name="T76" fmla="*/ 265 w 300"/>
                <a:gd name="T77" fmla="*/ 303 h 303"/>
                <a:gd name="T78" fmla="*/ 297 w 300"/>
                <a:gd name="T79" fmla="*/ 21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303">
                  <a:moveTo>
                    <a:pt x="63" y="102"/>
                  </a:moveTo>
                  <a:cubicBezTo>
                    <a:pt x="60" y="97"/>
                    <a:pt x="54" y="95"/>
                    <a:pt x="48" y="98"/>
                  </a:cubicBezTo>
                  <a:cubicBezTo>
                    <a:pt x="45" y="100"/>
                    <a:pt x="45" y="100"/>
                    <a:pt x="45" y="100"/>
                  </a:cubicBezTo>
                  <a:cubicBezTo>
                    <a:pt x="51" y="76"/>
                    <a:pt x="66" y="56"/>
                    <a:pt x="87" y="43"/>
                  </a:cubicBezTo>
                  <a:cubicBezTo>
                    <a:pt x="86" y="46"/>
                    <a:pt x="86" y="46"/>
                    <a:pt x="86" y="46"/>
                  </a:cubicBezTo>
                  <a:cubicBezTo>
                    <a:pt x="85" y="51"/>
                    <a:pt x="88" y="57"/>
                    <a:pt x="94" y="59"/>
                  </a:cubicBezTo>
                  <a:cubicBezTo>
                    <a:pt x="95" y="59"/>
                    <a:pt x="96" y="59"/>
                    <a:pt x="97" y="59"/>
                  </a:cubicBezTo>
                  <a:cubicBezTo>
                    <a:pt x="101" y="59"/>
                    <a:pt x="106" y="56"/>
                    <a:pt x="107" y="51"/>
                  </a:cubicBezTo>
                  <a:cubicBezTo>
                    <a:pt x="115" y="22"/>
                    <a:pt x="115" y="22"/>
                    <a:pt x="115" y="22"/>
                  </a:cubicBezTo>
                  <a:cubicBezTo>
                    <a:pt x="116" y="16"/>
                    <a:pt x="113" y="10"/>
                    <a:pt x="107" y="9"/>
                  </a:cubicBezTo>
                  <a:cubicBezTo>
                    <a:pt x="78" y="1"/>
                    <a:pt x="78" y="1"/>
                    <a:pt x="78" y="1"/>
                  </a:cubicBezTo>
                  <a:cubicBezTo>
                    <a:pt x="72" y="0"/>
                    <a:pt x="66" y="3"/>
                    <a:pt x="65" y="9"/>
                  </a:cubicBezTo>
                  <a:cubicBezTo>
                    <a:pt x="63" y="14"/>
                    <a:pt x="67" y="20"/>
                    <a:pt x="72" y="22"/>
                  </a:cubicBezTo>
                  <a:cubicBezTo>
                    <a:pt x="78" y="23"/>
                    <a:pt x="78" y="23"/>
                    <a:pt x="78" y="23"/>
                  </a:cubicBezTo>
                  <a:cubicBezTo>
                    <a:pt x="51" y="39"/>
                    <a:pt x="32" y="64"/>
                    <a:pt x="24" y="95"/>
                  </a:cubicBezTo>
                  <a:cubicBezTo>
                    <a:pt x="22" y="90"/>
                    <a:pt x="22" y="90"/>
                    <a:pt x="22" y="90"/>
                  </a:cubicBezTo>
                  <a:cubicBezTo>
                    <a:pt x="19" y="85"/>
                    <a:pt x="12" y="83"/>
                    <a:pt x="7" y="86"/>
                  </a:cubicBezTo>
                  <a:cubicBezTo>
                    <a:pt x="2" y="89"/>
                    <a:pt x="0" y="96"/>
                    <a:pt x="3" y="101"/>
                  </a:cubicBezTo>
                  <a:cubicBezTo>
                    <a:pt x="18" y="127"/>
                    <a:pt x="18" y="127"/>
                    <a:pt x="18" y="127"/>
                  </a:cubicBezTo>
                  <a:cubicBezTo>
                    <a:pt x="19" y="130"/>
                    <a:pt x="22" y="131"/>
                    <a:pt x="25" y="132"/>
                  </a:cubicBezTo>
                  <a:cubicBezTo>
                    <a:pt x="25" y="132"/>
                    <a:pt x="26" y="133"/>
                    <a:pt x="27" y="133"/>
                  </a:cubicBezTo>
                  <a:cubicBezTo>
                    <a:pt x="29" y="133"/>
                    <a:pt x="31" y="132"/>
                    <a:pt x="33" y="131"/>
                  </a:cubicBezTo>
                  <a:cubicBezTo>
                    <a:pt x="59" y="116"/>
                    <a:pt x="59" y="116"/>
                    <a:pt x="59" y="116"/>
                  </a:cubicBezTo>
                  <a:cubicBezTo>
                    <a:pt x="64" y="113"/>
                    <a:pt x="66" y="107"/>
                    <a:pt x="63" y="102"/>
                  </a:cubicBezTo>
                  <a:close/>
                  <a:moveTo>
                    <a:pt x="297" y="217"/>
                  </a:moveTo>
                  <a:cubicBezTo>
                    <a:pt x="297" y="175"/>
                    <a:pt x="297" y="175"/>
                    <a:pt x="297" y="175"/>
                  </a:cubicBezTo>
                  <a:cubicBezTo>
                    <a:pt x="297" y="157"/>
                    <a:pt x="283" y="143"/>
                    <a:pt x="265" y="143"/>
                  </a:cubicBezTo>
                  <a:cubicBezTo>
                    <a:pt x="260" y="143"/>
                    <a:pt x="254" y="144"/>
                    <a:pt x="250" y="147"/>
                  </a:cubicBezTo>
                  <a:cubicBezTo>
                    <a:pt x="244" y="138"/>
                    <a:pt x="234" y="132"/>
                    <a:pt x="223" y="132"/>
                  </a:cubicBezTo>
                  <a:cubicBezTo>
                    <a:pt x="218" y="132"/>
                    <a:pt x="214" y="133"/>
                    <a:pt x="211" y="134"/>
                  </a:cubicBezTo>
                  <a:cubicBezTo>
                    <a:pt x="207" y="121"/>
                    <a:pt x="195" y="111"/>
                    <a:pt x="180" y="111"/>
                  </a:cubicBezTo>
                  <a:cubicBezTo>
                    <a:pt x="176" y="111"/>
                    <a:pt x="173" y="111"/>
                    <a:pt x="169" y="113"/>
                  </a:cubicBezTo>
                  <a:cubicBezTo>
                    <a:pt x="169" y="89"/>
                    <a:pt x="169" y="89"/>
                    <a:pt x="169" y="89"/>
                  </a:cubicBezTo>
                  <a:cubicBezTo>
                    <a:pt x="169" y="72"/>
                    <a:pt x="155" y="57"/>
                    <a:pt x="137" y="57"/>
                  </a:cubicBezTo>
                  <a:cubicBezTo>
                    <a:pt x="120" y="57"/>
                    <a:pt x="105" y="72"/>
                    <a:pt x="105" y="89"/>
                  </a:cubicBezTo>
                  <a:cubicBezTo>
                    <a:pt x="105" y="180"/>
                    <a:pt x="105" y="180"/>
                    <a:pt x="105" y="180"/>
                  </a:cubicBezTo>
                  <a:cubicBezTo>
                    <a:pt x="102" y="172"/>
                    <a:pt x="98" y="165"/>
                    <a:pt x="95" y="159"/>
                  </a:cubicBezTo>
                  <a:cubicBezTo>
                    <a:pt x="92" y="152"/>
                    <a:pt x="85" y="146"/>
                    <a:pt x="77" y="143"/>
                  </a:cubicBezTo>
                  <a:cubicBezTo>
                    <a:pt x="68" y="140"/>
                    <a:pt x="60" y="141"/>
                    <a:pt x="52" y="145"/>
                  </a:cubicBezTo>
                  <a:cubicBezTo>
                    <a:pt x="36" y="153"/>
                    <a:pt x="34" y="174"/>
                    <a:pt x="41" y="190"/>
                  </a:cubicBezTo>
                  <a:cubicBezTo>
                    <a:pt x="44" y="197"/>
                    <a:pt x="72" y="271"/>
                    <a:pt x="120" y="301"/>
                  </a:cubicBezTo>
                  <a:cubicBezTo>
                    <a:pt x="122" y="302"/>
                    <a:pt x="124" y="303"/>
                    <a:pt x="126" y="303"/>
                  </a:cubicBezTo>
                  <a:cubicBezTo>
                    <a:pt x="130" y="303"/>
                    <a:pt x="133" y="301"/>
                    <a:pt x="135" y="298"/>
                  </a:cubicBezTo>
                  <a:cubicBezTo>
                    <a:pt x="138" y="293"/>
                    <a:pt x="137" y="286"/>
                    <a:pt x="132" y="283"/>
                  </a:cubicBezTo>
                  <a:cubicBezTo>
                    <a:pt x="88" y="256"/>
                    <a:pt x="61" y="182"/>
                    <a:pt x="61" y="182"/>
                  </a:cubicBezTo>
                  <a:cubicBezTo>
                    <a:pt x="61" y="181"/>
                    <a:pt x="61" y="181"/>
                    <a:pt x="60" y="181"/>
                  </a:cubicBezTo>
                  <a:cubicBezTo>
                    <a:pt x="57" y="175"/>
                    <a:pt x="57" y="166"/>
                    <a:pt x="62" y="164"/>
                  </a:cubicBezTo>
                  <a:cubicBezTo>
                    <a:pt x="64" y="163"/>
                    <a:pt x="67" y="163"/>
                    <a:pt x="70" y="163"/>
                  </a:cubicBezTo>
                  <a:cubicBezTo>
                    <a:pt x="73" y="164"/>
                    <a:pt x="75" y="166"/>
                    <a:pt x="76" y="168"/>
                  </a:cubicBezTo>
                  <a:cubicBezTo>
                    <a:pt x="78" y="173"/>
                    <a:pt x="97" y="213"/>
                    <a:pt x="108" y="225"/>
                  </a:cubicBezTo>
                  <a:cubicBezTo>
                    <a:pt x="111" y="228"/>
                    <a:pt x="116" y="229"/>
                    <a:pt x="120" y="227"/>
                  </a:cubicBezTo>
                  <a:cubicBezTo>
                    <a:pt x="124" y="226"/>
                    <a:pt x="127" y="222"/>
                    <a:pt x="127" y="217"/>
                  </a:cubicBezTo>
                  <a:cubicBezTo>
                    <a:pt x="127" y="89"/>
                    <a:pt x="127" y="89"/>
                    <a:pt x="127" y="89"/>
                  </a:cubicBezTo>
                  <a:cubicBezTo>
                    <a:pt x="127" y="83"/>
                    <a:pt x="131" y="79"/>
                    <a:pt x="137" y="79"/>
                  </a:cubicBezTo>
                  <a:cubicBezTo>
                    <a:pt x="143" y="79"/>
                    <a:pt x="148" y="83"/>
                    <a:pt x="148" y="89"/>
                  </a:cubicBezTo>
                  <a:cubicBezTo>
                    <a:pt x="148" y="175"/>
                    <a:pt x="148" y="175"/>
                    <a:pt x="148" y="175"/>
                  </a:cubicBezTo>
                  <a:cubicBezTo>
                    <a:pt x="148" y="181"/>
                    <a:pt x="153" y="185"/>
                    <a:pt x="159" y="185"/>
                  </a:cubicBezTo>
                  <a:cubicBezTo>
                    <a:pt x="165" y="185"/>
                    <a:pt x="169" y="181"/>
                    <a:pt x="169" y="175"/>
                  </a:cubicBezTo>
                  <a:cubicBezTo>
                    <a:pt x="169" y="143"/>
                    <a:pt x="169" y="143"/>
                    <a:pt x="169" y="143"/>
                  </a:cubicBezTo>
                  <a:cubicBezTo>
                    <a:pt x="169" y="137"/>
                    <a:pt x="174" y="132"/>
                    <a:pt x="180" y="132"/>
                  </a:cubicBezTo>
                  <a:cubicBezTo>
                    <a:pt x="186" y="132"/>
                    <a:pt x="191" y="137"/>
                    <a:pt x="191" y="143"/>
                  </a:cubicBezTo>
                  <a:cubicBezTo>
                    <a:pt x="191" y="175"/>
                    <a:pt x="191" y="175"/>
                    <a:pt x="191" y="175"/>
                  </a:cubicBezTo>
                  <a:cubicBezTo>
                    <a:pt x="191" y="181"/>
                    <a:pt x="195" y="185"/>
                    <a:pt x="201" y="185"/>
                  </a:cubicBezTo>
                  <a:cubicBezTo>
                    <a:pt x="207" y="185"/>
                    <a:pt x="212" y="181"/>
                    <a:pt x="212" y="175"/>
                  </a:cubicBezTo>
                  <a:cubicBezTo>
                    <a:pt x="212" y="164"/>
                    <a:pt x="212" y="164"/>
                    <a:pt x="212" y="164"/>
                  </a:cubicBezTo>
                  <a:cubicBezTo>
                    <a:pt x="212" y="158"/>
                    <a:pt x="217" y="153"/>
                    <a:pt x="223" y="153"/>
                  </a:cubicBezTo>
                  <a:cubicBezTo>
                    <a:pt x="228" y="153"/>
                    <a:pt x="233" y="158"/>
                    <a:pt x="233" y="164"/>
                  </a:cubicBezTo>
                  <a:cubicBezTo>
                    <a:pt x="233" y="175"/>
                    <a:pt x="233" y="175"/>
                    <a:pt x="233" y="175"/>
                  </a:cubicBezTo>
                  <a:cubicBezTo>
                    <a:pt x="233" y="181"/>
                    <a:pt x="238" y="185"/>
                    <a:pt x="244" y="185"/>
                  </a:cubicBezTo>
                  <a:cubicBezTo>
                    <a:pt x="244" y="185"/>
                    <a:pt x="244" y="185"/>
                    <a:pt x="244" y="185"/>
                  </a:cubicBezTo>
                  <a:cubicBezTo>
                    <a:pt x="244" y="185"/>
                    <a:pt x="244" y="185"/>
                    <a:pt x="244" y="185"/>
                  </a:cubicBezTo>
                  <a:cubicBezTo>
                    <a:pt x="250" y="185"/>
                    <a:pt x="255" y="181"/>
                    <a:pt x="255" y="175"/>
                  </a:cubicBezTo>
                  <a:cubicBezTo>
                    <a:pt x="255" y="169"/>
                    <a:pt x="260" y="164"/>
                    <a:pt x="265" y="164"/>
                  </a:cubicBezTo>
                  <a:cubicBezTo>
                    <a:pt x="271" y="164"/>
                    <a:pt x="276" y="169"/>
                    <a:pt x="276" y="175"/>
                  </a:cubicBezTo>
                  <a:cubicBezTo>
                    <a:pt x="276" y="218"/>
                    <a:pt x="276" y="218"/>
                    <a:pt x="276" y="218"/>
                  </a:cubicBezTo>
                  <a:cubicBezTo>
                    <a:pt x="276" y="218"/>
                    <a:pt x="278" y="259"/>
                    <a:pt x="257" y="285"/>
                  </a:cubicBezTo>
                  <a:cubicBezTo>
                    <a:pt x="253" y="290"/>
                    <a:pt x="254" y="297"/>
                    <a:pt x="259" y="300"/>
                  </a:cubicBezTo>
                  <a:cubicBezTo>
                    <a:pt x="261" y="302"/>
                    <a:pt x="263" y="303"/>
                    <a:pt x="265" y="303"/>
                  </a:cubicBezTo>
                  <a:cubicBezTo>
                    <a:pt x="268" y="303"/>
                    <a:pt x="272" y="301"/>
                    <a:pt x="274" y="299"/>
                  </a:cubicBezTo>
                  <a:cubicBezTo>
                    <a:pt x="300" y="267"/>
                    <a:pt x="297" y="219"/>
                    <a:pt x="297" y="2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5" name="Freeform 1026"/>
          <p:cNvSpPr>
            <a:spLocks noChangeAspect="1" noEditPoints="1"/>
          </p:cNvSpPr>
          <p:nvPr/>
        </p:nvSpPr>
        <p:spPr bwMode="auto">
          <a:xfrm>
            <a:off x="3775352" y="3374131"/>
            <a:ext cx="367631" cy="367631"/>
          </a:xfrm>
          <a:custGeom>
            <a:avLst/>
            <a:gdLst>
              <a:gd name="T0" fmla="*/ 0 w 512"/>
              <a:gd name="T1" fmla="*/ 256 h 512"/>
              <a:gd name="T2" fmla="*/ 512 w 512"/>
              <a:gd name="T3" fmla="*/ 256 h 512"/>
              <a:gd name="T4" fmla="*/ 213 w 512"/>
              <a:gd name="T5" fmla="*/ 96 h 512"/>
              <a:gd name="T6" fmla="*/ 256 w 512"/>
              <a:gd name="T7" fmla="*/ 106 h 512"/>
              <a:gd name="T8" fmla="*/ 245 w 512"/>
              <a:gd name="T9" fmla="*/ 149 h 512"/>
              <a:gd name="T10" fmla="*/ 234 w 512"/>
              <a:gd name="T11" fmla="*/ 131 h 512"/>
              <a:gd name="T12" fmla="*/ 226 w 512"/>
              <a:gd name="T13" fmla="*/ 154 h 512"/>
              <a:gd name="T14" fmla="*/ 267 w 512"/>
              <a:gd name="T15" fmla="*/ 144 h 512"/>
              <a:gd name="T16" fmla="*/ 288 w 512"/>
              <a:gd name="T17" fmla="*/ 139 h 512"/>
              <a:gd name="T18" fmla="*/ 246 w 512"/>
              <a:gd name="T19" fmla="*/ 192 h 512"/>
              <a:gd name="T20" fmla="*/ 210 w 512"/>
              <a:gd name="T21" fmla="*/ 127 h 512"/>
              <a:gd name="T22" fmla="*/ 213 w 512"/>
              <a:gd name="T23" fmla="*/ 117 h 512"/>
              <a:gd name="T24" fmla="*/ 213 w 512"/>
              <a:gd name="T25" fmla="*/ 96 h 512"/>
              <a:gd name="T26" fmla="*/ 372 w 512"/>
              <a:gd name="T27" fmla="*/ 350 h 512"/>
              <a:gd name="T28" fmla="*/ 361 w 512"/>
              <a:gd name="T29" fmla="*/ 337 h 512"/>
              <a:gd name="T30" fmla="*/ 326 w 512"/>
              <a:gd name="T31" fmla="*/ 231 h 512"/>
              <a:gd name="T32" fmla="*/ 311 w 512"/>
              <a:gd name="T33" fmla="*/ 227 h 512"/>
              <a:gd name="T34" fmla="*/ 307 w 512"/>
              <a:gd name="T35" fmla="*/ 241 h 512"/>
              <a:gd name="T36" fmla="*/ 303 w 512"/>
              <a:gd name="T37" fmla="*/ 256 h 512"/>
              <a:gd name="T38" fmla="*/ 288 w 512"/>
              <a:gd name="T39" fmla="*/ 251 h 512"/>
              <a:gd name="T40" fmla="*/ 277 w 512"/>
              <a:gd name="T41" fmla="*/ 237 h 512"/>
              <a:gd name="T42" fmla="*/ 264 w 512"/>
              <a:gd name="T43" fmla="*/ 252 h 512"/>
              <a:gd name="T44" fmla="*/ 269 w 512"/>
              <a:gd name="T45" fmla="*/ 261 h 512"/>
              <a:gd name="T46" fmla="*/ 260 w 512"/>
              <a:gd name="T47" fmla="*/ 277 h 512"/>
              <a:gd name="T48" fmla="*/ 235 w 512"/>
              <a:gd name="T49" fmla="*/ 243 h 512"/>
              <a:gd name="T50" fmla="*/ 221 w 512"/>
              <a:gd name="T51" fmla="*/ 239 h 512"/>
              <a:gd name="T52" fmla="*/ 217 w 512"/>
              <a:gd name="T53" fmla="*/ 253 h 512"/>
              <a:gd name="T54" fmla="*/ 227 w 512"/>
              <a:gd name="T55" fmla="*/ 296 h 512"/>
              <a:gd name="T56" fmla="*/ 173 w 512"/>
              <a:gd name="T57" fmla="*/ 216 h 512"/>
              <a:gd name="T58" fmla="*/ 158 w 512"/>
              <a:gd name="T59" fmla="*/ 212 h 512"/>
              <a:gd name="T60" fmla="*/ 154 w 512"/>
              <a:gd name="T61" fmla="*/ 226 h 512"/>
              <a:gd name="T62" fmla="*/ 213 w 512"/>
              <a:gd name="T63" fmla="*/ 351 h 512"/>
              <a:gd name="T64" fmla="*/ 147 w 512"/>
              <a:gd name="T65" fmla="*/ 319 h 512"/>
              <a:gd name="T66" fmla="*/ 133 w 512"/>
              <a:gd name="T67" fmla="*/ 322 h 512"/>
              <a:gd name="T68" fmla="*/ 140 w 512"/>
              <a:gd name="T69" fmla="*/ 338 h 512"/>
              <a:gd name="T70" fmla="*/ 260 w 512"/>
              <a:gd name="T71" fmla="*/ 406 h 512"/>
              <a:gd name="T72" fmla="*/ 249 w 512"/>
              <a:gd name="T73" fmla="*/ 416 h 512"/>
              <a:gd name="T74" fmla="*/ 115 w 512"/>
              <a:gd name="T75" fmla="*/ 310 h 512"/>
              <a:gd name="T76" fmla="*/ 160 w 512"/>
              <a:gd name="T77" fmla="*/ 302 h 512"/>
              <a:gd name="T78" fmla="*/ 135 w 512"/>
              <a:gd name="T79" fmla="*/ 236 h 512"/>
              <a:gd name="T80" fmla="*/ 148 w 512"/>
              <a:gd name="T81" fmla="*/ 193 h 512"/>
              <a:gd name="T82" fmla="*/ 191 w 512"/>
              <a:gd name="T83" fmla="*/ 206 h 512"/>
              <a:gd name="T84" fmla="*/ 211 w 512"/>
              <a:gd name="T85" fmla="*/ 220 h 512"/>
              <a:gd name="T86" fmla="*/ 249 w 512"/>
              <a:gd name="T87" fmla="*/ 226 h 512"/>
              <a:gd name="T88" fmla="*/ 283 w 512"/>
              <a:gd name="T89" fmla="*/ 216 h 512"/>
              <a:gd name="T90" fmla="*/ 301 w 512"/>
              <a:gd name="T91" fmla="*/ 208 h 512"/>
              <a:gd name="T92" fmla="*/ 345 w 512"/>
              <a:gd name="T93" fmla="*/ 221 h 512"/>
              <a:gd name="T94" fmla="*/ 382 w 512"/>
              <a:gd name="T9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96"/>
                </a:moveTo>
                <a:cubicBezTo>
                  <a:pt x="245" y="96"/>
                  <a:pt x="245" y="96"/>
                  <a:pt x="245" y="96"/>
                </a:cubicBezTo>
                <a:cubicBezTo>
                  <a:pt x="251" y="96"/>
                  <a:pt x="256" y="100"/>
                  <a:pt x="256" y="106"/>
                </a:cubicBezTo>
                <a:cubicBezTo>
                  <a:pt x="256" y="138"/>
                  <a:pt x="256" y="138"/>
                  <a:pt x="256" y="138"/>
                </a:cubicBezTo>
                <a:cubicBezTo>
                  <a:pt x="256" y="144"/>
                  <a:pt x="251" y="149"/>
                  <a:pt x="245" y="149"/>
                </a:cubicBezTo>
                <a:cubicBezTo>
                  <a:pt x="239" y="149"/>
                  <a:pt x="234" y="144"/>
                  <a:pt x="234" y="138"/>
                </a:cubicBezTo>
                <a:cubicBezTo>
                  <a:pt x="234" y="131"/>
                  <a:pt x="234" y="131"/>
                  <a:pt x="234" y="131"/>
                </a:cubicBezTo>
                <a:cubicBezTo>
                  <a:pt x="232" y="133"/>
                  <a:pt x="230" y="135"/>
                  <a:pt x="228" y="138"/>
                </a:cubicBezTo>
                <a:cubicBezTo>
                  <a:pt x="225" y="143"/>
                  <a:pt x="224" y="148"/>
                  <a:pt x="226" y="154"/>
                </a:cubicBezTo>
                <a:cubicBezTo>
                  <a:pt x="228" y="165"/>
                  <a:pt x="240" y="172"/>
                  <a:pt x="251" y="170"/>
                </a:cubicBezTo>
                <a:cubicBezTo>
                  <a:pt x="263" y="167"/>
                  <a:pt x="270" y="155"/>
                  <a:pt x="267" y="144"/>
                </a:cubicBezTo>
                <a:cubicBezTo>
                  <a:pt x="266" y="138"/>
                  <a:pt x="269" y="132"/>
                  <a:pt x="275" y="131"/>
                </a:cubicBezTo>
                <a:cubicBezTo>
                  <a:pt x="281" y="129"/>
                  <a:pt x="286" y="133"/>
                  <a:pt x="288" y="139"/>
                </a:cubicBezTo>
                <a:cubicBezTo>
                  <a:pt x="293" y="162"/>
                  <a:pt x="279" y="185"/>
                  <a:pt x="257" y="190"/>
                </a:cubicBezTo>
                <a:cubicBezTo>
                  <a:pt x="253" y="191"/>
                  <a:pt x="250" y="192"/>
                  <a:pt x="246" y="192"/>
                </a:cubicBezTo>
                <a:cubicBezTo>
                  <a:pt x="227" y="192"/>
                  <a:pt x="210" y="178"/>
                  <a:pt x="205" y="159"/>
                </a:cubicBezTo>
                <a:cubicBezTo>
                  <a:pt x="202" y="148"/>
                  <a:pt x="204" y="136"/>
                  <a:pt x="210" y="127"/>
                </a:cubicBezTo>
                <a:cubicBezTo>
                  <a:pt x="212" y="123"/>
                  <a:pt x="215" y="120"/>
                  <a:pt x="218" y="117"/>
                </a:cubicBezTo>
                <a:cubicBezTo>
                  <a:pt x="213" y="117"/>
                  <a:pt x="213" y="117"/>
                  <a:pt x="213" y="117"/>
                </a:cubicBezTo>
                <a:cubicBezTo>
                  <a:pt x="207" y="117"/>
                  <a:pt x="202" y="112"/>
                  <a:pt x="202" y="106"/>
                </a:cubicBezTo>
                <a:cubicBezTo>
                  <a:pt x="202" y="100"/>
                  <a:pt x="207" y="96"/>
                  <a:pt x="213" y="96"/>
                </a:cubicBezTo>
                <a:close/>
                <a:moveTo>
                  <a:pt x="382" y="342"/>
                </a:moveTo>
                <a:cubicBezTo>
                  <a:pt x="381" y="347"/>
                  <a:pt x="377" y="350"/>
                  <a:pt x="372" y="350"/>
                </a:cubicBezTo>
                <a:cubicBezTo>
                  <a:pt x="371" y="350"/>
                  <a:pt x="370" y="350"/>
                  <a:pt x="369" y="350"/>
                </a:cubicBezTo>
                <a:cubicBezTo>
                  <a:pt x="364" y="349"/>
                  <a:pt x="360" y="343"/>
                  <a:pt x="361" y="337"/>
                </a:cubicBezTo>
                <a:cubicBezTo>
                  <a:pt x="368" y="305"/>
                  <a:pt x="346" y="270"/>
                  <a:pt x="346" y="269"/>
                </a:cubicBezTo>
                <a:cubicBezTo>
                  <a:pt x="326" y="231"/>
                  <a:pt x="326" y="231"/>
                  <a:pt x="326" y="231"/>
                </a:cubicBezTo>
                <a:cubicBezTo>
                  <a:pt x="324" y="229"/>
                  <a:pt x="322" y="227"/>
                  <a:pt x="319" y="226"/>
                </a:cubicBezTo>
                <a:cubicBezTo>
                  <a:pt x="317" y="225"/>
                  <a:pt x="314" y="225"/>
                  <a:pt x="311" y="227"/>
                </a:cubicBezTo>
                <a:cubicBezTo>
                  <a:pt x="309" y="228"/>
                  <a:pt x="307" y="230"/>
                  <a:pt x="306" y="233"/>
                </a:cubicBezTo>
                <a:cubicBezTo>
                  <a:pt x="305" y="236"/>
                  <a:pt x="306" y="239"/>
                  <a:pt x="307" y="241"/>
                </a:cubicBezTo>
                <a:cubicBezTo>
                  <a:pt x="309" y="245"/>
                  <a:pt x="308" y="250"/>
                  <a:pt x="306" y="253"/>
                </a:cubicBezTo>
                <a:cubicBezTo>
                  <a:pt x="305" y="254"/>
                  <a:pt x="304" y="255"/>
                  <a:pt x="303" y="256"/>
                </a:cubicBezTo>
                <a:cubicBezTo>
                  <a:pt x="298" y="258"/>
                  <a:pt x="292" y="257"/>
                  <a:pt x="289" y="252"/>
                </a:cubicBezTo>
                <a:cubicBezTo>
                  <a:pt x="289" y="252"/>
                  <a:pt x="288" y="252"/>
                  <a:pt x="288" y="251"/>
                </a:cubicBezTo>
                <a:cubicBezTo>
                  <a:pt x="283" y="242"/>
                  <a:pt x="283" y="242"/>
                  <a:pt x="283" y="242"/>
                </a:cubicBezTo>
                <a:cubicBezTo>
                  <a:pt x="282" y="239"/>
                  <a:pt x="279" y="237"/>
                  <a:pt x="277" y="237"/>
                </a:cubicBezTo>
                <a:cubicBezTo>
                  <a:pt x="274" y="236"/>
                  <a:pt x="271" y="236"/>
                  <a:pt x="268" y="237"/>
                </a:cubicBezTo>
                <a:cubicBezTo>
                  <a:pt x="263" y="240"/>
                  <a:pt x="261" y="247"/>
                  <a:pt x="264" y="252"/>
                </a:cubicBezTo>
                <a:cubicBezTo>
                  <a:pt x="264" y="252"/>
                  <a:pt x="264" y="252"/>
                  <a:pt x="264" y="252"/>
                </a:cubicBezTo>
                <a:cubicBezTo>
                  <a:pt x="269" y="261"/>
                  <a:pt x="269" y="261"/>
                  <a:pt x="269" y="261"/>
                </a:cubicBezTo>
                <a:cubicBezTo>
                  <a:pt x="272" y="266"/>
                  <a:pt x="270" y="273"/>
                  <a:pt x="265" y="276"/>
                </a:cubicBezTo>
                <a:cubicBezTo>
                  <a:pt x="263" y="277"/>
                  <a:pt x="261" y="277"/>
                  <a:pt x="260" y="277"/>
                </a:cubicBezTo>
                <a:cubicBezTo>
                  <a:pt x="256" y="277"/>
                  <a:pt x="252" y="275"/>
                  <a:pt x="250" y="271"/>
                </a:cubicBezTo>
                <a:cubicBezTo>
                  <a:pt x="235" y="243"/>
                  <a:pt x="235" y="243"/>
                  <a:pt x="235" y="243"/>
                </a:cubicBezTo>
                <a:cubicBezTo>
                  <a:pt x="234" y="241"/>
                  <a:pt x="232" y="239"/>
                  <a:pt x="229" y="238"/>
                </a:cubicBezTo>
                <a:cubicBezTo>
                  <a:pt x="226" y="237"/>
                  <a:pt x="223" y="237"/>
                  <a:pt x="221" y="239"/>
                </a:cubicBezTo>
                <a:cubicBezTo>
                  <a:pt x="218" y="240"/>
                  <a:pt x="217" y="242"/>
                  <a:pt x="216" y="245"/>
                </a:cubicBezTo>
                <a:cubicBezTo>
                  <a:pt x="215" y="248"/>
                  <a:pt x="215" y="251"/>
                  <a:pt x="217" y="253"/>
                </a:cubicBezTo>
                <a:cubicBezTo>
                  <a:pt x="232" y="281"/>
                  <a:pt x="232" y="281"/>
                  <a:pt x="232" y="281"/>
                </a:cubicBezTo>
                <a:cubicBezTo>
                  <a:pt x="234" y="287"/>
                  <a:pt x="232" y="293"/>
                  <a:pt x="227" y="296"/>
                </a:cubicBezTo>
                <a:cubicBezTo>
                  <a:pt x="222" y="299"/>
                  <a:pt x="216" y="297"/>
                  <a:pt x="213" y="291"/>
                </a:cubicBezTo>
                <a:cubicBezTo>
                  <a:pt x="173" y="216"/>
                  <a:pt x="173" y="216"/>
                  <a:pt x="173" y="216"/>
                </a:cubicBezTo>
                <a:cubicBezTo>
                  <a:pt x="171" y="214"/>
                  <a:pt x="169" y="212"/>
                  <a:pt x="166" y="211"/>
                </a:cubicBezTo>
                <a:cubicBezTo>
                  <a:pt x="164" y="210"/>
                  <a:pt x="161" y="210"/>
                  <a:pt x="158" y="212"/>
                </a:cubicBezTo>
                <a:cubicBezTo>
                  <a:pt x="156" y="213"/>
                  <a:pt x="154" y="215"/>
                  <a:pt x="153" y="218"/>
                </a:cubicBezTo>
                <a:cubicBezTo>
                  <a:pt x="152" y="221"/>
                  <a:pt x="152" y="224"/>
                  <a:pt x="154" y="226"/>
                </a:cubicBezTo>
                <a:cubicBezTo>
                  <a:pt x="214" y="339"/>
                  <a:pt x="214" y="339"/>
                  <a:pt x="214" y="339"/>
                </a:cubicBezTo>
                <a:cubicBezTo>
                  <a:pt x="216" y="343"/>
                  <a:pt x="216" y="347"/>
                  <a:pt x="213" y="351"/>
                </a:cubicBezTo>
                <a:cubicBezTo>
                  <a:pt x="211" y="354"/>
                  <a:pt x="206" y="355"/>
                  <a:pt x="202" y="355"/>
                </a:cubicBezTo>
                <a:cubicBezTo>
                  <a:pt x="184" y="350"/>
                  <a:pt x="153" y="324"/>
                  <a:pt x="147" y="319"/>
                </a:cubicBezTo>
                <a:cubicBezTo>
                  <a:pt x="145" y="318"/>
                  <a:pt x="142" y="317"/>
                  <a:pt x="139" y="318"/>
                </a:cubicBezTo>
                <a:cubicBezTo>
                  <a:pt x="137" y="318"/>
                  <a:pt x="134" y="320"/>
                  <a:pt x="133" y="322"/>
                </a:cubicBezTo>
                <a:cubicBezTo>
                  <a:pt x="130" y="326"/>
                  <a:pt x="134" y="334"/>
                  <a:pt x="139" y="337"/>
                </a:cubicBezTo>
                <a:cubicBezTo>
                  <a:pt x="140" y="338"/>
                  <a:pt x="140" y="338"/>
                  <a:pt x="140" y="338"/>
                </a:cubicBezTo>
                <a:cubicBezTo>
                  <a:pt x="141" y="339"/>
                  <a:pt x="199" y="391"/>
                  <a:pt x="250" y="394"/>
                </a:cubicBezTo>
                <a:cubicBezTo>
                  <a:pt x="256" y="395"/>
                  <a:pt x="260" y="400"/>
                  <a:pt x="260" y="406"/>
                </a:cubicBezTo>
                <a:cubicBezTo>
                  <a:pt x="260" y="411"/>
                  <a:pt x="255" y="416"/>
                  <a:pt x="249" y="416"/>
                </a:cubicBezTo>
                <a:cubicBezTo>
                  <a:pt x="249" y="416"/>
                  <a:pt x="249" y="416"/>
                  <a:pt x="249" y="416"/>
                </a:cubicBezTo>
                <a:cubicBezTo>
                  <a:pt x="192" y="412"/>
                  <a:pt x="133" y="360"/>
                  <a:pt x="126" y="354"/>
                </a:cubicBezTo>
                <a:cubicBezTo>
                  <a:pt x="113" y="344"/>
                  <a:pt x="105" y="325"/>
                  <a:pt x="115" y="310"/>
                </a:cubicBezTo>
                <a:cubicBezTo>
                  <a:pt x="120" y="303"/>
                  <a:pt x="127" y="298"/>
                  <a:pt x="136" y="297"/>
                </a:cubicBezTo>
                <a:cubicBezTo>
                  <a:pt x="144" y="295"/>
                  <a:pt x="153" y="297"/>
                  <a:pt x="160" y="302"/>
                </a:cubicBezTo>
                <a:cubicBezTo>
                  <a:pt x="165" y="307"/>
                  <a:pt x="171" y="312"/>
                  <a:pt x="178" y="317"/>
                </a:cubicBezTo>
                <a:cubicBezTo>
                  <a:pt x="135" y="236"/>
                  <a:pt x="135" y="236"/>
                  <a:pt x="135" y="236"/>
                </a:cubicBezTo>
                <a:cubicBezTo>
                  <a:pt x="131" y="229"/>
                  <a:pt x="130" y="220"/>
                  <a:pt x="133" y="212"/>
                </a:cubicBezTo>
                <a:cubicBezTo>
                  <a:pt x="135" y="204"/>
                  <a:pt x="141" y="197"/>
                  <a:pt x="148" y="193"/>
                </a:cubicBezTo>
                <a:cubicBezTo>
                  <a:pt x="156" y="189"/>
                  <a:pt x="164" y="188"/>
                  <a:pt x="172" y="191"/>
                </a:cubicBezTo>
                <a:cubicBezTo>
                  <a:pt x="181" y="193"/>
                  <a:pt x="187" y="199"/>
                  <a:pt x="191" y="206"/>
                </a:cubicBezTo>
                <a:cubicBezTo>
                  <a:pt x="202" y="227"/>
                  <a:pt x="202" y="227"/>
                  <a:pt x="202" y="227"/>
                </a:cubicBezTo>
                <a:cubicBezTo>
                  <a:pt x="205" y="224"/>
                  <a:pt x="208" y="222"/>
                  <a:pt x="211" y="220"/>
                </a:cubicBezTo>
                <a:cubicBezTo>
                  <a:pt x="218" y="216"/>
                  <a:pt x="227" y="215"/>
                  <a:pt x="235" y="218"/>
                </a:cubicBezTo>
                <a:cubicBezTo>
                  <a:pt x="241" y="219"/>
                  <a:pt x="245" y="222"/>
                  <a:pt x="249" y="226"/>
                </a:cubicBezTo>
                <a:cubicBezTo>
                  <a:pt x="252" y="223"/>
                  <a:pt x="255" y="221"/>
                  <a:pt x="259" y="219"/>
                </a:cubicBezTo>
                <a:cubicBezTo>
                  <a:pt x="266" y="215"/>
                  <a:pt x="275" y="214"/>
                  <a:pt x="283" y="216"/>
                </a:cubicBezTo>
                <a:cubicBezTo>
                  <a:pt x="285" y="217"/>
                  <a:pt x="287" y="218"/>
                  <a:pt x="289" y="219"/>
                </a:cubicBezTo>
                <a:cubicBezTo>
                  <a:pt x="292" y="214"/>
                  <a:pt x="296" y="211"/>
                  <a:pt x="301" y="208"/>
                </a:cubicBezTo>
                <a:cubicBezTo>
                  <a:pt x="309" y="204"/>
                  <a:pt x="317" y="203"/>
                  <a:pt x="326" y="206"/>
                </a:cubicBezTo>
                <a:cubicBezTo>
                  <a:pt x="334" y="208"/>
                  <a:pt x="341" y="214"/>
                  <a:pt x="345" y="221"/>
                </a:cubicBezTo>
                <a:cubicBezTo>
                  <a:pt x="365" y="259"/>
                  <a:pt x="365" y="259"/>
                  <a:pt x="365" y="259"/>
                </a:cubicBezTo>
                <a:cubicBezTo>
                  <a:pt x="365" y="260"/>
                  <a:pt x="391" y="300"/>
                  <a:pt x="382" y="34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6" name="Group 1029"/>
          <p:cNvGrpSpPr>
            <a:grpSpLocks noChangeAspect="1"/>
          </p:cNvGrpSpPr>
          <p:nvPr/>
        </p:nvGrpSpPr>
        <p:grpSpPr bwMode="auto">
          <a:xfrm>
            <a:off x="4196471" y="3374131"/>
            <a:ext cx="367631" cy="367631"/>
            <a:chOff x="4294" y="3991"/>
            <a:chExt cx="340" cy="340"/>
          </a:xfrm>
          <a:solidFill>
            <a:schemeClr val="accent5"/>
          </a:solidFill>
        </p:grpSpPr>
        <p:sp>
          <p:nvSpPr>
            <p:cNvPr id="327" name="Freeform 1030"/>
            <p:cNvSpPr>
              <a:spLocks noEditPoints="1"/>
            </p:cNvSpPr>
            <p:nvPr/>
          </p:nvSpPr>
          <p:spPr bwMode="auto">
            <a:xfrm>
              <a:off x="4294"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1031"/>
            <p:cNvSpPr>
              <a:spLocks noEditPoints="1"/>
            </p:cNvSpPr>
            <p:nvPr/>
          </p:nvSpPr>
          <p:spPr bwMode="auto">
            <a:xfrm>
              <a:off x="4364" y="4055"/>
              <a:ext cx="190" cy="212"/>
            </a:xfrm>
            <a:custGeom>
              <a:avLst/>
              <a:gdLst>
                <a:gd name="T0" fmla="*/ 267 w 286"/>
                <a:gd name="T1" fmla="*/ 254 h 320"/>
                <a:gd name="T2" fmla="*/ 256 w 286"/>
                <a:gd name="T3" fmla="*/ 241 h 320"/>
                <a:gd name="T4" fmla="*/ 221 w 286"/>
                <a:gd name="T5" fmla="*/ 135 h 320"/>
                <a:gd name="T6" fmla="*/ 206 w 286"/>
                <a:gd name="T7" fmla="*/ 131 h 320"/>
                <a:gd name="T8" fmla="*/ 202 w 286"/>
                <a:gd name="T9" fmla="*/ 145 h 320"/>
                <a:gd name="T10" fmla="*/ 198 w 286"/>
                <a:gd name="T11" fmla="*/ 160 h 320"/>
                <a:gd name="T12" fmla="*/ 183 w 286"/>
                <a:gd name="T13" fmla="*/ 155 h 320"/>
                <a:gd name="T14" fmla="*/ 172 w 286"/>
                <a:gd name="T15" fmla="*/ 141 h 320"/>
                <a:gd name="T16" fmla="*/ 159 w 286"/>
                <a:gd name="T17" fmla="*/ 156 h 320"/>
                <a:gd name="T18" fmla="*/ 164 w 286"/>
                <a:gd name="T19" fmla="*/ 165 h 320"/>
                <a:gd name="T20" fmla="*/ 155 w 286"/>
                <a:gd name="T21" fmla="*/ 181 h 320"/>
                <a:gd name="T22" fmla="*/ 130 w 286"/>
                <a:gd name="T23" fmla="*/ 147 h 320"/>
                <a:gd name="T24" fmla="*/ 116 w 286"/>
                <a:gd name="T25" fmla="*/ 143 h 320"/>
                <a:gd name="T26" fmla="*/ 112 w 286"/>
                <a:gd name="T27" fmla="*/ 157 h 320"/>
                <a:gd name="T28" fmla="*/ 122 w 286"/>
                <a:gd name="T29" fmla="*/ 200 h 320"/>
                <a:gd name="T30" fmla="*/ 68 w 286"/>
                <a:gd name="T31" fmla="*/ 120 h 320"/>
                <a:gd name="T32" fmla="*/ 53 w 286"/>
                <a:gd name="T33" fmla="*/ 116 h 320"/>
                <a:gd name="T34" fmla="*/ 49 w 286"/>
                <a:gd name="T35" fmla="*/ 130 h 320"/>
                <a:gd name="T36" fmla="*/ 108 w 286"/>
                <a:gd name="T37" fmla="*/ 255 h 320"/>
                <a:gd name="T38" fmla="*/ 42 w 286"/>
                <a:gd name="T39" fmla="*/ 223 h 320"/>
                <a:gd name="T40" fmla="*/ 28 w 286"/>
                <a:gd name="T41" fmla="*/ 226 h 320"/>
                <a:gd name="T42" fmla="*/ 35 w 286"/>
                <a:gd name="T43" fmla="*/ 242 h 320"/>
                <a:gd name="T44" fmla="*/ 155 w 286"/>
                <a:gd name="T45" fmla="*/ 310 h 320"/>
                <a:gd name="T46" fmla="*/ 144 w 286"/>
                <a:gd name="T47" fmla="*/ 320 h 320"/>
                <a:gd name="T48" fmla="*/ 10 w 286"/>
                <a:gd name="T49" fmla="*/ 214 h 320"/>
                <a:gd name="T50" fmla="*/ 55 w 286"/>
                <a:gd name="T51" fmla="*/ 206 h 320"/>
                <a:gd name="T52" fmla="*/ 30 w 286"/>
                <a:gd name="T53" fmla="*/ 140 h 320"/>
                <a:gd name="T54" fmla="*/ 43 w 286"/>
                <a:gd name="T55" fmla="*/ 97 h 320"/>
                <a:gd name="T56" fmla="*/ 86 w 286"/>
                <a:gd name="T57" fmla="*/ 110 h 320"/>
                <a:gd name="T58" fmla="*/ 106 w 286"/>
                <a:gd name="T59" fmla="*/ 124 h 320"/>
                <a:gd name="T60" fmla="*/ 144 w 286"/>
                <a:gd name="T61" fmla="*/ 130 h 320"/>
                <a:gd name="T62" fmla="*/ 178 w 286"/>
                <a:gd name="T63" fmla="*/ 120 h 320"/>
                <a:gd name="T64" fmla="*/ 196 w 286"/>
                <a:gd name="T65" fmla="*/ 112 h 320"/>
                <a:gd name="T66" fmla="*/ 240 w 286"/>
                <a:gd name="T67" fmla="*/ 125 h 320"/>
                <a:gd name="T68" fmla="*/ 277 w 286"/>
                <a:gd name="T69" fmla="*/ 246 h 320"/>
                <a:gd name="T70" fmla="*/ 108 w 286"/>
                <a:gd name="T71" fmla="*/ 0 h 320"/>
                <a:gd name="T72" fmla="*/ 151 w 286"/>
                <a:gd name="T73" fmla="*/ 10 h 320"/>
                <a:gd name="T74" fmla="*/ 140 w 286"/>
                <a:gd name="T75" fmla="*/ 53 h 320"/>
                <a:gd name="T76" fmla="*/ 129 w 286"/>
                <a:gd name="T77" fmla="*/ 35 h 320"/>
                <a:gd name="T78" fmla="*/ 121 w 286"/>
                <a:gd name="T79" fmla="*/ 58 h 320"/>
                <a:gd name="T80" fmla="*/ 162 w 286"/>
                <a:gd name="T81" fmla="*/ 48 h 320"/>
                <a:gd name="T82" fmla="*/ 183 w 286"/>
                <a:gd name="T83" fmla="*/ 43 h 320"/>
                <a:gd name="T84" fmla="*/ 141 w 286"/>
                <a:gd name="T85" fmla="*/ 96 h 320"/>
                <a:gd name="T86" fmla="*/ 105 w 286"/>
                <a:gd name="T87" fmla="*/ 31 h 320"/>
                <a:gd name="T88" fmla="*/ 108 w 286"/>
                <a:gd name="T8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320">
                  <a:moveTo>
                    <a:pt x="277" y="246"/>
                  </a:moveTo>
                  <a:cubicBezTo>
                    <a:pt x="276" y="251"/>
                    <a:pt x="272" y="254"/>
                    <a:pt x="267" y="254"/>
                  </a:cubicBezTo>
                  <a:cubicBezTo>
                    <a:pt x="266" y="254"/>
                    <a:pt x="265" y="254"/>
                    <a:pt x="264" y="254"/>
                  </a:cubicBezTo>
                  <a:cubicBezTo>
                    <a:pt x="259" y="253"/>
                    <a:pt x="255" y="247"/>
                    <a:pt x="256" y="241"/>
                  </a:cubicBezTo>
                  <a:cubicBezTo>
                    <a:pt x="263" y="209"/>
                    <a:pt x="241" y="174"/>
                    <a:pt x="241" y="173"/>
                  </a:cubicBezTo>
                  <a:cubicBezTo>
                    <a:pt x="221" y="135"/>
                    <a:pt x="221" y="135"/>
                    <a:pt x="221" y="135"/>
                  </a:cubicBezTo>
                  <a:cubicBezTo>
                    <a:pt x="219" y="133"/>
                    <a:pt x="217" y="131"/>
                    <a:pt x="214" y="130"/>
                  </a:cubicBezTo>
                  <a:cubicBezTo>
                    <a:pt x="212" y="129"/>
                    <a:pt x="209" y="129"/>
                    <a:pt x="206" y="131"/>
                  </a:cubicBezTo>
                  <a:cubicBezTo>
                    <a:pt x="204" y="132"/>
                    <a:pt x="202" y="134"/>
                    <a:pt x="201" y="137"/>
                  </a:cubicBezTo>
                  <a:cubicBezTo>
                    <a:pt x="200" y="140"/>
                    <a:pt x="201" y="143"/>
                    <a:pt x="202" y="145"/>
                  </a:cubicBezTo>
                  <a:cubicBezTo>
                    <a:pt x="204" y="149"/>
                    <a:pt x="203" y="154"/>
                    <a:pt x="201" y="157"/>
                  </a:cubicBezTo>
                  <a:cubicBezTo>
                    <a:pt x="200" y="158"/>
                    <a:pt x="199" y="159"/>
                    <a:pt x="198" y="160"/>
                  </a:cubicBezTo>
                  <a:cubicBezTo>
                    <a:pt x="193" y="162"/>
                    <a:pt x="187" y="161"/>
                    <a:pt x="184" y="156"/>
                  </a:cubicBezTo>
                  <a:cubicBezTo>
                    <a:pt x="184" y="156"/>
                    <a:pt x="183" y="156"/>
                    <a:pt x="183" y="155"/>
                  </a:cubicBezTo>
                  <a:cubicBezTo>
                    <a:pt x="178" y="146"/>
                    <a:pt x="178" y="146"/>
                    <a:pt x="178" y="146"/>
                  </a:cubicBezTo>
                  <a:cubicBezTo>
                    <a:pt x="177" y="143"/>
                    <a:pt x="174" y="141"/>
                    <a:pt x="172" y="141"/>
                  </a:cubicBezTo>
                  <a:cubicBezTo>
                    <a:pt x="169" y="140"/>
                    <a:pt x="166" y="140"/>
                    <a:pt x="163" y="141"/>
                  </a:cubicBezTo>
                  <a:cubicBezTo>
                    <a:pt x="158" y="144"/>
                    <a:pt x="156" y="151"/>
                    <a:pt x="159" y="156"/>
                  </a:cubicBezTo>
                  <a:cubicBezTo>
                    <a:pt x="159" y="156"/>
                    <a:pt x="159" y="156"/>
                    <a:pt x="159" y="156"/>
                  </a:cubicBezTo>
                  <a:cubicBezTo>
                    <a:pt x="164" y="165"/>
                    <a:pt x="164" y="165"/>
                    <a:pt x="164" y="165"/>
                  </a:cubicBezTo>
                  <a:cubicBezTo>
                    <a:pt x="167" y="170"/>
                    <a:pt x="165" y="177"/>
                    <a:pt x="160" y="180"/>
                  </a:cubicBezTo>
                  <a:cubicBezTo>
                    <a:pt x="158" y="181"/>
                    <a:pt x="156" y="181"/>
                    <a:pt x="155" y="181"/>
                  </a:cubicBezTo>
                  <a:cubicBezTo>
                    <a:pt x="151" y="181"/>
                    <a:pt x="147" y="179"/>
                    <a:pt x="145" y="175"/>
                  </a:cubicBezTo>
                  <a:cubicBezTo>
                    <a:pt x="130" y="147"/>
                    <a:pt x="130" y="147"/>
                    <a:pt x="130" y="147"/>
                  </a:cubicBezTo>
                  <a:cubicBezTo>
                    <a:pt x="129" y="145"/>
                    <a:pt x="127" y="143"/>
                    <a:pt x="124" y="142"/>
                  </a:cubicBezTo>
                  <a:cubicBezTo>
                    <a:pt x="121" y="141"/>
                    <a:pt x="118" y="141"/>
                    <a:pt x="116" y="143"/>
                  </a:cubicBezTo>
                  <a:cubicBezTo>
                    <a:pt x="113" y="144"/>
                    <a:pt x="112" y="146"/>
                    <a:pt x="111" y="149"/>
                  </a:cubicBezTo>
                  <a:cubicBezTo>
                    <a:pt x="110" y="152"/>
                    <a:pt x="110" y="155"/>
                    <a:pt x="112" y="157"/>
                  </a:cubicBezTo>
                  <a:cubicBezTo>
                    <a:pt x="127" y="185"/>
                    <a:pt x="127" y="185"/>
                    <a:pt x="127" y="185"/>
                  </a:cubicBezTo>
                  <a:cubicBezTo>
                    <a:pt x="129" y="191"/>
                    <a:pt x="127" y="197"/>
                    <a:pt x="122" y="200"/>
                  </a:cubicBezTo>
                  <a:cubicBezTo>
                    <a:pt x="117" y="203"/>
                    <a:pt x="111" y="201"/>
                    <a:pt x="108" y="195"/>
                  </a:cubicBezTo>
                  <a:cubicBezTo>
                    <a:pt x="68" y="120"/>
                    <a:pt x="68" y="120"/>
                    <a:pt x="68" y="120"/>
                  </a:cubicBezTo>
                  <a:cubicBezTo>
                    <a:pt x="66" y="118"/>
                    <a:pt x="64" y="116"/>
                    <a:pt x="61" y="115"/>
                  </a:cubicBezTo>
                  <a:cubicBezTo>
                    <a:pt x="59" y="114"/>
                    <a:pt x="56" y="114"/>
                    <a:pt x="53" y="116"/>
                  </a:cubicBezTo>
                  <a:cubicBezTo>
                    <a:pt x="51" y="117"/>
                    <a:pt x="49" y="119"/>
                    <a:pt x="48" y="122"/>
                  </a:cubicBezTo>
                  <a:cubicBezTo>
                    <a:pt x="47" y="125"/>
                    <a:pt x="47" y="128"/>
                    <a:pt x="49" y="130"/>
                  </a:cubicBezTo>
                  <a:cubicBezTo>
                    <a:pt x="109" y="243"/>
                    <a:pt x="109" y="243"/>
                    <a:pt x="109" y="243"/>
                  </a:cubicBezTo>
                  <a:cubicBezTo>
                    <a:pt x="111" y="247"/>
                    <a:pt x="111" y="251"/>
                    <a:pt x="108" y="255"/>
                  </a:cubicBezTo>
                  <a:cubicBezTo>
                    <a:pt x="106" y="258"/>
                    <a:pt x="101" y="259"/>
                    <a:pt x="97" y="259"/>
                  </a:cubicBezTo>
                  <a:cubicBezTo>
                    <a:pt x="79" y="254"/>
                    <a:pt x="48" y="228"/>
                    <a:pt x="42" y="223"/>
                  </a:cubicBezTo>
                  <a:cubicBezTo>
                    <a:pt x="40" y="222"/>
                    <a:pt x="37" y="221"/>
                    <a:pt x="34" y="222"/>
                  </a:cubicBezTo>
                  <a:cubicBezTo>
                    <a:pt x="32" y="222"/>
                    <a:pt x="29" y="224"/>
                    <a:pt x="28" y="226"/>
                  </a:cubicBezTo>
                  <a:cubicBezTo>
                    <a:pt x="25" y="230"/>
                    <a:pt x="29" y="238"/>
                    <a:pt x="34" y="241"/>
                  </a:cubicBezTo>
                  <a:cubicBezTo>
                    <a:pt x="35" y="242"/>
                    <a:pt x="35" y="242"/>
                    <a:pt x="35" y="242"/>
                  </a:cubicBezTo>
                  <a:cubicBezTo>
                    <a:pt x="36" y="243"/>
                    <a:pt x="94" y="295"/>
                    <a:pt x="145" y="298"/>
                  </a:cubicBezTo>
                  <a:cubicBezTo>
                    <a:pt x="151" y="299"/>
                    <a:pt x="155" y="304"/>
                    <a:pt x="155" y="310"/>
                  </a:cubicBezTo>
                  <a:cubicBezTo>
                    <a:pt x="155" y="315"/>
                    <a:pt x="150" y="320"/>
                    <a:pt x="144" y="320"/>
                  </a:cubicBezTo>
                  <a:cubicBezTo>
                    <a:pt x="144" y="320"/>
                    <a:pt x="144" y="320"/>
                    <a:pt x="144" y="320"/>
                  </a:cubicBezTo>
                  <a:cubicBezTo>
                    <a:pt x="87" y="316"/>
                    <a:pt x="28" y="264"/>
                    <a:pt x="21" y="258"/>
                  </a:cubicBezTo>
                  <a:cubicBezTo>
                    <a:pt x="8" y="248"/>
                    <a:pt x="0" y="229"/>
                    <a:pt x="10" y="214"/>
                  </a:cubicBezTo>
                  <a:cubicBezTo>
                    <a:pt x="15" y="207"/>
                    <a:pt x="22" y="202"/>
                    <a:pt x="31" y="201"/>
                  </a:cubicBezTo>
                  <a:cubicBezTo>
                    <a:pt x="39" y="199"/>
                    <a:pt x="48" y="201"/>
                    <a:pt x="55" y="206"/>
                  </a:cubicBezTo>
                  <a:cubicBezTo>
                    <a:pt x="60" y="211"/>
                    <a:pt x="66" y="216"/>
                    <a:pt x="73" y="221"/>
                  </a:cubicBezTo>
                  <a:cubicBezTo>
                    <a:pt x="30" y="140"/>
                    <a:pt x="30" y="140"/>
                    <a:pt x="30" y="140"/>
                  </a:cubicBezTo>
                  <a:cubicBezTo>
                    <a:pt x="26" y="133"/>
                    <a:pt x="25" y="124"/>
                    <a:pt x="28" y="116"/>
                  </a:cubicBezTo>
                  <a:cubicBezTo>
                    <a:pt x="30" y="108"/>
                    <a:pt x="36" y="101"/>
                    <a:pt x="43" y="97"/>
                  </a:cubicBezTo>
                  <a:cubicBezTo>
                    <a:pt x="51" y="93"/>
                    <a:pt x="59" y="92"/>
                    <a:pt x="67" y="95"/>
                  </a:cubicBezTo>
                  <a:cubicBezTo>
                    <a:pt x="76" y="97"/>
                    <a:pt x="82" y="103"/>
                    <a:pt x="86" y="110"/>
                  </a:cubicBezTo>
                  <a:cubicBezTo>
                    <a:pt x="97" y="131"/>
                    <a:pt x="97" y="131"/>
                    <a:pt x="97" y="131"/>
                  </a:cubicBezTo>
                  <a:cubicBezTo>
                    <a:pt x="100" y="128"/>
                    <a:pt x="103" y="126"/>
                    <a:pt x="106" y="124"/>
                  </a:cubicBezTo>
                  <a:cubicBezTo>
                    <a:pt x="113" y="120"/>
                    <a:pt x="122" y="119"/>
                    <a:pt x="130" y="122"/>
                  </a:cubicBezTo>
                  <a:cubicBezTo>
                    <a:pt x="136" y="123"/>
                    <a:pt x="140" y="126"/>
                    <a:pt x="144" y="130"/>
                  </a:cubicBezTo>
                  <a:cubicBezTo>
                    <a:pt x="147" y="127"/>
                    <a:pt x="150" y="125"/>
                    <a:pt x="154" y="123"/>
                  </a:cubicBezTo>
                  <a:cubicBezTo>
                    <a:pt x="161" y="119"/>
                    <a:pt x="170" y="118"/>
                    <a:pt x="178" y="120"/>
                  </a:cubicBezTo>
                  <a:cubicBezTo>
                    <a:pt x="180" y="121"/>
                    <a:pt x="182" y="122"/>
                    <a:pt x="184" y="123"/>
                  </a:cubicBezTo>
                  <a:cubicBezTo>
                    <a:pt x="187" y="118"/>
                    <a:pt x="191" y="115"/>
                    <a:pt x="196" y="112"/>
                  </a:cubicBezTo>
                  <a:cubicBezTo>
                    <a:pt x="204" y="108"/>
                    <a:pt x="212" y="107"/>
                    <a:pt x="221" y="110"/>
                  </a:cubicBezTo>
                  <a:cubicBezTo>
                    <a:pt x="229" y="112"/>
                    <a:pt x="236" y="118"/>
                    <a:pt x="240" y="125"/>
                  </a:cubicBezTo>
                  <a:cubicBezTo>
                    <a:pt x="260" y="163"/>
                    <a:pt x="260" y="163"/>
                    <a:pt x="260" y="163"/>
                  </a:cubicBezTo>
                  <a:cubicBezTo>
                    <a:pt x="260" y="164"/>
                    <a:pt x="286" y="204"/>
                    <a:pt x="277" y="246"/>
                  </a:cubicBezTo>
                  <a:close/>
                  <a:moveTo>
                    <a:pt x="97" y="10"/>
                  </a:moveTo>
                  <a:cubicBezTo>
                    <a:pt x="97" y="4"/>
                    <a:pt x="102" y="0"/>
                    <a:pt x="108" y="0"/>
                  </a:cubicBezTo>
                  <a:cubicBezTo>
                    <a:pt x="140" y="0"/>
                    <a:pt x="140" y="0"/>
                    <a:pt x="140" y="0"/>
                  </a:cubicBezTo>
                  <a:cubicBezTo>
                    <a:pt x="146" y="0"/>
                    <a:pt x="151" y="4"/>
                    <a:pt x="151" y="10"/>
                  </a:cubicBezTo>
                  <a:cubicBezTo>
                    <a:pt x="151" y="42"/>
                    <a:pt x="151" y="42"/>
                    <a:pt x="151" y="42"/>
                  </a:cubicBezTo>
                  <a:cubicBezTo>
                    <a:pt x="151" y="48"/>
                    <a:pt x="146" y="53"/>
                    <a:pt x="140" y="53"/>
                  </a:cubicBezTo>
                  <a:cubicBezTo>
                    <a:pt x="134" y="53"/>
                    <a:pt x="129" y="48"/>
                    <a:pt x="129" y="42"/>
                  </a:cubicBezTo>
                  <a:cubicBezTo>
                    <a:pt x="129" y="35"/>
                    <a:pt x="129" y="35"/>
                    <a:pt x="129" y="35"/>
                  </a:cubicBezTo>
                  <a:cubicBezTo>
                    <a:pt x="127" y="37"/>
                    <a:pt x="125" y="39"/>
                    <a:pt x="123" y="42"/>
                  </a:cubicBezTo>
                  <a:cubicBezTo>
                    <a:pt x="120" y="47"/>
                    <a:pt x="119" y="52"/>
                    <a:pt x="121" y="58"/>
                  </a:cubicBezTo>
                  <a:cubicBezTo>
                    <a:pt x="123" y="69"/>
                    <a:pt x="135" y="76"/>
                    <a:pt x="146" y="74"/>
                  </a:cubicBezTo>
                  <a:cubicBezTo>
                    <a:pt x="158" y="71"/>
                    <a:pt x="165" y="59"/>
                    <a:pt x="162" y="48"/>
                  </a:cubicBezTo>
                  <a:cubicBezTo>
                    <a:pt x="161" y="42"/>
                    <a:pt x="164" y="36"/>
                    <a:pt x="170" y="35"/>
                  </a:cubicBezTo>
                  <a:cubicBezTo>
                    <a:pt x="176" y="33"/>
                    <a:pt x="181" y="37"/>
                    <a:pt x="183" y="43"/>
                  </a:cubicBezTo>
                  <a:cubicBezTo>
                    <a:pt x="188" y="66"/>
                    <a:pt x="174" y="89"/>
                    <a:pt x="152" y="94"/>
                  </a:cubicBezTo>
                  <a:cubicBezTo>
                    <a:pt x="148" y="95"/>
                    <a:pt x="145" y="96"/>
                    <a:pt x="141" y="96"/>
                  </a:cubicBezTo>
                  <a:cubicBezTo>
                    <a:pt x="122" y="96"/>
                    <a:pt x="105" y="82"/>
                    <a:pt x="100" y="63"/>
                  </a:cubicBezTo>
                  <a:cubicBezTo>
                    <a:pt x="97" y="52"/>
                    <a:pt x="99" y="40"/>
                    <a:pt x="105" y="31"/>
                  </a:cubicBezTo>
                  <a:cubicBezTo>
                    <a:pt x="107" y="27"/>
                    <a:pt x="110" y="24"/>
                    <a:pt x="113" y="21"/>
                  </a:cubicBezTo>
                  <a:cubicBezTo>
                    <a:pt x="108" y="21"/>
                    <a:pt x="108" y="21"/>
                    <a:pt x="108" y="21"/>
                  </a:cubicBezTo>
                  <a:cubicBezTo>
                    <a:pt x="102" y="21"/>
                    <a:pt x="97" y="16"/>
                    <a:pt x="9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9" name="Freeform 1035"/>
          <p:cNvSpPr>
            <a:spLocks noChangeAspect="1" noEditPoints="1"/>
          </p:cNvSpPr>
          <p:nvPr/>
        </p:nvSpPr>
        <p:spPr bwMode="auto">
          <a:xfrm>
            <a:off x="4617590" y="3374131"/>
            <a:ext cx="368713" cy="36763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256 h 512"/>
              <a:gd name="T42" fmla="*/ 245 w 512"/>
              <a:gd name="T43" fmla="*/ 256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45 w 512"/>
              <a:gd name="T69" fmla="*/ 202 h 512"/>
              <a:gd name="T70" fmla="*/ 256 w 512"/>
              <a:gd name="T71" fmla="*/ 224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0" name="Group 1038"/>
          <p:cNvGrpSpPr>
            <a:grpSpLocks noChangeAspect="1"/>
          </p:cNvGrpSpPr>
          <p:nvPr/>
        </p:nvGrpSpPr>
        <p:grpSpPr bwMode="auto">
          <a:xfrm>
            <a:off x="5039791" y="3374131"/>
            <a:ext cx="367631" cy="367631"/>
            <a:chOff x="4995" y="3988"/>
            <a:chExt cx="340" cy="340"/>
          </a:xfrm>
          <a:solidFill>
            <a:schemeClr val="accent5"/>
          </a:solidFill>
        </p:grpSpPr>
        <p:sp>
          <p:nvSpPr>
            <p:cNvPr id="331" name="Freeform 1039"/>
            <p:cNvSpPr>
              <a:spLocks noEditPoints="1"/>
            </p:cNvSpPr>
            <p:nvPr/>
          </p:nvSpPr>
          <p:spPr bwMode="auto">
            <a:xfrm>
              <a:off x="4995"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1040"/>
            <p:cNvSpPr>
              <a:spLocks noEditPoints="1"/>
            </p:cNvSpPr>
            <p:nvPr/>
          </p:nvSpPr>
          <p:spPr bwMode="auto">
            <a:xfrm>
              <a:off x="5069" y="4052"/>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49 w 265"/>
                <a:gd name="T57" fmla="*/ 64 h 320"/>
                <a:gd name="T58" fmla="*/ 91 w 265"/>
                <a:gd name="T59" fmla="*/ 53 h 320"/>
                <a:gd name="T60" fmla="*/ 78 w 265"/>
                <a:gd name="T61" fmla="*/ 42 h 320"/>
                <a:gd name="T62" fmla="*/ 233 w 265"/>
                <a:gd name="T63" fmla="*/ 60 h 320"/>
                <a:gd name="T64" fmla="*/ 248 w 265"/>
                <a:gd name="T65" fmla="*/ 61 h 320"/>
                <a:gd name="T66" fmla="*/ 145 w 265"/>
                <a:gd name="T67" fmla="*/ 0 h 320"/>
                <a:gd name="T68" fmla="*/ 59 w 265"/>
                <a:gd name="T69" fmla="*/ 21 h 320"/>
                <a:gd name="T70" fmla="*/ 38 w 265"/>
                <a:gd name="T71" fmla="*/ 21 h 320"/>
                <a:gd name="T72" fmla="*/ 49 w 265"/>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3" name="Freeform 1044"/>
          <p:cNvSpPr>
            <a:spLocks noChangeAspect="1" noEditPoints="1"/>
          </p:cNvSpPr>
          <p:nvPr/>
        </p:nvSpPr>
        <p:spPr bwMode="auto">
          <a:xfrm>
            <a:off x="5460910" y="3374131"/>
            <a:ext cx="367631" cy="367631"/>
          </a:xfrm>
          <a:custGeom>
            <a:avLst/>
            <a:gdLst>
              <a:gd name="T0" fmla="*/ 0 w 512"/>
              <a:gd name="T1" fmla="*/ 256 h 512"/>
              <a:gd name="T2" fmla="*/ 512 w 512"/>
              <a:gd name="T3" fmla="*/ 256 h 512"/>
              <a:gd name="T4" fmla="*/ 138 w 512"/>
              <a:gd name="T5" fmla="*/ 117 h 512"/>
              <a:gd name="T6" fmla="*/ 160 w 512"/>
              <a:gd name="T7" fmla="*/ 117 h 512"/>
              <a:gd name="T8" fmla="*/ 256 w 512"/>
              <a:gd name="T9" fmla="*/ 96 h 512"/>
              <a:gd name="T10" fmla="*/ 341 w 512"/>
              <a:gd name="T11" fmla="*/ 117 h 512"/>
              <a:gd name="T12" fmla="*/ 362 w 512"/>
              <a:gd name="T13" fmla="*/ 117 h 512"/>
              <a:gd name="T14" fmla="*/ 352 w 512"/>
              <a:gd name="T15" fmla="*/ 160 h 512"/>
              <a:gd name="T16" fmla="*/ 309 w 512"/>
              <a:gd name="T17" fmla="*/ 149 h 512"/>
              <a:gd name="T18" fmla="*/ 323 w 512"/>
              <a:gd name="T19" fmla="*/ 138 h 512"/>
              <a:gd name="T20" fmla="*/ 175 w 512"/>
              <a:gd name="T21" fmla="*/ 138 h 512"/>
              <a:gd name="T22" fmla="*/ 192 w 512"/>
              <a:gd name="T23" fmla="*/ 149 h 512"/>
              <a:gd name="T24" fmla="*/ 149 w 512"/>
              <a:gd name="T25" fmla="*/ 160 h 512"/>
              <a:gd name="T26" fmla="*/ 138 w 512"/>
              <a:gd name="T27" fmla="*/ 117 h 512"/>
              <a:gd name="T28" fmla="*/ 341 w 512"/>
              <a:gd name="T29" fmla="*/ 416 h 512"/>
              <a:gd name="T30" fmla="*/ 333 w 512"/>
              <a:gd name="T31" fmla="*/ 398 h 512"/>
              <a:gd name="T32" fmla="*/ 352 w 512"/>
              <a:gd name="T33" fmla="*/ 288 h 512"/>
              <a:gd name="T34" fmla="*/ 330 w 512"/>
              <a:gd name="T35" fmla="*/ 288 h 512"/>
              <a:gd name="T36" fmla="*/ 309 w 512"/>
              <a:gd name="T37" fmla="*/ 288 h 512"/>
              <a:gd name="T38" fmla="*/ 298 w 512"/>
              <a:gd name="T39" fmla="*/ 266 h 512"/>
              <a:gd name="T40" fmla="*/ 288 w 512"/>
              <a:gd name="T41" fmla="*/ 288 h 512"/>
              <a:gd name="T42" fmla="*/ 266 w 512"/>
              <a:gd name="T43" fmla="*/ 288 h 512"/>
              <a:gd name="T44" fmla="*/ 256 w 512"/>
              <a:gd name="T45" fmla="*/ 245 h 512"/>
              <a:gd name="T46" fmla="*/ 245 w 512"/>
              <a:gd name="T47" fmla="*/ 288 h 512"/>
              <a:gd name="T48" fmla="*/ 224 w 512"/>
              <a:gd name="T49" fmla="*/ 288 h 512"/>
              <a:gd name="T50" fmla="*/ 213 w 512"/>
              <a:gd name="T51" fmla="*/ 192 h 512"/>
              <a:gd name="T52" fmla="*/ 202 w 512"/>
              <a:gd name="T53" fmla="*/ 330 h 512"/>
              <a:gd name="T54" fmla="*/ 185 w 512"/>
              <a:gd name="T55" fmla="*/ 338 h 512"/>
              <a:gd name="T56" fmla="*/ 146 w 512"/>
              <a:gd name="T57" fmla="*/ 276 h 512"/>
              <a:gd name="T58" fmla="*/ 137 w 512"/>
              <a:gd name="T59" fmla="*/ 294 h 512"/>
              <a:gd name="T60" fmla="*/ 208 w 512"/>
              <a:gd name="T61" fmla="*/ 396 h 512"/>
              <a:gd name="T62" fmla="*/ 202 w 512"/>
              <a:gd name="T63" fmla="*/ 416 h 512"/>
              <a:gd name="T64" fmla="*/ 118 w 512"/>
              <a:gd name="T65" fmla="*/ 303 h 512"/>
              <a:gd name="T66" fmla="*/ 153 w 512"/>
              <a:gd name="T67" fmla="*/ 256 h 512"/>
              <a:gd name="T68" fmla="*/ 181 w 512"/>
              <a:gd name="T69" fmla="*/ 293 h 512"/>
              <a:gd name="T70" fmla="*/ 213 w 512"/>
              <a:gd name="T71" fmla="*/ 170 h 512"/>
              <a:gd name="T72" fmla="*/ 245 w 512"/>
              <a:gd name="T73" fmla="*/ 226 h 512"/>
              <a:gd name="T74" fmla="*/ 286 w 512"/>
              <a:gd name="T75" fmla="*/ 247 h 512"/>
              <a:gd name="T76" fmla="*/ 325 w 512"/>
              <a:gd name="T77" fmla="*/ 260 h 512"/>
              <a:gd name="T78" fmla="*/ 373 w 512"/>
              <a:gd name="T79" fmla="*/ 288 h 512"/>
              <a:gd name="T80" fmla="*/ 349 w 512"/>
              <a:gd name="T8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117"/>
                </a:moveTo>
                <a:cubicBezTo>
                  <a:pt x="138" y="111"/>
                  <a:pt x="143" y="106"/>
                  <a:pt x="149" y="106"/>
                </a:cubicBezTo>
                <a:cubicBezTo>
                  <a:pt x="155" y="106"/>
                  <a:pt x="160" y="111"/>
                  <a:pt x="160" y="117"/>
                </a:cubicBezTo>
                <a:cubicBezTo>
                  <a:pt x="160" y="123"/>
                  <a:pt x="160" y="123"/>
                  <a:pt x="160" y="123"/>
                </a:cubicBezTo>
                <a:cubicBezTo>
                  <a:pt x="187" y="99"/>
                  <a:pt x="225"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17" y="117"/>
                  <a:pt x="193" y="123"/>
                  <a:pt x="175" y="138"/>
                </a:cubicBezTo>
                <a:cubicBezTo>
                  <a:pt x="181" y="138"/>
                  <a:pt x="181" y="138"/>
                  <a:pt x="181" y="138"/>
                </a:cubicBezTo>
                <a:cubicBezTo>
                  <a:pt x="187" y="138"/>
                  <a:pt x="192" y="143"/>
                  <a:pt x="192" y="149"/>
                </a:cubicBezTo>
                <a:cubicBezTo>
                  <a:pt x="192" y="155"/>
                  <a:pt x="187" y="160"/>
                  <a:pt x="181" y="160"/>
                </a:cubicBezTo>
                <a:cubicBezTo>
                  <a:pt x="149" y="160"/>
                  <a:pt x="149" y="160"/>
                  <a:pt x="149" y="160"/>
                </a:cubicBezTo>
                <a:cubicBezTo>
                  <a:pt x="143" y="160"/>
                  <a:pt x="138" y="155"/>
                  <a:pt x="138" y="149"/>
                </a:cubicBezTo>
                <a:lnTo>
                  <a:pt x="138" y="117"/>
                </a:lnTo>
                <a:close/>
                <a:moveTo>
                  <a:pt x="349" y="412"/>
                </a:moveTo>
                <a:cubicBezTo>
                  <a:pt x="347" y="414"/>
                  <a:pt x="344" y="416"/>
                  <a:pt x="341" y="416"/>
                </a:cubicBezTo>
                <a:cubicBezTo>
                  <a:pt x="339" y="416"/>
                  <a:pt x="336" y="415"/>
                  <a:pt x="334" y="413"/>
                </a:cubicBezTo>
                <a:cubicBezTo>
                  <a:pt x="330" y="409"/>
                  <a:pt x="329" y="403"/>
                  <a:pt x="333" y="398"/>
                </a:cubicBezTo>
                <a:cubicBezTo>
                  <a:pt x="355" y="373"/>
                  <a:pt x="352" y="332"/>
                  <a:pt x="352" y="331"/>
                </a:cubicBezTo>
                <a:cubicBezTo>
                  <a:pt x="352" y="288"/>
                  <a:pt x="352" y="288"/>
                  <a:pt x="352" y="288"/>
                </a:cubicBezTo>
                <a:cubicBezTo>
                  <a:pt x="352" y="282"/>
                  <a:pt x="347" y="277"/>
                  <a:pt x="341" y="277"/>
                </a:cubicBezTo>
                <a:cubicBezTo>
                  <a:pt x="335" y="277"/>
                  <a:pt x="330" y="282"/>
                  <a:pt x="330" y="288"/>
                </a:cubicBezTo>
                <a:cubicBezTo>
                  <a:pt x="330" y="294"/>
                  <a:pt x="326"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7"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4" name="Group 1047"/>
          <p:cNvGrpSpPr>
            <a:grpSpLocks noChangeAspect="1"/>
          </p:cNvGrpSpPr>
          <p:nvPr/>
        </p:nvGrpSpPr>
        <p:grpSpPr bwMode="auto">
          <a:xfrm>
            <a:off x="5882029" y="3374131"/>
            <a:ext cx="367631" cy="367631"/>
            <a:chOff x="5824" y="3955"/>
            <a:chExt cx="340" cy="340"/>
          </a:xfrm>
          <a:solidFill>
            <a:schemeClr val="accent5"/>
          </a:solidFill>
        </p:grpSpPr>
        <p:sp>
          <p:nvSpPr>
            <p:cNvPr id="335" name="Freeform 1048"/>
            <p:cNvSpPr>
              <a:spLocks noEditPoints="1"/>
            </p:cNvSpPr>
            <p:nvPr/>
          </p:nvSpPr>
          <p:spPr bwMode="auto">
            <a:xfrm>
              <a:off x="5824" y="3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1049"/>
            <p:cNvSpPr>
              <a:spLocks noEditPoints="1"/>
            </p:cNvSpPr>
            <p:nvPr/>
          </p:nvSpPr>
          <p:spPr bwMode="auto">
            <a:xfrm>
              <a:off x="5898" y="4019"/>
              <a:ext cx="176" cy="212"/>
            </a:xfrm>
            <a:custGeom>
              <a:avLst/>
              <a:gdLst>
                <a:gd name="T0" fmla="*/ 230 w 266"/>
                <a:gd name="T1" fmla="*/ 320 h 320"/>
                <a:gd name="T2" fmla="*/ 222 w 266"/>
                <a:gd name="T3" fmla="*/ 302 h 320"/>
                <a:gd name="T4" fmla="*/ 241 w 266"/>
                <a:gd name="T5" fmla="*/ 192 h 320"/>
                <a:gd name="T6" fmla="*/ 219 w 266"/>
                <a:gd name="T7" fmla="*/ 192 h 320"/>
                <a:gd name="T8" fmla="*/ 198 w 266"/>
                <a:gd name="T9" fmla="*/ 192 h 320"/>
                <a:gd name="T10" fmla="*/ 187 w 266"/>
                <a:gd name="T11" fmla="*/ 170 h 320"/>
                <a:gd name="T12" fmla="*/ 177 w 266"/>
                <a:gd name="T13" fmla="*/ 192 h 320"/>
                <a:gd name="T14" fmla="*/ 155 w 266"/>
                <a:gd name="T15" fmla="*/ 192 h 320"/>
                <a:gd name="T16" fmla="*/ 145 w 266"/>
                <a:gd name="T17" fmla="*/ 149 h 320"/>
                <a:gd name="T18" fmla="*/ 134 w 266"/>
                <a:gd name="T19" fmla="*/ 192 h 320"/>
                <a:gd name="T20" fmla="*/ 113 w 266"/>
                <a:gd name="T21" fmla="*/ 192 h 320"/>
                <a:gd name="T22" fmla="*/ 102 w 266"/>
                <a:gd name="T23" fmla="*/ 96 h 320"/>
                <a:gd name="T24" fmla="*/ 91 w 266"/>
                <a:gd name="T25" fmla="*/ 234 h 320"/>
                <a:gd name="T26" fmla="*/ 74 w 266"/>
                <a:gd name="T27" fmla="*/ 242 h 320"/>
                <a:gd name="T28" fmla="*/ 35 w 266"/>
                <a:gd name="T29" fmla="*/ 180 h 320"/>
                <a:gd name="T30" fmla="*/ 26 w 266"/>
                <a:gd name="T31" fmla="*/ 198 h 320"/>
                <a:gd name="T32" fmla="*/ 97 w 266"/>
                <a:gd name="T33" fmla="*/ 300 h 320"/>
                <a:gd name="T34" fmla="*/ 91 w 266"/>
                <a:gd name="T35" fmla="*/ 320 h 320"/>
                <a:gd name="T36" fmla="*/ 7 w 266"/>
                <a:gd name="T37" fmla="*/ 207 h 320"/>
                <a:gd name="T38" fmla="*/ 42 w 266"/>
                <a:gd name="T39" fmla="*/ 160 h 320"/>
                <a:gd name="T40" fmla="*/ 70 w 266"/>
                <a:gd name="T41" fmla="*/ 197 h 320"/>
                <a:gd name="T42" fmla="*/ 102 w 266"/>
                <a:gd name="T43" fmla="*/ 74 h 320"/>
                <a:gd name="T44" fmla="*/ 134 w 266"/>
                <a:gd name="T45" fmla="*/ 130 h 320"/>
                <a:gd name="T46" fmla="*/ 175 w 266"/>
                <a:gd name="T47" fmla="*/ 151 h 320"/>
                <a:gd name="T48" fmla="*/ 214 w 266"/>
                <a:gd name="T49" fmla="*/ 164 h 320"/>
                <a:gd name="T50" fmla="*/ 262 w 266"/>
                <a:gd name="T51" fmla="*/ 192 h 320"/>
                <a:gd name="T52" fmla="*/ 238 w 266"/>
                <a:gd name="T53" fmla="*/ 316 h 320"/>
                <a:gd name="T54" fmla="*/ 70 w 266"/>
                <a:gd name="T55" fmla="*/ 64 h 320"/>
                <a:gd name="T56" fmla="*/ 70 w 266"/>
                <a:gd name="T57" fmla="*/ 42 h 320"/>
                <a:gd name="T58" fmla="*/ 145 w 266"/>
                <a:gd name="T59" fmla="*/ 21 h 320"/>
                <a:gd name="T60" fmla="*/ 209 w 266"/>
                <a:gd name="T61" fmla="*/ 42 h 320"/>
                <a:gd name="T62" fmla="*/ 209 w 266"/>
                <a:gd name="T63" fmla="*/ 64 h 320"/>
                <a:gd name="T64" fmla="*/ 251 w 266"/>
                <a:gd name="T65" fmla="*/ 53 h 320"/>
                <a:gd name="T66" fmla="*/ 241 w 266"/>
                <a:gd name="T67" fmla="*/ 10 h 320"/>
                <a:gd name="T68" fmla="*/ 230 w 266"/>
                <a:gd name="T69" fmla="*/ 29 h 320"/>
                <a:gd name="T70" fmla="*/ 49 w 266"/>
                <a:gd name="T71" fmla="*/ 27 h 320"/>
                <a:gd name="T72" fmla="*/ 38 w 266"/>
                <a:gd name="T73" fmla="*/ 10 h 320"/>
                <a:gd name="T74" fmla="*/ 27 w 266"/>
                <a:gd name="T75"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 h="320">
                  <a:moveTo>
                    <a:pt x="238" y="316"/>
                  </a:moveTo>
                  <a:cubicBezTo>
                    <a:pt x="236" y="318"/>
                    <a:pt x="233" y="320"/>
                    <a:pt x="230" y="320"/>
                  </a:cubicBezTo>
                  <a:cubicBezTo>
                    <a:pt x="228" y="320"/>
                    <a:pt x="225" y="319"/>
                    <a:pt x="223" y="317"/>
                  </a:cubicBezTo>
                  <a:cubicBezTo>
                    <a:pt x="219" y="313"/>
                    <a:pt x="218" y="307"/>
                    <a:pt x="222" y="302"/>
                  </a:cubicBezTo>
                  <a:cubicBezTo>
                    <a:pt x="244" y="277"/>
                    <a:pt x="241" y="236"/>
                    <a:pt x="241" y="235"/>
                  </a:cubicBezTo>
                  <a:cubicBezTo>
                    <a:pt x="241" y="192"/>
                    <a:pt x="241" y="192"/>
                    <a:pt x="241" y="192"/>
                  </a:cubicBezTo>
                  <a:cubicBezTo>
                    <a:pt x="241" y="186"/>
                    <a:pt x="236" y="181"/>
                    <a:pt x="230" y="181"/>
                  </a:cubicBezTo>
                  <a:cubicBezTo>
                    <a:pt x="224" y="181"/>
                    <a:pt x="219" y="186"/>
                    <a:pt x="219" y="192"/>
                  </a:cubicBezTo>
                  <a:cubicBezTo>
                    <a:pt x="219" y="198"/>
                    <a:pt x="215"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6" y="284"/>
                    <a:pt x="238" y="316"/>
                  </a:cubicBezTo>
                  <a:close/>
                  <a:moveTo>
                    <a:pt x="38" y="64"/>
                  </a:moveTo>
                  <a:cubicBezTo>
                    <a:pt x="70" y="64"/>
                    <a:pt x="70" y="64"/>
                    <a:pt x="70" y="64"/>
                  </a:cubicBezTo>
                  <a:cubicBezTo>
                    <a:pt x="76" y="64"/>
                    <a:pt x="81" y="59"/>
                    <a:pt x="81" y="53"/>
                  </a:cubicBezTo>
                  <a:cubicBezTo>
                    <a:pt x="81" y="47"/>
                    <a:pt x="76" y="42"/>
                    <a:pt x="70" y="42"/>
                  </a:cubicBezTo>
                  <a:cubicBezTo>
                    <a:pt x="64" y="42"/>
                    <a:pt x="64" y="42"/>
                    <a:pt x="64" y="42"/>
                  </a:cubicBezTo>
                  <a:cubicBezTo>
                    <a:pt x="82" y="27"/>
                    <a:pt x="106"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14" y="0"/>
                    <a:pt x="76" y="3"/>
                    <a:pt x="49" y="27"/>
                  </a:cubicBezTo>
                  <a:cubicBezTo>
                    <a:pt x="49" y="21"/>
                    <a:pt x="49" y="21"/>
                    <a:pt x="49" y="21"/>
                  </a:cubicBezTo>
                  <a:cubicBezTo>
                    <a:pt x="49" y="15"/>
                    <a:pt x="44" y="10"/>
                    <a:pt x="38" y="10"/>
                  </a:cubicBezTo>
                  <a:cubicBezTo>
                    <a:pt x="32" y="10"/>
                    <a:pt x="27" y="15"/>
                    <a:pt x="27" y="21"/>
                  </a:cubicBezTo>
                  <a:cubicBezTo>
                    <a:pt x="27" y="53"/>
                    <a:pt x="27" y="53"/>
                    <a:pt x="27" y="53"/>
                  </a:cubicBezTo>
                  <a:cubicBezTo>
                    <a:pt x="27" y="59"/>
                    <a:pt x="32" y="64"/>
                    <a:pt x="38"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2" name="Freeform 1063"/>
          <p:cNvSpPr>
            <a:spLocks noChangeAspect="1" noEditPoints="1"/>
          </p:cNvSpPr>
          <p:nvPr/>
        </p:nvSpPr>
        <p:spPr bwMode="auto">
          <a:xfrm>
            <a:off x="6303148" y="3374131"/>
            <a:ext cx="367631" cy="367631"/>
          </a:xfrm>
          <a:custGeom>
            <a:avLst/>
            <a:gdLst>
              <a:gd name="T0" fmla="*/ 0 w 512"/>
              <a:gd name="T1" fmla="*/ 256 h 512"/>
              <a:gd name="T2" fmla="*/ 512 w 512"/>
              <a:gd name="T3" fmla="*/ 256 h 512"/>
              <a:gd name="T4" fmla="*/ 213 w 512"/>
              <a:gd name="T5" fmla="*/ 128 h 512"/>
              <a:gd name="T6" fmla="*/ 277 w 512"/>
              <a:gd name="T7" fmla="*/ 213 h 512"/>
              <a:gd name="T8" fmla="*/ 213 w 512"/>
              <a:gd name="T9" fmla="*/ 149 h 512"/>
              <a:gd name="T10" fmla="*/ 167 w 512"/>
              <a:gd name="T11" fmla="*/ 229 h 512"/>
              <a:gd name="T12" fmla="*/ 158 w 512"/>
              <a:gd name="T13" fmla="*/ 245 h 512"/>
              <a:gd name="T14" fmla="*/ 138 w 512"/>
              <a:gd name="T15" fmla="*/ 202 h 512"/>
              <a:gd name="T16" fmla="*/ 349 w 512"/>
              <a:gd name="T17" fmla="*/ 412 h 512"/>
              <a:gd name="T18" fmla="*/ 334 w 512"/>
              <a:gd name="T19" fmla="*/ 413 h 512"/>
              <a:gd name="T20" fmla="*/ 351 w 512"/>
              <a:gd name="T21" fmla="*/ 331 h 512"/>
              <a:gd name="T22" fmla="*/ 341 w 512"/>
              <a:gd name="T23" fmla="*/ 277 h 512"/>
              <a:gd name="T24" fmla="*/ 330 w 512"/>
              <a:gd name="T25" fmla="*/ 288 h 512"/>
              <a:gd name="T26" fmla="*/ 320 w 512"/>
              <a:gd name="T27" fmla="*/ 298 h 512"/>
              <a:gd name="T28" fmla="*/ 309 w 512"/>
              <a:gd name="T29" fmla="*/ 288 h 512"/>
              <a:gd name="T30" fmla="*/ 298 w 512"/>
              <a:gd name="T31" fmla="*/ 266 h 512"/>
              <a:gd name="T32" fmla="*/ 288 w 512"/>
              <a:gd name="T33" fmla="*/ 288 h 512"/>
              <a:gd name="T34" fmla="*/ 266 w 512"/>
              <a:gd name="T35" fmla="*/ 288 h 512"/>
              <a:gd name="T36" fmla="*/ 256 w 512"/>
              <a:gd name="T37" fmla="*/ 245 h 512"/>
              <a:gd name="T38" fmla="*/ 245 w 512"/>
              <a:gd name="T39" fmla="*/ 288 h 512"/>
              <a:gd name="T40" fmla="*/ 224 w 512"/>
              <a:gd name="T41" fmla="*/ 288 h 512"/>
              <a:gd name="T42" fmla="*/ 213 w 512"/>
              <a:gd name="T43" fmla="*/ 192 h 512"/>
              <a:gd name="T44" fmla="*/ 202 w 512"/>
              <a:gd name="T45" fmla="*/ 330 h 512"/>
              <a:gd name="T46" fmla="*/ 185 w 512"/>
              <a:gd name="T47" fmla="*/ 338 h 512"/>
              <a:gd name="T48" fmla="*/ 146 w 512"/>
              <a:gd name="T49" fmla="*/ 276 h 512"/>
              <a:gd name="T50" fmla="*/ 137 w 512"/>
              <a:gd name="T51" fmla="*/ 294 h 512"/>
              <a:gd name="T52" fmla="*/ 208 w 512"/>
              <a:gd name="T53" fmla="*/ 396 h 512"/>
              <a:gd name="T54" fmla="*/ 202 w 512"/>
              <a:gd name="T55" fmla="*/ 416 h 512"/>
              <a:gd name="T56" fmla="*/ 118 w 512"/>
              <a:gd name="T57" fmla="*/ 303 h 512"/>
              <a:gd name="T58" fmla="*/ 153 w 512"/>
              <a:gd name="T59" fmla="*/ 256 h 512"/>
              <a:gd name="T60" fmla="*/ 181 w 512"/>
              <a:gd name="T61" fmla="*/ 293 h 512"/>
              <a:gd name="T62" fmla="*/ 213 w 512"/>
              <a:gd name="T63" fmla="*/ 170 h 512"/>
              <a:gd name="T64" fmla="*/ 245 w 512"/>
              <a:gd name="T65" fmla="*/ 226 h 512"/>
              <a:gd name="T66" fmla="*/ 286 w 512"/>
              <a:gd name="T67" fmla="*/ 247 h 512"/>
              <a:gd name="T68" fmla="*/ 325 w 512"/>
              <a:gd name="T69" fmla="*/ 260 h 512"/>
              <a:gd name="T70" fmla="*/ 373 w 512"/>
              <a:gd name="T71" fmla="*/ 288 h 512"/>
              <a:gd name="T72" fmla="*/ 349 w 512"/>
              <a:gd name="T73"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128"/>
                </a:moveTo>
                <a:cubicBezTo>
                  <a:pt x="254" y="128"/>
                  <a:pt x="288" y="161"/>
                  <a:pt x="288" y="202"/>
                </a:cubicBezTo>
                <a:cubicBezTo>
                  <a:pt x="288" y="208"/>
                  <a:pt x="283" y="213"/>
                  <a:pt x="277" y="213"/>
                </a:cubicBezTo>
                <a:cubicBezTo>
                  <a:pt x="271" y="213"/>
                  <a:pt x="266" y="208"/>
                  <a:pt x="266" y="202"/>
                </a:cubicBezTo>
                <a:cubicBezTo>
                  <a:pt x="266" y="173"/>
                  <a:pt x="242" y="149"/>
                  <a:pt x="213" y="149"/>
                </a:cubicBezTo>
                <a:cubicBezTo>
                  <a:pt x="184" y="149"/>
                  <a:pt x="160" y="173"/>
                  <a:pt x="160" y="202"/>
                </a:cubicBezTo>
                <a:cubicBezTo>
                  <a:pt x="160" y="212"/>
                  <a:pt x="162" y="221"/>
                  <a:pt x="167" y="229"/>
                </a:cubicBezTo>
                <a:cubicBezTo>
                  <a:pt x="170" y="234"/>
                  <a:pt x="168" y="241"/>
                  <a:pt x="163" y="244"/>
                </a:cubicBezTo>
                <a:cubicBezTo>
                  <a:pt x="161" y="245"/>
                  <a:pt x="159" y="245"/>
                  <a:pt x="158" y="245"/>
                </a:cubicBezTo>
                <a:cubicBezTo>
                  <a:pt x="154" y="245"/>
                  <a:pt x="150" y="243"/>
                  <a:pt x="148" y="240"/>
                </a:cubicBezTo>
                <a:cubicBezTo>
                  <a:pt x="142" y="228"/>
                  <a:pt x="138" y="215"/>
                  <a:pt x="138" y="202"/>
                </a:cubicBezTo>
                <a:cubicBezTo>
                  <a:pt x="138" y="161"/>
                  <a:pt x="172" y="128"/>
                  <a:pt x="213" y="128"/>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3" name="Group 1066"/>
          <p:cNvGrpSpPr>
            <a:grpSpLocks noChangeAspect="1"/>
          </p:cNvGrpSpPr>
          <p:nvPr/>
        </p:nvGrpSpPr>
        <p:grpSpPr bwMode="auto">
          <a:xfrm>
            <a:off x="6724261" y="3374131"/>
            <a:ext cx="367631" cy="367631"/>
            <a:chOff x="5614" y="6060"/>
            <a:chExt cx="340" cy="340"/>
          </a:xfrm>
          <a:solidFill>
            <a:schemeClr val="accent5"/>
          </a:solidFill>
        </p:grpSpPr>
        <p:sp>
          <p:nvSpPr>
            <p:cNvPr id="344" name="Freeform 1067"/>
            <p:cNvSpPr>
              <a:spLocks noEditPoints="1"/>
            </p:cNvSpPr>
            <p:nvPr/>
          </p:nvSpPr>
          <p:spPr bwMode="auto">
            <a:xfrm>
              <a:off x="5614" y="60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1068"/>
            <p:cNvSpPr>
              <a:spLocks noEditPoints="1"/>
            </p:cNvSpPr>
            <p:nvPr/>
          </p:nvSpPr>
          <p:spPr bwMode="auto">
            <a:xfrm>
              <a:off x="5688" y="6145"/>
              <a:ext cx="176" cy="191"/>
            </a:xfrm>
            <a:custGeom>
              <a:avLst/>
              <a:gdLst>
                <a:gd name="T0" fmla="*/ 230 w 265"/>
                <a:gd name="T1" fmla="*/ 288 h 288"/>
                <a:gd name="T2" fmla="*/ 222 w 265"/>
                <a:gd name="T3" fmla="*/ 270 h 288"/>
                <a:gd name="T4" fmla="*/ 240 w 265"/>
                <a:gd name="T5" fmla="*/ 160 h 288"/>
                <a:gd name="T6" fmla="*/ 219 w 265"/>
                <a:gd name="T7" fmla="*/ 158 h 288"/>
                <a:gd name="T8" fmla="*/ 209 w 265"/>
                <a:gd name="T9" fmla="*/ 170 h 288"/>
                <a:gd name="T10" fmla="*/ 209 w 265"/>
                <a:gd name="T11" fmla="*/ 170 h 288"/>
                <a:gd name="T12" fmla="*/ 198 w 265"/>
                <a:gd name="T13" fmla="*/ 149 h 288"/>
                <a:gd name="T14" fmla="*/ 177 w 265"/>
                <a:gd name="T15" fmla="*/ 149 h 288"/>
                <a:gd name="T16" fmla="*/ 166 w 265"/>
                <a:gd name="T17" fmla="*/ 170 h 288"/>
                <a:gd name="T18" fmla="*/ 155 w 265"/>
                <a:gd name="T19" fmla="*/ 128 h 288"/>
                <a:gd name="T20" fmla="*/ 134 w 265"/>
                <a:gd name="T21" fmla="*/ 128 h 288"/>
                <a:gd name="T22" fmla="*/ 123 w 265"/>
                <a:gd name="T23" fmla="*/ 170 h 288"/>
                <a:gd name="T24" fmla="*/ 113 w 265"/>
                <a:gd name="T25" fmla="*/ 74 h 288"/>
                <a:gd name="T26" fmla="*/ 91 w 265"/>
                <a:gd name="T27" fmla="*/ 74 h 288"/>
                <a:gd name="T28" fmla="*/ 85 w 265"/>
                <a:gd name="T29" fmla="*/ 212 h 288"/>
                <a:gd name="T30" fmla="*/ 41 w 265"/>
                <a:gd name="T31" fmla="*/ 153 h 288"/>
                <a:gd name="T32" fmla="*/ 27 w 265"/>
                <a:gd name="T33" fmla="*/ 149 h 288"/>
                <a:gd name="T34" fmla="*/ 27 w 265"/>
                <a:gd name="T35" fmla="*/ 167 h 288"/>
                <a:gd name="T36" fmla="*/ 100 w 265"/>
                <a:gd name="T37" fmla="*/ 283 h 288"/>
                <a:gd name="T38" fmla="*/ 86 w 265"/>
                <a:gd name="T39" fmla="*/ 286 h 288"/>
                <a:gd name="T40" fmla="*/ 18 w 265"/>
                <a:gd name="T41" fmla="*/ 130 h 288"/>
                <a:gd name="T42" fmla="*/ 61 w 265"/>
                <a:gd name="T43" fmla="*/ 144 h 288"/>
                <a:gd name="T44" fmla="*/ 70 w 265"/>
                <a:gd name="T45" fmla="*/ 74 h 288"/>
                <a:gd name="T46" fmla="*/ 134 w 265"/>
                <a:gd name="T47" fmla="*/ 74 h 288"/>
                <a:gd name="T48" fmla="*/ 145 w 265"/>
                <a:gd name="T49" fmla="*/ 96 h 288"/>
                <a:gd name="T50" fmla="*/ 187 w 265"/>
                <a:gd name="T51" fmla="*/ 117 h 288"/>
                <a:gd name="T52" fmla="*/ 230 w 265"/>
                <a:gd name="T53" fmla="*/ 128 h 288"/>
                <a:gd name="T54" fmla="*/ 262 w 265"/>
                <a:gd name="T55" fmla="*/ 202 h 288"/>
                <a:gd name="T56" fmla="*/ 47 w 265"/>
                <a:gd name="T57" fmla="*/ 117 h 288"/>
                <a:gd name="T58" fmla="*/ 56 w 265"/>
                <a:gd name="T59" fmla="*/ 101 h 288"/>
                <a:gd name="T60" fmla="*/ 102 w 265"/>
                <a:gd name="T61" fmla="*/ 21 h 288"/>
                <a:gd name="T62" fmla="*/ 166 w 265"/>
                <a:gd name="T63" fmla="*/ 85 h 288"/>
                <a:gd name="T64" fmla="*/ 102 w 265"/>
                <a:gd name="T65" fmla="*/ 0 h 288"/>
                <a:gd name="T66" fmla="*/ 37 w 265"/>
                <a:gd name="T67" fmla="*/ 1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288">
                  <a:moveTo>
                    <a:pt x="238" y="284"/>
                  </a:moveTo>
                  <a:cubicBezTo>
                    <a:pt x="236" y="286"/>
                    <a:pt x="233" y="288"/>
                    <a:pt x="230" y="288"/>
                  </a:cubicBezTo>
                  <a:cubicBezTo>
                    <a:pt x="227" y="288"/>
                    <a:pt x="225" y="287"/>
                    <a:pt x="223" y="285"/>
                  </a:cubicBezTo>
                  <a:cubicBezTo>
                    <a:pt x="218" y="281"/>
                    <a:pt x="218" y="275"/>
                    <a:pt x="222" y="270"/>
                  </a:cubicBezTo>
                  <a:cubicBezTo>
                    <a:pt x="243" y="245"/>
                    <a:pt x="240" y="204"/>
                    <a:pt x="240" y="203"/>
                  </a:cubicBezTo>
                  <a:cubicBezTo>
                    <a:pt x="240" y="160"/>
                    <a:pt x="240" y="160"/>
                    <a:pt x="240" y="160"/>
                  </a:cubicBezTo>
                  <a:cubicBezTo>
                    <a:pt x="240" y="154"/>
                    <a:pt x="235" y="149"/>
                    <a:pt x="230" y="149"/>
                  </a:cubicBezTo>
                  <a:cubicBezTo>
                    <a:pt x="224" y="149"/>
                    <a:pt x="220" y="153"/>
                    <a:pt x="219" y="158"/>
                  </a:cubicBezTo>
                  <a:cubicBezTo>
                    <a:pt x="219" y="160"/>
                    <a:pt x="219" y="160"/>
                    <a:pt x="219" y="160"/>
                  </a:cubicBezTo>
                  <a:cubicBezTo>
                    <a:pt x="219" y="166"/>
                    <a:pt x="215" y="170"/>
                    <a:pt x="209" y="170"/>
                  </a:cubicBezTo>
                  <a:cubicBezTo>
                    <a:pt x="209" y="170"/>
                    <a:pt x="209" y="170"/>
                    <a:pt x="209" y="170"/>
                  </a:cubicBezTo>
                  <a:cubicBezTo>
                    <a:pt x="209" y="170"/>
                    <a:pt x="209" y="170"/>
                    <a:pt x="209" y="170"/>
                  </a:cubicBezTo>
                  <a:cubicBezTo>
                    <a:pt x="203" y="170"/>
                    <a:pt x="198" y="166"/>
                    <a:pt x="198" y="160"/>
                  </a:cubicBezTo>
                  <a:cubicBezTo>
                    <a:pt x="198" y="149"/>
                    <a:pt x="198" y="149"/>
                    <a:pt x="198" y="149"/>
                  </a:cubicBezTo>
                  <a:cubicBezTo>
                    <a:pt x="198" y="143"/>
                    <a:pt x="193" y="138"/>
                    <a:pt x="187" y="138"/>
                  </a:cubicBezTo>
                  <a:cubicBezTo>
                    <a:pt x="181" y="138"/>
                    <a:pt x="177" y="143"/>
                    <a:pt x="177" y="149"/>
                  </a:cubicBezTo>
                  <a:cubicBezTo>
                    <a:pt x="177" y="160"/>
                    <a:pt x="177" y="160"/>
                    <a:pt x="177" y="160"/>
                  </a:cubicBezTo>
                  <a:cubicBezTo>
                    <a:pt x="177" y="166"/>
                    <a:pt x="172" y="170"/>
                    <a:pt x="166" y="170"/>
                  </a:cubicBezTo>
                  <a:cubicBezTo>
                    <a:pt x="160" y="170"/>
                    <a:pt x="155" y="166"/>
                    <a:pt x="155" y="160"/>
                  </a:cubicBezTo>
                  <a:cubicBezTo>
                    <a:pt x="155" y="128"/>
                    <a:pt x="155" y="128"/>
                    <a:pt x="155" y="128"/>
                  </a:cubicBezTo>
                  <a:cubicBezTo>
                    <a:pt x="155" y="122"/>
                    <a:pt x="151" y="117"/>
                    <a:pt x="145" y="117"/>
                  </a:cubicBezTo>
                  <a:cubicBezTo>
                    <a:pt x="139" y="117"/>
                    <a:pt x="134" y="122"/>
                    <a:pt x="134" y="128"/>
                  </a:cubicBezTo>
                  <a:cubicBezTo>
                    <a:pt x="134" y="160"/>
                    <a:pt x="134" y="160"/>
                    <a:pt x="134" y="160"/>
                  </a:cubicBezTo>
                  <a:cubicBezTo>
                    <a:pt x="134" y="166"/>
                    <a:pt x="129" y="170"/>
                    <a:pt x="123" y="170"/>
                  </a:cubicBezTo>
                  <a:cubicBezTo>
                    <a:pt x="117" y="170"/>
                    <a:pt x="113" y="166"/>
                    <a:pt x="113" y="160"/>
                  </a:cubicBezTo>
                  <a:cubicBezTo>
                    <a:pt x="113" y="74"/>
                    <a:pt x="113" y="74"/>
                    <a:pt x="113" y="74"/>
                  </a:cubicBezTo>
                  <a:cubicBezTo>
                    <a:pt x="113" y="68"/>
                    <a:pt x="108" y="64"/>
                    <a:pt x="102" y="64"/>
                  </a:cubicBezTo>
                  <a:cubicBezTo>
                    <a:pt x="96" y="64"/>
                    <a:pt x="91" y="68"/>
                    <a:pt x="91" y="74"/>
                  </a:cubicBezTo>
                  <a:cubicBezTo>
                    <a:pt x="91" y="202"/>
                    <a:pt x="91" y="202"/>
                    <a:pt x="91" y="202"/>
                  </a:cubicBezTo>
                  <a:cubicBezTo>
                    <a:pt x="91" y="207"/>
                    <a:pt x="89" y="210"/>
                    <a:pt x="85" y="212"/>
                  </a:cubicBezTo>
                  <a:cubicBezTo>
                    <a:pt x="81" y="214"/>
                    <a:pt x="77" y="213"/>
                    <a:pt x="74" y="210"/>
                  </a:cubicBezTo>
                  <a:cubicBezTo>
                    <a:pt x="60" y="198"/>
                    <a:pt x="44" y="160"/>
                    <a:pt x="41" y="153"/>
                  </a:cubicBezTo>
                  <a:cubicBezTo>
                    <a:pt x="40" y="151"/>
                    <a:pt x="38" y="149"/>
                    <a:pt x="35" y="148"/>
                  </a:cubicBezTo>
                  <a:cubicBezTo>
                    <a:pt x="33" y="148"/>
                    <a:pt x="30" y="148"/>
                    <a:pt x="27" y="149"/>
                  </a:cubicBezTo>
                  <a:cubicBezTo>
                    <a:pt x="23" y="151"/>
                    <a:pt x="23" y="160"/>
                    <a:pt x="26" y="166"/>
                  </a:cubicBezTo>
                  <a:cubicBezTo>
                    <a:pt x="26" y="166"/>
                    <a:pt x="27" y="166"/>
                    <a:pt x="27" y="167"/>
                  </a:cubicBezTo>
                  <a:cubicBezTo>
                    <a:pt x="27" y="167"/>
                    <a:pt x="54" y="241"/>
                    <a:pt x="97" y="268"/>
                  </a:cubicBezTo>
                  <a:cubicBezTo>
                    <a:pt x="102" y="271"/>
                    <a:pt x="103" y="278"/>
                    <a:pt x="100" y="283"/>
                  </a:cubicBezTo>
                  <a:cubicBezTo>
                    <a:pt x="98" y="286"/>
                    <a:pt x="95" y="288"/>
                    <a:pt x="91" y="288"/>
                  </a:cubicBezTo>
                  <a:cubicBezTo>
                    <a:pt x="89" y="288"/>
                    <a:pt x="87" y="287"/>
                    <a:pt x="86" y="286"/>
                  </a:cubicBezTo>
                  <a:cubicBezTo>
                    <a:pt x="38" y="256"/>
                    <a:pt x="10" y="182"/>
                    <a:pt x="7" y="175"/>
                  </a:cubicBezTo>
                  <a:cubicBezTo>
                    <a:pt x="0" y="159"/>
                    <a:pt x="2" y="138"/>
                    <a:pt x="18" y="130"/>
                  </a:cubicBezTo>
                  <a:cubicBezTo>
                    <a:pt x="25" y="126"/>
                    <a:pt x="34" y="125"/>
                    <a:pt x="42" y="128"/>
                  </a:cubicBezTo>
                  <a:cubicBezTo>
                    <a:pt x="50" y="131"/>
                    <a:pt x="57" y="137"/>
                    <a:pt x="61" y="144"/>
                  </a:cubicBezTo>
                  <a:cubicBezTo>
                    <a:pt x="63" y="151"/>
                    <a:pt x="66" y="158"/>
                    <a:pt x="70" y="165"/>
                  </a:cubicBezTo>
                  <a:cubicBezTo>
                    <a:pt x="70" y="74"/>
                    <a:pt x="70" y="74"/>
                    <a:pt x="70" y="74"/>
                  </a:cubicBezTo>
                  <a:cubicBezTo>
                    <a:pt x="70" y="57"/>
                    <a:pt x="84" y="42"/>
                    <a:pt x="102" y="42"/>
                  </a:cubicBezTo>
                  <a:cubicBezTo>
                    <a:pt x="120" y="42"/>
                    <a:pt x="134" y="57"/>
                    <a:pt x="134" y="74"/>
                  </a:cubicBezTo>
                  <a:cubicBezTo>
                    <a:pt x="134" y="98"/>
                    <a:pt x="134" y="98"/>
                    <a:pt x="134" y="98"/>
                  </a:cubicBezTo>
                  <a:cubicBezTo>
                    <a:pt x="137" y="96"/>
                    <a:pt x="141" y="96"/>
                    <a:pt x="145" y="96"/>
                  </a:cubicBezTo>
                  <a:cubicBezTo>
                    <a:pt x="159" y="96"/>
                    <a:pt x="172" y="106"/>
                    <a:pt x="175" y="119"/>
                  </a:cubicBezTo>
                  <a:cubicBezTo>
                    <a:pt x="179" y="118"/>
                    <a:pt x="183" y="117"/>
                    <a:pt x="187" y="117"/>
                  </a:cubicBezTo>
                  <a:cubicBezTo>
                    <a:pt x="199" y="117"/>
                    <a:pt x="209" y="123"/>
                    <a:pt x="214" y="132"/>
                  </a:cubicBezTo>
                  <a:cubicBezTo>
                    <a:pt x="219" y="129"/>
                    <a:pt x="224" y="128"/>
                    <a:pt x="230" y="128"/>
                  </a:cubicBezTo>
                  <a:cubicBezTo>
                    <a:pt x="247" y="128"/>
                    <a:pt x="262" y="142"/>
                    <a:pt x="262" y="160"/>
                  </a:cubicBezTo>
                  <a:cubicBezTo>
                    <a:pt x="262" y="202"/>
                    <a:pt x="262" y="202"/>
                    <a:pt x="262" y="202"/>
                  </a:cubicBezTo>
                  <a:cubicBezTo>
                    <a:pt x="262" y="204"/>
                    <a:pt x="265" y="252"/>
                    <a:pt x="238" y="284"/>
                  </a:cubicBezTo>
                  <a:close/>
                  <a:moveTo>
                    <a:pt x="47" y="117"/>
                  </a:moveTo>
                  <a:cubicBezTo>
                    <a:pt x="48" y="117"/>
                    <a:pt x="50" y="117"/>
                    <a:pt x="52" y="116"/>
                  </a:cubicBezTo>
                  <a:cubicBezTo>
                    <a:pt x="57" y="113"/>
                    <a:pt x="59" y="106"/>
                    <a:pt x="56" y="101"/>
                  </a:cubicBezTo>
                  <a:cubicBezTo>
                    <a:pt x="51" y="93"/>
                    <a:pt x="49" y="84"/>
                    <a:pt x="49" y="74"/>
                  </a:cubicBezTo>
                  <a:cubicBezTo>
                    <a:pt x="49" y="45"/>
                    <a:pt x="73" y="21"/>
                    <a:pt x="102" y="21"/>
                  </a:cubicBezTo>
                  <a:cubicBezTo>
                    <a:pt x="131" y="21"/>
                    <a:pt x="155" y="45"/>
                    <a:pt x="155" y="74"/>
                  </a:cubicBezTo>
                  <a:cubicBezTo>
                    <a:pt x="155" y="80"/>
                    <a:pt x="160" y="85"/>
                    <a:pt x="166" y="85"/>
                  </a:cubicBezTo>
                  <a:cubicBezTo>
                    <a:pt x="172" y="85"/>
                    <a:pt x="177" y="80"/>
                    <a:pt x="177" y="74"/>
                  </a:cubicBezTo>
                  <a:cubicBezTo>
                    <a:pt x="177" y="33"/>
                    <a:pt x="143" y="0"/>
                    <a:pt x="102" y="0"/>
                  </a:cubicBezTo>
                  <a:cubicBezTo>
                    <a:pt x="61" y="0"/>
                    <a:pt x="27" y="33"/>
                    <a:pt x="27" y="74"/>
                  </a:cubicBezTo>
                  <a:cubicBezTo>
                    <a:pt x="27" y="87"/>
                    <a:pt x="31" y="100"/>
                    <a:pt x="37" y="112"/>
                  </a:cubicBezTo>
                  <a:cubicBezTo>
                    <a:pt x="39" y="115"/>
                    <a:pt x="43" y="117"/>
                    <a:pt x="47"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61110532"/>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ducation/talent</a:t>
            </a:r>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74501" y="211879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n</a:t>
            </a:r>
          </a:p>
        </p:txBody>
      </p:sp>
      <p:sp>
        <p:nvSpPr>
          <p:cNvPr id="423" name="TextBox 422"/>
          <p:cNvSpPr txBox="1"/>
          <p:nvPr/>
        </p:nvSpPr>
        <p:spPr>
          <a:xfrm>
            <a:off x="1205443" y="2118797"/>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ncil</a:t>
            </a:r>
          </a:p>
        </p:txBody>
      </p:sp>
      <p:sp>
        <p:nvSpPr>
          <p:cNvPr id="424" name="TextBox 423"/>
          <p:cNvSpPr txBox="1"/>
          <p:nvPr/>
        </p:nvSpPr>
        <p:spPr>
          <a:xfrm>
            <a:off x="2051202"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ofile</a:t>
            </a:r>
          </a:p>
        </p:txBody>
      </p:sp>
      <p:sp>
        <p:nvSpPr>
          <p:cNvPr id="425" name="TextBox 424"/>
          <p:cNvSpPr txBox="1"/>
          <p:nvPr/>
        </p:nvSpPr>
        <p:spPr>
          <a:xfrm>
            <a:off x="3736370"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intbrush</a:t>
            </a:r>
          </a:p>
        </p:txBody>
      </p:sp>
      <p:sp>
        <p:nvSpPr>
          <p:cNvPr id="426" name="TextBox 425"/>
          <p:cNvSpPr txBox="1"/>
          <p:nvPr/>
        </p:nvSpPr>
        <p:spPr>
          <a:xfrm>
            <a:off x="4578954" y="2118797"/>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Maths</a:t>
            </a:r>
            <a:endParaRPr lang="en-US" sz="1000" dirty="0">
              <a:solidFill>
                <a:srgbClr val="313131"/>
              </a:solidFill>
            </a:endParaRPr>
          </a:p>
        </p:txBody>
      </p:sp>
      <p:sp>
        <p:nvSpPr>
          <p:cNvPr id="427" name="TextBox 426"/>
          <p:cNvSpPr txBox="1"/>
          <p:nvPr/>
        </p:nvSpPr>
        <p:spPr>
          <a:xfrm>
            <a:off x="2893786"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ofile 2</a:t>
            </a:r>
          </a:p>
        </p:txBody>
      </p:sp>
      <p:sp>
        <p:nvSpPr>
          <p:cNvPr id="428" name="TextBox 427"/>
          <p:cNvSpPr txBox="1"/>
          <p:nvPr/>
        </p:nvSpPr>
        <p:spPr>
          <a:xfrm>
            <a:off x="542153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rtarboard</a:t>
            </a:r>
          </a:p>
        </p:txBody>
      </p:sp>
      <p:sp>
        <p:nvSpPr>
          <p:cNvPr id="430" name="TextBox 429"/>
          <p:cNvSpPr txBox="1"/>
          <p:nvPr/>
        </p:nvSpPr>
        <p:spPr>
          <a:xfrm>
            <a:off x="710670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ploma</a:t>
            </a:r>
          </a:p>
        </p:txBody>
      </p:sp>
      <p:sp>
        <p:nvSpPr>
          <p:cNvPr id="431" name="TextBox 430"/>
          <p:cNvSpPr txBox="1"/>
          <p:nvPr/>
        </p:nvSpPr>
        <p:spPr>
          <a:xfrm>
            <a:off x="6264122"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ading (glasses)</a:t>
            </a:r>
          </a:p>
        </p:txBody>
      </p:sp>
      <p:sp>
        <p:nvSpPr>
          <p:cNvPr id="472" name="TextBox 471"/>
          <p:cNvSpPr txBox="1"/>
          <p:nvPr/>
        </p:nvSpPr>
        <p:spPr>
          <a:xfrm>
            <a:off x="374501" y="295422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uzzle</a:t>
            </a:r>
          </a:p>
        </p:txBody>
      </p:sp>
      <p:sp>
        <p:nvSpPr>
          <p:cNvPr id="473" name="TextBox 472"/>
          <p:cNvSpPr txBox="1"/>
          <p:nvPr/>
        </p:nvSpPr>
        <p:spPr>
          <a:xfrm>
            <a:off x="1222325" y="295496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ophy</a:t>
            </a:r>
          </a:p>
        </p:txBody>
      </p:sp>
      <p:sp>
        <p:nvSpPr>
          <p:cNvPr id="474" name="TextBox 473"/>
          <p:cNvSpPr txBox="1"/>
          <p:nvPr/>
        </p:nvSpPr>
        <p:spPr>
          <a:xfrm>
            <a:off x="2084966" y="29549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D badge</a:t>
            </a:r>
          </a:p>
        </p:txBody>
      </p:sp>
      <p:sp>
        <p:nvSpPr>
          <p:cNvPr id="475" name="TextBox 474"/>
          <p:cNvSpPr txBox="1"/>
          <p:nvPr/>
        </p:nvSpPr>
        <p:spPr>
          <a:xfrm>
            <a:off x="3803898" y="29549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sette</a:t>
            </a:r>
          </a:p>
        </p:txBody>
      </p:sp>
      <p:sp>
        <p:nvSpPr>
          <p:cNvPr id="477" name="TextBox 476"/>
          <p:cNvSpPr txBox="1"/>
          <p:nvPr/>
        </p:nvSpPr>
        <p:spPr>
          <a:xfrm>
            <a:off x="2944432" y="29549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ok closed</a:t>
            </a:r>
          </a:p>
        </p:txBody>
      </p:sp>
      <p:sp>
        <p:nvSpPr>
          <p:cNvPr id="256" name="Freeform 240"/>
          <p:cNvSpPr>
            <a:spLocks noChangeAspect="1" noEditPoints="1"/>
          </p:cNvSpPr>
          <p:nvPr/>
        </p:nvSpPr>
        <p:spPr bwMode="auto">
          <a:xfrm>
            <a:off x="406400" y="1698123"/>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243"/>
          <p:cNvGrpSpPr>
            <a:grpSpLocks noChangeAspect="1"/>
          </p:cNvGrpSpPr>
          <p:nvPr/>
        </p:nvGrpSpPr>
        <p:grpSpPr bwMode="auto">
          <a:xfrm>
            <a:off x="825527" y="1697038"/>
            <a:ext cx="369021" cy="370106"/>
            <a:chOff x="3476" y="785"/>
            <a:chExt cx="340" cy="341"/>
          </a:xfrm>
          <a:solidFill>
            <a:schemeClr val="accent3"/>
          </a:solidFill>
        </p:grpSpPr>
        <p:sp>
          <p:nvSpPr>
            <p:cNvPr id="258" name="Freeform 244"/>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245"/>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249"/>
          <p:cNvSpPr>
            <a:spLocks noChangeAspect="1" noEditPoints="1"/>
          </p:cNvSpPr>
          <p:nvPr/>
        </p:nvSpPr>
        <p:spPr bwMode="auto">
          <a:xfrm>
            <a:off x="1244654" y="1698123"/>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252"/>
          <p:cNvGrpSpPr>
            <a:grpSpLocks noChangeAspect="1"/>
          </p:cNvGrpSpPr>
          <p:nvPr/>
        </p:nvGrpSpPr>
        <p:grpSpPr bwMode="auto">
          <a:xfrm>
            <a:off x="1663781" y="1698123"/>
            <a:ext cx="369021" cy="369021"/>
            <a:chOff x="4251" y="799"/>
            <a:chExt cx="340" cy="340"/>
          </a:xfrm>
          <a:solidFill>
            <a:schemeClr val="accent3"/>
          </a:solidFill>
        </p:grpSpPr>
        <p:sp>
          <p:nvSpPr>
            <p:cNvPr id="262" name="Freeform 253"/>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254"/>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255"/>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5" name="Group 545"/>
          <p:cNvGrpSpPr>
            <a:grpSpLocks noChangeAspect="1"/>
          </p:cNvGrpSpPr>
          <p:nvPr/>
        </p:nvGrpSpPr>
        <p:grpSpPr bwMode="auto">
          <a:xfrm>
            <a:off x="2502035" y="1697038"/>
            <a:ext cx="369021" cy="369021"/>
            <a:chOff x="1885" y="1944"/>
            <a:chExt cx="340" cy="340"/>
          </a:xfrm>
          <a:solidFill>
            <a:schemeClr val="accent6"/>
          </a:solidFill>
        </p:grpSpPr>
        <p:sp>
          <p:nvSpPr>
            <p:cNvPr id="266"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8" name="Group 550"/>
          <p:cNvGrpSpPr>
            <a:grpSpLocks noChangeAspect="1"/>
          </p:cNvGrpSpPr>
          <p:nvPr/>
        </p:nvGrpSpPr>
        <p:grpSpPr bwMode="auto">
          <a:xfrm>
            <a:off x="2082908" y="1697038"/>
            <a:ext cx="369021" cy="369021"/>
            <a:chOff x="1520" y="1938"/>
            <a:chExt cx="340" cy="340"/>
          </a:xfrm>
          <a:solidFill>
            <a:schemeClr val="accent6"/>
          </a:solidFill>
        </p:grpSpPr>
        <p:sp>
          <p:nvSpPr>
            <p:cNvPr id="269"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1" name="Group 555"/>
          <p:cNvGrpSpPr>
            <a:grpSpLocks noChangeAspect="1"/>
          </p:cNvGrpSpPr>
          <p:nvPr/>
        </p:nvGrpSpPr>
        <p:grpSpPr bwMode="auto">
          <a:xfrm>
            <a:off x="3341374" y="1697038"/>
            <a:ext cx="370106" cy="369021"/>
            <a:chOff x="1130" y="1948"/>
            <a:chExt cx="341" cy="340"/>
          </a:xfrm>
          <a:solidFill>
            <a:schemeClr val="accent6"/>
          </a:solidFill>
        </p:grpSpPr>
        <p:sp>
          <p:nvSpPr>
            <p:cNvPr id="272" name="Freeform 556"/>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557"/>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558"/>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559"/>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560"/>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564"/>
          <p:cNvSpPr>
            <a:spLocks noChangeAspect="1" noEditPoints="1"/>
          </p:cNvSpPr>
          <p:nvPr/>
        </p:nvSpPr>
        <p:spPr bwMode="auto">
          <a:xfrm>
            <a:off x="2921162" y="1697038"/>
            <a:ext cx="370106"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8" name="Freeform 173"/>
          <p:cNvSpPr>
            <a:spLocks noChangeAspect="1" noEditPoints="1"/>
          </p:cNvSpPr>
          <p:nvPr/>
        </p:nvSpPr>
        <p:spPr bwMode="auto">
          <a:xfrm>
            <a:off x="3761586" y="1698123"/>
            <a:ext cx="369021" cy="369021"/>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9" name="Group 176"/>
          <p:cNvGrpSpPr>
            <a:grpSpLocks noChangeAspect="1"/>
          </p:cNvGrpSpPr>
          <p:nvPr/>
        </p:nvGrpSpPr>
        <p:grpSpPr bwMode="auto">
          <a:xfrm>
            <a:off x="4180713" y="1697038"/>
            <a:ext cx="369021" cy="370106"/>
            <a:chOff x="5821" y="411"/>
            <a:chExt cx="340" cy="341"/>
          </a:xfrm>
          <a:solidFill>
            <a:schemeClr val="accent2"/>
          </a:solidFill>
        </p:grpSpPr>
        <p:sp>
          <p:nvSpPr>
            <p:cNvPr id="280" name="Freeform 177"/>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178"/>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179"/>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3" name="Freeform 795"/>
          <p:cNvSpPr>
            <a:spLocks noChangeAspect="1" noEditPoints="1"/>
          </p:cNvSpPr>
          <p:nvPr/>
        </p:nvSpPr>
        <p:spPr bwMode="auto">
          <a:xfrm>
            <a:off x="4599840" y="1697038"/>
            <a:ext cx="367041" cy="367041"/>
          </a:xfrm>
          <a:custGeom>
            <a:avLst/>
            <a:gdLst>
              <a:gd name="T0" fmla="*/ 0 w 512"/>
              <a:gd name="T1" fmla="*/ 256 h 512"/>
              <a:gd name="T2" fmla="*/ 512 w 512"/>
              <a:gd name="T3" fmla="*/ 256 h 512"/>
              <a:gd name="T4" fmla="*/ 221 w 512"/>
              <a:gd name="T5" fmla="*/ 392 h 512"/>
              <a:gd name="T6" fmla="*/ 206 w 512"/>
              <a:gd name="T7" fmla="*/ 392 h 512"/>
              <a:gd name="T8" fmla="*/ 135 w 512"/>
              <a:gd name="T9" fmla="*/ 391 h 512"/>
              <a:gd name="T10" fmla="*/ 120 w 512"/>
              <a:gd name="T11" fmla="*/ 391 h 512"/>
              <a:gd name="T12" fmla="*/ 155 w 512"/>
              <a:gd name="T13" fmla="*/ 341 h 512"/>
              <a:gd name="T14" fmla="*/ 120 w 512"/>
              <a:gd name="T15" fmla="*/ 290 h 512"/>
              <a:gd name="T16" fmla="*/ 170 w 512"/>
              <a:gd name="T17" fmla="*/ 326 h 512"/>
              <a:gd name="T18" fmla="*/ 221 w 512"/>
              <a:gd name="T19" fmla="*/ 291 h 512"/>
              <a:gd name="T20" fmla="*/ 185 w 512"/>
              <a:gd name="T21" fmla="*/ 341 h 512"/>
              <a:gd name="T22" fmla="*/ 221 w 512"/>
              <a:gd name="T23" fmla="*/ 392 h 512"/>
              <a:gd name="T24" fmla="*/ 181 w 512"/>
              <a:gd name="T25" fmla="*/ 181 h 512"/>
              <a:gd name="T26" fmla="*/ 170 w 512"/>
              <a:gd name="T27" fmla="*/ 234 h 512"/>
              <a:gd name="T28" fmla="*/ 160 w 512"/>
              <a:gd name="T29" fmla="*/ 181 h 512"/>
              <a:gd name="T30" fmla="*/ 106 w 512"/>
              <a:gd name="T31" fmla="*/ 170 h 512"/>
              <a:gd name="T32" fmla="*/ 160 w 512"/>
              <a:gd name="T33" fmla="*/ 160 h 512"/>
              <a:gd name="T34" fmla="*/ 170 w 512"/>
              <a:gd name="T35" fmla="*/ 106 h 512"/>
              <a:gd name="T36" fmla="*/ 181 w 512"/>
              <a:gd name="T37" fmla="*/ 160 h 512"/>
              <a:gd name="T38" fmla="*/ 234 w 512"/>
              <a:gd name="T39" fmla="*/ 170 h 512"/>
              <a:gd name="T40" fmla="*/ 344 w 512"/>
              <a:gd name="T41" fmla="*/ 120 h 512"/>
              <a:gd name="T42" fmla="*/ 362 w 512"/>
              <a:gd name="T43" fmla="*/ 128 h 512"/>
              <a:gd name="T44" fmla="*/ 352 w 512"/>
              <a:gd name="T45" fmla="*/ 138 h 512"/>
              <a:gd name="T46" fmla="*/ 341 w 512"/>
              <a:gd name="T47" fmla="*/ 128 h 512"/>
              <a:gd name="T48" fmla="*/ 405 w 512"/>
              <a:gd name="T49" fmla="*/ 352 h 512"/>
              <a:gd name="T50" fmla="*/ 288 w 512"/>
              <a:gd name="T51" fmla="*/ 341 h 512"/>
              <a:gd name="T52" fmla="*/ 405 w 512"/>
              <a:gd name="T53" fmla="*/ 330 h 512"/>
              <a:gd name="T54" fmla="*/ 405 w 512"/>
              <a:gd name="T55" fmla="*/ 352 h 512"/>
              <a:gd name="T56" fmla="*/ 344 w 512"/>
              <a:gd name="T57" fmla="*/ 205 h 512"/>
              <a:gd name="T58" fmla="*/ 362 w 512"/>
              <a:gd name="T59" fmla="*/ 213 h 512"/>
              <a:gd name="T60" fmla="*/ 352 w 512"/>
              <a:gd name="T61" fmla="*/ 224 h 512"/>
              <a:gd name="T62" fmla="*/ 341 w 512"/>
              <a:gd name="T63" fmla="*/ 213 h 512"/>
              <a:gd name="T64" fmla="*/ 298 w 512"/>
              <a:gd name="T65" fmla="*/ 181 h 512"/>
              <a:gd name="T66" fmla="*/ 298 w 512"/>
              <a:gd name="T67" fmla="*/ 160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92"/>
                </a:moveTo>
                <a:cubicBezTo>
                  <a:pt x="219" y="394"/>
                  <a:pt x="216" y="395"/>
                  <a:pt x="213" y="395"/>
                </a:cubicBezTo>
                <a:cubicBezTo>
                  <a:pt x="211" y="395"/>
                  <a:pt x="208" y="394"/>
                  <a:pt x="206" y="392"/>
                </a:cubicBezTo>
                <a:cubicBezTo>
                  <a:pt x="170" y="356"/>
                  <a:pt x="170" y="356"/>
                  <a:pt x="170" y="356"/>
                </a:cubicBezTo>
                <a:cubicBezTo>
                  <a:pt x="135" y="391"/>
                  <a:pt x="135" y="391"/>
                  <a:pt x="135" y="391"/>
                </a:cubicBezTo>
                <a:cubicBezTo>
                  <a:pt x="133" y="393"/>
                  <a:pt x="130" y="394"/>
                  <a:pt x="128" y="394"/>
                </a:cubicBezTo>
                <a:cubicBezTo>
                  <a:pt x="125" y="394"/>
                  <a:pt x="122" y="393"/>
                  <a:pt x="120" y="391"/>
                </a:cubicBezTo>
                <a:cubicBezTo>
                  <a:pt x="116" y="387"/>
                  <a:pt x="116" y="380"/>
                  <a:pt x="120" y="376"/>
                </a:cubicBezTo>
                <a:cubicBezTo>
                  <a:pt x="155" y="341"/>
                  <a:pt x="155" y="341"/>
                  <a:pt x="155" y="341"/>
                </a:cubicBezTo>
                <a:cubicBezTo>
                  <a:pt x="120" y="306"/>
                  <a:pt x="120" y="306"/>
                  <a:pt x="120" y="306"/>
                </a:cubicBezTo>
                <a:cubicBezTo>
                  <a:pt x="116" y="301"/>
                  <a:pt x="116" y="295"/>
                  <a:pt x="120" y="290"/>
                </a:cubicBezTo>
                <a:cubicBezTo>
                  <a:pt x="124" y="286"/>
                  <a:pt x="131" y="286"/>
                  <a:pt x="135" y="290"/>
                </a:cubicBezTo>
                <a:cubicBezTo>
                  <a:pt x="170" y="326"/>
                  <a:pt x="170" y="326"/>
                  <a:pt x="170" y="326"/>
                </a:cubicBezTo>
                <a:cubicBezTo>
                  <a:pt x="205" y="291"/>
                  <a:pt x="205" y="291"/>
                  <a:pt x="205" y="291"/>
                </a:cubicBezTo>
                <a:cubicBezTo>
                  <a:pt x="210" y="287"/>
                  <a:pt x="216" y="287"/>
                  <a:pt x="221" y="291"/>
                </a:cubicBezTo>
                <a:cubicBezTo>
                  <a:pt x="225" y="295"/>
                  <a:pt x="225" y="302"/>
                  <a:pt x="221" y="306"/>
                </a:cubicBezTo>
                <a:cubicBezTo>
                  <a:pt x="185" y="341"/>
                  <a:pt x="185" y="341"/>
                  <a:pt x="185" y="341"/>
                </a:cubicBezTo>
                <a:cubicBezTo>
                  <a:pt x="221" y="377"/>
                  <a:pt x="221" y="377"/>
                  <a:pt x="221" y="377"/>
                </a:cubicBezTo>
                <a:cubicBezTo>
                  <a:pt x="225" y="381"/>
                  <a:pt x="225" y="387"/>
                  <a:pt x="221" y="392"/>
                </a:cubicBezTo>
                <a:close/>
                <a:moveTo>
                  <a:pt x="224" y="181"/>
                </a:moveTo>
                <a:cubicBezTo>
                  <a:pt x="181" y="181"/>
                  <a:pt x="181" y="181"/>
                  <a:pt x="181" y="181"/>
                </a:cubicBezTo>
                <a:cubicBezTo>
                  <a:pt x="181" y="224"/>
                  <a:pt x="181" y="224"/>
                  <a:pt x="181" y="224"/>
                </a:cubicBezTo>
                <a:cubicBezTo>
                  <a:pt x="181" y="230"/>
                  <a:pt x="176" y="234"/>
                  <a:pt x="170" y="234"/>
                </a:cubicBezTo>
                <a:cubicBezTo>
                  <a:pt x="164" y="234"/>
                  <a:pt x="160" y="230"/>
                  <a:pt x="160" y="224"/>
                </a:cubicBezTo>
                <a:cubicBezTo>
                  <a:pt x="160" y="181"/>
                  <a:pt x="160" y="181"/>
                  <a:pt x="160" y="181"/>
                </a:cubicBezTo>
                <a:cubicBezTo>
                  <a:pt x="117" y="181"/>
                  <a:pt x="117" y="181"/>
                  <a:pt x="117" y="181"/>
                </a:cubicBezTo>
                <a:cubicBezTo>
                  <a:pt x="111" y="181"/>
                  <a:pt x="106" y="176"/>
                  <a:pt x="106" y="170"/>
                </a:cubicBezTo>
                <a:cubicBezTo>
                  <a:pt x="106" y="164"/>
                  <a:pt x="111" y="160"/>
                  <a:pt x="117" y="160"/>
                </a:cubicBezTo>
                <a:cubicBezTo>
                  <a:pt x="160" y="160"/>
                  <a:pt x="160" y="160"/>
                  <a:pt x="160" y="160"/>
                </a:cubicBezTo>
                <a:cubicBezTo>
                  <a:pt x="160" y="117"/>
                  <a:pt x="160" y="117"/>
                  <a:pt x="160" y="117"/>
                </a:cubicBezTo>
                <a:cubicBezTo>
                  <a:pt x="160" y="111"/>
                  <a:pt x="164" y="106"/>
                  <a:pt x="170" y="106"/>
                </a:cubicBezTo>
                <a:cubicBezTo>
                  <a:pt x="176" y="106"/>
                  <a:pt x="181" y="111"/>
                  <a:pt x="181" y="117"/>
                </a:cubicBezTo>
                <a:cubicBezTo>
                  <a:pt x="181" y="160"/>
                  <a:pt x="181" y="160"/>
                  <a:pt x="181" y="160"/>
                </a:cubicBezTo>
                <a:cubicBezTo>
                  <a:pt x="224" y="160"/>
                  <a:pt x="224" y="160"/>
                  <a:pt x="224" y="160"/>
                </a:cubicBezTo>
                <a:cubicBezTo>
                  <a:pt x="230" y="160"/>
                  <a:pt x="234" y="164"/>
                  <a:pt x="234" y="170"/>
                </a:cubicBezTo>
                <a:cubicBezTo>
                  <a:pt x="234" y="176"/>
                  <a:pt x="230" y="181"/>
                  <a:pt x="224" y="181"/>
                </a:cubicBezTo>
                <a:close/>
                <a:moveTo>
                  <a:pt x="344" y="120"/>
                </a:moveTo>
                <a:cubicBezTo>
                  <a:pt x="348" y="116"/>
                  <a:pt x="355" y="116"/>
                  <a:pt x="359" y="120"/>
                </a:cubicBezTo>
                <a:cubicBezTo>
                  <a:pt x="361" y="122"/>
                  <a:pt x="362" y="125"/>
                  <a:pt x="362" y="128"/>
                </a:cubicBezTo>
                <a:cubicBezTo>
                  <a:pt x="362" y="130"/>
                  <a:pt x="361" y="133"/>
                  <a:pt x="359" y="135"/>
                </a:cubicBezTo>
                <a:cubicBezTo>
                  <a:pt x="357" y="137"/>
                  <a:pt x="354" y="138"/>
                  <a:pt x="352" y="138"/>
                </a:cubicBezTo>
                <a:cubicBezTo>
                  <a:pt x="349" y="138"/>
                  <a:pt x="346" y="137"/>
                  <a:pt x="344" y="135"/>
                </a:cubicBezTo>
                <a:cubicBezTo>
                  <a:pt x="342" y="133"/>
                  <a:pt x="341" y="130"/>
                  <a:pt x="341" y="128"/>
                </a:cubicBezTo>
                <a:cubicBezTo>
                  <a:pt x="341" y="125"/>
                  <a:pt x="342" y="122"/>
                  <a:pt x="344" y="120"/>
                </a:cubicBezTo>
                <a:close/>
                <a:moveTo>
                  <a:pt x="405" y="352"/>
                </a:moveTo>
                <a:cubicBezTo>
                  <a:pt x="298" y="352"/>
                  <a:pt x="298" y="352"/>
                  <a:pt x="298" y="352"/>
                </a:cubicBezTo>
                <a:cubicBezTo>
                  <a:pt x="292" y="352"/>
                  <a:pt x="288" y="347"/>
                  <a:pt x="288" y="341"/>
                </a:cubicBezTo>
                <a:cubicBezTo>
                  <a:pt x="288" y="335"/>
                  <a:pt x="292" y="330"/>
                  <a:pt x="298" y="330"/>
                </a:cubicBezTo>
                <a:cubicBezTo>
                  <a:pt x="405" y="330"/>
                  <a:pt x="405" y="330"/>
                  <a:pt x="405" y="330"/>
                </a:cubicBezTo>
                <a:cubicBezTo>
                  <a:pt x="411" y="330"/>
                  <a:pt x="416" y="335"/>
                  <a:pt x="416" y="341"/>
                </a:cubicBezTo>
                <a:cubicBezTo>
                  <a:pt x="416" y="347"/>
                  <a:pt x="411" y="352"/>
                  <a:pt x="405" y="352"/>
                </a:cubicBezTo>
                <a:close/>
                <a:moveTo>
                  <a:pt x="341" y="213"/>
                </a:moveTo>
                <a:cubicBezTo>
                  <a:pt x="341" y="210"/>
                  <a:pt x="342" y="207"/>
                  <a:pt x="344" y="205"/>
                </a:cubicBezTo>
                <a:cubicBezTo>
                  <a:pt x="348" y="201"/>
                  <a:pt x="355" y="201"/>
                  <a:pt x="359" y="205"/>
                </a:cubicBezTo>
                <a:cubicBezTo>
                  <a:pt x="361" y="207"/>
                  <a:pt x="362" y="210"/>
                  <a:pt x="362" y="213"/>
                </a:cubicBezTo>
                <a:cubicBezTo>
                  <a:pt x="362" y="216"/>
                  <a:pt x="361" y="219"/>
                  <a:pt x="359" y="221"/>
                </a:cubicBezTo>
                <a:cubicBezTo>
                  <a:pt x="357" y="222"/>
                  <a:pt x="354" y="224"/>
                  <a:pt x="352" y="224"/>
                </a:cubicBezTo>
                <a:cubicBezTo>
                  <a:pt x="349" y="224"/>
                  <a:pt x="346" y="222"/>
                  <a:pt x="344" y="221"/>
                </a:cubicBezTo>
                <a:cubicBezTo>
                  <a:pt x="342" y="219"/>
                  <a:pt x="341" y="216"/>
                  <a:pt x="341" y="213"/>
                </a:cubicBezTo>
                <a:close/>
                <a:moveTo>
                  <a:pt x="405" y="181"/>
                </a:moveTo>
                <a:cubicBezTo>
                  <a:pt x="298" y="181"/>
                  <a:pt x="298" y="181"/>
                  <a:pt x="298" y="181"/>
                </a:cubicBezTo>
                <a:cubicBezTo>
                  <a:pt x="292" y="181"/>
                  <a:pt x="288" y="176"/>
                  <a:pt x="288" y="170"/>
                </a:cubicBezTo>
                <a:cubicBezTo>
                  <a:pt x="288" y="164"/>
                  <a:pt x="292" y="160"/>
                  <a:pt x="298" y="160"/>
                </a:cubicBezTo>
                <a:cubicBezTo>
                  <a:pt x="405" y="160"/>
                  <a:pt x="405" y="160"/>
                  <a:pt x="405" y="160"/>
                </a:cubicBezTo>
                <a:cubicBezTo>
                  <a:pt x="411" y="160"/>
                  <a:pt x="416" y="164"/>
                  <a:pt x="416" y="170"/>
                </a:cubicBezTo>
                <a:cubicBezTo>
                  <a:pt x="416" y="176"/>
                  <a:pt x="411" y="181"/>
                  <a:pt x="405" y="18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99"/>
          <p:cNvSpPr>
            <a:spLocks noChangeAspect="1" noEditPoints="1"/>
          </p:cNvSpPr>
          <p:nvPr/>
        </p:nvSpPr>
        <p:spPr bwMode="auto">
          <a:xfrm>
            <a:off x="5016987"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5" name="Group 927"/>
          <p:cNvGrpSpPr>
            <a:grpSpLocks noChangeAspect="1"/>
          </p:cNvGrpSpPr>
          <p:nvPr/>
        </p:nvGrpSpPr>
        <p:grpSpPr bwMode="auto">
          <a:xfrm>
            <a:off x="5434134" y="1697038"/>
            <a:ext cx="367041" cy="367041"/>
            <a:chOff x="5432" y="3568"/>
            <a:chExt cx="340" cy="340"/>
          </a:xfrm>
          <a:solidFill>
            <a:schemeClr val="accent4"/>
          </a:solidFill>
        </p:grpSpPr>
        <p:sp>
          <p:nvSpPr>
            <p:cNvPr id="56"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932"/>
          <p:cNvGrpSpPr>
            <a:grpSpLocks noChangeAspect="1"/>
          </p:cNvGrpSpPr>
          <p:nvPr/>
        </p:nvGrpSpPr>
        <p:grpSpPr bwMode="auto">
          <a:xfrm>
            <a:off x="5851281" y="1697038"/>
            <a:ext cx="367041" cy="367041"/>
            <a:chOff x="5795" y="3560"/>
            <a:chExt cx="340" cy="340"/>
          </a:xfrm>
          <a:solidFill>
            <a:schemeClr val="accent4"/>
          </a:solidFill>
        </p:grpSpPr>
        <p:sp>
          <p:nvSpPr>
            <p:cNvPr id="59"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1" name="Group 62"/>
          <p:cNvGrpSpPr>
            <a:grpSpLocks noChangeAspect="1"/>
          </p:cNvGrpSpPr>
          <p:nvPr/>
        </p:nvGrpSpPr>
        <p:grpSpPr bwMode="auto">
          <a:xfrm>
            <a:off x="6685575" y="1697038"/>
            <a:ext cx="368121" cy="367041"/>
            <a:chOff x="5096" y="917"/>
            <a:chExt cx="341" cy="340"/>
          </a:xfrm>
          <a:solidFill>
            <a:schemeClr val="accent1"/>
          </a:solidFill>
        </p:grpSpPr>
        <p:sp>
          <p:nvSpPr>
            <p:cNvPr id="62" name="Freeform 63"/>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4"/>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5"/>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5" name="Freeform 69"/>
          <p:cNvSpPr>
            <a:spLocks noChangeAspect="1" noEditPoints="1"/>
          </p:cNvSpPr>
          <p:nvPr/>
        </p:nvSpPr>
        <p:spPr bwMode="auto">
          <a:xfrm>
            <a:off x="6268428" y="1697038"/>
            <a:ext cx="367041" cy="367041"/>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241"/>
          <p:cNvSpPr>
            <a:spLocks noChangeAspect="1" noEditPoints="1"/>
          </p:cNvSpPr>
          <p:nvPr/>
        </p:nvSpPr>
        <p:spPr bwMode="auto">
          <a:xfrm>
            <a:off x="7103802" y="1697038"/>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7" name="Group 244"/>
          <p:cNvGrpSpPr>
            <a:grpSpLocks noChangeAspect="1"/>
          </p:cNvGrpSpPr>
          <p:nvPr/>
        </p:nvGrpSpPr>
        <p:grpSpPr bwMode="auto">
          <a:xfrm>
            <a:off x="7521540" y="1698336"/>
            <a:ext cx="367631" cy="367631"/>
            <a:chOff x="4646" y="1397"/>
            <a:chExt cx="340" cy="340"/>
          </a:xfrm>
          <a:solidFill>
            <a:schemeClr val="accent3"/>
          </a:solidFill>
        </p:grpSpPr>
        <p:sp>
          <p:nvSpPr>
            <p:cNvPr id="68" name="Freeform 245"/>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9" name="Group 508"/>
          <p:cNvGrpSpPr>
            <a:grpSpLocks noChangeAspect="1"/>
          </p:cNvGrpSpPr>
          <p:nvPr/>
        </p:nvGrpSpPr>
        <p:grpSpPr bwMode="auto">
          <a:xfrm>
            <a:off x="832648" y="2535413"/>
            <a:ext cx="369021" cy="369021"/>
            <a:chOff x="5047" y="1955"/>
            <a:chExt cx="340" cy="340"/>
          </a:xfrm>
          <a:solidFill>
            <a:schemeClr val="accent6"/>
          </a:solidFill>
        </p:grpSpPr>
        <p:sp>
          <p:nvSpPr>
            <p:cNvPr id="80" name="Freeform 509"/>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510"/>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 name="Freeform 514"/>
          <p:cNvSpPr>
            <a:spLocks noChangeAspect="1" noEditPoints="1"/>
          </p:cNvSpPr>
          <p:nvPr/>
        </p:nvSpPr>
        <p:spPr bwMode="auto">
          <a:xfrm>
            <a:off x="406400" y="2535413"/>
            <a:ext cx="369021" cy="369021"/>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3" name="Group 669"/>
          <p:cNvGrpSpPr>
            <a:grpSpLocks noChangeAspect="1"/>
          </p:cNvGrpSpPr>
          <p:nvPr/>
        </p:nvGrpSpPr>
        <p:grpSpPr bwMode="auto">
          <a:xfrm>
            <a:off x="1685799" y="2535413"/>
            <a:ext cx="369676" cy="369676"/>
            <a:chOff x="1910" y="2326"/>
            <a:chExt cx="340" cy="340"/>
          </a:xfrm>
          <a:solidFill>
            <a:schemeClr val="accent1"/>
          </a:solidFill>
        </p:grpSpPr>
        <p:sp>
          <p:nvSpPr>
            <p:cNvPr id="8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674"/>
          <p:cNvGrpSpPr>
            <a:grpSpLocks noChangeAspect="1"/>
          </p:cNvGrpSpPr>
          <p:nvPr/>
        </p:nvGrpSpPr>
        <p:grpSpPr bwMode="auto">
          <a:xfrm>
            <a:off x="1258896" y="2535413"/>
            <a:ext cx="369676" cy="369676"/>
            <a:chOff x="1549" y="2327"/>
            <a:chExt cx="340" cy="340"/>
          </a:xfrm>
          <a:solidFill>
            <a:schemeClr val="accent1"/>
          </a:solidFill>
        </p:grpSpPr>
        <p:sp>
          <p:nvSpPr>
            <p:cNvPr id="87"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2" name="Freeform 355"/>
          <p:cNvSpPr>
            <a:spLocks noChangeAspect="1" noEditPoints="1"/>
          </p:cNvSpPr>
          <p:nvPr/>
        </p:nvSpPr>
        <p:spPr bwMode="auto">
          <a:xfrm>
            <a:off x="2112702" y="2535413"/>
            <a:ext cx="367041" cy="367041"/>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3" name="Freeform 359"/>
          <p:cNvSpPr>
            <a:spLocks noChangeAspect="1" noEditPoints="1"/>
          </p:cNvSpPr>
          <p:nvPr/>
        </p:nvSpPr>
        <p:spPr bwMode="auto">
          <a:xfrm>
            <a:off x="2536970" y="2535413"/>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4" name="Freeform 580"/>
          <p:cNvSpPr>
            <a:spLocks noChangeAspect="1" noEditPoints="1"/>
          </p:cNvSpPr>
          <p:nvPr/>
        </p:nvSpPr>
        <p:spPr bwMode="auto">
          <a:xfrm>
            <a:off x="2961238" y="2535413"/>
            <a:ext cx="367982" cy="36798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95" name="Group 583"/>
          <p:cNvGrpSpPr>
            <a:grpSpLocks noChangeAspect="1"/>
          </p:cNvGrpSpPr>
          <p:nvPr/>
        </p:nvGrpSpPr>
        <p:grpSpPr bwMode="auto">
          <a:xfrm>
            <a:off x="3386447" y="2535413"/>
            <a:ext cx="367982" cy="367982"/>
            <a:chOff x="3390" y="3000"/>
            <a:chExt cx="340" cy="340"/>
          </a:xfrm>
          <a:solidFill>
            <a:schemeClr val="accent1"/>
          </a:solidFill>
        </p:grpSpPr>
        <p:sp>
          <p:nvSpPr>
            <p:cNvPr id="96" name="Freeform 584"/>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585"/>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675"/>
          <p:cNvGrpSpPr>
            <a:grpSpLocks noChangeAspect="1"/>
          </p:cNvGrpSpPr>
          <p:nvPr/>
        </p:nvGrpSpPr>
        <p:grpSpPr bwMode="auto">
          <a:xfrm>
            <a:off x="4237904" y="2535413"/>
            <a:ext cx="369021" cy="369021"/>
            <a:chOff x="6583" y="2681"/>
            <a:chExt cx="340" cy="340"/>
          </a:xfrm>
          <a:solidFill>
            <a:schemeClr val="accent2"/>
          </a:solidFill>
        </p:grpSpPr>
        <p:sp>
          <p:nvSpPr>
            <p:cNvPr id="99"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681"/>
          <p:cNvGrpSpPr>
            <a:grpSpLocks noChangeAspect="1"/>
          </p:cNvGrpSpPr>
          <p:nvPr/>
        </p:nvGrpSpPr>
        <p:grpSpPr bwMode="auto">
          <a:xfrm>
            <a:off x="3811656" y="2535413"/>
            <a:ext cx="369021" cy="369021"/>
            <a:chOff x="6210" y="2696"/>
            <a:chExt cx="340" cy="340"/>
          </a:xfrm>
          <a:solidFill>
            <a:schemeClr val="accent2"/>
          </a:solidFill>
        </p:grpSpPr>
        <p:sp>
          <p:nvSpPr>
            <p:cNvPr id="103"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Oval 684"/>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335308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930275" y="1321639"/>
            <a:ext cx="3776663"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100" dirty="0">
                <a:solidFill>
                  <a:schemeClr val="bg1"/>
                </a:solidFill>
                <a:cs typeface="Arial" charset="0"/>
              </a:rPr>
              <a:t>This is a level 2 bullet</a:t>
            </a:r>
          </a:p>
        </p:txBody>
      </p:sp>
      <p:sp>
        <p:nvSpPr>
          <p:cNvPr id="5" name="Rectangle 4"/>
          <p:cNvSpPr>
            <a:spLocks noChangeArrowheads="1"/>
          </p:cNvSpPr>
          <p:nvPr/>
        </p:nvSpPr>
        <p:spPr bwMode="gray">
          <a:xfrm>
            <a:off x="2105025" y="2555444"/>
            <a:ext cx="3775075"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100" dirty="0">
                <a:solidFill>
                  <a:schemeClr val="bg1"/>
                </a:solidFill>
                <a:cs typeface="Arial" charset="0"/>
              </a:rPr>
              <a:t>This is a level 2 bullet</a:t>
            </a:r>
          </a:p>
        </p:txBody>
      </p:sp>
      <p:sp>
        <p:nvSpPr>
          <p:cNvPr id="6" name="Rectangle 5"/>
          <p:cNvSpPr>
            <a:spLocks noChangeArrowheads="1"/>
          </p:cNvSpPr>
          <p:nvPr/>
        </p:nvSpPr>
        <p:spPr bwMode="gray">
          <a:xfrm>
            <a:off x="3278188" y="3789249"/>
            <a:ext cx="3776662"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100" dirty="0">
                <a:solidFill>
                  <a:schemeClr val="bg1"/>
                </a:solidFill>
                <a:cs typeface="Arial" charset="0"/>
              </a:rPr>
              <a:t>This is a level 2 bullet</a:t>
            </a:r>
          </a:p>
        </p:txBody>
      </p:sp>
      <p:sp>
        <p:nvSpPr>
          <p:cNvPr id="7" name="Rectangle 6"/>
          <p:cNvSpPr>
            <a:spLocks noChangeArrowheads="1"/>
          </p:cNvSpPr>
          <p:nvPr/>
        </p:nvSpPr>
        <p:spPr bwMode="gray">
          <a:xfrm>
            <a:off x="4451350" y="5023054"/>
            <a:ext cx="3776663"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100" dirty="0">
                <a:solidFill>
                  <a:schemeClr val="bg1"/>
                </a:solidFill>
                <a:cs typeface="Arial" charset="0"/>
              </a:rPr>
              <a:t>Text runs here</a:t>
            </a:r>
          </a:p>
          <a:p>
            <a:pPr marL="114300" lvl="1" indent="-114300">
              <a:spcBef>
                <a:spcPts val="600"/>
              </a:spcBef>
              <a:buSzPct val="100000"/>
              <a:buFont typeface="Arial"/>
              <a:buChar char="•"/>
            </a:pPr>
            <a:r>
              <a:rPr lang="en-US" sz="1100" dirty="0">
                <a:solidFill>
                  <a:schemeClr val="bg1"/>
                </a:solidFill>
                <a:cs typeface="Arial" charset="0"/>
              </a:rPr>
              <a:t>This is a level 1 bullet</a:t>
            </a:r>
          </a:p>
          <a:p>
            <a:pPr marL="254000" lvl="2" indent="-114300">
              <a:spcBef>
                <a:spcPts val="600"/>
              </a:spcBef>
              <a:buSzPct val="100000"/>
              <a:buFont typeface="Arial"/>
              <a:buChar char="−"/>
            </a:pPr>
            <a:r>
              <a:rPr lang="en-US" sz="1100" dirty="0">
                <a:solidFill>
                  <a:schemeClr val="bg1"/>
                </a:solidFill>
                <a:cs typeface="Arial" charset="0"/>
              </a:rPr>
              <a:t>This is a level 2 bullet</a:t>
            </a:r>
          </a:p>
        </p:txBody>
      </p:sp>
      <p:cxnSp>
        <p:nvCxnSpPr>
          <p:cNvPr id="8" name="Elbow Connector 7"/>
          <p:cNvCxnSpPr>
            <a:endCxn id="5" idx="1"/>
          </p:cNvCxnSpPr>
          <p:nvPr/>
        </p:nvCxnSpPr>
        <p:spPr>
          <a:xfrm rot="16200000" flipH="1">
            <a:off x="1366168" y="2326843"/>
            <a:ext cx="731520" cy="548640"/>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2561226" y="3558114"/>
            <a:ext cx="731520" cy="548640"/>
          </a:xfrm>
          <a:prstGeom prst="bentConnector2">
            <a:avLst/>
          </a:prstGeom>
          <a:noFill/>
          <a:ln w="6350">
            <a:solidFill>
              <a:srgbClr val="BBBCBC"/>
            </a:solidFill>
            <a:round/>
            <a:headEnd type="none" w="med" len="med"/>
            <a:tailEnd type="triangle" w="med" len="med"/>
          </a:ln>
        </p:spPr>
      </p:cxnSp>
      <p:cxnSp>
        <p:nvCxnSpPr>
          <p:cNvPr id="10" name="Elbow Connector 9"/>
          <p:cNvCxnSpPr/>
          <p:nvPr/>
        </p:nvCxnSpPr>
        <p:spPr>
          <a:xfrm rot="16200000" flipH="1">
            <a:off x="3701964" y="4789385"/>
            <a:ext cx="731520" cy="548640"/>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
        <p:txBody>
          <a:bodyPr/>
          <a:lstStyle/>
          <a:p>
            <a:r>
              <a:rPr lang="en-GB"/>
              <a:t>Icons Financial services</a:t>
            </a:r>
            <a:endParaRPr lang="en-GB" dirty="0"/>
          </a:p>
        </p:txBody>
      </p:sp>
      <p:sp>
        <p:nvSpPr>
          <p:cNvPr id="4" name="Title 3"/>
          <p:cNvSpPr>
            <a:spLocks noGrp="1"/>
          </p:cNvSpPr>
          <p:nvPr>
            <p:ph type="title"/>
          </p:nvPr>
        </p:nvSpPr>
        <p:spPr bwMode="gray"/>
        <p:txBody>
          <a:bodyPr/>
          <a:lstStyle/>
          <a:p>
            <a:r>
              <a:rPr lang="en-GB" dirty="0"/>
              <a:t>Iconography</a:t>
            </a:r>
          </a:p>
        </p:txBody>
      </p:sp>
      <p:sp>
        <p:nvSpPr>
          <p:cNvPr id="422" name="TextBox 421"/>
          <p:cNvSpPr txBox="1"/>
          <p:nvPr/>
        </p:nvSpPr>
        <p:spPr bwMode="gray">
          <a:xfrm>
            <a:off x="385134" y="2092425"/>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uro</a:t>
            </a:r>
          </a:p>
        </p:txBody>
      </p:sp>
      <p:sp>
        <p:nvSpPr>
          <p:cNvPr id="423" name="TextBox 422"/>
          <p:cNvSpPr txBox="1"/>
          <p:nvPr/>
        </p:nvSpPr>
        <p:spPr bwMode="gray">
          <a:xfrm>
            <a:off x="1213585" y="20924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lls ($)</a:t>
            </a:r>
          </a:p>
        </p:txBody>
      </p:sp>
      <p:sp>
        <p:nvSpPr>
          <p:cNvPr id="424" name="TextBox 423"/>
          <p:cNvSpPr txBox="1"/>
          <p:nvPr/>
        </p:nvSpPr>
        <p:spPr bwMode="gray">
          <a:xfrm>
            <a:off x="2883861"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und</a:t>
            </a:r>
          </a:p>
        </p:txBody>
      </p:sp>
      <p:sp>
        <p:nvSpPr>
          <p:cNvPr id="425" name="TextBox 424"/>
          <p:cNvSpPr txBox="1"/>
          <p:nvPr/>
        </p:nvSpPr>
        <p:spPr bwMode="gray">
          <a:xfrm>
            <a:off x="4564047"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ggy bank</a:t>
            </a:r>
          </a:p>
        </p:txBody>
      </p:sp>
      <p:sp>
        <p:nvSpPr>
          <p:cNvPr id="426" name="TextBox 425"/>
          <p:cNvSpPr txBox="1"/>
          <p:nvPr/>
        </p:nvSpPr>
        <p:spPr bwMode="gray">
          <a:xfrm>
            <a:off x="5404140"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llar</a:t>
            </a:r>
          </a:p>
        </p:txBody>
      </p:sp>
      <p:sp>
        <p:nvSpPr>
          <p:cNvPr id="427" name="TextBox 426"/>
          <p:cNvSpPr txBox="1"/>
          <p:nvPr/>
        </p:nvSpPr>
        <p:spPr bwMode="gray">
          <a:xfrm>
            <a:off x="3723954"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Yen</a:t>
            </a:r>
          </a:p>
        </p:txBody>
      </p:sp>
      <p:sp>
        <p:nvSpPr>
          <p:cNvPr id="428" name="TextBox 427"/>
          <p:cNvSpPr txBox="1"/>
          <p:nvPr/>
        </p:nvSpPr>
        <p:spPr bwMode="gray">
          <a:xfrm>
            <a:off x="6244233" y="20924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ublic building</a:t>
            </a:r>
          </a:p>
        </p:txBody>
      </p:sp>
      <p:sp>
        <p:nvSpPr>
          <p:cNvPr id="430" name="TextBox 429"/>
          <p:cNvSpPr txBox="1"/>
          <p:nvPr/>
        </p:nvSpPr>
        <p:spPr bwMode="gray">
          <a:xfrm>
            <a:off x="393556" y="293194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t-coin</a:t>
            </a:r>
          </a:p>
        </p:txBody>
      </p:sp>
      <p:sp>
        <p:nvSpPr>
          <p:cNvPr id="431" name="TextBox 430"/>
          <p:cNvSpPr txBox="1"/>
          <p:nvPr/>
        </p:nvSpPr>
        <p:spPr bwMode="gray">
          <a:xfrm>
            <a:off x="7185186" y="2092425"/>
            <a:ext cx="643551"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in stack ($)</a:t>
            </a:r>
          </a:p>
        </p:txBody>
      </p:sp>
      <p:sp>
        <p:nvSpPr>
          <p:cNvPr id="472" name="TextBox 471"/>
          <p:cNvSpPr txBox="1"/>
          <p:nvPr/>
        </p:nvSpPr>
        <p:spPr bwMode="gray">
          <a:xfrm>
            <a:off x="2080563" y="295178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culator</a:t>
            </a:r>
          </a:p>
        </p:txBody>
      </p:sp>
      <p:sp>
        <p:nvSpPr>
          <p:cNvPr id="473" name="TextBox 472"/>
          <p:cNvSpPr txBox="1"/>
          <p:nvPr/>
        </p:nvSpPr>
        <p:spPr bwMode="gray">
          <a:xfrm>
            <a:off x="2907650" y="2951787"/>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bacus</a:t>
            </a:r>
          </a:p>
        </p:txBody>
      </p:sp>
      <p:sp>
        <p:nvSpPr>
          <p:cNvPr id="474" name="TextBox 473"/>
          <p:cNvSpPr txBox="1"/>
          <p:nvPr/>
        </p:nvSpPr>
        <p:spPr bwMode="gray">
          <a:xfrm>
            <a:off x="3749554" y="295178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pital Dome</a:t>
            </a:r>
          </a:p>
        </p:txBody>
      </p:sp>
      <p:sp>
        <p:nvSpPr>
          <p:cNvPr id="475" name="TextBox 474"/>
          <p:cNvSpPr txBox="1"/>
          <p:nvPr/>
        </p:nvSpPr>
        <p:spPr bwMode="gray">
          <a:xfrm>
            <a:off x="5534591" y="2951787"/>
            <a:ext cx="610717" cy="307777"/>
          </a:xfrm>
          <a:prstGeom prst="rect">
            <a:avLst/>
          </a:prstGeom>
          <a:noFill/>
        </p:spPr>
        <p:txBody>
          <a:bodyPr wrap="square" lIns="0" tIns="0" rIns="0" bIns="0" rtlCol="0">
            <a:spAutoFit/>
          </a:bodyPr>
          <a:lstStyle/>
          <a:p>
            <a:pPr algn="ctr">
              <a:spcBef>
                <a:spcPts val="600"/>
              </a:spcBef>
              <a:buSzPct val="100000"/>
            </a:pPr>
            <a:r>
              <a:rPr lang="en-US" sz="1000">
                <a:solidFill>
                  <a:srgbClr val="313131"/>
                </a:solidFill>
              </a:rPr>
              <a:t>Money bag ($)</a:t>
            </a:r>
            <a:endParaRPr lang="en-US" sz="1000" dirty="0">
              <a:solidFill>
                <a:srgbClr val="313131"/>
              </a:solidFill>
            </a:endParaRPr>
          </a:p>
        </p:txBody>
      </p:sp>
      <p:sp>
        <p:nvSpPr>
          <p:cNvPr id="476" name="TextBox 475"/>
          <p:cNvSpPr txBox="1"/>
          <p:nvPr/>
        </p:nvSpPr>
        <p:spPr bwMode="gray">
          <a:xfrm>
            <a:off x="7099465"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 push</a:t>
            </a:r>
          </a:p>
        </p:txBody>
      </p:sp>
      <p:sp>
        <p:nvSpPr>
          <p:cNvPr id="477" name="TextBox 476"/>
          <p:cNvSpPr txBox="1"/>
          <p:nvPr/>
        </p:nvSpPr>
        <p:spPr bwMode="gray">
          <a:xfrm>
            <a:off x="4588283"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rcent</a:t>
            </a:r>
          </a:p>
        </p:txBody>
      </p:sp>
      <p:sp>
        <p:nvSpPr>
          <p:cNvPr id="478" name="TextBox 477"/>
          <p:cNvSpPr txBox="1"/>
          <p:nvPr/>
        </p:nvSpPr>
        <p:spPr bwMode="gray">
          <a:xfrm>
            <a:off x="7938195"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fe</a:t>
            </a:r>
          </a:p>
        </p:txBody>
      </p:sp>
      <p:sp>
        <p:nvSpPr>
          <p:cNvPr id="682" name="TextBox 681"/>
          <p:cNvSpPr txBox="1"/>
          <p:nvPr/>
        </p:nvSpPr>
        <p:spPr bwMode="gray">
          <a:xfrm>
            <a:off x="1220429" y="29318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ield</a:t>
            </a:r>
          </a:p>
        </p:txBody>
      </p:sp>
      <p:sp>
        <p:nvSpPr>
          <p:cNvPr id="256" name="Freeform 509"/>
          <p:cNvSpPr>
            <a:spLocks noChangeAspect="1" noEditPoints="1"/>
          </p:cNvSpPr>
          <p:nvPr/>
        </p:nvSpPr>
        <p:spPr bwMode="gray">
          <a:xfrm>
            <a:off x="406400" y="16970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512"/>
          <p:cNvGrpSpPr>
            <a:grpSpLocks noChangeAspect="1"/>
          </p:cNvGrpSpPr>
          <p:nvPr/>
        </p:nvGrpSpPr>
        <p:grpSpPr bwMode="gray">
          <a:xfrm>
            <a:off x="825182" y="1697038"/>
            <a:ext cx="367631" cy="367631"/>
            <a:chOff x="2728" y="2016"/>
            <a:chExt cx="340" cy="340"/>
          </a:xfrm>
          <a:solidFill>
            <a:schemeClr val="accent6"/>
          </a:solidFill>
        </p:grpSpPr>
        <p:sp>
          <p:nvSpPr>
            <p:cNvPr id="258" name="Freeform 513"/>
            <p:cNvSpPr>
              <a:spLocks/>
            </p:cNvSpPr>
            <p:nvPr/>
          </p:nvSpPr>
          <p:spPr bwMode="gray">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514"/>
            <p:cNvSpPr>
              <a:spLocks noEditPoints="1"/>
            </p:cNvSpPr>
            <p:nvPr/>
          </p:nvSpPr>
          <p:spPr bwMode="gray">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141"/>
          <p:cNvSpPr>
            <a:spLocks noChangeAspect="1" noEditPoints="1"/>
          </p:cNvSpPr>
          <p:nvPr/>
        </p:nvSpPr>
        <p:spPr bwMode="gray">
          <a:xfrm>
            <a:off x="1243964" y="1697038"/>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144"/>
          <p:cNvGrpSpPr>
            <a:grpSpLocks noChangeAspect="1"/>
          </p:cNvGrpSpPr>
          <p:nvPr/>
        </p:nvGrpSpPr>
        <p:grpSpPr bwMode="gray">
          <a:xfrm>
            <a:off x="1662746" y="1697038"/>
            <a:ext cx="367631" cy="367631"/>
            <a:chOff x="2963" y="1300"/>
            <a:chExt cx="340" cy="340"/>
          </a:xfrm>
          <a:solidFill>
            <a:schemeClr val="accent2"/>
          </a:solidFill>
        </p:grpSpPr>
        <p:sp>
          <p:nvSpPr>
            <p:cNvPr id="262" name="Freeform 145"/>
            <p:cNvSpPr>
              <a:spLocks noEditPoints="1"/>
            </p:cNvSpPr>
            <p:nvPr/>
          </p:nvSpPr>
          <p:spPr bwMode="gray">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46"/>
            <p:cNvSpPr>
              <a:spLocks noEditPoints="1"/>
            </p:cNvSpPr>
            <p:nvPr/>
          </p:nvSpPr>
          <p:spPr bwMode="gray">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4" name="Group 423"/>
          <p:cNvGrpSpPr>
            <a:grpSpLocks noChangeAspect="1"/>
          </p:cNvGrpSpPr>
          <p:nvPr/>
        </p:nvGrpSpPr>
        <p:grpSpPr bwMode="gray">
          <a:xfrm>
            <a:off x="3328708" y="1697038"/>
            <a:ext cx="369021" cy="369021"/>
            <a:chOff x="4263" y="1567"/>
            <a:chExt cx="340" cy="340"/>
          </a:xfrm>
          <a:solidFill>
            <a:schemeClr val="accent5"/>
          </a:solidFill>
        </p:grpSpPr>
        <p:sp>
          <p:nvSpPr>
            <p:cNvPr id="265" name="Freeform 424"/>
            <p:cNvSpPr>
              <a:spLocks/>
            </p:cNvSpPr>
            <p:nvPr/>
          </p:nvSpPr>
          <p:spPr bwMode="gray">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425"/>
            <p:cNvSpPr>
              <a:spLocks noEditPoints="1"/>
            </p:cNvSpPr>
            <p:nvPr/>
          </p:nvSpPr>
          <p:spPr bwMode="gray">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7" name="Freeform 429"/>
          <p:cNvSpPr>
            <a:spLocks noChangeAspect="1" noEditPoints="1"/>
          </p:cNvSpPr>
          <p:nvPr/>
        </p:nvSpPr>
        <p:spPr bwMode="gray">
          <a:xfrm>
            <a:off x="2908536" y="1697038"/>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8" name="Freeform 941"/>
          <p:cNvSpPr>
            <a:spLocks noChangeAspect="1" noEditPoints="1"/>
          </p:cNvSpPr>
          <p:nvPr/>
        </p:nvSpPr>
        <p:spPr bwMode="gray">
          <a:xfrm>
            <a:off x="3748880" y="169703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935"/>
          <p:cNvGrpSpPr>
            <a:grpSpLocks noChangeAspect="1"/>
          </p:cNvGrpSpPr>
          <p:nvPr/>
        </p:nvGrpSpPr>
        <p:grpSpPr bwMode="gray">
          <a:xfrm>
            <a:off x="4169707" y="1697038"/>
            <a:ext cx="369676" cy="369676"/>
            <a:chOff x="418" y="3436"/>
            <a:chExt cx="340" cy="340"/>
          </a:xfrm>
          <a:solidFill>
            <a:schemeClr val="accent4"/>
          </a:solidFill>
        </p:grpSpPr>
        <p:sp>
          <p:nvSpPr>
            <p:cNvPr id="270" name="Freeform 269"/>
            <p:cNvSpPr>
              <a:spLocks/>
            </p:cNvSpPr>
            <p:nvPr/>
          </p:nvSpPr>
          <p:spPr bwMode="gray">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270"/>
            <p:cNvSpPr>
              <a:spLocks noEditPoints="1"/>
            </p:cNvSpPr>
            <p:nvPr/>
          </p:nvSpPr>
          <p:spPr bwMode="gray">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6" name="Group 345"/>
          <p:cNvGrpSpPr>
            <a:grpSpLocks noChangeAspect="1"/>
          </p:cNvGrpSpPr>
          <p:nvPr/>
        </p:nvGrpSpPr>
        <p:grpSpPr bwMode="gray">
          <a:xfrm>
            <a:off x="5010706" y="1697038"/>
            <a:ext cx="369021" cy="369021"/>
            <a:chOff x="3451" y="1171"/>
            <a:chExt cx="340" cy="340"/>
          </a:xfrm>
          <a:solidFill>
            <a:schemeClr val="accent4"/>
          </a:solidFill>
        </p:grpSpPr>
        <p:sp>
          <p:nvSpPr>
            <p:cNvPr id="277"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9" name="Freeform 351"/>
          <p:cNvSpPr>
            <a:spLocks noChangeAspect="1" noEditPoints="1"/>
          </p:cNvSpPr>
          <p:nvPr/>
        </p:nvSpPr>
        <p:spPr bwMode="gray">
          <a:xfrm>
            <a:off x="4590534" y="1697038"/>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6" name="Group 374"/>
          <p:cNvGrpSpPr>
            <a:grpSpLocks noChangeAspect="1"/>
          </p:cNvGrpSpPr>
          <p:nvPr/>
        </p:nvGrpSpPr>
        <p:grpSpPr bwMode="gray">
          <a:xfrm>
            <a:off x="5430878" y="1697363"/>
            <a:ext cx="367631" cy="367631"/>
            <a:chOff x="6996" y="1195"/>
            <a:chExt cx="340" cy="340"/>
          </a:xfrm>
          <a:solidFill>
            <a:schemeClr val="accent4"/>
          </a:solidFill>
        </p:grpSpPr>
        <p:sp>
          <p:nvSpPr>
            <p:cNvPr id="47" name="Freeform 375"/>
            <p:cNvSpPr>
              <a:spLocks/>
            </p:cNvSpPr>
            <p:nvPr/>
          </p:nvSpPr>
          <p:spPr bwMode="gray">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376"/>
            <p:cNvSpPr>
              <a:spLocks/>
            </p:cNvSpPr>
            <p:nvPr/>
          </p:nvSpPr>
          <p:spPr bwMode="gray">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377"/>
            <p:cNvSpPr>
              <a:spLocks noEditPoints="1"/>
            </p:cNvSpPr>
            <p:nvPr/>
          </p:nvSpPr>
          <p:spPr bwMode="gray">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 380"/>
          <p:cNvGrpSpPr>
            <a:grpSpLocks noChangeAspect="1"/>
          </p:cNvGrpSpPr>
          <p:nvPr/>
        </p:nvGrpSpPr>
        <p:grpSpPr bwMode="gray">
          <a:xfrm>
            <a:off x="5849660" y="1697038"/>
            <a:ext cx="367631" cy="367631"/>
            <a:chOff x="7362" y="1207"/>
            <a:chExt cx="340" cy="340"/>
          </a:xfrm>
          <a:solidFill>
            <a:schemeClr val="accent4"/>
          </a:solidFill>
        </p:grpSpPr>
        <p:sp>
          <p:nvSpPr>
            <p:cNvPr id="51" name="Freeform 381"/>
            <p:cNvSpPr>
              <a:spLocks noEditPoints="1"/>
            </p:cNvSpPr>
            <p:nvPr/>
          </p:nvSpPr>
          <p:spPr bwMode="gray">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382"/>
            <p:cNvSpPr>
              <a:spLocks noEditPoints="1"/>
            </p:cNvSpPr>
            <p:nvPr/>
          </p:nvSpPr>
          <p:spPr bwMode="gray">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6"/>
          <p:cNvGrpSpPr>
            <a:grpSpLocks noChangeAspect="1"/>
          </p:cNvGrpSpPr>
          <p:nvPr/>
        </p:nvGrpSpPr>
        <p:grpSpPr bwMode="gray">
          <a:xfrm>
            <a:off x="6688614" y="1697038"/>
            <a:ext cx="369021" cy="369021"/>
            <a:chOff x="3464" y="1974"/>
            <a:chExt cx="340" cy="340"/>
          </a:xfrm>
          <a:solidFill>
            <a:schemeClr val="accent6"/>
          </a:solidFill>
        </p:grpSpPr>
        <p:sp>
          <p:nvSpPr>
            <p:cNvPr id="54" name="Freeform 527"/>
            <p:cNvSpPr>
              <a:spLocks noEditPoints="1"/>
            </p:cNvSpPr>
            <p:nvPr/>
          </p:nvSpPr>
          <p:spPr bwMode="gray">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28"/>
            <p:cNvSpPr>
              <a:spLocks noEditPoints="1"/>
            </p:cNvSpPr>
            <p:nvPr/>
          </p:nvSpPr>
          <p:spPr bwMode="gray">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6" name="Group 531"/>
          <p:cNvGrpSpPr>
            <a:grpSpLocks noChangeAspect="1"/>
          </p:cNvGrpSpPr>
          <p:nvPr/>
        </p:nvGrpSpPr>
        <p:grpSpPr bwMode="gray">
          <a:xfrm>
            <a:off x="6268442" y="1697038"/>
            <a:ext cx="369021" cy="369021"/>
            <a:chOff x="3061" y="1953"/>
            <a:chExt cx="340" cy="340"/>
          </a:xfrm>
          <a:solidFill>
            <a:schemeClr val="accent6"/>
          </a:solidFill>
        </p:grpSpPr>
        <p:sp>
          <p:nvSpPr>
            <p:cNvPr id="57" name="Freeform 532"/>
            <p:cNvSpPr>
              <a:spLocks noEditPoints="1"/>
            </p:cNvSpPr>
            <p:nvPr/>
          </p:nvSpPr>
          <p:spPr bwMode="gray">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33"/>
            <p:cNvSpPr>
              <a:spLocks noEditPoints="1"/>
            </p:cNvSpPr>
            <p:nvPr/>
          </p:nvSpPr>
          <p:spPr bwMode="gray">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Freeform 45"/>
          <p:cNvSpPr>
            <a:spLocks noChangeAspect="1" noEditPoints="1"/>
          </p:cNvSpPr>
          <p:nvPr/>
        </p:nvSpPr>
        <p:spPr bwMode="gray">
          <a:xfrm>
            <a:off x="7108786" y="1697038"/>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0" name="Group 48"/>
          <p:cNvGrpSpPr>
            <a:grpSpLocks noChangeAspect="1"/>
          </p:cNvGrpSpPr>
          <p:nvPr/>
        </p:nvGrpSpPr>
        <p:grpSpPr bwMode="gray">
          <a:xfrm>
            <a:off x="7527568" y="1697038"/>
            <a:ext cx="367631" cy="367631"/>
            <a:chOff x="4277" y="1990"/>
            <a:chExt cx="340" cy="340"/>
          </a:xfrm>
          <a:solidFill>
            <a:schemeClr val="accent1"/>
          </a:solidFill>
        </p:grpSpPr>
        <p:sp>
          <p:nvSpPr>
            <p:cNvPr id="61" name="Freeform 49"/>
            <p:cNvSpPr>
              <a:spLocks noEditPoints="1"/>
            </p:cNvSpPr>
            <p:nvPr/>
          </p:nvSpPr>
          <p:spPr bwMode="gray">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50"/>
            <p:cNvSpPr>
              <a:spLocks noEditPoints="1"/>
            </p:cNvSpPr>
            <p:nvPr/>
          </p:nvSpPr>
          <p:spPr bwMode="gray">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 name="Freeform 543"/>
          <p:cNvSpPr>
            <a:spLocks noChangeAspect="1" noEditPoints="1"/>
          </p:cNvSpPr>
          <p:nvPr/>
        </p:nvSpPr>
        <p:spPr bwMode="gray">
          <a:xfrm>
            <a:off x="415487" y="2536558"/>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4" name="Group 546"/>
          <p:cNvGrpSpPr>
            <a:grpSpLocks noChangeAspect="1"/>
          </p:cNvGrpSpPr>
          <p:nvPr/>
        </p:nvGrpSpPr>
        <p:grpSpPr bwMode="gray">
          <a:xfrm>
            <a:off x="834620" y="2536558"/>
            <a:ext cx="367982" cy="367982"/>
            <a:chOff x="4349" y="2972"/>
            <a:chExt cx="340" cy="340"/>
          </a:xfrm>
          <a:solidFill>
            <a:schemeClr val="accent6"/>
          </a:solidFill>
        </p:grpSpPr>
        <p:sp>
          <p:nvSpPr>
            <p:cNvPr id="65" name="Freeform 547"/>
            <p:cNvSpPr>
              <a:spLocks noEditPoints="1"/>
            </p:cNvSpPr>
            <p:nvPr/>
          </p:nvSpPr>
          <p:spPr bwMode="gray">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48"/>
            <p:cNvSpPr>
              <a:spLocks noEditPoints="1"/>
            </p:cNvSpPr>
            <p:nvPr/>
          </p:nvSpPr>
          <p:spPr bwMode="gray">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7" name="Group 853"/>
          <p:cNvGrpSpPr>
            <a:grpSpLocks noChangeAspect="1"/>
          </p:cNvGrpSpPr>
          <p:nvPr/>
        </p:nvGrpSpPr>
        <p:grpSpPr bwMode="gray">
          <a:xfrm>
            <a:off x="1660703" y="2536435"/>
            <a:ext cx="369021" cy="369021"/>
            <a:chOff x="7360" y="3435"/>
            <a:chExt cx="340" cy="340"/>
          </a:xfrm>
          <a:solidFill>
            <a:schemeClr val="accent4"/>
          </a:solidFill>
        </p:grpSpPr>
        <p:sp>
          <p:nvSpPr>
            <p:cNvPr id="68" name="Freeform 854"/>
            <p:cNvSpPr>
              <a:spLocks noEditPoints="1"/>
            </p:cNvSpPr>
            <p:nvPr/>
          </p:nvSpPr>
          <p:spPr bwMode="gray">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55"/>
            <p:cNvSpPr>
              <a:spLocks noEditPoints="1"/>
            </p:cNvSpPr>
            <p:nvPr/>
          </p:nvSpPr>
          <p:spPr bwMode="gray">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Freeform 859"/>
          <p:cNvSpPr>
            <a:spLocks noChangeAspect="1" noEditPoints="1"/>
          </p:cNvSpPr>
          <p:nvPr/>
        </p:nvSpPr>
        <p:spPr bwMode="gray">
          <a:xfrm>
            <a:off x="1240537" y="2536487"/>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760"/>
          <p:cNvSpPr>
            <a:spLocks noChangeAspect="1" noEditPoints="1"/>
          </p:cNvSpPr>
          <p:nvPr/>
        </p:nvSpPr>
        <p:spPr bwMode="gray">
          <a:xfrm>
            <a:off x="2080563" y="2529480"/>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2" name="Group 763"/>
          <p:cNvGrpSpPr>
            <a:grpSpLocks noChangeAspect="1"/>
          </p:cNvGrpSpPr>
          <p:nvPr/>
        </p:nvGrpSpPr>
        <p:grpSpPr bwMode="gray">
          <a:xfrm>
            <a:off x="2500045" y="2529480"/>
            <a:ext cx="369064" cy="367982"/>
            <a:chOff x="3203" y="3365"/>
            <a:chExt cx="341" cy="340"/>
          </a:xfrm>
          <a:solidFill>
            <a:schemeClr val="accent3"/>
          </a:solidFill>
        </p:grpSpPr>
        <p:sp>
          <p:nvSpPr>
            <p:cNvPr id="73"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9"/>
          <p:cNvGrpSpPr>
            <a:grpSpLocks noChangeAspect="1"/>
          </p:cNvGrpSpPr>
          <p:nvPr/>
        </p:nvGrpSpPr>
        <p:grpSpPr bwMode="gray">
          <a:xfrm>
            <a:off x="3340347" y="2529310"/>
            <a:ext cx="368051" cy="368152"/>
            <a:chOff x="299" y="-289"/>
            <a:chExt cx="3635" cy="3636"/>
          </a:xfrm>
          <a:solidFill>
            <a:schemeClr val="accent1"/>
          </a:solidFill>
        </p:grpSpPr>
        <p:sp>
          <p:nvSpPr>
            <p:cNvPr id="76" name="Freeform 10"/>
            <p:cNvSpPr>
              <a:spLocks noEditPoints="1"/>
            </p:cNvSpPr>
            <p:nvPr/>
          </p:nvSpPr>
          <p:spPr bwMode="gray">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11"/>
            <p:cNvSpPr>
              <a:spLocks noEditPoints="1"/>
            </p:cNvSpPr>
            <p:nvPr/>
          </p:nvSpPr>
          <p:spPr bwMode="gray">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 name="Freeform 77"/>
          <p:cNvSpPr>
            <a:spLocks noChangeAspect="1" noEditPoints="1"/>
          </p:cNvSpPr>
          <p:nvPr/>
        </p:nvSpPr>
        <p:spPr bwMode="gray">
          <a:xfrm>
            <a:off x="2920609" y="2529310"/>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832"/>
          <p:cNvSpPr>
            <a:spLocks noChangeAspect="1" noEditPoints="1"/>
          </p:cNvSpPr>
          <p:nvPr/>
        </p:nvSpPr>
        <p:spPr bwMode="gray">
          <a:xfrm>
            <a:off x="3759898" y="2529480"/>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0" name="Group 835"/>
          <p:cNvGrpSpPr>
            <a:grpSpLocks noChangeAspect="1"/>
          </p:cNvGrpSpPr>
          <p:nvPr/>
        </p:nvGrpSpPr>
        <p:grpSpPr bwMode="gray">
          <a:xfrm>
            <a:off x="4179380" y="2529480"/>
            <a:ext cx="367982" cy="367982"/>
            <a:chOff x="4873" y="3698"/>
            <a:chExt cx="340" cy="340"/>
          </a:xfrm>
          <a:solidFill>
            <a:schemeClr val="accent3"/>
          </a:solidFill>
        </p:grpSpPr>
        <p:sp>
          <p:nvSpPr>
            <p:cNvPr id="81" name="Freeform 80"/>
            <p:cNvSpPr>
              <a:spLocks noEditPoints="1"/>
            </p:cNvSpPr>
            <p:nvPr/>
          </p:nvSpPr>
          <p:spPr bwMode="gray">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81"/>
            <p:cNvSpPr>
              <a:spLocks noEditPoints="1"/>
            </p:cNvSpPr>
            <p:nvPr/>
          </p:nvSpPr>
          <p:spPr bwMode="gray">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259"/>
          <p:cNvSpPr>
            <a:spLocks noChangeAspect="1" noEditPoints="1"/>
          </p:cNvSpPr>
          <p:nvPr/>
        </p:nvSpPr>
        <p:spPr bwMode="gray">
          <a:xfrm>
            <a:off x="4598862" y="2527356"/>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4" name="Group 262"/>
          <p:cNvGrpSpPr>
            <a:grpSpLocks noChangeAspect="1"/>
          </p:cNvGrpSpPr>
          <p:nvPr/>
        </p:nvGrpSpPr>
        <p:grpSpPr bwMode="gray">
          <a:xfrm>
            <a:off x="5019383" y="2528441"/>
            <a:ext cx="369021" cy="369021"/>
            <a:chOff x="5035" y="791"/>
            <a:chExt cx="340" cy="340"/>
          </a:xfrm>
          <a:solidFill>
            <a:schemeClr val="accent3"/>
          </a:solidFill>
        </p:grpSpPr>
        <p:sp>
          <p:nvSpPr>
            <p:cNvPr id="85"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7" name="Freeform 910"/>
          <p:cNvSpPr>
            <a:spLocks noChangeAspect="1" noEditPoints="1"/>
          </p:cNvSpPr>
          <p:nvPr/>
        </p:nvSpPr>
        <p:spPr bwMode="gray">
          <a:xfrm>
            <a:off x="5439904" y="2530421"/>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8" name="Group 913"/>
          <p:cNvGrpSpPr>
            <a:grpSpLocks noChangeAspect="1"/>
          </p:cNvGrpSpPr>
          <p:nvPr/>
        </p:nvGrpSpPr>
        <p:grpSpPr bwMode="gray">
          <a:xfrm>
            <a:off x="5874953" y="2537411"/>
            <a:ext cx="367041" cy="367041"/>
            <a:chOff x="4563" y="3912"/>
            <a:chExt cx="340" cy="340"/>
          </a:xfrm>
          <a:solidFill>
            <a:schemeClr val="accent4"/>
          </a:solidFill>
        </p:grpSpPr>
        <p:sp>
          <p:nvSpPr>
            <p:cNvPr id="89" name="Freeform 914"/>
            <p:cNvSpPr>
              <a:spLocks noEditPoints="1"/>
            </p:cNvSpPr>
            <p:nvPr/>
          </p:nvSpPr>
          <p:spPr bwMode="gray">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915"/>
            <p:cNvSpPr>
              <a:spLocks noEditPoints="1"/>
            </p:cNvSpPr>
            <p:nvPr/>
          </p:nvSpPr>
          <p:spPr bwMode="gray">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1" name="Group 781"/>
          <p:cNvGrpSpPr>
            <a:grpSpLocks noChangeAspect="1"/>
          </p:cNvGrpSpPr>
          <p:nvPr/>
        </p:nvGrpSpPr>
        <p:grpSpPr bwMode="gray">
          <a:xfrm>
            <a:off x="7529841" y="2529831"/>
            <a:ext cx="367631" cy="367631"/>
            <a:chOff x="7332" y="2771"/>
            <a:chExt cx="340" cy="340"/>
          </a:xfrm>
          <a:solidFill>
            <a:schemeClr val="accent2"/>
          </a:solidFill>
        </p:grpSpPr>
        <p:sp>
          <p:nvSpPr>
            <p:cNvPr id="92" name="Freeform 782"/>
            <p:cNvSpPr>
              <a:spLocks noEditPoints="1"/>
            </p:cNvSpPr>
            <p:nvPr/>
          </p:nvSpPr>
          <p:spPr bwMode="gray">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783"/>
            <p:cNvSpPr>
              <a:spLocks noEditPoints="1"/>
            </p:cNvSpPr>
            <p:nvPr/>
          </p:nvSpPr>
          <p:spPr bwMode="gray">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Freeform 787"/>
          <p:cNvSpPr>
            <a:spLocks noChangeAspect="1" noEditPoints="1"/>
          </p:cNvSpPr>
          <p:nvPr/>
        </p:nvSpPr>
        <p:spPr bwMode="gray">
          <a:xfrm>
            <a:off x="7110710" y="2529831"/>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95" name="Group 795"/>
          <p:cNvGrpSpPr>
            <a:grpSpLocks noChangeAspect="1"/>
          </p:cNvGrpSpPr>
          <p:nvPr/>
        </p:nvGrpSpPr>
        <p:grpSpPr bwMode="gray">
          <a:xfrm>
            <a:off x="8369493" y="2528441"/>
            <a:ext cx="369021" cy="369021"/>
            <a:chOff x="4288" y="3084"/>
            <a:chExt cx="340" cy="340"/>
          </a:xfrm>
          <a:solidFill>
            <a:schemeClr val="accent3"/>
          </a:solidFill>
        </p:grpSpPr>
        <p:sp>
          <p:nvSpPr>
            <p:cNvPr id="96" name="Freeform 796"/>
            <p:cNvSpPr>
              <a:spLocks noEditPoints="1"/>
            </p:cNvSpPr>
            <p:nvPr/>
          </p:nvSpPr>
          <p:spPr bwMode="gray">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97"/>
            <p:cNvSpPr>
              <a:spLocks noEditPoints="1"/>
            </p:cNvSpPr>
            <p:nvPr/>
          </p:nvSpPr>
          <p:spPr bwMode="gray">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98"/>
            <p:cNvSpPr>
              <a:spLocks noEditPoints="1"/>
            </p:cNvSpPr>
            <p:nvPr/>
          </p:nvSpPr>
          <p:spPr bwMode="gray">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99"/>
            <p:cNvSpPr>
              <a:spLocks/>
            </p:cNvSpPr>
            <p:nvPr/>
          </p:nvSpPr>
          <p:spPr bwMode="gray">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0" name="Freeform 803"/>
          <p:cNvSpPr>
            <a:spLocks noChangeAspect="1" noEditPoints="1"/>
          </p:cNvSpPr>
          <p:nvPr/>
        </p:nvSpPr>
        <p:spPr bwMode="gray">
          <a:xfrm>
            <a:off x="7948972" y="2528441"/>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19" name="Group 118"/>
          <p:cNvGrpSpPr>
            <a:grpSpLocks noChangeAspect="1"/>
          </p:cNvGrpSpPr>
          <p:nvPr/>
        </p:nvGrpSpPr>
        <p:grpSpPr bwMode="auto">
          <a:xfrm>
            <a:off x="6698441" y="2536435"/>
            <a:ext cx="365760" cy="365760"/>
            <a:chOff x="1359" y="639"/>
            <a:chExt cx="3042" cy="3042"/>
          </a:xfrm>
          <a:solidFill>
            <a:schemeClr val="accent6"/>
          </a:solidFill>
        </p:grpSpPr>
        <p:sp>
          <p:nvSpPr>
            <p:cNvPr id="120" name="Freeform 29"/>
            <p:cNvSpPr>
              <a:spLocks noEditPoints="1"/>
            </p:cNvSpPr>
            <p:nvPr/>
          </p:nvSpPr>
          <p:spPr bwMode="auto">
            <a:xfrm>
              <a:off x="2220" y="1210"/>
              <a:ext cx="1321" cy="1753"/>
            </a:xfrm>
            <a:custGeom>
              <a:avLst/>
              <a:gdLst>
                <a:gd name="T0" fmla="*/ 302 w 333"/>
                <a:gd name="T1" fmla="*/ 340 h 442"/>
                <a:gd name="T2" fmla="*/ 313 w 333"/>
                <a:gd name="T3" fmla="*/ 260 h 442"/>
                <a:gd name="T4" fmla="*/ 288 w 333"/>
                <a:gd name="T5" fmla="*/ 177 h 442"/>
                <a:gd name="T6" fmla="*/ 219 w 333"/>
                <a:gd name="T7" fmla="*/ 93 h 442"/>
                <a:gd name="T8" fmla="*/ 267 w 333"/>
                <a:gd name="T9" fmla="*/ 42 h 442"/>
                <a:gd name="T10" fmla="*/ 271 w 333"/>
                <a:gd name="T11" fmla="*/ 30 h 442"/>
                <a:gd name="T12" fmla="*/ 252 w 333"/>
                <a:gd name="T13" fmla="*/ 9 h 442"/>
                <a:gd name="T14" fmla="*/ 166 w 333"/>
                <a:gd name="T15" fmla="*/ 19 h 442"/>
                <a:gd name="T16" fmla="*/ 81 w 333"/>
                <a:gd name="T17" fmla="*/ 9 h 442"/>
                <a:gd name="T18" fmla="*/ 62 w 333"/>
                <a:gd name="T19" fmla="*/ 30 h 442"/>
                <a:gd name="T20" fmla="*/ 66 w 333"/>
                <a:gd name="T21" fmla="*/ 42 h 442"/>
                <a:gd name="T22" fmla="*/ 114 w 333"/>
                <a:gd name="T23" fmla="*/ 93 h 442"/>
                <a:gd name="T24" fmla="*/ 20 w 333"/>
                <a:gd name="T25" fmla="*/ 260 h 442"/>
                <a:gd name="T26" fmla="*/ 31 w 333"/>
                <a:gd name="T27" fmla="*/ 340 h 442"/>
                <a:gd name="T28" fmla="*/ 2 w 333"/>
                <a:gd name="T29" fmla="*/ 423 h 442"/>
                <a:gd name="T30" fmla="*/ 3 w 333"/>
                <a:gd name="T31" fmla="*/ 436 h 442"/>
                <a:gd name="T32" fmla="*/ 14 w 333"/>
                <a:gd name="T33" fmla="*/ 442 h 442"/>
                <a:gd name="T34" fmla="*/ 319 w 333"/>
                <a:gd name="T35" fmla="*/ 442 h 442"/>
                <a:gd name="T36" fmla="*/ 330 w 333"/>
                <a:gd name="T37" fmla="*/ 436 h 442"/>
                <a:gd name="T38" fmla="*/ 331 w 333"/>
                <a:gd name="T39" fmla="*/ 423 h 442"/>
                <a:gd name="T40" fmla="*/ 302 w 333"/>
                <a:gd name="T41" fmla="*/ 340 h 442"/>
                <a:gd name="T42" fmla="*/ 168 w 333"/>
                <a:gd name="T43" fmla="*/ 41 h 442"/>
                <a:gd name="T44" fmla="*/ 168 w 333"/>
                <a:gd name="T45" fmla="*/ 41 h 442"/>
                <a:gd name="T46" fmla="*/ 168 w 333"/>
                <a:gd name="T47" fmla="*/ 41 h 442"/>
                <a:gd name="T48" fmla="*/ 58 w 333"/>
                <a:gd name="T49" fmla="*/ 337 h 442"/>
                <a:gd name="T50" fmla="*/ 57 w 333"/>
                <a:gd name="T51" fmla="*/ 331 h 442"/>
                <a:gd name="T52" fmla="*/ 46 w 333"/>
                <a:gd name="T53" fmla="*/ 262 h 442"/>
                <a:gd name="T54" fmla="*/ 138 w 333"/>
                <a:gd name="T55" fmla="*/ 107 h 442"/>
                <a:gd name="T56" fmla="*/ 195 w 333"/>
                <a:gd name="T57" fmla="*/ 107 h 442"/>
                <a:gd name="T58" fmla="*/ 265 w 333"/>
                <a:gd name="T59" fmla="*/ 189 h 442"/>
                <a:gd name="T60" fmla="*/ 287 w 333"/>
                <a:gd name="T61" fmla="*/ 261 h 442"/>
                <a:gd name="T62" fmla="*/ 276 w 333"/>
                <a:gd name="T63" fmla="*/ 331 h 442"/>
                <a:gd name="T64" fmla="*/ 275 w 333"/>
                <a:gd name="T65" fmla="*/ 337 h 442"/>
                <a:gd name="T66" fmla="*/ 298 w 333"/>
                <a:gd name="T67" fmla="*/ 415 h 442"/>
                <a:gd name="T68" fmla="*/ 35 w 333"/>
                <a:gd name="T69" fmla="*/ 415 h 442"/>
                <a:gd name="T70" fmla="*/ 58 w 333"/>
                <a:gd name="T71" fmla="*/ 337 h 442"/>
                <a:gd name="T72" fmla="*/ 93 w 333"/>
                <a:gd name="T73" fmla="*/ 33 h 442"/>
                <a:gd name="T74" fmla="*/ 161 w 333"/>
                <a:gd name="T75" fmla="*/ 45 h 442"/>
                <a:gd name="T76" fmla="*/ 161 w 333"/>
                <a:gd name="T77" fmla="*/ 45 h 442"/>
                <a:gd name="T78" fmla="*/ 162 w 333"/>
                <a:gd name="T79" fmla="*/ 46 h 442"/>
                <a:gd name="T80" fmla="*/ 163 w 333"/>
                <a:gd name="T81" fmla="*/ 46 h 442"/>
                <a:gd name="T82" fmla="*/ 163 w 333"/>
                <a:gd name="T83" fmla="*/ 46 h 442"/>
                <a:gd name="T84" fmla="*/ 164 w 333"/>
                <a:gd name="T85" fmla="*/ 46 h 442"/>
                <a:gd name="T86" fmla="*/ 165 w 333"/>
                <a:gd name="T87" fmla="*/ 46 h 442"/>
                <a:gd name="T88" fmla="*/ 165 w 333"/>
                <a:gd name="T89" fmla="*/ 46 h 442"/>
                <a:gd name="T90" fmla="*/ 166 w 333"/>
                <a:gd name="T91" fmla="*/ 46 h 442"/>
                <a:gd name="T92" fmla="*/ 166 w 333"/>
                <a:gd name="T93" fmla="*/ 46 h 442"/>
                <a:gd name="T94" fmla="*/ 167 w 333"/>
                <a:gd name="T95" fmla="*/ 46 h 442"/>
                <a:gd name="T96" fmla="*/ 168 w 333"/>
                <a:gd name="T97" fmla="*/ 46 h 442"/>
                <a:gd name="T98" fmla="*/ 168 w 333"/>
                <a:gd name="T99" fmla="*/ 46 h 442"/>
                <a:gd name="T100" fmla="*/ 169 w 333"/>
                <a:gd name="T101" fmla="*/ 46 h 442"/>
                <a:gd name="T102" fmla="*/ 170 w 333"/>
                <a:gd name="T103" fmla="*/ 46 h 442"/>
                <a:gd name="T104" fmla="*/ 170 w 333"/>
                <a:gd name="T105" fmla="*/ 46 h 442"/>
                <a:gd name="T106" fmla="*/ 171 w 333"/>
                <a:gd name="T107" fmla="*/ 46 h 442"/>
                <a:gd name="T108" fmla="*/ 171 w 333"/>
                <a:gd name="T109" fmla="*/ 45 h 442"/>
                <a:gd name="T110" fmla="*/ 172 w 333"/>
                <a:gd name="T111" fmla="*/ 45 h 442"/>
                <a:gd name="T112" fmla="*/ 240 w 333"/>
                <a:gd name="T113" fmla="*/ 33 h 442"/>
                <a:gd name="T114" fmla="*/ 240 w 333"/>
                <a:gd name="T115" fmla="*/ 33 h 442"/>
                <a:gd name="T116" fmla="*/ 194 w 333"/>
                <a:gd name="T117" fmla="*/ 81 h 442"/>
                <a:gd name="T118" fmla="*/ 139 w 333"/>
                <a:gd name="T119" fmla="*/ 81 h 442"/>
                <a:gd name="T120" fmla="*/ 93 w 333"/>
                <a:gd name="T121" fmla="*/ 33 h 442"/>
                <a:gd name="T122" fmla="*/ 93 w 333"/>
                <a:gd name="T123" fmla="*/ 3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3" h="442">
                  <a:moveTo>
                    <a:pt x="302" y="340"/>
                  </a:moveTo>
                  <a:cubicBezTo>
                    <a:pt x="306" y="330"/>
                    <a:pt x="316" y="301"/>
                    <a:pt x="313" y="260"/>
                  </a:cubicBezTo>
                  <a:cubicBezTo>
                    <a:pt x="311" y="232"/>
                    <a:pt x="303" y="204"/>
                    <a:pt x="288" y="177"/>
                  </a:cubicBezTo>
                  <a:cubicBezTo>
                    <a:pt x="273" y="147"/>
                    <a:pt x="249" y="119"/>
                    <a:pt x="219" y="93"/>
                  </a:cubicBezTo>
                  <a:cubicBezTo>
                    <a:pt x="267" y="42"/>
                    <a:pt x="267" y="42"/>
                    <a:pt x="267" y="42"/>
                  </a:cubicBezTo>
                  <a:cubicBezTo>
                    <a:pt x="271" y="39"/>
                    <a:pt x="272" y="34"/>
                    <a:pt x="271" y="30"/>
                  </a:cubicBezTo>
                  <a:cubicBezTo>
                    <a:pt x="270" y="27"/>
                    <a:pt x="266" y="16"/>
                    <a:pt x="252" y="9"/>
                  </a:cubicBezTo>
                  <a:cubicBezTo>
                    <a:pt x="232" y="0"/>
                    <a:pt x="204" y="3"/>
                    <a:pt x="166" y="19"/>
                  </a:cubicBezTo>
                  <a:cubicBezTo>
                    <a:pt x="129" y="3"/>
                    <a:pt x="100" y="0"/>
                    <a:pt x="81" y="9"/>
                  </a:cubicBezTo>
                  <a:cubicBezTo>
                    <a:pt x="67" y="16"/>
                    <a:pt x="63" y="27"/>
                    <a:pt x="62" y="30"/>
                  </a:cubicBezTo>
                  <a:cubicBezTo>
                    <a:pt x="61" y="34"/>
                    <a:pt x="62" y="39"/>
                    <a:pt x="66" y="42"/>
                  </a:cubicBezTo>
                  <a:cubicBezTo>
                    <a:pt x="114" y="93"/>
                    <a:pt x="114" y="93"/>
                    <a:pt x="114" y="93"/>
                  </a:cubicBezTo>
                  <a:cubicBezTo>
                    <a:pt x="42" y="156"/>
                    <a:pt x="23" y="218"/>
                    <a:pt x="20" y="260"/>
                  </a:cubicBezTo>
                  <a:cubicBezTo>
                    <a:pt x="17" y="301"/>
                    <a:pt x="27" y="330"/>
                    <a:pt x="31" y="340"/>
                  </a:cubicBezTo>
                  <a:cubicBezTo>
                    <a:pt x="30" y="359"/>
                    <a:pt x="13" y="401"/>
                    <a:pt x="2" y="423"/>
                  </a:cubicBezTo>
                  <a:cubicBezTo>
                    <a:pt x="0" y="427"/>
                    <a:pt x="1" y="432"/>
                    <a:pt x="3" y="436"/>
                  </a:cubicBezTo>
                  <a:cubicBezTo>
                    <a:pt x="6" y="439"/>
                    <a:pt x="10" y="442"/>
                    <a:pt x="14" y="442"/>
                  </a:cubicBezTo>
                  <a:cubicBezTo>
                    <a:pt x="319" y="442"/>
                    <a:pt x="319" y="442"/>
                    <a:pt x="319" y="442"/>
                  </a:cubicBezTo>
                  <a:cubicBezTo>
                    <a:pt x="323" y="442"/>
                    <a:pt x="327" y="439"/>
                    <a:pt x="330" y="436"/>
                  </a:cubicBezTo>
                  <a:cubicBezTo>
                    <a:pt x="332" y="432"/>
                    <a:pt x="333" y="427"/>
                    <a:pt x="331" y="423"/>
                  </a:cubicBezTo>
                  <a:cubicBezTo>
                    <a:pt x="320" y="401"/>
                    <a:pt x="303" y="359"/>
                    <a:pt x="302" y="340"/>
                  </a:cubicBezTo>
                  <a:close/>
                  <a:moveTo>
                    <a:pt x="168" y="41"/>
                  </a:moveTo>
                  <a:cubicBezTo>
                    <a:pt x="168" y="41"/>
                    <a:pt x="168" y="41"/>
                    <a:pt x="168" y="41"/>
                  </a:cubicBezTo>
                  <a:cubicBezTo>
                    <a:pt x="168" y="41"/>
                    <a:pt x="168" y="41"/>
                    <a:pt x="168" y="41"/>
                  </a:cubicBezTo>
                  <a:close/>
                  <a:moveTo>
                    <a:pt x="58" y="337"/>
                  </a:moveTo>
                  <a:cubicBezTo>
                    <a:pt x="58" y="335"/>
                    <a:pt x="58" y="333"/>
                    <a:pt x="57" y="331"/>
                  </a:cubicBezTo>
                  <a:cubicBezTo>
                    <a:pt x="57" y="331"/>
                    <a:pt x="43" y="303"/>
                    <a:pt x="46" y="262"/>
                  </a:cubicBezTo>
                  <a:cubicBezTo>
                    <a:pt x="50" y="207"/>
                    <a:pt x="82" y="154"/>
                    <a:pt x="138" y="107"/>
                  </a:cubicBezTo>
                  <a:cubicBezTo>
                    <a:pt x="195" y="107"/>
                    <a:pt x="195" y="107"/>
                    <a:pt x="195" y="107"/>
                  </a:cubicBezTo>
                  <a:cubicBezTo>
                    <a:pt x="226" y="133"/>
                    <a:pt x="249" y="160"/>
                    <a:pt x="265" y="189"/>
                  </a:cubicBezTo>
                  <a:cubicBezTo>
                    <a:pt x="277" y="212"/>
                    <a:pt x="285" y="237"/>
                    <a:pt x="287" y="261"/>
                  </a:cubicBezTo>
                  <a:cubicBezTo>
                    <a:pt x="290" y="302"/>
                    <a:pt x="276" y="331"/>
                    <a:pt x="276" y="331"/>
                  </a:cubicBezTo>
                  <a:cubicBezTo>
                    <a:pt x="275" y="333"/>
                    <a:pt x="275" y="335"/>
                    <a:pt x="275" y="337"/>
                  </a:cubicBezTo>
                  <a:cubicBezTo>
                    <a:pt x="275" y="357"/>
                    <a:pt x="288" y="392"/>
                    <a:pt x="298" y="415"/>
                  </a:cubicBezTo>
                  <a:cubicBezTo>
                    <a:pt x="35" y="415"/>
                    <a:pt x="35" y="415"/>
                    <a:pt x="35" y="415"/>
                  </a:cubicBezTo>
                  <a:cubicBezTo>
                    <a:pt x="45" y="392"/>
                    <a:pt x="58" y="357"/>
                    <a:pt x="58" y="337"/>
                  </a:cubicBezTo>
                  <a:close/>
                  <a:moveTo>
                    <a:pt x="93" y="33"/>
                  </a:moveTo>
                  <a:cubicBezTo>
                    <a:pt x="106" y="27"/>
                    <a:pt x="130" y="32"/>
                    <a:pt x="161" y="45"/>
                  </a:cubicBezTo>
                  <a:cubicBezTo>
                    <a:pt x="161" y="45"/>
                    <a:pt x="161" y="45"/>
                    <a:pt x="161" y="45"/>
                  </a:cubicBezTo>
                  <a:cubicBezTo>
                    <a:pt x="162" y="45"/>
                    <a:pt x="162" y="46"/>
                    <a:pt x="162" y="46"/>
                  </a:cubicBezTo>
                  <a:cubicBezTo>
                    <a:pt x="162" y="46"/>
                    <a:pt x="162" y="46"/>
                    <a:pt x="163" y="46"/>
                  </a:cubicBezTo>
                  <a:cubicBezTo>
                    <a:pt x="163" y="46"/>
                    <a:pt x="163" y="46"/>
                    <a:pt x="163" y="46"/>
                  </a:cubicBezTo>
                  <a:cubicBezTo>
                    <a:pt x="163" y="46"/>
                    <a:pt x="164" y="46"/>
                    <a:pt x="164" y="46"/>
                  </a:cubicBezTo>
                  <a:cubicBezTo>
                    <a:pt x="164" y="46"/>
                    <a:pt x="164" y="46"/>
                    <a:pt x="165" y="46"/>
                  </a:cubicBezTo>
                  <a:cubicBezTo>
                    <a:pt x="165" y="46"/>
                    <a:pt x="165" y="46"/>
                    <a:pt x="165" y="46"/>
                  </a:cubicBezTo>
                  <a:cubicBezTo>
                    <a:pt x="165" y="46"/>
                    <a:pt x="166" y="46"/>
                    <a:pt x="166" y="46"/>
                  </a:cubicBezTo>
                  <a:cubicBezTo>
                    <a:pt x="166" y="46"/>
                    <a:pt x="166" y="46"/>
                    <a:pt x="166" y="46"/>
                  </a:cubicBezTo>
                  <a:cubicBezTo>
                    <a:pt x="167" y="46"/>
                    <a:pt x="167" y="46"/>
                    <a:pt x="167" y="46"/>
                  </a:cubicBezTo>
                  <a:cubicBezTo>
                    <a:pt x="167" y="46"/>
                    <a:pt x="168" y="46"/>
                    <a:pt x="168" y="46"/>
                  </a:cubicBezTo>
                  <a:cubicBezTo>
                    <a:pt x="168" y="46"/>
                    <a:pt x="168" y="46"/>
                    <a:pt x="168" y="46"/>
                  </a:cubicBezTo>
                  <a:cubicBezTo>
                    <a:pt x="169" y="46"/>
                    <a:pt x="169" y="46"/>
                    <a:pt x="169" y="46"/>
                  </a:cubicBezTo>
                  <a:cubicBezTo>
                    <a:pt x="169" y="46"/>
                    <a:pt x="169" y="46"/>
                    <a:pt x="170" y="46"/>
                  </a:cubicBezTo>
                  <a:cubicBezTo>
                    <a:pt x="170" y="46"/>
                    <a:pt x="170" y="46"/>
                    <a:pt x="170" y="46"/>
                  </a:cubicBezTo>
                  <a:cubicBezTo>
                    <a:pt x="171" y="46"/>
                    <a:pt x="171" y="46"/>
                    <a:pt x="171" y="46"/>
                  </a:cubicBezTo>
                  <a:cubicBezTo>
                    <a:pt x="171" y="46"/>
                    <a:pt x="171" y="45"/>
                    <a:pt x="171" y="45"/>
                  </a:cubicBezTo>
                  <a:cubicBezTo>
                    <a:pt x="172" y="45"/>
                    <a:pt x="172" y="45"/>
                    <a:pt x="172" y="45"/>
                  </a:cubicBezTo>
                  <a:cubicBezTo>
                    <a:pt x="202" y="32"/>
                    <a:pt x="227" y="27"/>
                    <a:pt x="240" y="33"/>
                  </a:cubicBezTo>
                  <a:cubicBezTo>
                    <a:pt x="240" y="33"/>
                    <a:pt x="240" y="33"/>
                    <a:pt x="240" y="33"/>
                  </a:cubicBezTo>
                  <a:cubicBezTo>
                    <a:pt x="194" y="81"/>
                    <a:pt x="194" y="81"/>
                    <a:pt x="194" y="81"/>
                  </a:cubicBezTo>
                  <a:cubicBezTo>
                    <a:pt x="139" y="81"/>
                    <a:pt x="139" y="81"/>
                    <a:pt x="139" y="81"/>
                  </a:cubicBezTo>
                  <a:cubicBezTo>
                    <a:pt x="93" y="33"/>
                    <a:pt x="93" y="33"/>
                    <a:pt x="93" y="33"/>
                  </a:cubicBezTo>
                  <a:cubicBezTo>
                    <a:pt x="93" y="33"/>
                    <a:pt x="93" y="33"/>
                    <a:pt x="9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0"/>
            <p:cNvSpPr>
              <a:spLocks noEditPoints="1"/>
            </p:cNvSpPr>
            <p:nvPr/>
          </p:nvSpPr>
          <p:spPr bwMode="auto">
            <a:xfrm>
              <a:off x="1359" y="639"/>
              <a:ext cx="3042" cy="3042"/>
            </a:xfrm>
            <a:custGeom>
              <a:avLst/>
              <a:gdLst>
                <a:gd name="T0" fmla="*/ 654 w 767"/>
                <a:gd name="T1" fmla="*/ 112 h 767"/>
                <a:gd name="T2" fmla="*/ 383 w 767"/>
                <a:gd name="T3" fmla="*/ 0 h 767"/>
                <a:gd name="T4" fmla="*/ 112 w 767"/>
                <a:gd name="T5" fmla="*/ 112 h 767"/>
                <a:gd name="T6" fmla="*/ 0 w 767"/>
                <a:gd name="T7" fmla="*/ 383 h 767"/>
                <a:gd name="T8" fmla="*/ 112 w 767"/>
                <a:gd name="T9" fmla="*/ 654 h 767"/>
                <a:gd name="T10" fmla="*/ 383 w 767"/>
                <a:gd name="T11" fmla="*/ 767 h 767"/>
                <a:gd name="T12" fmla="*/ 654 w 767"/>
                <a:gd name="T13" fmla="*/ 654 h 767"/>
                <a:gd name="T14" fmla="*/ 767 w 767"/>
                <a:gd name="T15" fmla="*/ 383 h 767"/>
                <a:gd name="T16" fmla="*/ 654 w 767"/>
                <a:gd name="T17" fmla="*/ 112 h 767"/>
                <a:gd name="T18" fmla="*/ 740 w 767"/>
                <a:gd name="T19" fmla="*/ 383 h 767"/>
                <a:gd name="T20" fmla="*/ 712 w 767"/>
                <a:gd name="T21" fmla="*/ 522 h 767"/>
                <a:gd name="T22" fmla="*/ 636 w 767"/>
                <a:gd name="T23" fmla="*/ 636 h 767"/>
                <a:gd name="T24" fmla="*/ 522 w 767"/>
                <a:gd name="T25" fmla="*/ 712 h 767"/>
                <a:gd name="T26" fmla="*/ 383 w 767"/>
                <a:gd name="T27" fmla="*/ 740 h 767"/>
                <a:gd name="T28" fmla="*/ 245 w 767"/>
                <a:gd name="T29" fmla="*/ 712 h 767"/>
                <a:gd name="T30" fmla="*/ 131 w 767"/>
                <a:gd name="T31" fmla="*/ 636 h 767"/>
                <a:gd name="T32" fmla="*/ 55 w 767"/>
                <a:gd name="T33" fmla="*/ 522 h 767"/>
                <a:gd name="T34" fmla="*/ 27 w 767"/>
                <a:gd name="T35" fmla="*/ 383 h 767"/>
                <a:gd name="T36" fmla="*/ 55 w 767"/>
                <a:gd name="T37" fmla="*/ 245 h 767"/>
                <a:gd name="T38" fmla="*/ 131 w 767"/>
                <a:gd name="T39" fmla="*/ 131 h 767"/>
                <a:gd name="T40" fmla="*/ 245 w 767"/>
                <a:gd name="T41" fmla="*/ 55 h 767"/>
                <a:gd name="T42" fmla="*/ 383 w 767"/>
                <a:gd name="T43" fmla="*/ 27 h 767"/>
                <a:gd name="T44" fmla="*/ 522 w 767"/>
                <a:gd name="T45" fmla="*/ 55 h 767"/>
                <a:gd name="T46" fmla="*/ 636 w 767"/>
                <a:gd name="T47" fmla="*/ 131 h 767"/>
                <a:gd name="T48" fmla="*/ 712 w 767"/>
                <a:gd name="T49" fmla="*/ 245 h 767"/>
                <a:gd name="T50" fmla="*/ 740 w 767"/>
                <a:gd name="T51" fmla="*/ 383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7" h="767">
                  <a:moveTo>
                    <a:pt x="654" y="112"/>
                  </a:moveTo>
                  <a:cubicBezTo>
                    <a:pt x="582" y="40"/>
                    <a:pt x="486" y="0"/>
                    <a:pt x="383" y="0"/>
                  </a:cubicBezTo>
                  <a:cubicBezTo>
                    <a:pt x="281" y="0"/>
                    <a:pt x="185" y="40"/>
                    <a:pt x="112" y="112"/>
                  </a:cubicBezTo>
                  <a:cubicBezTo>
                    <a:pt x="40" y="185"/>
                    <a:pt x="0" y="281"/>
                    <a:pt x="0" y="383"/>
                  </a:cubicBezTo>
                  <a:cubicBezTo>
                    <a:pt x="0" y="486"/>
                    <a:pt x="40" y="582"/>
                    <a:pt x="112" y="654"/>
                  </a:cubicBezTo>
                  <a:cubicBezTo>
                    <a:pt x="185" y="727"/>
                    <a:pt x="281" y="767"/>
                    <a:pt x="383" y="767"/>
                  </a:cubicBezTo>
                  <a:cubicBezTo>
                    <a:pt x="486" y="767"/>
                    <a:pt x="582" y="727"/>
                    <a:pt x="654" y="654"/>
                  </a:cubicBezTo>
                  <a:cubicBezTo>
                    <a:pt x="727" y="582"/>
                    <a:pt x="767" y="486"/>
                    <a:pt x="767" y="383"/>
                  </a:cubicBezTo>
                  <a:cubicBezTo>
                    <a:pt x="767" y="281"/>
                    <a:pt x="727" y="185"/>
                    <a:pt x="654" y="112"/>
                  </a:cubicBezTo>
                  <a:close/>
                  <a:moveTo>
                    <a:pt x="740" y="383"/>
                  </a:moveTo>
                  <a:cubicBezTo>
                    <a:pt x="740" y="432"/>
                    <a:pt x="731" y="478"/>
                    <a:pt x="712" y="522"/>
                  </a:cubicBezTo>
                  <a:cubicBezTo>
                    <a:pt x="694" y="565"/>
                    <a:pt x="668" y="603"/>
                    <a:pt x="636" y="636"/>
                  </a:cubicBezTo>
                  <a:cubicBezTo>
                    <a:pt x="603" y="668"/>
                    <a:pt x="565" y="694"/>
                    <a:pt x="522" y="712"/>
                  </a:cubicBezTo>
                  <a:cubicBezTo>
                    <a:pt x="478" y="731"/>
                    <a:pt x="432" y="740"/>
                    <a:pt x="383" y="740"/>
                  </a:cubicBezTo>
                  <a:cubicBezTo>
                    <a:pt x="335" y="740"/>
                    <a:pt x="289" y="731"/>
                    <a:pt x="245" y="712"/>
                  </a:cubicBezTo>
                  <a:cubicBezTo>
                    <a:pt x="202" y="694"/>
                    <a:pt x="164" y="668"/>
                    <a:pt x="131" y="636"/>
                  </a:cubicBezTo>
                  <a:cubicBezTo>
                    <a:pt x="99" y="603"/>
                    <a:pt x="73" y="565"/>
                    <a:pt x="55" y="522"/>
                  </a:cubicBezTo>
                  <a:cubicBezTo>
                    <a:pt x="36" y="478"/>
                    <a:pt x="27" y="432"/>
                    <a:pt x="27" y="383"/>
                  </a:cubicBezTo>
                  <a:cubicBezTo>
                    <a:pt x="27" y="335"/>
                    <a:pt x="36" y="289"/>
                    <a:pt x="55" y="245"/>
                  </a:cubicBezTo>
                  <a:cubicBezTo>
                    <a:pt x="73" y="202"/>
                    <a:pt x="99" y="164"/>
                    <a:pt x="131" y="131"/>
                  </a:cubicBezTo>
                  <a:cubicBezTo>
                    <a:pt x="164" y="99"/>
                    <a:pt x="202" y="73"/>
                    <a:pt x="245" y="55"/>
                  </a:cubicBezTo>
                  <a:cubicBezTo>
                    <a:pt x="289" y="36"/>
                    <a:pt x="335" y="27"/>
                    <a:pt x="383" y="27"/>
                  </a:cubicBezTo>
                  <a:cubicBezTo>
                    <a:pt x="432" y="27"/>
                    <a:pt x="478" y="36"/>
                    <a:pt x="522" y="55"/>
                  </a:cubicBezTo>
                  <a:cubicBezTo>
                    <a:pt x="565" y="73"/>
                    <a:pt x="603" y="99"/>
                    <a:pt x="636" y="131"/>
                  </a:cubicBezTo>
                  <a:cubicBezTo>
                    <a:pt x="668" y="164"/>
                    <a:pt x="694" y="202"/>
                    <a:pt x="712" y="245"/>
                  </a:cubicBezTo>
                  <a:cubicBezTo>
                    <a:pt x="731" y="289"/>
                    <a:pt x="740" y="335"/>
                    <a:pt x="740" y="3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1"/>
            <p:cNvSpPr>
              <a:spLocks/>
            </p:cNvSpPr>
            <p:nvPr/>
          </p:nvSpPr>
          <p:spPr bwMode="auto">
            <a:xfrm>
              <a:off x="2553" y="1904"/>
              <a:ext cx="563" cy="718"/>
            </a:xfrm>
            <a:custGeom>
              <a:avLst/>
              <a:gdLst>
                <a:gd name="T0" fmla="*/ 97 w 142"/>
                <a:gd name="T1" fmla="*/ 19 h 181"/>
                <a:gd name="T2" fmla="*/ 126 w 142"/>
                <a:gd name="T3" fmla="*/ 28 h 181"/>
                <a:gd name="T4" fmla="*/ 139 w 142"/>
                <a:gd name="T5" fmla="*/ 26 h 181"/>
                <a:gd name="T6" fmla="*/ 141 w 142"/>
                <a:gd name="T7" fmla="*/ 19 h 181"/>
                <a:gd name="T8" fmla="*/ 137 w 142"/>
                <a:gd name="T9" fmla="*/ 12 h 181"/>
                <a:gd name="T10" fmla="*/ 97 w 142"/>
                <a:gd name="T11" fmla="*/ 0 h 181"/>
                <a:gd name="T12" fmla="*/ 47 w 142"/>
                <a:gd name="T13" fmla="*/ 20 h 181"/>
                <a:gd name="T14" fmla="*/ 20 w 142"/>
                <a:gd name="T15" fmla="*/ 69 h 181"/>
                <a:gd name="T16" fmla="*/ 10 w 142"/>
                <a:gd name="T17" fmla="*/ 69 h 181"/>
                <a:gd name="T18" fmla="*/ 0 w 142"/>
                <a:gd name="T19" fmla="*/ 79 h 181"/>
                <a:gd name="T20" fmla="*/ 10 w 142"/>
                <a:gd name="T21" fmla="*/ 88 h 181"/>
                <a:gd name="T22" fmla="*/ 18 w 142"/>
                <a:gd name="T23" fmla="*/ 88 h 181"/>
                <a:gd name="T24" fmla="*/ 18 w 142"/>
                <a:gd name="T25" fmla="*/ 90 h 181"/>
                <a:gd name="T26" fmla="*/ 18 w 142"/>
                <a:gd name="T27" fmla="*/ 92 h 181"/>
                <a:gd name="T28" fmla="*/ 10 w 142"/>
                <a:gd name="T29" fmla="*/ 92 h 181"/>
                <a:gd name="T30" fmla="*/ 0 w 142"/>
                <a:gd name="T31" fmla="*/ 102 h 181"/>
                <a:gd name="T32" fmla="*/ 10 w 142"/>
                <a:gd name="T33" fmla="*/ 111 h 181"/>
                <a:gd name="T34" fmla="*/ 20 w 142"/>
                <a:gd name="T35" fmla="*/ 111 h 181"/>
                <a:gd name="T36" fmla="*/ 47 w 142"/>
                <a:gd name="T37" fmla="*/ 160 h 181"/>
                <a:gd name="T38" fmla="*/ 97 w 142"/>
                <a:gd name="T39" fmla="*/ 181 h 181"/>
                <a:gd name="T40" fmla="*/ 137 w 142"/>
                <a:gd name="T41" fmla="*/ 168 h 181"/>
                <a:gd name="T42" fmla="*/ 139 w 142"/>
                <a:gd name="T43" fmla="*/ 155 h 181"/>
                <a:gd name="T44" fmla="*/ 126 w 142"/>
                <a:gd name="T45" fmla="*/ 152 h 181"/>
                <a:gd name="T46" fmla="*/ 97 w 142"/>
                <a:gd name="T47" fmla="*/ 161 h 181"/>
                <a:gd name="T48" fmla="*/ 40 w 142"/>
                <a:gd name="T49" fmla="*/ 111 h 181"/>
                <a:gd name="T50" fmla="*/ 108 w 142"/>
                <a:gd name="T51" fmla="*/ 111 h 181"/>
                <a:gd name="T52" fmla="*/ 118 w 142"/>
                <a:gd name="T53" fmla="*/ 102 h 181"/>
                <a:gd name="T54" fmla="*/ 108 w 142"/>
                <a:gd name="T55" fmla="*/ 92 h 181"/>
                <a:gd name="T56" fmla="*/ 37 w 142"/>
                <a:gd name="T57" fmla="*/ 92 h 181"/>
                <a:gd name="T58" fmla="*/ 37 w 142"/>
                <a:gd name="T59" fmla="*/ 90 h 181"/>
                <a:gd name="T60" fmla="*/ 37 w 142"/>
                <a:gd name="T61" fmla="*/ 88 h 181"/>
                <a:gd name="T62" fmla="*/ 108 w 142"/>
                <a:gd name="T63" fmla="*/ 88 h 181"/>
                <a:gd name="T64" fmla="*/ 118 w 142"/>
                <a:gd name="T65" fmla="*/ 79 h 181"/>
                <a:gd name="T66" fmla="*/ 108 w 142"/>
                <a:gd name="T67" fmla="*/ 69 h 181"/>
                <a:gd name="T68" fmla="*/ 40 w 142"/>
                <a:gd name="T69" fmla="*/ 69 h 181"/>
                <a:gd name="T70" fmla="*/ 97 w 142"/>
                <a:gd name="T71"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81">
                  <a:moveTo>
                    <a:pt x="97" y="19"/>
                  </a:moveTo>
                  <a:cubicBezTo>
                    <a:pt x="107" y="19"/>
                    <a:pt x="117" y="22"/>
                    <a:pt x="126" y="28"/>
                  </a:cubicBezTo>
                  <a:cubicBezTo>
                    <a:pt x="130" y="31"/>
                    <a:pt x="136" y="30"/>
                    <a:pt x="139" y="26"/>
                  </a:cubicBezTo>
                  <a:cubicBezTo>
                    <a:pt x="141" y="24"/>
                    <a:pt x="141" y="21"/>
                    <a:pt x="141" y="19"/>
                  </a:cubicBezTo>
                  <a:cubicBezTo>
                    <a:pt x="140" y="16"/>
                    <a:pt x="139" y="14"/>
                    <a:pt x="137" y="12"/>
                  </a:cubicBezTo>
                  <a:cubicBezTo>
                    <a:pt x="125" y="4"/>
                    <a:pt x="111" y="0"/>
                    <a:pt x="97" y="0"/>
                  </a:cubicBezTo>
                  <a:cubicBezTo>
                    <a:pt x="78" y="0"/>
                    <a:pt x="61" y="7"/>
                    <a:pt x="47" y="20"/>
                  </a:cubicBezTo>
                  <a:cubicBezTo>
                    <a:pt x="33" y="33"/>
                    <a:pt x="24" y="50"/>
                    <a:pt x="20" y="69"/>
                  </a:cubicBezTo>
                  <a:cubicBezTo>
                    <a:pt x="10" y="69"/>
                    <a:pt x="10" y="69"/>
                    <a:pt x="10" y="69"/>
                  </a:cubicBezTo>
                  <a:cubicBezTo>
                    <a:pt x="5" y="69"/>
                    <a:pt x="0" y="73"/>
                    <a:pt x="0" y="79"/>
                  </a:cubicBezTo>
                  <a:cubicBezTo>
                    <a:pt x="0" y="84"/>
                    <a:pt x="5" y="88"/>
                    <a:pt x="10" y="88"/>
                  </a:cubicBezTo>
                  <a:cubicBezTo>
                    <a:pt x="18" y="88"/>
                    <a:pt x="18" y="88"/>
                    <a:pt x="18" y="88"/>
                  </a:cubicBezTo>
                  <a:cubicBezTo>
                    <a:pt x="18" y="89"/>
                    <a:pt x="18" y="90"/>
                    <a:pt x="18" y="90"/>
                  </a:cubicBezTo>
                  <a:cubicBezTo>
                    <a:pt x="18" y="91"/>
                    <a:pt x="18" y="91"/>
                    <a:pt x="18" y="92"/>
                  </a:cubicBezTo>
                  <a:cubicBezTo>
                    <a:pt x="10" y="92"/>
                    <a:pt x="10" y="92"/>
                    <a:pt x="10" y="92"/>
                  </a:cubicBezTo>
                  <a:cubicBezTo>
                    <a:pt x="5" y="92"/>
                    <a:pt x="0" y="96"/>
                    <a:pt x="0" y="102"/>
                  </a:cubicBezTo>
                  <a:cubicBezTo>
                    <a:pt x="0" y="107"/>
                    <a:pt x="5" y="111"/>
                    <a:pt x="10" y="111"/>
                  </a:cubicBezTo>
                  <a:cubicBezTo>
                    <a:pt x="20" y="111"/>
                    <a:pt x="20" y="111"/>
                    <a:pt x="20" y="111"/>
                  </a:cubicBezTo>
                  <a:cubicBezTo>
                    <a:pt x="24" y="131"/>
                    <a:pt x="33" y="148"/>
                    <a:pt x="47" y="160"/>
                  </a:cubicBezTo>
                  <a:cubicBezTo>
                    <a:pt x="61" y="173"/>
                    <a:pt x="78" y="181"/>
                    <a:pt x="97" y="181"/>
                  </a:cubicBezTo>
                  <a:cubicBezTo>
                    <a:pt x="111" y="181"/>
                    <a:pt x="125" y="176"/>
                    <a:pt x="137" y="168"/>
                  </a:cubicBezTo>
                  <a:cubicBezTo>
                    <a:pt x="141" y="165"/>
                    <a:pt x="142" y="159"/>
                    <a:pt x="139" y="155"/>
                  </a:cubicBezTo>
                  <a:cubicBezTo>
                    <a:pt x="136" y="150"/>
                    <a:pt x="130" y="149"/>
                    <a:pt x="126" y="152"/>
                  </a:cubicBezTo>
                  <a:cubicBezTo>
                    <a:pt x="117" y="158"/>
                    <a:pt x="107" y="161"/>
                    <a:pt x="97" y="161"/>
                  </a:cubicBezTo>
                  <a:cubicBezTo>
                    <a:pt x="70" y="161"/>
                    <a:pt x="48" y="141"/>
                    <a:pt x="40" y="111"/>
                  </a:cubicBezTo>
                  <a:cubicBezTo>
                    <a:pt x="108" y="111"/>
                    <a:pt x="108" y="111"/>
                    <a:pt x="108" y="111"/>
                  </a:cubicBezTo>
                  <a:cubicBezTo>
                    <a:pt x="113" y="111"/>
                    <a:pt x="118" y="107"/>
                    <a:pt x="118" y="102"/>
                  </a:cubicBezTo>
                  <a:cubicBezTo>
                    <a:pt x="118" y="96"/>
                    <a:pt x="113" y="92"/>
                    <a:pt x="108" y="92"/>
                  </a:cubicBezTo>
                  <a:cubicBezTo>
                    <a:pt x="37" y="92"/>
                    <a:pt x="37" y="92"/>
                    <a:pt x="37" y="92"/>
                  </a:cubicBezTo>
                  <a:cubicBezTo>
                    <a:pt x="37" y="91"/>
                    <a:pt x="37" y="91"/>
                    <a:pt x="37" y="90"/>
                  </a:cubicBezTo>
                  <a:cubicBezTo>
                    <a:pt x="37" y="90"/>
                    <a:pt x="37" y="89"/>
                    <a:pt x="37" y="88"/>
                  </a:cubicBezTo>
                  <a:cubicBezTo>
                    <a:pt x="108" y="88"/>
                    <a:pt x="108" y="88"/>
                    <a:pt x="108" y="88"/>
                  </a:cubicBezTo>
                  <a:cubicBezTo>
                    <a:pt x="113" y="88"/>
                    <a:pt x="118" y="84"/>
                    <a:pt x="118" y="79"/>
                  </a:cubicBezTo>
                  <a:cubicBezTo>
                    <a:pt x="118" y="73"/>
                    <a:pt x="113" y="69"/>
                    <a:pt x="108" y="69"/>
                  </a:cubicBezTo>
                  <a:cubicBezTo>
                    <a:pt x="40" y="69"/>
                    <a:pt x="40" y="69"/>
                    <a:pt x="40" y="69"/>
                  </a:cubicBezTo>
                  <a:cubicBezTo>
                    <a:pt x="48" y="40"/>
                    <a:pt x="70" y="19"/>
                    <a:pt x="9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6" name="Freeform 37"/>
          <p:cNvSpPr>
            <a:spLocks/>
          </p:cNvSpPr>
          <p:nvPr/>
        </p:nvSpPr>
        <p:spPr bwMode="auto">
          <a:xfrm>
            <a:off x="6424503" y="2687456"/>
            <a:ext cx="68756" cy="87196"/>
          </a:xfrm>
          <a:custGeom>
            <a:avLst/>
            <a:gdLst>
              <a:gd name="T0" fmla="*/ 97 w 142"/>
              <a:gd name="T1" fmla="*/ 19 h 180"/>
              <a:gd name="T2" fmla="*/ 126 w 142"/>
              <a:gd name="T3" fmla="*/ 28 h 180"/>
              <a:gd name="T4" fmla="*/ 139 w 142"/>
              <a:gd name="T5" fmla="*/ 26 h 180"/>
              <a:gd name="T6" fmla="*/ 141 w 142"/>
              <a:gd name="T7" fmla="*/ 18 h 180"/>
              <a:gd name="T8" fmla="*/ 137 w 142"/>
              <a:gd name="T9" fmla="*/ 12 h 180"/>
              <a:gd name="T10" fmla="*/ 97 w 142"/>
              <a:gd name="T11" fmla="*/ 0 h 180"/>
              <a:gd name="T12" fmla="*/ 47 w 142"/>
              <a:gd name="T13" fmla="*/ 20 h 180"/>
              <a:gd name="T14" fmla="*/ 20 w 142"/>
              <a:gd name="T15" fmla="*/ 69 h 180"/>
              <a:gd name="T16" fmla="*/ 10 w 142"/>
              <a:gd name="T17" fmla="*/ 69 h 180"/>
              <a:gd name="T18" fmla="*/ 0 w 142"/>
              <a:gd name="T19" fmla="*/ 78 h 180"/>
              <a:gd name="T20" fmla="*/ 10 w 142"/>
              <a:gd name="T21" fmla="*/ 88 h 180"/>
              <a:gd name="T22" fmla="*/ 18 w 142"/>
              <a:gd name="T23" fmla="*/ 88 h 180"/>
              <a:gd name="T24" fmla="*/ 18 w 142"/>
              <a:gd name="T25" fmla="*/ 90 h 180"/>
              <a:gd name="T26" fmla="*/ 18 w 142"/>
              <a:gd name="T27" fmla="*/ 92 h 180"/>
              <a:gd name="T28" fmla="*/ 10 w 142"/>
              <a:gd name="T29" fmla="*/ 92 h 180"/>
              <a:gd name="T30" fmla="*/ 0 w 142"/>
              <a:gd name="T31" fmla="*/ 102 h 180"/>
              <a:gd name="T32" fmla="*/ 10 w 142"/>
              <a:gd name="T33" fmla="*/ 111 h 180"/>
              <a:gd name="T34" fmla="*/ 20 w 142"/>
              <a:gd name="T35" fmla="*/ 111 h 180"/>
              <a:gd name="T36" fmla="*/ 47 w 142"/>
              <a:gd name="T37" fmla="*/ 160 h 180"/>
              <a:gd name="T38" fmla="*/ 97 w 142"/>
              <a:gd name="T39" fmla="*/ 180 h 180"/>
              <a:gd name="T40" fmla="*/ 137 w 142"/>
              <a:gd name="T41" fmla="*/ 168 h 180"/>
              <a:gd name="T42" fmla="*/ 139 w 142"/>
              <a:gd name="T43" fmla="*/ 154 h 180"/>
              <a:gd name="T44" fmla="*/ 126 w 142"/>
              <a:gd name="T45" fmla="*/ 152 h 180"/>
              <a:gd name="T46" fmla="*/ 97 w 142"/>
              <a:gd name="T47" fmla="*/ 161 h 180"/>
              <a:gd name="T48" fmla="*/ 40 w 142"/>
              <a:gd name="T49" fmla="*/ 111 h 180"/>
              <a:gd name="T50" fmla="*/ 108 w 142"/>
              <a:gd name="T51" fmla="*/ 111 h 180"/>
              <a:gd name="T52" fmla="*/ 118 w 142"/>
              <a:gd name="T53" fmla="*/ 102 h 180"/>
              <a:gd name="T54" fmla="*/ 108 w 142"/>
              <a:gd name="T55" fmla="*/ 92 h 180"/>
              <a:gd name="T56" fmla="*/ 37 w 142"/>
              <a:gd name="T57" fmla="*/ 92 h 180"/>
              <a:gd name="T58" fmla="*/ 37 w 142"/>
              <a:gd name="T59" fmla="*/ 90 h 180"/>
              <a:gd name="T60" fmla="*/ 37 w 142"/>
              <a:gd name="T61" fmla="*/ 88 h 180"/>
              <a:gd name="T62" fmla="*/ 108 w 142"/>
              <a:gd name="T63" fmla="*/ 88 h 180"/>
              <a:gd name="T64" fmla="*/ 118 w 142"/>
              <a:gd name="T65" fmla="*/ 78 h 180"/>
              <a:gd name="T66" fmla="*/ 108 w 142"/>
              <a:gd name="T67" fmla="*/ 69 h 180"/>
              <a:gd name="T68" fmla="*/ 40 w 142"/>
              <a:gd name="T69" fmla="*/ 69 h 180"/>
              <a:gd name="T70" fmla="*/ 97 w 142"/>
              <a:gd name="T71"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80">
                <a:moveTo>
                  <a:pt x="97" y="19"/>
                </a:moveTo>
                <a:cubicBezTo>
                  <a:pt x="107" y="19"/>
                  <a:pt x="117" y="22"/>
                  <a:pt x="126" y="28"/>
                </a:cubicBezTo>
                <a:cubicBezTo>
                  <a:pt x="130" y="31"/>
                  <a:pt x="136" y="30"/>
                  <a:pt x="139" y="26"/>
                </a:cubicBezTo>
                <a:cubicBezTo>
                  <a:pt x="141" y="23"/>
                  <a:pt x="141" y="21"/>
                  <a:pt x="141" y="18"/>
                </a:cubicBezTo>
                <a:cubicBezTo>
                  <a:pt x="140" y="16"/>
                  <a:pt x="139" y="14"/>
                  <a:pt x="137" y="12"/>
                </a:cubicBezTo>
                <a:cubicBezTo>
                  <a:pt x="125" y="4"/>
                  <a:pt x="111" y="0"/>
                  <a:pt x="97" y="0"/>
                </a:cubicBezTo>
                <a:cubicBezTo>
                  <a:pt x="78" y="0"/>
                  <a:pt x="61" y="7"/>
                  <a:pt x="47" y="20"/>
                </a:cubicBezTo>
                <a:cubicBezTo>
                  <a:pt x="33" y="32"/>
                  <a:pt x="24" y="50"/>
                  <a:pt x="20" y="69"/>
                </a:cubicBezTo>
                <a:cubicBezTo>
                  <a:pt x="10" y="69"/>
                  <a:pt x="10" y="69"/>
                  <a:pt x="10" y="69"/>
                </a:cubicBezTo>
                <a:cubicBezTo>
                  <a:pt x="5" y="69"/>
                  <a:pt x="0" y="73"/>
                  <a:pt x="0" y="78"/>
                </a:cubicBezTo>
                <a:cubicBezTo>
                  <a:pt x="0" y="84"/>
                  <a:pt x="5" y="88"/>
                  <a:pt x="10" y="88"/>
                </a:cubicBezTo>
                <a:cubicBezTo>
                  <a:pt x="18" y="88"/>
                  <a:pt x="18" y="88"/>
                  <a:pt x="18" y="88"/>
                </a:cubicBezTo>
                <a:cubicBezTo>
                  <a:pt x="18" y="89"/>
                  <a:pt x="18" y="89"/>
                  <a:pt x="18" y="90"/>
                </a:cubicBezTo>
                <a:cubicBezTo>
                  <a:pt x="18" y="91"/>
                  <a:pt x="18" y="91"/>
                  <a:pt x="18" y="92"/>
                </a:cubicBezTo>
                <a:cubicBezTo>
                  <a:pt x="10" y="92"/>
                  <a:pt x="10" y="92"/>
                  <a:pt x="10" y="92"/>
                </a:cubicBezTo>
                <a:cubicBezTo>
                  <a:pt x="5" y="92"/>
                  <a:pt x="0" y="96"/>
                  <a:pt x="0" y="102"/>
                </a:cubicBezTo>
                <a:cubicBezTo>
                  <a:pt x="0" y="107"/>
                  <a:pt x="5" y="111"/>
                  <a:pt x="10" y="111"/>
                </a:cubicBezTo>
                <a:cubicBezTo>
                  <a:pt x="20" y="111"/>
                  <a:pt x="20" y="111"/>
                  <a:pt x="20" y="111"/>
                </a:cubicBezTo>
                <a:cubicBezTo>
                  <a:pt x="24" y="130"/>
                  <a:pt x="33" y="148"/>
                  <a:pt x="47" y="160"/>
                </a:cubicBezTo>
                <a:cubicBezTo>
                  <a:pt x="61" y="173"/>
                  <a:pt x="78" y="180"/>
                  <a:pt x="97" y="180"/>
                </a:cubicBezTo>
                <a:cubicBezTo>
                  <a:pt x="111" y="180"/>
                  <a:pt x="125" y="176"/>
                  <a:pt x="137" y="168"/>
                </a:cubicBezTo>
                <a:cubicBezTo>
                  <a:pt x="141" y="165"/>
                  <a:pt x="142" y="159"/>
                  <a:pt x="139" y="154"/>
                </a:cubicBezTo>
                <a:cubicBezTo>
                  <a:pt x="136" y="150"/>
                  <a:pt x="130" y="149"/>
                  <a:pt x="126" y="152"/>
                </a:cubicBezTo>
                <a:cubicBezTo>
                  <a:pt x="117" y="158"/>
                  <a:pt x="107" y="161"/>
                  <a:pt x="97" y="161"/>
                </a:cubicBezTo>
                <a:cubicBezTo>
                  <a:pt x="70" y="161"/>
                  <a:pt x="48" y="141"/>
                  <a:pt x="40" y="111"/>
                </a:cubicBezTo>
                <a:cubicBezTo>
                  <a:pt x="108" y="111"/>
                  <a:pt x="108" y="111"/>
                  <a:pt x="108" y="111"/>
                </a:cubicBezTo>
                <a:cubicBezTo>
                  <a:pt x="113" y="111"/>
                  <a:pt x="118" y="107"/>
                  <a:pt x="118" y="102"/>
                </a:cubicBezTo>
                <a:cubicBezTo>
                  <a:pt x="118" y="96"/>
                  <a:pt x="113" y="92"/>
                  <a:pt x="108" y="92"/>
                </a:cubicBezTo>
                <a:cubicBezTo>
                  <a:pt x="37" y="92"/>
                  <a:pt x="37" y="92"/>
                  <a:pt x="37" y="92"/>
                </a:cubicBezTo>
                <a:cubicBezTo>
                  <a:pt x="37" y="91"/>
                  <a:pt x="37" y="91"/>
                  <a:pt x="37" y="90"/>
                </a:cubicBezTo>
                <a:cubicBezTo>
                  <a:pt x="37" y="89"/>
                  <a:pt x="37" y="89"/>
                  <a:pt x="37" y="88"/>
                </a:cubicBezTo>
                <a:cubicBezTo>
                  <a:pt x="108" y="88"/>
                  <a:pt x="108" y="88"/>
                  <a:pt x="108" y="88"/>
                </a:cubicBezTo>
                <a:cubicBezTo>
                  <a:pt x="113" y="88"/>
                  <a:pt x="118" y="84"/>
                  <a:pt x="118" y="78"/>
                </a:cubicBezTo>
                <a:cubicBezTo>
                  <a:pt x="118" y="73"/>
                  <a:pt x="113" y="69"/>
                  <a:pt x="108" y="69"/>
                </a:cubicBezTo>
                <a:cubicBezTo>
                  <a:pt x="40" y="69"/>
                  <a:pt x="40" y="69"/>
                  <a:pt x="40" y="69"/>
                </a:cubicBezTo>
                <a:cubicBezTo>
                  <a:pt x="48" y="39"/>
                  <a:pt x="70" y="19"/>
                  <a:pt x="97"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1" name="Group 130"/>
          <p:cNvGrpSpPr>
            <a:grpSpLocks noChangeAspect="1"/>
          </p:cNvGrpSpPr>
          <p:nvPr/>
        </p:nvGrpSpPr>
        <p:grpSpPr bwMode="auto">
          <a:xfrm>
            <a:off x="2511797" y="1686592"/>
            <a:ext cx="365760" cy="365760"/>
            <a:chOff x="1351" y="631"/>
            <a:chExt cx="3058" cy="3058"/>
          </a:xfrm>
          <a:solidFill>
            <a:srgbClr val="62B5E5"/>
          </a:solidFill>
        </p:grpSpPr>
        <p:sp>
          <p:nvSpPr>
            <p:cNvPr id="132" name="Freeform 59"/>
            <p:cNvSpPr>
              <a:spLocks noEditPoints="1"/>
            </p:cNvSpPr>
            <p:nvPr/>
          </p:nvSpPr>
          <p:spPr bwMode="auto">
            <a:xfrm>
              <a:off x="2037" y="1575"/>
              <a:ext cx="1742" cy="1154"/>
            </a:xfrm>
            <a:custGeom>
              <a:avLst/>
              <a:gdLst>
                <a:gd name="T0" fmla="*/ 423 w 439"/>
                <a:gd name="T1" fmla="*/ 0 h 291"/>
                <a:gd name="T2" fmla="*/ 81 w 439"/>
                <a:gd name="T3" fmla="*/ 0 h 291"/>
                <a:gd name="T4" fmla="*/ 66 w 439"/>
                <a:gd name="T5" fmla="*/ 15 h 291"/>
                <a:gd name="T6" fmla="*/ 66 w 439"/>
                <a:gd name="T7" fmla="*/ 65 h 291"/>
                <a:gd name="T8" fmla="*/ 16 w 439"/>
                <a:gd name="T9" fmla="*/ 65 h 291"/>
                <a:gd name="T10" fmla="*/ 0 w 439"/>
                <a:gd name="T11" fmla="*/ 80 h 291"/>
                <a:gd name="T12" fmla="*/ 0 w 439"/>
                <a:gd name="T13" fmla="*/ 276 h 291"/>
                <a:gd name="T14" fmla="*/ 16 w 439"/>
                <a:gd name="T15" fmla="*/ 291 h 291"/>
                <a:gd name="T16" fmla="*/ 358 w 439"/>
                <a:gd name="T17" fmla="*/ 291 h 291"/>
                <a:gd name="T18" fmla="*/ 373 w 439"/>
                <a:gd name="T19" fmla="*/ 276 h 291"/>
                <a:gd name="T20" fmla="*/ 373 w 439"/>
                <a:gd name="T21" fmla="*/ 226 h 291"/>
                <a:gd name="T22" fmla="*/ 423 w 439"/>
                <a:gd name="T23" fmla="*/ 226 h 291"/>
                <a:gd name="T24" fmla="*/ 439 w 439"/>
                <a:gd name="T25" fmla="*/ 211 h 291"/>
                <a:gd name="T26" fmla="*/ 439 w 439"/>
                <a:gd name="T27" fmla="*/ 15 h 291"/>
                <a:gd name="T28" fmla="*/ 423 w 439"/>
                <a:gd name="T29" fmla="*/ 0 h 291"/>
                <a:gd name="T30" fmla="*/ 343 w 439"/>
                <a:gd name="T31" fmla="*/ 96 h 291"/>
                <a:gd name="T32" fmla="*/ 343 w 439"/>
                <a:gd name="T33" fmla="*/ 261 h 291"/>
                <a:gd name="T34" fmla="*/ 31 w 439"/>
                <a:gd name="T35" fmla="*/ 261 h 291"/>
                <a:gd name="T36" fmla="*/ 31 w 439"/>
                <a:gd name="T37" fmla="*/ 96 h 291"/>
                <a:gd name="T38" fmla="*/ 343 w 439"/>
                <a:gd name="T39" fmla="*/ 96 h 291"/>
                <a:gd name="T40" fmla="*/ 358 w 439"/>
                <a:gd name="T41" fmla="*/ 65 h 291"/>
                <a:gd name="T42" fmla="*/ 96 w 439"/>
                <a:gd name="T43" fmla="*/ 65 h 291"/>
                <a:gd name="T44" fmla="*/ 96 w 439"/>
                <a:gd name="T45" fmla="*/ 30 h 291"/>
                <a:gd name="T46" fmla="*/ 408 w 439"/>
                <a:gd name="T47" fmla="*/ 30 h 291"/>
                <a:gd name="T48" fmla="*/ 408 w 439"/>
                <a:gd name="T49" fmla="*/ 195 h 291"/>
                <a:gd name="T50" fmla="*/ 373 w 439"/>
                <a:gd name="T51" fmla="*/ 195 h 291"/>
                <a:gd name="T52" fmla="*/ 373 w 439"/>
                <a:gd name="T53" fmla="*/ 80 h 291"/>
                <a:gd name="T54" fmla="*/ 358 w 439"/>
                <a:gd name="T55" fmla="*/ 6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9" h="291">
                  <a:moveTo>
                    <a:pt x="423" y="0"/>
                  </a:moveTo>
                  <a:cubicBezTo>
                    <a:pt x="81" y="0"/>
                    <a:pt x="81" y="0"/>
                    <a:pt x="81" y="0"/>
                  </a:cubicBezTo>
                  <a:cubicBezTo>
                    <a:pt x="72" y="0"/>
                    <a:pt x="66" y="7"/>
                    <a:pt x="66" y="15"/>
                  </a:cubicBezTo>
                  <a:cubicBezTo>
                    <a:pt x="66" y="65"/>
                    <a:pt x="66" y="65"/>
                    <a:pt x="66" y="65"/>
                  </a:cubicBezTo>
                  <a:cubicBezTo>
                    <a:pt x="16" y="65"/>
                    <a:pt x="16" y="65"/>
                    <a:pt x="16" y="65"/>
                  </a:cubicBezTo>
                  <a:cubicBezTo>
                    <a:pt x="7" y="65"/>
                    <a:pt x="0" y="72"/>
                    <a:pt x="0" y="80"/>
                  </a:cubicBezTo>
                  <a:cubicBezTo>
                    <a:pt x="0" y="276"/>
                    <a:pt x="0" y="276"/>
                    <a:pt x="0" y="276"/>
                  </a:cubicBezTo>
                  <a:cubicBezTo>
                    <a:pt x="0" y="284"/>
                    <a:pt x="7" y="291"/>
                    <a:pt x="16" y="291"/>
                  </a:cubicBezTo>
                  <a:cubicBezTo>
                    <a:pt x="358" y="291"/>
                    <a:pt x="358" y="291"/>
                    <a:pt x="358" y="291"/>
                  </a:cubicBezTo>
                  <a:cubicBezTo>
                    <a:pt x="366" y="291"/>
                    <a:pt x="373" y="284"/>
                    <a:pt x="373" y="276"/>
                  </a:cubicBezTo>
                  <a:cubicBezTo>
                    <a:pt x="373" y="226"/>
                    <a:pt x="373" y="226"/>
                    <a:pt x="373" y="226"/>
                  </a:cubicBezTo>
                  <a:cubicBezTo>
                    <a:pt x="423" y="226"/>
                    <a:pt x="423" y="226"/>
                    <a:pt x="423" y="226"/>
                  </a:cubicBezTo>
                  <a:cubicBezTo>
                    <a:pt x="432" y="226"/>
                    <a:pt x="439" y="219"/>
                    <a:pt x="439" y="211"/>
                  </a:cubicBezTo>
                  <a:cubicBezTo>
                    <a:pt x="439" y="15"/>
                    <a:pt x="439" y="15"/>
                    <a:pt x="439" y="15"/>
                  </a:cubicBezTo>
                  <a:cubicBezTo>
                    <a:pt x="439" y="7"/>
                    <a:pt x="432" y="0"/>
                    <a:pt x="423" y="0"/>
                  </a:cubicBezTo>
                  <a:close/>
                  <a:moveTo>
                    <a:pt x="343" y="96"/>
                  </a:moveTo>
                  <a:cubicBezTo>
                    <a:pt x="343" y="261"/>
                    <a:pt x="343" y="261"/>
                    <a:pt x="343" y="261"/>
                  </a:cubicBezTo>
                  <a:cubicBezTo>
                    <a:pt x="31" y="261"/>
                    <a:pt x="31" y="261"/>
                    <a:pt x="31" y="261"/>
                  </a:cubicBezTo>
                  <a:cubicBezTo>
                    <a:pt x="31" y="96"/>
                    <a:pt x="31" y="96"/>
                    <a:pt x="31" y="96"/>
                  </a:cubicBezTo>
                  <a:lnTo>
                    <a:pt x="343" y="96"/>
                  </a:lnTo>
                  <a:close/>
                  <a:moveTo>
                    <a:pt x="358" y="65"/>
                  </a:moveTo>
                  <a:cubicBezTo>
                    <a:pt x="96" y="65"/>
                    <a:pt x="96" y="65"/>
                    <a:pt x="96" y="65"/>
                  </a:cubicBezTo>
                  <a:cubicBezTo>
                    <a:pt x="96" y="30"/>
                    <a:pt x="96" y="30"/>
                    <a:pt x="96" y="30"/>
                  </a:cubicBezTo>
                  <a:cubicBezTo>
                    <a:pt x="408" y="30"/>
                    <a:pt x="408" y="30"/>
                    <a:pt x="408" y="30"/>
                  </a:cubicBezTo>
                  <a:cubicBezTo>
                    <a:pt x="408" y="195"/>
                    <a:pt x="408" y="195"/>
                    <a:pt x="408" y="195"/>
                  </a:cubicBezTo>
                  <a:cubicBezTo>
                    <a:pt x="373" y="195"/>
                    <a:pt x="373" y="195"/>
                    <a:pt x="373" y="195"/>
                  </a:cubicBezTo>
                  <a:cubicBezTo>
                    <a:pt x="373" y="80"/>
                    <a:pt x="373" y="80"/>
                    <a:pt x="373" y="80"/>
                  </a:cubicBezTo>
                  <a:cubicBezTo>
                    <a:pt x="373" y="72"/>
                    <a:pt x="366" y="65"/>
                    <a:pt x="35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0"/>
            <p:cNvSpPr>
              <a:spLocks noEditPoints="1"/>
            </p:cNvSpPr>
            <p:nvPr/>
          </p:nvSpPr>
          <p:spPr bwMode="auto">
            <a:xfrm>
              <a:off x="1351" y="631"/>
              <a:ext cx="3058" cy="3058"/>
            </a:xfrm>
            <a:custGeom>
              <a:avLst/>
              <a:gdLst>
                <a:gd name="T0" fmla="*/ 658 w 771"/>
                <a:gd name="T1" fmla="*/ 113 h 771"/>
                <a:gd name="T2" fmla="*/ 385 w 771"/>
                <a:gd name="T3" fmla="*/ 0 h 771"/>
                <a:gd name="T4" fmla="*/ 113 w 771"/>
                <a:gd name="T5" fmla="*/ 113 h 771"/>
                <a:gd name="T6" fmla="*/ 0 w 771"/>
                <a:gd name="T7" fmla="*/ 385 h 771"/>
                <a:gd name="T8" fmla="*/ 113 w 771"/>
                <a:gd name="T9" fmla="*/ 658 h 771"/>
                <a:gd name="T10" fmla="*/ 385 w 771"/>
                <a:gd name="T11" fmla="*/ 771 h 771"/>
                <a:gd name="T12" fmla="*/ 658 w 771"/>
                <a:gd name="T13" fmla="*/ 658 h 771"/>
                <a:gd name="T14" fmla="*/ 771 w 771"/>
                <a:gd name="T15" fmla="*/ 385 h 771"/>
                <a:gd name="T16" fmla="*/ 658 w 771"/>
                <a:gd name="T17" fmla="*/ 113 h 771"/>
                <a:gd name="T18" fmla="*/ 523 w 771"/>
                <a:gd name="T19" fmla="*/ 712 h 771"/>
                <a:gd name="T20" fmla="*/ 385 w 771"/>
                <a:gd name="T21" fmla="*/ 740 h 771"/>
                <a:gd name="T22" fmla="*/ 247 w 771"/>
                <a:gd name="T23" fmla="*/ 712 h 771"/>
                <a:gd name="T24" fmla="*/ 135 w 771"/>
                <a:gd name="T25" fmla="*/ 636 h 771"/>
                <a:gd name="T26" fmla="*/ 59 w 771"/>
                <a:gd name="T27" fmla="*/ 523 h 771"/>
                <a:gd name="T28" fmla="*/ 31 w 771"/>
                <a:gd name="T29" fmla="*/ 385 h 771"/>
                <a:gd name="T30" fmla="*/ 59 w 771"/>
                <a:gd name="T31" fmla="*/ 247 h 771"/>
                <a:gd name="T32" fmla="*/ 135 w 771"/>
                <a:gd name="T33" fmla="*/ 135 h 771"/>
                <a:gd name="T34" fmla="*/ 247 w 771"/>
                <a:gd name="T35" fmla="*/ 59 h 771"/>
                <a:gd name="T36" fmla="*/ 385 w 771"/>
                <a:gd name="T37" fmla="*/ 31 h 771"/>
                <a:gd name="T38" fmla="*/ 523 w 771"/>
                <a:gd name="T39" fmla="*/ 59 h 771"/>
                <a:gd name="T40" fmla="*/ 636 w 771"/>
                <a:gd name="T41" fmla="*/ 135 h 771"/>
                <a:gd name="T42" fmla="*/ 712 w 771"/>
                <a:gd name="T43" fmla="*/ 247 h 771"/>
                <a:gd name="T44" fmla="*/ 740 w 771"/>
                <a:gd name="T45" fmla="*/ 385 h 771"/>
                <a:gd name="T46" fmla="*/ 712 w 771"/>
                <a:gd name="T47" fmla="*/ 523 h 771"/>
                <a:gd name="T48" fmla="*/ 636 w 771"/>
                <a:gd name="T49" fmla="*/ 636 h 771"/>
                <a:gd name="T50" fmla="*/ 523 w 771"/>
                <a:gd name="T51" fmla="*/ 712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1" h="771">
                  <a:moveTo>
                    <a:pt x="658" y="113"/>
                  </a:moveTo>
                  <a:cubicBezTo>
                    <a:pt x="585" y="40"/>
                    <a:pt x="488" y="0"/>
                    <a:pt x="385" y="0"/>
                  </a:cubicBezTo>
                  <a:cubicBezTo>
                    <a:pt x="283" y="0"/>
                    <a:pt x="186" y="40"/>
                    <a:pt x="113" y="113"/>
                  </a:cubicBezTo>
                  <a:cubicBezTo>
                    <a:pt x="40" y="186"/>
                    <a:pt x="0" y="283"/>
                    <a:pt x="0" y="385"/>
                  </a:cubicBezTo>
                  <a:cubicBezTo>
                    <a:pt x="0" y="488"/>
                    <a:pt x="40" y="585"/>
                    <a:pt x="113" y="658"/>
                  </a:cubicBezTo>
                  <a:cubicBezTo>
                    <a:pt x="186" y="731"/>
                    <a:pt x="283" y="771"/>
                    <a:pt x="385" y="771"/>
                  </a:cubicBezTo>
                  <a:cubicBezTo>
                    <a:pt x="488" y="771"/>
                    <a:pt x="585" y="731"/>
                    <a:pt x="658" y="658"/>
                  </a:cubicBezTo>
                  <a:cubicBezTo>
                    <a:pt x="731" y="585"/>
                    <a:pt x="771" y="488"/>
                    <a:pt x="771" y="385"/>
                  </a:cubicBezTo>
                  <a:cubicBezTo>
                    <a:pt x="771" y="283"/>
                    <a:pt x="731" y="186"/>
                    <a:pt x="658" y="113"/>
                  </a:cubicBezTo>
                  <a:close/>
                  <a:moveTo>
                    <a:pt x="523" y="712"/>
                  </a:moveTo>
                  <a:cubicBezTo>
                    <a:pt x="480" y="731"/>
                    <a:pt x="433" y="740"/>
                    <a:pt x="385" y="740"/>
                  </a:cubicBezTo>
                  <a:cubicBezTo>
                    <a:pt x="338" y="740"/>
                    <a:pt x="291" y="731"/>
                    <a:pt x="247" y="712"/>
                  </a:cubicBezTo>
                  <a:cubicBezTo>
                    <a:pt x="205" y="694"/>
                    <a:pt x="167" y="669"/>
                    <a:pt x="135" y="636"/>
                  </a:cubicBezTo>
                  <a:cubicBezTo>
                    <a:pt x="102" y="604"/>
                    <a:pt x="77" y="566"/>
                    <a:pt x="59" y="523"/>
                  </a:cubicBezTo>
                  <a:cubicBezTo>
                    <a:pt x="40" y="480"/>
                    <a:pt x="31" y="433"/>
                    <a:pt x="31" y="385"/>
                  </a:cubicBezTo>
                  <a:cubicBezTo>
                    <a:pt x="31" y="338"/>
                    <a:pt x="40" y="291"/>
                    <a:pt x="59" y="247"/>
                  </a:cubicBezTo>
                  <a:cubicBezTo>
                    <a:pt x="77" y="205"/>
                    <a:pt x="102" y="167"/>
                    <a:pt x="135" y="135"/>
                  </a:cubicBezTo>
                  <a:cubicBezTo>
                    <a:pt x="167" y="102"/>
                    <a:pt x="205" y="77"/>
                    <a:pt x="247" y="59"/>
                  </a:cubicBezTo>
                  <a:cubicBezTo>
                    <a:pt x="291" y="40"/>
                    <a:pt x="338" y="31"/>
                    <a:pt x="385" y="31"/>
                  </a:cubicBezTo>
                  <a:cubicBezTo>
                    <a:pt x="433" y="31"/>
                    <a:pt x="480" y="40"/>
                    <a:pt x="523" y="59"/>
                  </a:cubicBezTo>
                  <a:cubicBezTo>
                    <a:pt x="566" y="77"/>
                    <a:pt x="604" y="102"/>
                    <a:pt x="636" y="135"/>
                  </a:cubicBezTo>
                  <a:cubicBezTo>
                    <a:pt x="669" y="167"/>
                    <a:pt x="694" y="205"/>
                    <a:pt x="712" y="247"/>
                  </a:cubicBezTo>
                  <a:cubicBezTo>
                    <a:pt x="731" y="291"/>
                    <a:pt x="740" y="338"/>
                    <a:pt x="740" y="385"/>
                  </a:cubicBezTo>
                  <a:cubicBezTo>
                    <a:pt x="740" y="433"/>
                    <a:pt x="731" y="480"/>
                    <a:pt x="712" y="523"/>
                  </a:cubicBezTo>
                  <a:cubicBezTo>
                    <a:pt x="694" y="566"/>
                    <a:pt x="669" y="604"/>
                    <a:pt x="636" y="636"/>
                  </a:cubicBezTo>
                  <a:cubicBezTo>
                    <a:pt x="604" y="669"/>
                    <a:pt x="566" y="694"/>
                    <a:pt x="523" y="7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1"/>
            <p:cNvSpPr>
              <a:spLocks/>
            </p:cNvSpPr>
            <p:nvPr/>
          </p:nvSpPr>
          <p:spPr bwMode="auto">
            <a:xfrm>
              <a:off x="2537" y="1999"/>
              <a:ext cx="440" cy="560"/>
            </a:xfrm>
            <a:custGeom>
              <a:avLst/>
              <a:gdLst>
                <a:gd name="T0" fmla="*/ 0 w 111"/>
                <a:gd name="T1" fmla="*/ 80 h 141"/>
                <a:gd name="T2" fmla="*/ 8 w 111"/>
                <a:gd name="T3" fmla="*/ 88 h 141"/>
                <a:gd name="T4" fmla="*/ 15 w 111"/>
                <a:gd name="T5" fmla="*/ 88 h 141"/>
                <a:gd name="T6" fmla="*/ 75 w 111"/>
                <a:gd name="T7" fmla="*/ 141 h 141"/>
                <a:gd name="T8" fmla="*/ 106 w 111"/>
                <a:gd name="T9" fmla="*/ 131 h 141"/>
                <a:gd name="T10" fmla="*/ 110 w 111"/>
                <a:gd name="T11" fmla="*/ 126 h 141"/>
                <a:gd name="T12" fmla="*/ 108 w 111"/>
                <a:gd name="T13" fmla="*/ 120 h 141"/>
                <a:gd name="T14" fmla="*/ 103 w 111"/>
                <a:gd name="T15" fmla="*/ 117 h 141"/>
                <a:gd name="T16" fmla="*/ 97 w 111"/>
                <a:gd name="T17" fmla="*/ 118 h 141"/>
                <a:gd name="T18" fmla="*/ 75 w 111"/>
                <a:gd name="T19" fmla="*/ 125 h 141"/>
                <a:gd name="T20" fmla="*/ 32 w 111"/>
                <a:gd name="T21" fmla="*/ 88 h 141"/>
                <a:gd name="T22" fmla="*/ 84 w 111"/>
                <a:gd name="T23" fmla="*/ 88 h 141"/>
                <a:gd name="T24" fmla="*/ 92 w 111"/>
                <a:gd name="T25" fmla="*/ 80 h 141"/>
                <a:gd name="T26" fmla="*/ 84 w 111"/>
                <a:gd name="T27" fmla="*/ 72 h 141"/>
                <a:gd name="T28" fmla="*/ 29 w 111"/>
                <a:gd name="T29" fmla="*/ 72 h 141"/>
                <a:gd name="T30" fmla="*/ 29 w 111"/>
                <a:gd name="T31" fmla="*/ 71 h 141"/>
                <a:gd name="T32" fmla="*/ 29 w 111"/>
                <a:gd name="T33" fmla="*/ 70 h 141"/>
                <a:gd name="T34" fmla="*/ 84 w 111"/>
                <a:gd name="T35" fmla="*/ 70 h 141"/>
                <a:gd name="T36" fmla="*/ 92 w 111"/>
                <a:gd name="T37" fmla="*/ 62 h 141"/>
                <a:gd name="T38" fmla="*/ 84 w 111"/>
                <a:gd name="T39" fmla="*/ 54 h 141"/>
                <a:gd name="T40" fmla="*/ 32 w 111"/>
                <a:gd name="T41" fmla="*/ 54 h 141"/>
                <a:gd name="T42" fmla="*/ 75 w 111"/>
                <a:gd name="T43" fmla="*/ 16 h 141"/>
                <a:gd name="T44" fmla="*/ 97 w 111"/>
                <a:gd name="T45" fmla="*/ 23 h 141"/>
                <a:gd name="T46" fmla="*/ 103 w 111"/>
                <a:gd name="T47" fmla="*/ 24 h 141"/>
                <a:gd name="T48" fmla="*/ 108 w 111"/>
                <a:gd name="T49" fmla="*/ 21 h 141"/>
                <a:gd name="T50" fmla="*/ 106 w 111"/>
                <a:gd name="T51" fmla="*/ 10 h 141"/>
                <a:gd name="T52" fmla="*/ 75 w 111"/>
                <a:gd name="T53" fmla="*/ 0 h 141"/>
                <a:gd name="T54" fmla="*/ 15 w 111"/>
                <a:gd name="T55" fmla="*/ 54 h 141"/>
                <a:gd name="T56" fmla="*/ 8 w 111"/>
                <a:gd name="T57" fmla="*/ 54 h 141"/>
                <a:gd name="T58" fmla="*/ 0 w 111"/>
                <a:gd name="T59" fmla="*/ 62 h 141"/>
                <a:gd name="T60" fmla="*/ 8 w 111"/>
                <a:gd name="T61" fmla="*/ 70 h 141"/>
                <a:gd name="T62" fmla="*/ 13 w 111"/>
                <a:gd name="T63" fmla="*/ 70 h 141"/>
                <a:gd name="T64" fmla="*/ 13 w 111"/>
                <a:gd name="T65" fmla="*/ 71 h 141"/>
                <a:gd name="T66" fmla="*/ 13 w 111"/>
                <a:gd name="T67" fmla="*/ 72 h 141"/>
                <a:gd name="T68" fmla="*/ 8 w 111"/>
                <a:gd name="T69" fmla="*/ 72 h 141"/>
                <a:gd name="T70" fmla="*/ 0 w 111"/>
                <a:gd name="T71" fmla="*/ 8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141">
                  <a:moveTo>
                    <a:pt x="0" y="80"/>
                  </a:moveTo>
                  <a:cubicBezTo>
                    <a:pt x="0" y="84"/>
                    <a:pt x="4" y="88"/>
                    <a:pt x="8" y="88"/>
                  </a:cubicBezTo>
                  <a:cubicBezTo>
                    <a:pt x="15" y="88"/>
                    <a:pt x="15" y="88"/>
                    <a:pt x="15" y="88"/>
                  </a:cubicBezTo>
                  <a:cubicBezTo>
                    <a:pt x="22" y="119"/>
                    <a:pt x="46" y="141"/>
                    <a:pt x="75" y="141"/>
                  </a:cubicBezTo>
                  <a:cubicBezTo>
                    <a:pt x="86" y="141"/>
                    <a:pt x="97" y="138"/>
                    <a:pt x="106" y="131"/>
                  </a:cubicBezTo>
                  <a:cubicBezTo>
                    <a:pt x="108" y="130"/>
                    <a:pt x="109" y="128"/>
                    <a:pt x="110" y="126"/>
                  </a:cubicBezTo>
                  <a:cubicBezTo>
                    <a:pt x="110" y="124"/>
                    <a:pt x="110" y="122"/>
                    <a:pt x="108" y="120"/>
                  </a:cubicBezTo>
                  <a:cubicBezTo>
                    <a:pt x="107" y="118"/>
                    <a:pt x="105" y="117"/>
                    <a:pt x="103" y="117"/>
                  </a:cubicBezTo>
                  <a:cubicBezTo>
                    <a:pt x="101" y="116"/>
                    <a:pt x="99" y="117"/>
                    <a:pt x="97" y="118"/>
                  </a:cubicBezTo>
                  <a:cubicBezTo>
                    <a:pt x="90" y="123"/>
                    <a:pt x="83" y="125"/>
                    <a:pt x="75" y="125"/>
                  </a:cubicBezTo>
                  <a:cubicBezTo>
                    <a:pt x="55" y="125"/>
                    <a:pt x="38" y="110"/>
                    <a:pt x="32" y="88"/>
                  </a:cubicBezTo>
                  <a:cubicBezTo>
                    <a:pt x="84" y="88"/>
                    <a:pt x="84" y="88"/>
                    <a:pt x="84" y="88"/>
                  </a:cubicBezTo>
                  <a:cubicBezTo>
                    <a:pt x="88" y="88"/>
                    <a:pt x="92" y="84"/>
                    <a:pt x="92" y="80"/>
                  </a:cubicBezTo>
                  <a:cubicBezTo>
                    <a:pt x="92" y="75"/>
                    <a:pt x="88" y="72"/>
                    <a:pt x="84" y="72"/>
                  </a:cubicBezTo>
                  <a:cubicBezTo>
                    <a:pt x="29" y="72"/>
                    <a:pt x="29" y="72"/>
                    <a:pt x="29" y="72"/>
                  </a:cubicBezTo>
                  <a:cubicBezTo>
                    <a:pt x="29" y="71"/>
                    <a:pt x="29" y="71"/>
                    <a:pt x="29" y="71"/>
                  </a:cubicBezTo>
                  <a:cubicBezTo>
                    <a:pt x="29" y="70"/>
                    <a:pt x="29" y="70"/>
                    <a:pt x="29" y="70"/>
                  </a:cubicBezTo>
                  <a:cubicBezTo>
                    <a:pt x="84" y="70"/>
                    <a:pt x="84" y="70"/>
                    <a:pt x="84" y="70"/>
                  </a:cubicBezTo>
                  <a:cubicBezTo>
                    <a:pt x="88" y="70"/>
                    <a:pt x="92" y="66"/>
                    <a:pt x="92" y="62"/>
                  </a:cubicBezTo>
                  <a:cubicBezTo>
                    <a:pt x="92" y="57"/>
                    <a:pt x="88" y="54"/>
                    <a:pt x="84" y="54"/>
                  </a:cubicBezTo>
                  <a:cubicBezTo>
                    <a:pt x="32" y="54"/>
                    <a:pt x="32" y="54"/>
                    <a:pt x="32" y="54"/>
                  </a:cubicBezTo>
                  <a:cubicBezTo>
                    <a:pt x="38" y="32"/>
                    <a:pt x="55" y="16"/>
                    <a:pt x="75" y="16"/>
                  </a:cubicBezTo>
                  <a:cubicBezTo>
                    <a:pt x="83" y="16"/>
                    <a:pt x="90" y="19"/>
                    <a:pt x="97" y="23"/>
                  </a:cubicBezTo>
                  <a:cubicBezTo>
                    <a:pt x="99" y="24"/>
                    <a:pt x="101" y="25"/>
                    <a:pt x="103" y="24"/>
                  </a:cubicBezTo>
                  <a:cubicBezTo>
                    <a:pt x="105" y="24"/>
                    <a:pt x="107" y="23"/>
                    <a:pt x="108" y="21"/>
                  </a:cubicBezTo>
                  <a:cubicBezTo>
                    <a:pt x="111" y="17"/>
                    <a:pt x="110" y="12"/>
                    <a:pt x="106" y="10"/>
                  </a:cubicBezTo>
                  <a:cubicBezTo>
                    <a:pt x="97" y="4"/>
                    <a:pt x="86" y="0"/>
                    <a:pt x="75" y="0"/>
                  </a:cubicBezTo>
                  <a:cubicBezTo>
                    <a:pt x="46" y="0"/>
                    <a:pt x="22" y="22"/>
                    <a:pt x="15" y="54"/>
                  </a:cubicBezTo>
                  <a:cubicBezTo>
                    <a:pt x="8" y="54"/>
                    <a:pt x="8" y="54"/>
                    <a:pt x="8" y="54"/>
                  </a:cubicBezTo>
                  <a:cubicBezTo>
                    <a:pt x="4" y="54"/>
                    <a:pt x="0" y="57"/>
                    <a:pt x="0" y="62"/>
                  </a:cubicBezTo>
                  <a:cubicBezTo>
                    <a:pt x="0" y="66"/>
                    <a:pt x="4" y="70"/>
                    <a:pt x="8" y="70"/>
                  </a:cubicBezTo>
                  <a:cubicBezTo>
                    <a:pt x="13" y="70"/>
                    <a:pt x="13" y="70"/>
                    <a:pt x="13" y="70"/>
                  </a:cubicBezTo>
                  <a:cubicBezTo>
                    <a:pt x="13" y="70"/>
                    <a:pt x="13" y="70"/>
                    <a:pt x="13" y="71"/>
                  </a:cubicBezTo>
                  <a:cubicBezTo>
                    <a:pt x="13" y="71"/>
                    <a:pt x="13" y="71"/>
                    <a:pt x="13" y="72"/>
                  </a:cubicBezTo>
                  <a:cubicBezTo>
                    <a:pt x="8" y="72"/>
                    <a:pt x="8" y="72"/>
                    <a:pt x="8" y="72"/>
                  </a:cubicBezTo>
                  <a:cubicBezTo>
                    <a:pt x="4" y="72"/>
                    <a:pt x="0" y="75"/>
                    <a:pt x="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 name="Group 143"/>
          <p:cNvGrpSpPr/>
          <p:nvPr/>
        </p:nvGrpSpPr>
        <p:grpSpPr>
          <a:xfrm>
            <a:off x="8337635" y="1686704"/>
            <a:ext cx="365760" cy="365760"/>
            <a:chOff x="2163763" y="1020763"/>
            <a:chExt cx="4816475" cy="4816475"/>
          </a:xfrm>
        </p:grpSpPr>
        <p:sp>
          <p:nvSpPr>
            <p:cNvPr id="145" name="Freeform 79"/>
            <p:cNvSpPr>
              <a:spLocks noEditPoints="1"/>
            </p:cNvSpPr>
            <p:nvPr/>
          </p:nvSpPr>
          <p:spPr bwMode="auto">
            <a:xfrm>
              <a:off x="3303588" y="1958975"/>
              <a:ext cx="2341563" cy="2940050"/>
            </a:xfrm>
            <a:custGeom>
              <a:avLst/>
              <a:gdLst>
                <a:gd name="T0" fmla="*/ 340 w 372"/>
                <a:gd name="T1" fmla="*/ 378 h 467"/>
                <a:gd name="T2" fmla="*/ 327 w 372"/>
                <a:gd name="T3" fmla="*/ 315 h 467"/>
                <a:gd name="T4" fmla="*/ 329 w 372"/>
                <a:gd name="T5" fmla="*/ 262 h 467"/>
                <a:gd name="T6" fmla="*/ 186 w 372"/>
                <a:gd name="T7" fmla="*/ 0 h 467"/>
                <a:gd name="T8" fmla="*/ 43 w 372"/>
                <a:gd name="T9" fmla="*/ 262 h 467"/>
                <a:gd name="T10" fmla="*/ 12 w 372"/>
                <a:gd name="T11" fmla="*/ 315 h 467"/>
                <a:gd name="T12" fmla="*/ 0 w 372"/>
                <a:gd name="T13" fmla="*/ 391 h 467"/>
                <a:gd name="T14" fmla="*/ 31 w 372"/>
                <a:gd name="T15" fmla="*/ 404 h 467"/>
                <a:gd name="T16" fmla="*/ 44 w 372"/>
                <a:gd name="T17" fmla="*/ 467 h 467"/>
                <a:gd name="T18" fmla="*/ 372 w 372"/>
                <a:gd name="T19" fmla="*/ 454 h 467"/>
                <a:gd name="T20" fmla="*/ 359 w 372"/>
                <a:gd name="T21" fmla="*/ 378 h 467"/>
                <a:gd name="T22" fmla="*/ 94 w 372"/>
                <a:gd name="T23" fmla="*/ 441 h 467"/>
                <a:gd name="T24" fmla="*/ 57 w 372"/>
                <a:gd name="T25" fmla="*/ 404 h 467"/>
                <a:gd name="T26" fmla="*/ 63 w 372"/>
                <a:gd name="T27" fmla="*/ 341 h 467"/>
                <a:gd name="T28" fmla="*/ 25 w 372"/>
                <a:gd name="T29" fmla="*/ 378 h 467"/>
                <a:gd name="T30" fmla="*/ 63 w 372"/>
                <a:gd name="T31" fmla="*/ 341 h 467"/>
                <a:gd name="T32" fmla="*/ 157 w 372"/>
                <a:gd name="T33" fmla="*/ 441 h 467"/>
                <a:gd name="T34" fmla="*/ 120 w 372"/>
                <a:gd name="T35" fmla="*/ 404 h 467"/>
                <a:gd name="T36" fmla="*/ 126 w 372"/>
                <a:gd name="T37" fmla="*/ 341 h 467"/>
                <a:gd name="T38" fmla="*/ 88 w 372"/>
                <a:gd name="T39" fmla="*/ 378 h 467"/>
                <a:gd name="T40" fmla="*/ 126 w 372"/>
                <a:gd name="T41" fmla="*/ 341 h 467"/>
                <a:gd name="T42" fmla="*/ 346 w 372"/>
                <a:gd name="T43" fmla="*/ 441 h 467"/>
                <a:gd name="T44" fmla="*/ 309 w 372"/>
                <a:gd name="T45" fmla="*/ 404 h 467"/>
                <a:gd name="T46" fmla="*/ 315 w 372"/>
                <a:gd name="T47" fmla="*/ 341 h 467"/>
                <a:gd name="T48" fmla="*/ 277 w 372"/>
                <a:gd name="T49" fmla="*/ 378 h 467"/>
                <a:gd name="T50" fmla="*/ 315 w 372"/>
                <a:gd name="T51" fmla="*/ 341 h 467"/>
                <a:gd name="T52" fmla="*/ 283 w 372"/>
                <a:gd name="T53" fmla="*/ 441 h 467"/>
                <a:gd name="T54" fmla="*/ 246 w 372"/>
                <a:gd name="T55" fmla="*/ 404 h 467"/>
                <a:gd name="T56" fmla="*/ 252 w 372"/>
                <a:gd name="T57" fmla="*/ 341 h 467"/>
                <a:gd name="T58" fmla="*/ 214 w 372"/>
                <a:gd name="T59" fmla="*/ 378 h 467"/>
                <a:gd name="T60" fmla="*/ 252 w 372"/>
                <a:gd name="T61" fmla="*/ 341 h 467"/>
                <a:gd name="T62" fmla="*/ 220 w 372"/>
                <a:gd name="T63" fmla="*/ 441 h 467"/>
                <a:gd name="T64" fmla="*/ 183 w 372"/>
                <a:gd name="T65" fmla="*/ 404 h 467"/>
                <a:gd name="T66" fmla="*/ 189 w 372"/>
                <a:gd name="T67" fmla="*/ 341 h 467"/>
                <a:gd name="T68" fmla="*/ 151 w 372"/>
                <a:gd name="T69" fmla="*/ 378 h 467"/>
                <a:gd name="T70" fmla="*/ 189 w 372"/>
                <a:gd name="T71" fmla="*/ 341 h 467"/>
                <a:gd name="T72" fmla="*/ 331 w 372"/>
                <a:gd name="T73" fmla="*/ 170 h 467"/>
                <a:gd name="T74" fmla="*/ 41 w 372"/>
                <a:gd name="T75" fmla="*/ 17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467">
                  <a:moveTo>
                    <a:pt x="359" y="378"/>
                  </a:moveTo>
                  <a:cubicBezTo>
                    <a:pt x="340" y="378"/>
                    <a:pt x="340" y="378"/>
                    <a:pt x="340" y="378"/>
                  </a:cubicBezTo>
                  <a:cubicBezTo>
                    <a:pt x="340" y="328"/>
                    <a:pt x="340" y="328"/>
                    <a:pt x="340" y="328"/>
                  </a:cubicBezTo>
                  <a:cubicBezTo>
                    <a:pt x="340" y="321"/>
                    <a:pt x="334" y="315"/>
                    <a:pt x="327" y="315"/>
                  </a:cubicBezTo>
                  <a:cubicBezTo>
                    <a:pt x="275" y="315"/>
                    <a:pt x="275" y="315"/>
                    <a:pt x="275" y="315"/>
                  </a:cubicBezTo>
                  <a:cubicBezTo>
                    <a:pt x="297" y="302"/>
                    <a:pt x="315" y="284"/>
                    <a:pt x="329" y="262"/>
                  </a:cubicBezTo>
                  <a:cubicBezTo>
                    <a:pt x="347" y="235"/>
                    <a:pt x="356" y="203"/>
                    <a:pt x="356" y="170"/>
                  </a:cubicBezTo>
                  <a:cubicBezTo>
                    <a:pt x="356" y="77"/>
                    <a:pt x="280" y="0"/>
                    <a:pt x="186" y="0"/>
                  </a:cubicBezTo>
                  <a:cubicBezTo>
                    <a:pt x="92" y="0"/>
                    <a:pt x="16" y="77"/>
                    <a:pt x="16" y="170"/>
                  </a:cubicBezTo>
                  <a:cubicBezTo>
                    <a:pt x="16" y="203"/>
                    <a:pt x="25" y="235"/>
                    <a:pt x="43" y="262"/>
                  </a:cubicBezTo>
                  <a:cubicBezTo>
                    <a:pt x="57" y="284"/>
                    <a:pt x="75" y="302"/>
                    <a:pt x="96" y="315"/>
                  </a:cubicBezTo>
                  <a:cubicBezTo>
                    <a:pt x="12" y="315"/>
                    <a:pt x="12" y="315"/>
                    <a:pt x="12" y="315"/>
                  </a:cubicBezTo>
                  <a:cubicBezTo>
                    <a:pt x="6" y="315"/>
                    <a:pt x="0" y="321"/>
                    <a:pt x="0" y="328"/>
                  </a:cubicBezTo>
                  <a:cubicBezTo>
                    <a:pt x="0" y="391"/>
                    <a:pt x="0" y="391"/>
                    <a:pt x="0" y="391"/>
                  </a:cubicBezTo>
                  <a:cubicBezTo>
                    <a:pt x="0" y="398"/>
                    <a:pt x="6" y="404"/>
                    <a:pt x="12" y="404"/>
                  </a:cubicBezTo>
                  <a:cubicBezTo>
                    <a:pt x="31" y="404"/>
                    <a:pt x="31" y="404"/>
                    <a:pt x="31" y="404"/>
                  </a:cubicBezTo>
                  <a:cubicBezTo>
                    <a:pt x="31" y="454"/>
                    <a:pt x="31" y="454"/>
                    <a:pt x="31" y="454"/>
                  </a:cubicBezTo>
                  <a:cubicBezTo>
                    <a:pt x="31" y="461"/>
                    <a:pt x="37" y="467"/>
                    <a:pt x="44" y="467"/>
                  </a:cubicBezTo>
                  <a:cubicBezTo>
                    <a:pt x="359" y="467"/>
                    <a:pt x="359" y="467"/>
                    <a:pt x="359" y="467"/>
                  </a:cubicBezTo>
                  <a:cubicBezTo>
                    <a:pt x="366" y="467"/>
                    <a:pt x="372" y="461"/>
                    <a:pt x="372" y="454"/>
                  </a:cubicBezTo>
                  <a:cubicBezTo>
                    <a:pt x="372" y="391"/>
                    <a:pt x="372" y="391"/>
                    <a:pt x="372" y="391"/>
                  </a:cubicBezTo>
                  <a:cubicBezTo>
                    <a:pt x="372" y="384"/>
                    <a:pt x="366" y="378"/>
                    <a:pt x="359" y="378"/>
                  </a:cubicBezTo>
                  <a:close/>
                  <a:moveTo>
                    <a:pt x="94" y="404"/>
                  </a:moveTo>
                  <a:cubicBezTo>
                    <a:pt x="94" y="441"/>
                    <a:pt x="94" y="441"/>
                    <a:pt x="94" y="441"/>
                  </a:cubicBezTo>
                  <a:cubicBezTo>
                    <a:pt x="57" y="441"/>
                    <a:pt x="57" y="441"/>
                    <a:pt x="57" y="441"/>
                  </a:cubicBezTo>
                  <a:cubicBezTo>
                    <a:pt x="57" y="404"/>
                    <a:pt x="57" y="404"/>
                    <a:pt x="57" y="404"/>
                  </a:cubicBezTo>
                  <a:lnTo>
                    <a:pt x="94" y="404"/>
                  </a:lnTo>
                  <a:close/>
                  <a:moveTo>
                    <a:pt x="63" y="341"/>
                  </a:moveTo>
                  <a:cubicBezTo>
                    <a:pt x="63" y="378"/>
                    <a:pt x="63" y="378"/>
                    <a:pt x="63" y="378"/>
                  </a:cubicBezTo>
                  <a:cubicBezTo>
                    <a:pt x="25" y="378"/>
                    <a:pt x="25" y="378"/>
                    <a:pt x="25" y="378"/>
                  </a:cubicBezTo>
                  <a:cubicBezTo>
                    <a:pt x="25" y="341"/>
                    <a:pt x="25" y="341"/>
                    <a:pt x="25" y="341"/>
                  </a:cubicBezTo>
                  <a:lnTo>
                    <a:pt x="63" y="341"/>
                  </a:lnTo>
                  <a:close/>
                  <a:moveTo>
                    <a:pt x="157" y="404"/>
                  </a:moveTo>
                  <a:cubicBezTo>
                    <a:pt x="157" y="441"/>
                    <a:pt x="157" y="441"/>
                    <a:pt x="157" y="441"/>
                  </a:cubicBezTo>
                  <a:cubicBezTo>
                    <a:pt x="120" y="441"/>
                    <a:pt x="120" y="441"/>
                    <a:pt x="120" y="441"/>
                  </a:cubicBezTo>
                  <a:cubicBezTo>
                    <a:pt x="120" y="404"/>
                    <a:pt x="120" y="404"/>
                    <a:pt x="120" y="404"/>
                  </a:cubicBezTo>
                  <a:lnTo>
                    <a:pt x="157" y="404"/>
                  </a:lnTo>
                  <a:close/>
                  <a:moveTo>
                    <a:pt x="126" y="341"/>
                  </a:moveTo>
                  <a:cubicBezTo>
                    <a:pt x="126" y="378"/>
                    <a:pt x="126" y="378"/>
                    <a:pt x="126" y="378"/>
                  </a:cubicBezTo>
                  <a:cubicBezTo>
                    <a:pt x="88" y="378"/>
                    <a:pt x="88" y="378"/>
                    <a:pt x="88" y="378"/>
                  </a:cubicBezTo>
                  <a:cubicBezTo>
                    <a:pt x="88" y="341"/>
                    <a:pt x="88" y="341"/>
                    <a:pt x="88" y="341"/>
                  </a:cubicBezTo>
                  <a:lnTo>
                    <a:pt x="126" y="341"/>
                  </a:lnTo>
                  <a:close/>
                  <a:moveTo>
                    <a:pt x="346" y="404"/>
                  </a:moveTo>
                  <a:cubicBezTo>
                    <a:pt x="346" y="441"/>
                    <a:pt x="346" y="441"/>
                    <a:pt x="346" y="441"/>
                  </a:cubicBezTo>
                  <a:cubicBezTo>
                    <a:pt x="309" y="441"/>
                    <a:pt x="309" y="441"/>
                    <a:pt x="309" y="441"/>
                  </a:cubicBezTo>
                  <a:cubicBezTo>
                    <a:pt x="309" y="404"/>
                    <a:pt x="309" y="404"/>
                    <a:pt x="309" y="404"/>
                  </a:cubicBezTo>
                  <a:lnTo>
                    <a:pt x="346" y="404"/>
                  </a:lnTo>
                  <a:close/>
                  <a:moveTo>
                    <a:pt x="315" y="341"/>
                  </a:moveTo>
                  <a:cubicBezTo>
                    <a:pt x="315" y="378"/>
                    <a:pt x="315" y="378"/>
                    <a:pt x="315" y="378"/>
                  </a:cubicBezTo>
                  <a:cubicBezTo>
                    <a:pt x="277" y="378"/>
                    <a:pt x="277" y="378"/>
                    <a:pt x="277" y="378"/>
                  </a:cubicBezTo>
                  <a:cubicBezTo>
                    <a:pt x="277" y="341"/>
                    <a:pt x="277" y="341"/>
                    <a:pt x="277" y="341"/>
                  </a:cubicBezTo>
                  <a:lnTo>
                    <a:pt x="315" y="341"/>
                  </a:lnTo>
                  <a:close/>
                  <a:moveTo>
                    <a:pt x="283" y="404"/>
                  </a:moveTo>
                  <a:cubicBezTo>
                    <a:pt x="283" y="441"/>
                    <a:pt x="283" y="441"/>
                    <a:pt x="283" y="441"/>
                  </a:cubicBezTo>
                  <a:cubicBezTo>
                    <a:pt x="246" y="441"/>
                    <a:pt x="246" y="441"/>
                    <a:pt x="246" y="441"/>
                  </a:cubicBezTo>
                  <a:cubicBezTo>
                    <a:pt x="246" y="404"/>
                    <a:pt x="246" y="404"/>
                    <a:pt x="246" y="404"/>
                  </a:cubicBezTo>
                  <a:lnTo>
                    <a:pt x="283" y="404"/>
                  </a:lnTo>
                  <a:close/>
                  <a:moveTo>
                    <a:pt x="252" y="341"/>
                  </a:moveTo>
                  <a:cubicBezTo>
                    <a:pt x="252" y="378"/>
                    <a:pt x="252" y="378"/>
                    <a:pt x="252" y="378"/>
                  </a:cubicBezTo>
                  <a:cubicBezTo>
                    <a:pt x="214" y="378"/>
                    <a:pt x="214" y="378"/>
                    <a:pt x="214" y="378"/>
                  </a:cubicBezTo>
                  <a:cubicBezTo>
                    <a:pt x="214" y="341"/>
                    <a:pt x="214" y="341"/>
                    <a:pt x="214" y="341"/>
                  </a:cubicBezTo>
                  <a:lnTo>
                    <a:pt x="252" y="341"/>
                  </a:lnTo>
                  <a:close/>
                  <a:moveTo>
                    <a:pt x="220" y="404"/>
                  </a:moveTo>
                  <a:cubicBezTo>
                    <a:pt x="220" y="441"/>
                    <a:pt x="220" y="441"/>
                    <a:pt x="220" y="441"/>
                  </a:cubicBezTo>
                  <a:cubicBezTo>
                    <a:pt x="183" y="441"/>
                    <a:pt x="183" y="441"/>
                    <a:pt x="183" y="441"/>
                  </a:cubicBezTo>
                  <a:cubicBezTo>
                    <a:pt x="183" y="404"/>
                    <a:pt x="183" y="404"/>
                    <a:pt x="183" y="404"/>
                  </a:cubicBezTo>
                  <a:lnTo>
                    <a:pt x="220" y="404"/>
                  </a:lnTo>
                  <a:close/>
                  <a:moveTo>
                    <a:pt x="189" y="341"/>
                  </a:moveTo>
                  <a:cubicBezTo>
                    <a:pt x="189" y="378"/>
                    <a:pt x="189" y="378"/>
                    <a:pt x="189" y="378"/>
                  </a:cubicBezTo>
                  <a:cubicBezTo>
                    <a:pt x="151" y="378"/>
                    <a:pt x="151" y="378"/>
                    <a:pt x="151" y="378"/>
                  </a:cubicBezTo>
                  <a:cubicBezTo>
                    <a:pt x="151" y="341"/>
                    <a:pt x="151" y="341"/>
                    <a:pt x="151" y="341"/>
                  </a:cubicBezTo>
                  <a:lnTo>
                    <a:pt x="189" y="341"/>
                  </a:lnTo>
                  <a:close/>
                  <a:moveTo>
                    <a:pt x="186" y="26"/>
                  </a:moveTo>
                  <a:cubicBezTo>
                    <a:pt x="266" y="26"/>
                    <a:pt x="331" y="91"/>
                    <a:pt x="331" y="170"/>
                  </a:cubicBezTo>
                  <a:cubicBezTo>
                    <a:pt x="331" y="250"/>
                    <a:pt x="266" y="315"/>
                    <a:pt x="186" y="315"/>
                  </a:cubicBezTo>
                  <a:cubicBezTo>
                    <a:pt x="106" y="315"/>
                    <a:pt x="41" y="250"/>
                    <a:pt x="41" y="170"/>
                  </a:cubicBezTo>
                  <a:cubicBezTo>
                    <a:pt x="41" y="91"/>
                    <a:pt x="106" y="26"/>
                    <a:pt x="186" y="26"/>
                  </a:cubicBezTo>
                  <a:close/>
                </a:path>
              </a:pathLst>
            </a:custGeom>
            <a:solidFill>
              <a:srgbClr val="00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80"/>
            <p:cNvSpPr>
              <a:spLocks noEditPoints="1"/>
            </p:cNvSpPr>
            <p:nvPr/>
          </p:nvSpPr>
          <p:spPr bwMode="auto">
            <a:xfrm>
              <a:off x="2163763" y="1020763"/>
              <a:ext cx="4816475" cy="4816475"/>
            </a:xfrm>
            <a:custGeom>
              <a:avLst/>
              <a:gdLst>
                <a:gd name="T0" fmla="*/ 653 w 765"/>
                <a:gd name="T1" fmla="*/ 112 h 765"/>
                <a:gd name="T2" fmla="*/ 382 w 765"/>
                <a:gd name="T3" fmla="*/ 0 h 765"/>
                <a:gd name="T4" fmla="*/ 112 w 765"/>
                <a:gd name="T5" fmla="*/ 112 h 765"/>
                <a:gd name="T6" fmla="*/ 0 w 765"/>
                <a:gd name="T7" fmla="*/ 382 h 765"/>
                <a:gd name="T8" fmla="*/ 112 w 765"/>
                <a:gd name="T9" fmla="*/ 653 h 765"/>
                <a:gd name="T10" fmla="*/ 382 w 765"/>
                <a:gd name="T11" fmla="*/ 765 h 765"/>
                <a:gd name="T12" fmla="*/ 653 w 765"/>
                <a:gd name="T13" fmla="*/ 653 h 765"/>
                <a:gd name="T14" fmla="*/ 765 w 765"/>
                <a:gd name="T15" fmla="*/ 382 h 765"/>
                <a:gd name="T16" fmla="*/ 653 w 765"/>
                <a:gd name="T17" fmla="*/ 112 h 765"/>
                <a:gd name="T18" fmla="*/ 740 w 765"/>
                <a:gd name="T19" fmla="*/ 382 h 765"/>
                <a:gd name="T20" fmla="*/ 712 w 765"/>
                <a:gd name="T21" fmla="*/ 522 h 765"/>
                <a:gd name="T22" fmla="*/ 635 w 765"/>
                <a:gd name="T23" fmla="*/ 635 h 765"/>
                <a:gd name="T24" fmla="*/ 522 w 765"/>
                <a:gd name="T25" fmla="*/ 712 h 765"/>
                <a:gd name="T26" fmla="*/ 382 w 765"/>
                <a:gd name="T27" fmla="*/ 740 h 765"/>
                <a:gd name="T28" fmla="*/ 243 w 765"/>
                <a:gd name="T29" fmla="*/ 712 h 765"/>
                <a:gd name="T30" fmla="*/ 130 w 765"/>
                <a:gd name="T31" fmla="*/ 635 h 765"/>
                <a:gd name="T32" fmla="*/ 53 w 765"/>
                <a:gd name="T33" fmla="*/ 522 h 765"/>
                <a:gd name="T34" fmla="*/ 25 w 765"/>
                <a:gd name="T35" fmla="*/ 382 h 765"/>
                <a:gd name="T36" fmla="*/ 53 w 765"/>
                <a:gd name="T37" fmla="*/ 243 h 765"/>
                <a:gd name="T38" fmla="*/ 130 w 765"/>
                <a:gd name="T39" fmla="*/ 130 h 765"/>
                <a:gd name="T40" fmla="*/ 243 w 765"/>
                <a:gd name="T41" fmla="*/ 53 h 765"/>
                <a:gd name="T42" fmla="*/ 382 w 765"/>
                <a:gd name="T43" fmla="*/ 25 h 765"/>
                <a:gd name="T44" fmla="*/ 522 w 765"/>
                <a:gd name="T45" fmla="*/ 53 h 765"/>
                <a:gd name="T46" fmla="*/ 635 w 765"/>
                <a:gd name="T47" fmla="*/ 130 h 765"/>
                <a:gd name="T48" fmla="*/ 712 w 765"/>
                <a:gd name="T49" fmla="*/ 243 h 765"/>
                <a:gd name="T50" fmla="*/ 740 w 765"/>
                <a:gd name="T51" fmla="*/ 382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5" h="765">
                  <a:moveTo>
                    <a:pt x="653" y="112"/>
                  </a:moveTo>
                  <a:cubicBezTo>
                    <a:pt x="581" y="40"/>
                    <a:pt x="485" y="0"/>
                    <a:pt x="382" y="0"/>
                  </a:cubicBezTo>
                  <a:cubicBezTo>
                    <a:pt x="280" y="0"/>
                    <a:pt x="184" y="40"/>
                    <a:pt x="112" y="112"/>
                  </a:cubicBezTo>
                  <a:cubicBezTo>
                    <a:pt x="40" y="184"/>
                    <a:pt x="0" y="280"/>
                    <a:pt x="0" y="382"/>
                  </a:cubicBezTo>
                  <a:cubicBezTo>
                    <a:pt x="0" y="485"/>
                    <a:pt x="40" y="581"/>
                    <a:pt x="112" y="653"/>
                  </a:cubicBezTo>
                  <a:cubicBezTo>
                    <a:pt x="184" y="725"/>
                    <a:pt x="280" y="765"/>
                    <a:pt x="382" y="765"/>
                  </a:cubicBezTo>
                  <a:cubicBezTo>
                    <a:pt x="485" y="765"/>
                    <a:pt x="581" y="725"/>
                    <a:pt x="653" y="653"/>
                  </a:cubicBezTo>
                  <a:cubicBezTo>
                    <a:pt x="725" y="581"/>
                    <a:pt x="765" y="485"/>
                    <a:pt x="765" y="382"/>
                  </a:cubicBezTo>
                  <a:cubicBezTo>
                    <a:pt x="765" y="280"/>
                    <a:pt x="725" y="184"/>
                    <a:pt x="653" y="112"/>
                  </a:cubicBezTo>
                  <a:close/>
                  <a:moveTo>
                    <a:pt x="740" y="382"/>
                  </a:moveTo>
                  <a:cubicBezTo>
                    <a:pt x="740" y="431"/>
                    <a:pt x="730" y="477"/>
                    <a:pt x="712" y="522"/>
                  </a:cubicBezTo>
                  <a:cubicBezTo>
                    <a:pt x="694" y="564"/>
                    <a:pt x="668" y="602"/>
                    <a:pt x="635" y="635"/>
                  </a:cubicBezTo>
                  <a:cubicBezTo>
                    <a:pt x="602" y="668"/>
                    <a:pt x="564" y="694"/>
                    <a:pt x="522" y="712"/>
                  </a:cubicBezTo>
                  <a:cubicBezTo>
                    <a:pt x="477" y="730"/>
                    <a:pt x="431" y="740"/>
                    <a:pt x="382" y="740"/>
                  </a:cubicBezTo>
                  <a:cubicBezTo>
                    <a:pt x="334" y="740"/>
                    <a:pt x="287" y="730"/>
                    <a:pt x="243" y="712"/>
                  </a:cubicBezTo>
                  <a:cubicBezTo>
                    <a:pt x="201" y="694"/>
                    <a:pt x="163" y="668"/>
                    <a:pt x="130" y="635"/>
                  </a:cubicBezTo>
                  <a:cubicBezTo>
                    <a:pt x="97" y="602"/>
                    <a:pt x="71" y="564"/>
                    <a:pt x="53" y="522"/>
                  </a:cubicBezTo>
                  <a:cubicBezTo>
                    <a:pt x="35" y="477"/>
                    <a:pt x="25" y="431"/>
                    <a:pt x="25" y="382"/>
                  </a:cubicBezTo>
                  <a:cubicBezTo>
                    <a:pt x="25" y="334"/>
                    <a:pt x="35" y="287"/>
                    <a:pt x="53" y="243"/>
                  </a:cubicBezTo>
                  <a:cubicBezTo>
                    <a:pt x="71" y="201"/>
                    <a:pt x="97" y="163"/>
                    <a:pt x="130" y="130"/>
                  </a:cubicBezTo>
                  <a:cubicBezTo>
                    <a:pt x="163" y="97"/>
                    <a:pt x="201" y="71"/>
                    <a:pt x="243" y="53"/>
                  </a:cubicBezTo>
                  <a:cubicBezTo>
                    <a:pt x="287" y="35"/>
                    <a:pt x="334" y="25"/>
                    <a:pt x="382" y="25"/>
                  </a:cubicBezTo>
                  <a:cubicBezTo>
                    <a:pt x="431" y="25"/>
                    <a:pt x="477" y="35"/>
                    <a:pt x="522" y="53"/>
                  </a:cubicBezTo>
                  <a:cubicBezTo>
                    <a:pt x="564" y="71"/>
                    <a:pt x="602" y="97"/>
                    <a:pt x="635" y="130"/>
                  </a:cubicBezTo>
                  <a:cubicBezTo>
                    <a:pt x="668" y="163"/>
                    <a:pt x="694" y="201"/>
                    <a:pt x="712" y="243"/>
                  </a:cubicBezTo>
                  <a:cubicBezTo>
                    <a:pt x="730" y="287"/>
                    <a:pt x="740" y="334"/>
                    <a:pt x="740" y="382"/>
                  </a:cubicBezTo>
                  <a:close/>
                </a:path>
              </a:pathLst>
            </a:custGeom>
            <a:solidFill>
              <a:srgbClr val="00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81"/>
            <p:cNvSpPr>
              <a:spLocks/>
            </p:cNvSpPr>
            <p:nvPr/>
          </p:nvSpPr>
          <p:spPr bwMode="auto">
            <a:xfrm>
              <a:off x="3813175" y="2417763"/>
              <a:ext cx="1020763" cy="1303338"/>
            </a:xfrm>
            <a:custGeom>
              <a:avLst/>
              <a:gdLst>
                <a:gd name="T0" fmla="*/ 12 w 162"/>
                <a:gd name="T1" fmla="*/ 101 h 207"/>
                <a:gd name="T2" fmla="*/ 20 w 162"/>
                <a:gd name="T3" fmla="*/ 101 h 207"/>
                <a:gd name="T4" fmla="*/ 20 w 162"/>
                <a:gd name="T5" fmla="*/ 103 h 207"/>
                <a:gd name="T6" fmla="*/ 20 w 162"/>
                <a:gd name="T7" fmla="*/ 105 h 207"/>
                <a:gd name="T8" fmla="*/ 12 w 162"/>
                <a:gd name="T9" fmla="*/ 105 h 207"/>
                <a:gd name="T10" fmla="*/ 0 w 162"/>
                <a:gd name="T11" fmla="*/ 116 h 207"/>
                <a:gd name="T12" fmla="*/ 12 w 162"/>
                <a:gd name="T13" fmla="*/ 128 h 207"/>
                <a:gd name="T14" fmla="*/ 23 w 162"/>
                <a:gd name="T15" fmla="*/ 128 h 207"/>
                <a:gd name="T16" fmla="*/ 53 w 162"/>
                <a:gd name="T17" fmla="*/ 183 h 207"/>
                <a:gd name="T18" fmla="*/ 110 w 162"/>
                <a:gd name="T19" fmla="*/ 207 h 207"/>
                <a:gd name="T20" fmla="*/ 156 w 162"/>
                <a:gd name="T21" fmla="*/ 192 h 207"/>
                <a:gd name="T22" fmla="*/ 159 w 162"/>
                <a:gd name="T23" fmla="*/ 177 h 207"/>
                <a:gd name="T24" fmla="*/ 143 w 162"/>
                <a:gd name="T25" fmla="*/ 174 h 207"/>
                <a:gd name="T26" fmla="*/ 110 w 162"/>
                <a:gd name="T27" fmla="*/ 184 h 207"/>
                <a:gd name="T28" fmla="*/ 46 w 162"/>
                <a:gd name="T29" fmla="*/ 128 h 207"/>
                <a:gd name="T30" fmla="*/ 123 w 162"/>
                <a:gd name="T31" fmla="*/ 128 h 207"/>
                <a:gd name="T32" fmla="*/ 135 w 162"/>
                <a:gd name="T33" fmla="*/ 116 h 207"/>
                <a:gd name="T34" fmla="*/ 123 w 162"/>
                <a:gd name="T35" fmla="*/ 105 h 207"/>
                <a:gd name="T36" fmla="*/ 43 w 162"/>
                <a:gd name="T37" fmla="*/ 105 h 207"/>
                <a:gd name="T38" fmla="*/ 43 w 162"/>
                <a:gd name="T39" fmla="*/ 103 h 207"/>
                <a:gd name="T40" fmla="*/ 43 w 162"/>
                <a:gd name="T41" fmla="*/ 101 h 207"/>
                <a:gd name="T42" fmla="*/ 123 w 162"/>
                <a:gd name="T43" fmla="*/ 101 h 207"/>
                <a:gd name="T44" fmla="*/ 135 w 162"/>
                <a:gd name="T45" fmla="*/ 90 h 207"/>
                <a:gd name="T46" fmla="*/ 123 w 162"/>
                <a:gd name="T47" fmla="*/ 79 h 207"/>
                <a:gd name="T48" fmla="*/ 46 w 162"/>
                <a:gd name="T49" fmla="*/ 79 h 207"/>
                <a:gd name="T50" fmla="*/ 110 w 162"/>
                <a:gd name="T51" fmla="*/ 23 h 207"/>
                <a:gd name="T52" fmla="*/ 143 w 162"/>
                <a:gd name="T53" fmla="*/ 33 h 207"/>
                <a:gd name="T54" fmla="*/ 159 w 162"/>
                <a:gd name="T55" fmla="*/ 30 h 207"/>
                <a:gd name="T56" fmla="*/ 156 w 162"/>
                <a:gd name="T57" fmla="*/ 14 h 207"/>
                <a:gd name="T58" fmla="*/ 110 w 162"/>
                <a:gd name="T59" fmla="*/ 0 h 207"/>
                <a:gd name="T60" fmla="*/ 53 w 162"/>
                <a:gd name="T61" fmla="*/ 23 h 207"/>
                <a:gd name="T62" fmla="*/ 23 w 162"/>
                <a:gd name="T63" fmla="*/ 79 h 207"/>
                <a:gd name="T64" fmla="*/ 12 w 162"/>
                <a:gd name="T65" fmla="*/ 79 h 207"/>
                <a:gd name="T66" fmla="*/ 0 w 162"/>
                <a:gd name="T67" fmla="*/ 90 h 207"/>
                <a:gd name="T68" fmla="*/ 12 w 162"/>
                <a:gd name="T69" fmla="*/ 10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207">
                  <a:moveTo>
                    <a:pt x="12" y="101"/>
                  </a:moveTo>
                  <a:cubicBezTo>
                    <a:pt x="20" y="101"/>
                    <a:pt x="20" y="101"/>
                    <a:pt x="20" y="101"/>
                  </a:cubicBezTo>
                  <a:cubicBezTo>
                    <a:pt x="20" y="102"/>
                    <a:pt x="20" y="103"/>
                    <a:pt x="20" y="103"/>
                  </a:cubicBezTo>
                  <a:cubicBezTo>
                    <a:pt x="20" y="104"/>
                    <a:pt x="20" y="104"/>
                    <a:pt x="20" y="105"/>
                  </a:cubicBezTo>
                  <a:cubicBezTo>
                    <a:pt x="12" y="105"/>
                    <a:pt x="12" y="105"/>
                    <a:pt x="12" y="105"/>
                  </a:cubicBezTo>
                  <a:cubicBezTo>
                    <a:pt x="5" y="105"/>
                    <a:pt x="0" y="110"/>
                    <a:pt x="0" y="116"/>
                  </a:cubicBezTo>
                  <a:cubicBezTo>
                    <a:pt x="0" y="123"/>
                    <a:pt x="5" y="128"/>
                    <a:pt x="12" y="128"/>
                  </a:cubicBezTo>
                  <a:cubicBezTo>
                    <a:pt x="23" y="128"/>
                    <a:pt x="23" y="128"/>
                    <a:pt x="23" y="128"/>
                  </a:cubicBezTo>
                  <a:cubicBezTo>
                    <a:pt x="27" y="150"/>
                    <a:pt x="38" y="169"/>
                    <a:pt x="53" y="183"/>
                  </a:cubicBezTo>
                  <a:cubicBezTo>
                    <a:pt x="69" y="198"/>
                    <a:pt x="89" y="207"/>
                    <a:pt x="110" y="207"/>
                  </a:cubicBezTo>
                  <a:cubicBezTo>
                    <a:pt x="126" y="207"/>
                    <a:pt x="142" y="202"/>
                    <a:pt x="156" y="192"/>
                  </a:cubicBezTo>
                  <a:cubicBezTo>
                    <a:pt x="161" y="189"/>
                    <a:pt x="162" y="182"/>
                    <a:pt x="159" y="177"/>
                  </a:cubicBezTo>
                  <a:cubicBezTo>
                    <a:pt x="155" y="171"/>
                    <a:pt x="148" y="170"/>
                    <a:pt x="143" y="174"/>
                  </a:cubicBezTo>
                  <a:cubicBezTo>
                    <a:pt x="133" y="180"/>
                    <a:pt x="122" y="184"/>
                    <a:pt x="110" y="184"/>
                  </a:cubicBezTo>
                  <a:cubicBezTo>
                    <a:pt x="81" y="184"/>
                    <a:pt x="55" y="161"/>
                    <a:pt x="46" y="128"/>
                  </a:cubicBezTo>
                  <a:cubicBezTo>
                    <a:pt x="123" y="128"/>
                    <a:pt x="123" y="128"/>
                    <a:pt x="123" y="128"/>
                  </a:cubicBezTo>
                  <a:cubicBezTo>
                    <a:pt x="130" y="128"/>
                    <a:pt x="135" y="123"/>
                    <a:pt x="135" y="116"/>
                  </a:cubicBezTo>
                  <a:cubicBezTo>
                    <a:pt x="135" y="110"/>
                    <a:pt x="130" y="105"/>
                    <a:pt x="123" y="105"/>
                  </a:cubicBezTo>
                  <a:cubicBezTo>
                    <a:pt x="43" y="105"/>
                    <a:pt x="43" y="105"/>
                    <a:pt x="43" y="105"/>
                  </a:cubicBezTo>
                  <a:cubicBezTo>
                    <a:pt x="43" y="104"/>
                    <a:pt x="43" y="104"/>
                    <a:pt x="43" y="103"/>
                  </a:cubicBezTo>
                  <a:cubicBezTo>
                    <a:pt x="43" y="103"/>
                    <a:pt x="43" y="102"/>
                    <a:pt x="43" y="101"/>
                  </a:cubicBezTo>
                  <a:cubicBezTo>
                    <a:pt x="123" y="101"/>
                    <a:pt x="123" y="101"/>
                    <a:pt x="123" y="101"/>
                  </a:cubicBezTo>
                  <a:cubicBezTo>
                    <a:pt x="130" y="101"/>
                    <a:pt x="135" y="96"/>
                    <a:pt x="135" y="90"/>
                  </a:cubicBezTo>
                  <a:cubicBezTo>
                    <a:pt x="135" y="84"/>
                    <a:pt x="130" y="79"/>
                    <a:pt x="123" y="79"/>
                  </a:cubicBezTo>
                  <a:cubicBezTo>
                    <a:pt x="46" y="79"/>
                    <a:pt x="46" y="79"/>
                    <a:pt x="46" y="79"/>
                  </a:cubicBezTo>
                  <a:cubicBezTo>
                    <a:pt x="55" y="46"/>
                    <a:pt x="81" y="23"/>
                    <a:pt x="110" y="23"/>
                  </a:cubicBezTo>
                  <a:cubicBezTo>
                    <a:pt x="122" y="23"/>
                    <a:pt x="133" y="26"/>
                    <a:pt x="143" y="33"/>
                  </a:cubicBezTo>
                  <a:cubicBezTo>
                    <a:pt x="148" y="37"/>
                    <a:pt x="155" y="35"/>
                    <a:pt x="159" y="30"/>
                  </a:cubicBezTo>
                  <a:cubicBezTo>
                    <a:pt x="162" y="25"/>
                    <a:pt x="161" y="18"/>
                    <a:pt x="156" y="14"/>
                  </a:cubicBezTo>
                  <a:cubicBezTo>
                    <a:pt x="142" y="5"/>
                    <a:pt x="126" y="0"/>
                    <a:pt x="110" y="0"/>
                  </a:cubicBezTo>
                  <a:cubicBezTo>
                    <a:pt x="89" y="0"/>
                    <a:pt x="69" y="8"/>
                    <a:pt x="53" y="23"/>
                  </a:cubicBezTo>
                  <a:cubicBezTo>
                    <a:pt x="38" y="37"/>
                    <a:pt x="27" y="57"/>
                    <a:pt x="23" y="79"/>
                  </a:cubicBezTo>
                  <a:cubicBezTo>
                    <a:pt x="12" y="79"/>
                    <a:pt x="12" y="79"/>
                    <a:pt x="12" y="79"/>
                  </a:cubicBezTo>
                  <a:cubicBezTo>
                    <a:pt x="5" y="79"/>
                    <a:pt x="0" y="84"/>
                    <a:pt x="0" y="90"/>
                  </a:cubicBezTo>
                  <a:cubicBezTo>
                    <a:pt x="0" y="96"/>
                    <a:pt x="5" y="101"/>
                    <a:pt x="12" y="101"/>
                  </a:cubicBezTo>
                  <a:close/>
                </a:path>
              </a:pathLst>
            </a:custGeom>
            <a:solidFill>
              <a:srgbClr val="00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8" name="Group 147"/>
          <p:cNvGrpSpPr/>
          <p:nvPr/>
        </p:nvGrpSpPr>
        <p:grpSpPr>
          <a:xfrm>
            <a:off x="7925732" y="1686053"/>
            <a:ext cx="365760" cy="365760"/>
            <a:chOff x="2241233" y="693103"/>
            <a:chExt cx="4773613" cy="4773613"/>
          </a:xfrm>
        </p:grpSpPr>
        <p:sp>
          <p:nvSpPr>
            <p:cNvPr id="149" name="Rectangle 87"/>
            <p:cNvSpPr>
              <a:spLocks noChangeArrowheads="1"/>
            </p:cNvSpPr>
            <p:nvPr/>
          </p:nvSpPr>
          <p:spPr bwMode="auto">
            <a:xfrm>
              <a:off x="4476433" y="3758565"/>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8"/>
            <p:cNvSpPr>
              <a:spLocks noChangeArrowheads="1"/>
            </p:cNvSpPr>
            <p:nvPr/>
          </p:nvSpPr>
          <p:spPr bwMode="auto">
            <a:xfrm>
              <a:off x="3682683" y="3758565"/>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9"/>
            <p:cNvSpPr>
              <a:spLocks noEditPoints="1"/>
            </p:cNvSpPr>
            <p:nvPr/>
          </p:nvSpPr>
          <p:spPr bwMode="auto">
            <a:xfrm>
              <a:off x="3784283" y="1775778"/>
              <a:ext cx="1819275" cy="1819275"/>
            </a:xfrm>
            <a:custGeom>
              <a:avLst/>
              <a:gdLst>
                <a:gd name="T0" fmla="*/ 289 w 289"/>
                <a:gd name="T1" fmla="*/ 144 h 289"/>
                <a:gd name="T2" fmla="*/ 144 w 289"/>
                <a:gd name="T3" fmla="*/ 0 h 289"/>
                <a:gd name="T4" fmla="*/ 0 w 289"/>
                <a:gd name="T5" fmla="*/ 144 h 289"/>
                <a:gd name="T6" fmla="*/ 144 w 289"/>
                <a:gd name="T7" fmla="*/ 289 h 289"/>
                <a:gd name="T8" fmla="*/ 289 w 289"/>
                <a:gd name="T9" fmla="*/ 144 h 289"/>
                <a:gd name="T10" fmla="*/ 62 w 289"/>
                <a:gd name="T11" fmla="*/ 175 h 289"/>
                <a:gd name="T12" fmla="*/ 51 w 289"/>
                <a:gd name="T13" fmla="*/ 175 h 289"/>
                <a:gd name="T14" fmla="*/ 40 w 289"/>
                <a:gd name="T15" fmla="*/ 163 h 289"/>
                <a:gd name="T16" fmla="*/ 51 w 289"/>
                <a:gd name="T17" fmla="*/ 152 h 289"/>
                <a:gd name="T18" fmla="*/ 60 w 289"/>
                <a:gd name="T19" fmla="*/ 152 h 289"/>
                <a:gd name="T20" fmla="*/ 60 w 289"/>
                <a:gd name="T21" fmla="*/ 150 h 289"/>
                <a:gd name="T22" fmla="*/ 60 w 289"/>
                <a:gd name="T23" fmla="*/ 148 h 289"/>
                <a:gd name="T24" fmla="*/ 51 w 289"/>
                <a:gd name="T25" fmla="*/ 148 h 289"/>
                <a:gd name="T26" fmla="*/ 40 w 289"/>
                <a:gd name="T27" fmla="*/ 137 h 289"/>
                <a:gd name="T28" fmla="*/ 51 w 289"/>
                <a:gd name="T29" fmla="*/ 126 h 289"/>
                <a:gd name="T30" fmla="*/ 62 w 289"/>
                <a:gd name="T31" fmla="*/ 126 h 289"/>
                <a:gd name="T32" fmla="*/ 93 w 289"/>
                <a:gd name="T33" fmla="*/ 70 h 289"/>
                <a:gd name="T34" fmla="*/ 150 w 289"/>
                <a:gd name="T35" fmla="*/ 47 h 289"/>
                <a:gd name="T36" fmla="*/ 196 w 289"/>
                <a:gd name="T37" fmla="*/ 61 h 289"/>
                <a:gd name="T38" fmla="*/ 199 w 289"/>
                <a:gd name="T39" fmla="*/ 77 h 289"/>
                <a:gd name="T40" fmla="*/ 183 w 289"/>
                <a:gd name="T41" fmla="*/ 80 h 289"/>
                <a:gd name="T42" fmla="*/ 150 w 289"/>
                <a:gd name="T43" fmla="*/ 70 h 289"/>
                <a:gd name="T44" fmla="*/ 86 w 289"/>
                <a:gd name="T45" fmla="*/ 126 h 289"/>
                <a:gd name="T46" fmla="*/ 163 w 289"/>
                <a:gd name="T47" fmla="*/ 126 h 289"/>
                <a:gd name="T48" fmla="*/ 174 w 289"/>
                <a:gd name="T49" fmla="*/ 137 h 289"/>
                <a:gd name="T50" fmla="*/ 163 w 289"/>
                <a:gd name="T51" fmla="*/ 148 h 289"/>
                <a:gd name="T52" fmla="*/ 82 w 289"/>
                <a:gd name="T53" fmla="*/ 148 h 289"/>
                <a:gd name="T54" fmla="*/ 82 w 289"/>
                <a:gd name="T55" fmla="*/ 150 h 289"/>
                <a:gd name="T56" fmla="*/ 82 w 289"/>
                <a:gd name="T57" fmla="*/ 152 h 289"/>
                <a:gd name="T58" fmla="*/ 163 w 289"/>
                <a:gd name="T59" fmla="*/ 152 h 289"/>
                <a:gd name="T60" fmla="*/ 174 w 289"/>
                <a:gd name="T61" fmla="*/ 163 h 289"/>
                <a:gd name="T62" fmla="*/ 163 w 289"/>
                <a:gd name="T63" fmla="*/ 175 h 289"/>
                <a:gd name="T64" fmla="*/ 86 w 289"/>
                <a:gd name="T65" fmla="*/ 175 h 289"/>
                <a:gd name="T66" fmla="*/ 150 w 289"/>
                <a:gd name="T67" fmla="*/ 231 h 289"/>
                <a:gd name="T68" fmla="*/ 183 w 289"/>
                <a:gd name="T69" fmla="*/ 221 h 289"/>
                <a:gd name="T70" fmla="*/ 199 w 289"/>
                <a:gd name="T71" fmla="*/ 224 h 289"/>
                <a:gd name="T72" fmla="*/ 196 w 289"/>
                <a:gd name="T73" fmla="*/ 239 h 289"/>
                <a:gd name="T74" fmla="*/ 150 w 289"/>
                <a:gd name="T75" fmla="*/ 254 h 289"/>
                <a:gd name="T76" fmla="*/ 93 w 289"/>
                <a:gd name="T77" fmla="*/ 230 h 289"/>
                <a:gd name="T78" fmla="*/ 62 w 289"/>
                <a:gd name="T79" fmla="*/ 1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289">
                  <a:moveTo>
                    <a:pt x="289" y="144"/>
                  </a:moveTo>
                  <a:cubicBezTo>
                    <a:pt x="289" y="65"/>
                    <a:pt x="224" y="0"/>
                    <a:pt x="144" y="0"/>
                  </a:cubicBezTo>
                  <a:cubicBezTo>
                    <a:pt x="65" y="0"/>
                    <a:pt x="0" y="65"/>
                    <a:pt x="0" y="144"/>
                  </a:cubicBezTo>
                  <a:cubicBezTo>
                    <a:pt x="0" y="224"/>
                    <a:pt x="65" y="289"/>
                    <a:pt x="144" y="289"/>
                  </a:cubicBezTo>
                  <a:cubicBezTo>
                    <a:pt x="224" y="289"/>
                    <a:pt x="289" y="224"/>
                    <a:pt x="289" y="144"/>
                  </a:cubicBezTo>
                  <a:close/>
                  <a:moveTo>
                    <a:pt x="62" y="175"/>
                  </a:moveTo>
                  <a:cubicBezTo>
                    <a:pt x="51" y="175"/>
                    <a:pt x="51" y="175"/>
                    <a:pt x="51" y="175"/>
                  </a:cubicBezTo>
                  <a:cubicBezTo>
                    <a:pt x="45" y="175"/>
                    <a:pt x="40" y="170"/>
                    <a:pt x="40" y="163"/>
                  </a:cubicBezTo>
                  <a:cubicBezTo>
                    <a:pt x="40" y="157"/>
                    <a:pt x="45" y="152"/>
                    <a:pt x="51" y="152"/>
                  </a:cubicBezTo>
                  <a:cubicBezTo>
                    <a:pt x="60" y="152"/>
                    <a:pt x="60" y="152"/>
                    <a:pt x="60" y="152"/>
                  </a:cubicBezTo>
                  <a:cubicBezTo>
                    <a:pt x="60" y="151"/>
                    <a:pt x="60" y="151"/>
                    <a:pt x="60" y="150"/>
                  </a:cubicBezTo>
                  <a:cubicBezTo>
                    <a:pt x="60" y="150"/>
                    <a:pt x="60" y="149"/>
                    <a:pt x="60" y="148"/>
                  </a:cubicBezTo>
                  <a:cubicBezTo>
                    <a:pt x="51" y="148"/>
                    <a:pt x="51" y="148"/>
                    <a:pt x="51" y="148"/>
                  </a:cubicBezTo>
                  <a:cubicBezTo>
                    <a:pt x="45" y="148"/>
                    <a:pt x="40" y="143"/>
                    <a:pt x="40" y="137"/>
                  </a:cubicBezTo>
                  <a:cubicBezTo>
                    <a:pt x="40" y="131"/>
                    <a:pt x="45" y="126"/>
                    <a:pt x="51" y="126"/>
                  </a:cubicBezTo>
                  <a:cubicBezTo>
                    <a:pt x="62" y="126"/>
                    <a:pt x="62" y="126"/>
                    <a:pt x="62" y="126"/>
                  </a:cubicBezTo>
                  <a:cubicBezTo>
                    <a:pt x="67" y="104"/>
                    <a:pt x="78" y="84"/>
                    <a:pt x="93" y="70"/>
                  </a:cubicBezTo>
                  <a:cubicBezTo>
                    <a:pt x="109" y="55"/>
                    <a:pt x="129" y="47"/>
                    <a:pt x="150" y="47"/>
                  </a:cubicBezTo>
                  <a:cubicBezTo>
                    <a:pt x="166" y="47"/>
                    <a:pt x="182" y="52"/>
                    <a:pt x="196" y="61"/>
                  </a:cubicBezTo>
                  <a:cubicBezTo>
                    <a:pt x="201" y="65"/>
                    <a:pt x="202" y="72"/>
                    <a:pt x="199" y="77"/>
                  </a:cubicBezTo>
                  <a:cubicBezTo>
                    <a:pt x="195" y="82"/>
                    <a:pt x="188" y="84"/>
                    <a:pt x="183" y="80"/>
                  </a:cubicBezTo>
                  <a:cubicBezTo>
                    <a:pt x="173" y="73"/>
                    <a:pt x="162" y="70"/>
                    <a:pt x="150" y="70"/>
                  </a:cubicBezTo>
                  <a:cubicBezTo>
                    <a:pt x="120" y="70"/>
                    <a:pt x="94" y="93"/>
                    <a:pt x="86" y="126"/>
                  </a:cubicBezTo>
                  <a:cubicBezTo>
                    <a:pt x="163" y="126"/>
                    <a:pt x="163" y="126"/>
                    <a:pt x="163" y="126"/>
                  </a:cubicBezTo>
                  <a:cubicBezTo>
                    <a:pt x="169" y="126"/>
                    <a:pt x="174" y="131"/>
                    <a:pt x="174" y="137"/>
                  </a:cubicBezTo>
                  <a:cubicBezTo>
                    <a:pt x="174" y="143"/>
                    <a:pt x="169" y="148"/>
                    <a:pt x="163" y="148"/>
                  </a:cubicBezTo>
                  <a:cubicBezTo>
                    <a:pt x="82" y="148"/>
                    <a:pt x="82" y="148"/>
                    <a:pt x="82" y="148"/>
                  </a:cubicBezTo>
                  <a:cubicBezTo>
                    <a:pt x="82" y="149"/>
                    <a:pt x="82" y="150"/>
                    <a:pt x="82" y="150"/>
                  </a:cubicBezTo>
                  <a:cubicBezTo>
                    <a:pt x="82" y="151"/>
                    <a:pt x="82" y="151"/>
                    <a:pt x="82" y="152"/>
                  </a:cubicBezTo>
                  <a:cubicBezTo>
                    <a:pt x="163" y="152"/>
                    <a:pt x="163" y="152"/>
                    <a:pt x="163" y="152"/>
                  </a:cubicBezTo>
                  <a:cubicBezTo>
                    <a:pt x="169" y="152"/>
                    <a:pt x="174" y="157"/>
                    <a:pt x="174" y="163"/>
                  </a:cubicBezTo>
                  <a:cubicBezTo>
                    <a:pt x="174" y="170"/>
                    <a:pt x="169" y="175"/>
                    <a:pt x="163" y="175"/>
                  </a:cubicBezTo>
                  <a:cubicBezTo>
                    <a:pt x="86" y="175"/>
                    <a:pt x="86" y="175"/>
                    <a:pt x="86" y="175"/>
                  </a:cubicBezTo>
                  <a:cubicBezTo>
                    <a:pt x="94" y="208"/>
                    <a:pt x="120" y="231"/>
                    <a:pt x="150" y="231"/>
                  </a:cubicBezTo>
                  <a:cubicBezTo>
                    <a:pt x="162" y="231"/>
                    <a:pt x="173" y="227"/>
                    <a:pt x="183" y="221"/>
                  </a:cubicBezTo>
                  <a:cubicBezTo>
                    <a:pt x="188" y="217"/>
                    <a:pt x="195" y="218"/>
                    <a:pt x="199" y="224"/>
                  </a:cubicBezTo>
                  <a:cubicBezTo>
                    <a:pt x="202" y="229"/>
                    <a:pt x="201" y="236"/>
                    <a:pt x="196" y="239"/>
                  </a:cubicBezTo>
                  <a:cubicBezTo>
                    <a:pt x="182" y="249"/>
                    <a:pt x="166" y="254"/>
                    <a:pt x="150" y="254"/>
                  </a:cubicBezTo>
                  <a:cubicBezTo>
                    <a:pt x="129" y="254"/>
                    <a:pt x="109" y="245"/>
                    <a:pt x="93" y="230"/>
                  </a:cubicBezTo>
                  <a:cubicBezTo>
                    <a:pt x="78" y="216"/>
                    <a:pt x="67" y="197"/>
                    <a:pt x="62" y="175"/>
                  </a:cubicBezTo>
                  <a:close/>
                </a:path>
              </a:pathLst>
            </a:custGeom>
            <a:solidFill>
              <a:srgbClr val="00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90"/>
            <p:cNvSpPr>
              <a:spLocks noChangeArrowheads="1"/>
            </p:cNvSpPr>
            <p:nvPr/>
          </p:nvSpPr>
          <p:spPr bwMode="auto">
            <a:xfrm>
              <a:off x="5270183" y="3758565"/>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91"/>
            <p:cNvSpPr>
              <a:spLocks noChangeArrowheads="1"/>
            </p:cNvSpPr>
            <p:nvPr/>
          </p:nvSpPr>
          <p:spPr bwMode="auto">
            <a:xfrm>
              <a:off x="4873308" y="3758565"/>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92"/>
            <p:cNvSpPr>
              <a:spLocks noChangeArrowheads="1"/>
            </p:cNvSpPr>
            <p:nvPr/>
          </p:nvSpPr>
          <p:spPr bwMode="auto">
            <a:xfrm>
              <a:off x="3877945" y="4155440"/>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93"/>
            <p:cNvSpPr>
              <a:spLocks noChangeArrowheads="1"/>
            </p:cNvSpPr>
            <p:nvPr/>
          </p:nvSpPr>
          <p:spPr bwMode="auto">
            <a:xfrm>
              <a:off x="4079558" y="3758565"/>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94"/>
            <p:cNvSpPr>
              <a:spLocks noChangeArrowheads="1"/>
            </p:cNvSpPr>
            <p:nvPr/>
          </p:nvSpPr>
          <p:spPr bwMode="auto">
            <a:xfrm>
              <a:off x="5465445" y="4155440"/>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95"/>
            <p:cNvSpPr>
              <a:spLocks noChangeArrowheads="1"/>
            </p:cNvSpPr>
            <p:nvPr/>
          </p:nvSpPr>
          <p:spPr bwMode="auto">
            <a:xfrm>
              <a:off x="4274820" y="4155440"/>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6"/>
            <p:cNvSpPr>
              <a:spLocks noEditPoints="1"/>
            </p:cNvSpPr>
            <p:nvPr/>
          </p:nvSpPr>
          <p:spPr bwMode="auto">
            <a:xfrm>
              <a:off x="2241233" y="693103"/>
              <a:ext cx="4773613" cy="4773613"/>
            </a:xfrm>
            <a:custGeom>
              <a:avLst/>
              <a:gdLst>
                <a:gd name="T0" fmla="*/ 379 w 758"/>
                <a:gd name="T1" fmla="*/ 0 h 758"/>
                <a:gd name="T2" fmla="*/ 0 w 758"/>
                <a:gd name="T3" fmla="*/ 379 h 758"/>
                <a:gd name="T4" fmla="*/ 379 w 758"/>
                <a:gd name="T5" fmla="*/ 758 h 758"/>
                <a:gd name="T6" fmla="*/ 758 w 758"/>
                <a:gd name="T7" fmla="*/ 379 h 758"/>
                <a:gd name="T8" fmla="*/ 379 w 758"/>
                <a:gd name="T9" fmla="*/ 0 h 758"/>
                <a:gd name="T10" fmla="*/ 575 w 758"/>
                <a:gd name="T11" fmla="*/ 600 h 758"/>
                <a:gd name="T12" fmla="*/ 563 w 758"/>
                <a:gd name="T13" fmla="*/ 613 h 758"/>
                <a:gd name="T14" fmla="*/ 248 w 758"/>
                <a:gd name="T15" fmla="*/ 613 h 758"/>
                <a:gd name="T16" fmla="*/ 235 w 758"/>
                <a:gd name="T17" fmla="*/ 600 h 758"/>
                <a:gd name="T18" fmla="*/ 235 w 758"/>
                <a:gd name="T19" fmla="*/ 550 h 758"/>
                <a:gd name="T20" fmla="*/ 216 w 758"/>
                <a:gd name="T21" fmla="*/ 550 h 758"/>
                <a:gd name="T22" fmla="*/ 204 w 758"/>
                <a:gd name="T23" fmla="*/ 537 h 758"/>
                <a:gd name="T24" fmla="*/ 204 w 758"/>
                <a:gd name="T25" fmla="*/ 474 h 758"/>
                <a:gd name="T26" fmla="*/ 216 w 758"/>
                <a:gd name="T27" fmla="*/ 461 h 758"/>
                <a:gd name="T28" fmla="*/ 300 w 758"/>
                <a:gd name="T29" fmla="*/ 461 h 758"/>
                <a:gd name="T30" fmla="*/ 246 w 758"/>
                <a:gd name="T31" fmla="*/ 408 h 758"/>
                <a:gd name="T32" fmla="*/ 219 w 758"/>
                <a:gd name="T33" fmla="*/ 316 h 758"/>
                <a:gd name="T34" fmla="*/ 389 w 758"/>
                <a:gd name="T35" fmla="*/ 146 h 758"/>
                <a:gd name="T36" fmla="*/ 560 w 758"/>
                <a:gd name="T37" fmla="*/ 316 h 758"/>
                <a:gd name="T38" fmla="*/ 533 w 758"/>
                <a:gd name="T39" fmla="*/ 408 h 758"/>
                <a:gd name="T40" fmla="*/ 479 w 758"/>
                <a:gd name="T41" fmla="*/ 461 h 758"/>
                <a:gd name="T42" fmla="*/ 531 w 758"/>
                <a:gd name="T43" fmla="*/ 461 h 758"/>
                <a:gd name="T44" fmla="*/ 544 w 758"/>
                <a:gd name="T45" fmla="*/ 474 h 758"/>
                <a:gd name="T46" fmla="*/ 544 w 758"/>
                <a:gd name="T47" fmla="*/ 524 h 758"/>
                <a:gd name="T48" fmla="*/ 563 w 758"/>
                <a:gd name="T49" fmla="*/ 524 h 758"/>
                <a:gd name="T50" fmla="*/ 575 w 758"/>
                <a:gd name="T51" fmla="*/ 537 h 758"/>
                <a:gd name="T52" fmla="*/ 575 w 758"/>
                <a:gd name="T53" fmla="*/ 60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8" h="758">
                  <a:moveTo>
                    <a:pt x="379" y="0"/>
                  </a:moveTo>
                  <a:cubicBezTo>
                    <a:pt x="169" y="0"/>
                    <a:pt x="0" y="170"/>
                    <a:pt x="0" y="379"/>
                  </a:cubicBezTo>
                  <a:cubicBezTo>
                    <a:pt x="0" y="589"/>
                    <a:pt x="169" y="758"/>
                    <a:pt x="379" y="758"/>
                  </a:cubicBezTo>
                  <a:cubicBezTo>
                    <a:pt x="588" y="758"/>
                    <a:pt x="758" y="589"/>
                    <a:pt x="758" y="379"/>
                  </a:cubicBezTo>
                  <a:cubicBezTo>
                    <a:pt x="758" y="170"/>
                    <a:pt x="588" y="0"/>
                    <a:pt x="379" y="0"/>
                  </a:cubicBezTo>
                  <a:close/>
                  <a:moveTo>
                    <a:pt x="575" y="600"/>
                  </a:moveTo>
                  <a:cubicBezTo>
                    <a:pt x="575" y="607"/>
                    <a:pt x="570" y="613"/>
                    <a:pt x="563" y="613"/>
                  </a:cubicBezTo>
                  <a:cubicBezTo>
                    <a:pt x="248" y="613"/>
                    <a:pt x="248" y="613"/>
                    <a:pt x="248" y="613"/>
                  </a:cubicBezTo>
                  <a:cubicBezTo>
                    <a:pt x="241" y="613"/>
                    <a:pt x="235" y="607"/>
                    <a:pt x="235" y="600"/>
                  </a:cubicBezTo>
                  <a:cubicBezTo>
                    <a:pt x="235" y="550"/>
                    <a:pt x="235" y="550"/>
                    <a:pt x="235" y="550"/>
                  </a:cubicBezTo>
                  <a:cubicBezTo>
                    <a:pt x="216" y="550"/>
                    <a:pt x="216" y="550"/>
                    <a:pt x="216" y="550"/>
                  </a:cubicBezTo>
                  <a:cubicBezTo>
                    <a:pt x="209" y="550"/>
                    <a:pt x="204" y="544"/>
                    <a:pt x="204" y="537"/>
                  </a:cubicBezTo>
                  <a:cubicBezTo>
                    <a:pt x="204" y="474"/>
                    <a:pt x="204" y="474"/>
                    <a:pt x="204" y="474"/>
                  </a:cubicBezTo>
                  <a:cubicBezTo>
                    <a:pt x="204" y="467"/>
                    <a:pt x="209" y="461"/>
                    <a:pt x="216" y="461"/>
                  </a:cubicBezTo>
                  <a:cubicBezTo>
                    <a:pt x="300" y="461"/>
                    <a:pt x="300" y="461"/>
                    <a:pt x="300" y="461"/>
                  </a:cubicBezTo>
                  <a:cubicBezTo>
                    <a:pt x="279" y="448"/>
                    <a:pt x="260" y="430"/>
                    <a:pt x="246" y="408"/>
                  </a:cubicBezTo>
                  <a:cubicBezTo>
                    <a:pt x="229" y="381"/>
                    <a:pt x="219" y="349"/>
                    <a:pt x="219" y="316"/>
                  </a:cubicBezTo>
                  <a:cubicBezTo>
                    <a:pt x="219" y="223"/>
                    <a:pt x="296" y="146"/>
                    <a:pt x="389" y="146"/>
                  </a:cubicBezTo>
                  <a:cubicBezTo>
                    <a:pt x="483" y="146"/>
                    <a:pt x="560" y="223"/>
                    <a:pt x="560" y="316"/>
                  </a:cubicBezTo>
                  <a:cubicBezTo>
                    <a:pt x="560" y="349"/>
                    <a:pt x="550" y="381"/>
                    <a:pt x="533" y="408"/>
                  </a:cubicBezTo>
                  <a:cubicBezTo>
                    <a:pt x="519" y="430"/>
                    <a:pt x="500" y="448"/>
                    <a:pt x="479" y="461"/>
                  </a:cubicBezTo>
                  <a:cubicBezTo>
                    <a:pt x="531" y="461"/>
                    <a:pt x="531" y="461"/>
                    <a:pt x="531" y="461"/>
                  </a:cubicBezTo>
                  <a:cubicBezTo>
                    <a:pt x="538" y="461"/>
                    <a:pt x="544" y="467"/>
                    <a:pt x="544" y="474"/>
                  </a:cubicBezTo>
                  <a:cubicBezTo>
                    <a:pt x="544" y="524"/>
                    <a:pt x="544" y="524"/>
                    <a:pt x="544" y="524"/>
                  </a:cubicBezTo>
                  <a:cubicBezTo>
                    <a:pt x="563" y="524"/>
                    <a:pt x="563" y="524"/>
                    <a:pt x="563" y="524"/>
                  </a:cubicBezTo>
                  <a:cubicBezTo>
                    <a:pt x="570" y="524"/>
                    <a:pt x="575" y="530"/>
                    <a:pt x="575" y="537"/>
                  </a:cubicBezTo>
                  <a:lnTo>
                    <a:pt x="575" y="600"/>
                  </a:lnTo>
                  <a:close/>
                </a:path>
              </a:pathLst>
            </a:custGeom>
            <a:solidFill>
              <a:srgbClr val="00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97"/>
            <p:cNvSpPr>
              <a:spLocks noChangeArrowheads="1"/>
            </p:cNvSpPr>
            <p:nvPr/>
          </p:nvSpPr>
          <p:spPr bwMode="auto">
            <a:xfrm>
              <a:off x="5068570" y="4155440"/>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98"/>
            <p:cNvSpPr>
              <a:spLocks noChangeArrowheads="1"/>
            </p:cNvSpPr>
            <p:nvPr/>
          </p:nvSpPr>
          <p:spPr bwMode="auto">
            <a:xfrm>
              <a:off x="4671695" y="4155440"/>
              <a:ext cx="239713" cy="233363"/>
            </a:xfrm>
            <a:prstGeom prst="rect">
              <a:avLst/>
            </a:prstGeom>
            <a:solidFill>
              <a:srgbClr val="00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4"/>
          <p:cNvSpPr/>
          <p:nvPr/>
        </p:nvSpPr>
        <p:spPr>
          <a:xfrm>
            <a:off x="2104317" y="2042086"/>
            <a:ext cx="756795" cy="246221"/>
          </a:xfrm>
          <a:prstGeom prst="rect">
            <a:avLst/>
          </a:prstGeom>
        </p:spPr>
        <p:txBody>
          <a:bodyPr wrap="square">
            <a:spAutoFit/>
          </a:bodyPr>
          <a:lstStyle/>
          <a:p>
            <a:pPr algn="ctr"/>
            <a:r>
              <a:rPr lang="en-US" sz="1000">
                <a:solidFill>
                  <a:srgbClr val="313131"/>
                </a:solidFill>
              </a:rPr>
              <a:t>Bills (€)</a:t>
            </a:r>
            <a:endParaRPr lang="en-US" sz="1000" dirty="0"/>
          </a:p>
        </p:txBody>
      </p:sp>
      <p:sp>
        <p:nvSpPr>
          <p:cNvPr id="6" name="Rectangle 5"/>
          <p:cNvSpPr/>
          <p:nvPr/>
        </p:nvSpPr>
        <p:spPr>
          <a:xfrm>
            <a:off x="7952285" y="2043626"/>
            <a:ext cx="792632" cy="400110"/>
          </a:xfrm>
          <a:prstGeom prst="rect">
            <a:avLst/>
          </a:prstGeom>
        </p:spPr>
        <p:txBody>
          <a:bodyPr wrap="square">
            <a:spAutoFit/>
          </a:bodyPr>
          <a:lstStyle/>
          <a:p>
            <a:pPr algn="ctr">
              <a:spcBef>
                <a:spcPts val="600"/>
              </a:spcBef>
              <a:buSzPct val="100000"/>
            </a:pPr>
            <a:r>
              <a:rPr lang="en-US" sz="1000" dirty="0">
                <a:solidFill>
                  <a:srgbClr val="313131"/>
                </a:solidFill>
              </a:rPr>
              <a:t>Coin stack (€)</a:t>
            </a:r>
          </a:p>
        </p:txBody>
      </p:sp>
      <p:sp>
        <p:nvSpPr>
          <p:cNvPr id="7" name="Rectangle 6"/>
          <p:cNvSpPr/>
          <p:nvPr/>
        </p:nvSpPr>
        <p:spPr>
          <a:xfrm>
            <a:off x="6344939" y="2885894"/>
            <a:ext cx="699074" cy="400110"/>
          </a:xfrm>
          <a:prstGeom prst="rect">
            <a:avLst/>
          </a:prstGeom>
        </p:spPr>
        <p:txBody>
          <a:bodyPr wrap="square">
            <a:spAutoFit/>
          </a:bodyPr>
          <a:lstStyle/>
          <a:p>
            <a:pPr algn="ctr">
              <a:spcBef>
                <a:spcPts val="600"/>
              </a:spcBef>
              <a:buSzPct val="100000"/>
            </a:pPr>
            <a:r>
              <a:rPr lang="en-US" sz="1000">
                <a:solidFill>
                  <a:srgbClr val="313131"/>
                </a:solidFill>
              </a:rPr>
              <a:t>Money bag (€)</a:t>
            </a:r>
            <a:endParaRPr lang="en-US" sz="1000" dirty="0">
              <a:solidFill>
                <a:srgbClr val="313131"/>
              </a:solidFill>
            </a:endParaRPr>
          </a:p>
        </p:txBody>
      </p:sp>
      <p:grpSp>
        <p:nvGrpSpPr>
          <p:cNvPr id="161" name="Group 101"/>
          <p:cNvGrpSpPr>
            <a:grpSpLocks noChangeAspect="1"/>
          </p:cNvGrpSpPr>
          <p:nvPr/>
        </p:nvGrpSpPr>
        <p:grpSpPr bwMode="auto">
          <a:xfrm>
            <a:off x="6299688" y="2536435"/>
            <a:ext cx="365760" cy="365760"/>
            <a:chOff x="720" y="0"/>
            <a:chExt cx="4320" cy="4320"/>
          </a:xfrm>
          <a:solidFill>
            <a:schemeClr val="accent6"/>
          </a:solidFill>
        </p:grpSpPr>
        <p:sp>
          <p:nvSpPr>
            <p:cNvPr id="163" name="Freeform 102"/>
            <p:cNvSpPr>
              <a:spLocks noEditPoints="1"/>
            </p:cNvSpPr>
            <p:nvPr/>
          </p:nvSpPr>
          <p:spPr bwMode="auto">
            <a:xfrm>
              <a:off x="2128" y="1499"/>
              <a:ext cx="1504" cy="1763"/>
            </a:xfrm>
            <a:custGeom>
              <a:avLst/>
              <a:gdLst>
                <a:gd name="T0" fmla="*/ 241 w 263"/>
                <a:gd name="T1" fmla="*/ 224 h 308"/>
                <a:gd name="T2" fmla="*/ 252 w 263"/>
                <a:gd name="T3" fmla="*/ 154 h 308"/>
                <a:gd name="T4" fmla="*/ 230 w 263"/>
                <a:gd name="T5" fmla="*/ 82 h 308"/>
                <a:gd name="T6" fmla="*/ 160 w 263"/>
                <a:gd name="T7" fmla="*/ 0 h 308"/>
                <a:gd name="T8" fmla="*/ 103 w 263"/>
                <a:gd name="T9" fmla="*/ 0 h 308"/>
                <a:gd name="T10" fmla="*/ 11 w 263"/>
                <a:gd name="T11" fmla="*/ 155 h 308"/>
                <a:gd name="T12" fmla="*/ 22 w 263"/>
                <a:gd name="T13" fmla="*/ 224 h 308"/>
                <a:gd name="T14" fmla="*/ 23 w 263"/>
                <a:gd name="T15" fmla="*/ 230 h 308"/>
                <a:gd name="T16" fmla="*/ 0 w 263"/>
                <a:gd name="T17" fmla="*/ 308 h 308"/>
                <a:gd name="T18" fmla="*/ 263 w 263"/>
                <a:gd name="T19" fmla="*/ 308 h 308"/>
                <a:gd name="T20" fmla="*/ 240 w 263"/>
                <a:gd name="T21" fmla="*/ 230 h 308"/>
                <a:gd name="T22" fmla="*/ 241 w 263"/>
                <a:gd name="T23" fmla="*/ 224 h 308"/>
                <a:gd name="T24" fmla="*/ 157 w 263"/>
                <a:gd name="T25" fmla="*/ 137 h 308"/>
                <a:gd name="T26" fmla="*/ 167 w 263"/>
                <a:gd name="T27" fmla="*/ 146 h 308"/>
                <a:gd name="T28" fmla="*/ 157 w 263"/>
                <a:gd name="T29" fmla="*/ 156 h 308"/>
                <a:gd name="T30" fmla="*/ 86 w 263"/>
                <a:gd name="T31" fmla="*/ 156 h 308"/>
                <a:gd name="T32" fmla="*/ 86 w 263"/>
                <a:gd name="T33" fmla="*/ 158 h 308"/>
                <a:gd name="T34" fmla="*/ 86 w 263"/>
                <a:gd name="T35" fmla="*/ 160 h 308"/>
                <a:gd name="T36" fmla="*/ 157 w 263"/>
                <a:gd name="T37" fmla="*/ 160 h 308"/>
                <a:gd name="T38" fmla="*/ 167 w 263"/>
                <a:gd name="T39" fmla="*/ 170 h 308"/>
                <a:gd name="T40" fmla="*/ 157 w 263"/>
                <a:gd name="T41" fmla="*/ 179 h 308"/>
                <a:gd name="T42" fmla="*/ 89 w 263"/>
                <a:gd name="T43" fmla="*/ 179 h 308"/>
                <a:gd name="T44" fmla="*/ 146 w 263"/>
                <a:gd name="T45" fmla="*/ 229 h 308"/>
                <a:gd name="T46" fmla="*/ 175 w 263"/>
                <a:gd name="T47" fmla="*/ 220 h 308"/>
                <a:gd name="T48" fmla="*/ 188 w 263"/>
                <a:gd name="T49" fmla="*/ 222 h 308"/>
                <a:gd name="T50" fmla="*/ 186 w 263"/>
                <a:gd name="T51" fmla="*/ 236 h 308"/>
                <a:gd name="T52" fmla="*/ 146 w 263"/>
                <a:gd name="T53" fmla="*/ 248 h 308"/>
                <a:gd name="T54" fmla="*/ 96 w 263"/>
                <a:gd name="T55" fmla="*/ 228 h 308"/>
                <a:gd name="T56" fmla="*/ 69 w 263"/>
                <a:gd name="T57" fmla="*/ 179 h 308"/>
                <a:gd name="T58" fmla="*/ 59 w 263"/>
                <a:gd name="T59" fmla="*/ 179 h 308"/>
                <a:gd name="T60" fmla="*/ 49 w 263"/>
                <a:gd name="T61" fmla="*/ 170 h 308"/>
                <a:gd name="T62" fmla="*/ 59 w 263"/>
                <a:gd name="T63" fmla="*/ 160 h 308"/>
                <a:gd name="T64" fmla="*/ 67 w 263"/>
                <a:gd name="T65" fmla="*/ 160 h 308"/>
                <a:gd name="T66" fmla="*/ 67 w 263"/>
                <a:gd name="T67" fmla="*/ 158 h 308"/>
                <a:gd name="T68" fmla="*/ 67 w 263"/>
                <a:gd name="T69" fmla="*/ 156 h 308"/>
                <a:gd name="T70" fmla="*/ 59 w 263"/>
                <a:gd name="T71" fmla="*/ 156 h 308"/>
                <a:gd name="T72" fmla="*/ 49 w 263"/>
                <a:gd name="T73" fmla="*/ 146 h 308"/>
                <a:gd name="T74" fmla="*/ 59 w 263"/>
                <a:gd name="T75" fmla="*/ 137 h 308"/>
                <a:gd name="T76" fmla="*/ 69 w 263"/>
                <a:gd name="T77" fmla="*/ 137 h 308"/>
                <a:gd name="T78" fmla="*/ 96 w 263"/>
                <a:gd name="T79" fmla="*/ 88 h 308"/>
                <a:gd name="T80" fmla="*/ 146 w 263"/>
                <a:gd name="T81" fmla="*/ 68 h 308"/>
                <a:gd name="T82" fmla="*/ 186 w 263"/>
                <a:gd name="T83" fmla="*/ 80 h 308"/>
                <a:gd name="T84" fmla="*/ 190 w 263"/>
                <a:gd name="T85" fmla="*/ 86 h 308"/>
                <a:gd name="T86" fmla="*/ 188 w 263"/>
                <a:gd name="T87" fmla="*/ 94 h 308"/>
                <a:gd name="T88" fmla="*/ 175 w 263"/>
                <a:gd name="T89" fmla="*/ 96 h 308"/>
                <a:gd name="T90" fmla="*/ 146 w 263"/>
                <a:gd name="T91" fmla="*/ 87 h 308"/>
                <a:gd name="T92" fmla="*/ 89 w 263"/>
                <a:gd name="T93" fmla="*/ 137 h 308"/>
                <a:gd name="T94" fmla="*/ 157 w 263"/>
                <a:gd name="T95" fmla="*/ 13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3" h="308">
                  <a:moveTo>
                    <a:pt x="241" y="224"/>
                  </a:moveTo>
                  <a:cubicBezTo>
                    <a:pt x="241" y="224"/>
                    <a:pt x="255" y="195"/>
                    <a:pt x="252" y="154"/>
                  </a:cubicBezTo>
                  <a:cubicBezTo>
                    <a:pt x="250" y="129"/>
                    <a:pt x="242" y="105"/>
                    <a:pt x="230" y="82"/>
                  </a:cubicBezTo>
                  <a:cubicBezTo>
                    <a:pt x="214" y="53"/>
                    <a:pt x="191" y="26"/>
                    <a:pt x="160" y="0"/>
                  </a:cubicBezTo>
                  <a:cubicBezTo>
                    <a:pt x="160" y="0"/>
                    <a:pt x="160" y="0"/>
                    <a:pt x="103" y="0"/>
                  </a:cubicBezTo>
                  <a:cubicBezTo>
                    <a:pt x="47" y="47"/>
                    <a:pt x="15" y="100"/>
                    <a:pt x="11" y="155"/>
                  </a:cubicBezTo>
                  <a:cubicBezTo>
                    <a:pt x="8" y="196"/>
                    <a:pt x="22" y="224"/>
                    <a:pt x="22" y="224"/>
                  </a:cubicBezTo>
                  <a:cubicBezTo>
                    <a:pt x="23" y="226"/>
                    <a:pt x="23" y="228"/>
                    <a:pt x="23" y="230"/>
                  </a:cubicBezTo>
                  <a:cubicBezTo>
                    <a:pt x="23" y="250"/>
                    <a:pt x="10" y="285"/>
                    <a:pt x="0" y="308"/>
                  </a:cubicBezTo>
                  <a:cubicBezTo>
                    <a:pt x="0" y="308"/>
                    <a:pt x="0" y="308"/>
                    <a:pt x="263" y="308"/>
                  </a:cubicBezTo>
                  <a:cubicBezTo>
                    <a:pt x="253" y="285"/>
                    <a:pt x="240" y="250"/>
                    <a:pt x="240" y="230"/>
                  </a:cubicBezTo>
                  <a:cubicBezTo>
                    <a:pt x="240" y="228"/>
                    <a:pt x="240" y="226"/>
                    <a:pt x="241" y="224"/>
                  </a:cubicBezTo>
                  <a:close/>
                  <a:moveTo>
                    <a:pt x="157" y="137"/>
                  </a:moveTo>
                  <a:cubicBezTo>
                    <a:pt x="162" y="137"/>
                    <a:pt x="167" y="141"/>
                    <a:pt x="167" y="146"/>
                  </a:cubicBezTo>
                  <a:cubicBezTo>
                    <a:pt x="167" y="152"/>
                    <a:pt x="162" y="156"/>
                    <a:pt x="157" y="156"/>
                  </a:cubicBezTo>
                  <a:cubicBezTo>
                    <a:pt x="157" y="156"/>
                    <a:pt x="157" y="156"/>
                    <a:pt x="86" y="156"/>
                  </a:cubicBezTo>
                  <a:cubicBezTo>
                    <a:pt x="86" y="157"/>
                    <a:pt x="86" y="157"/>
                    <a:pt x="86" y="158"/>
                  </a:cubicBezTo>
                  <a:cubicBezTo>
                    <a:pt x="86" y="159"/>
                    <a:pt x="86" y="159"/>
                    <a:pt x="86" y="160"/>
                  </a:cubicBezTo>
                  <a:cubicBezTo>
                    <a:pt x="86" y="160"/>
                    <a:pt x="86" y="160"/>
                    <a:pt x="157" y="160"/>
                  </a:cubicBezTo>
                  <a:cubicBezTo>
                    <a:pt x="162" y="160"/>
                    <a:pt x="167" y="164"/>
                    <a:pt x="167" y="170"/>
                  </a:cubicBezTo>
                  <a:cubicBezTo>
                    <a:pt x="167" y="175"/>
                    <a:pt x="162" y="179"/>
                    <a:pt x="157" y="179"/>
                  </a:cubicBezTo>
                  <a:cubicBezTo>
                    <a:pt x="157" y="179"/>
                    <a:pt x="157" y="179"/>
                    <a:pt x="89" y="179"/>
                  </a:cubicBezTo>
                  <a:cubicBezTo>
                    <a:pt x="97" y="209"/>
                    <a:pt x="119" y="229"/>
                    <a:pt x="146" y="229"/>
                  </a:cubicBezTo>
                  <a:cubicBezTo>
                    <a:pt x="156" y="229"/>
                    <a:pt x="166" y="226"/>
                    <a:pt x="175" y="220"/>
                  </a:cubicBezTo>
                  <a:cubicBezTo>
                    <a:pt x="179" y="217"/>
                    <a:pt x="185" y="218"/>
                    <a:pt x="188" y="222"/>
                  </a:cubicBezTo>
                  <a:cubicBezTo>
                    <a:pt x="191" y="227"/>
                    <a:pt x="190" y="233"/>
                    <a:pt x="186" y="236"/>
                  </a:cubicBezTo>
                  <a:cubicBezTo>
                    <a:pt x="174" y="244"/>
                    <a:pt x="160" y="248"/>
                    <a:pt x="146" y="248"/>
                  </a:cubicBezTo>
                  <a:cubicBezTo>
                    <a:pt x="127" y="248"/>
                    <a:pt x="110" y="241"/>
                    <a:pt x="96" y="228"/>
                  </a:cubicBezTo>
                  <a:cubicBezTo>
                    <a:pt x="82" y="216"/>
                    <a:pt x="73" y="198"/>
                    <a:pt x="69" y="179"/>
                  </a:cubicBezTo>
                  <a:cubicBezTo>
                    <a:pt x="69" y="179"/>
                    <a:pt x="69" y="179"/>
                    <a:pt x="59" y="179"/>
                  </a:cubicBezTo>
                  <a:cubicBezTo>
                    <a:pt x="54" y="179"/>
                    <a:pt x="49" y="175"/>
                    <a:pt x="49" y="170"/>
                  </a:cubicBezTo>
                  <a:cubicBezTo>
                    <a:pt x="49" y="164"/>
                    <a:pt x="54" y="160"/>
                    <a:pt x="59" y="160"/>
                  </a:cubicBezTo>
                  <a:cubicBezTo>
                    <a:pt x="59" y="160"/>
                    <a:pt x="59" y="160"/>
                    <a:pt x="67" y="160"/>
                  </a:cubicBezTo>
                  <a:cubicBezTo>
                    <a:pt x="67" y="159"/>
                    <a:pt x="67" y="159"/>
                    <a:pt x="67" y="158"/>
                  </a:cubicBezTo>
                  <a:cubicBezTo>
                    <a:pt x="67" y="157"/>
                    <a:pt x="67" y="157"/>
                    <a:pt x="67" y="156"/>
                  </a:cubicBezTo>
                  <a:cubicBezTo>
                    <a:pt x="67" y="156"/>
                    <a:pt x="67" y="156"/>
                    <a:pt x="59" y="156"/>
                  </a:cubicBezTo>
                  <a:cubicBezTo>
                    <a:pt x="54" y="156"/>
                    <a:pt x="49" y="152"/>
                    <a:pt x="49" y="146"/>
                  </a:cubicBezTo>
                  <a:cubicBezTo>
                    <a:pt x="49" y="141"/>
                    <a:pt x="54" y="137"/>
                    <a:pt x="59" y="137"/>
                  </a:cubicBezTo>
                  <a:cubicBezTo>
                    <a:pt x="59" y="137"/>
                    <a:pt x="59" y="137"/>
                    <a:pt x="69" y="137"/>
                  </a:cubicBezTo>
                  <a:cubicBezTo>
                    <a:pt x="73" y="118"/>
                    <a:pt x="82" y="100"/>
                    <a:pt x="96" y="88"/>
                  </a:cubicBezTo>
                  <a:cubicBezTo>
                    <a:pt x="110" y="75"/>
                    <a:pt x="127" y="68"/>
                    <a:pt x="146" y="68"/>
                  </a:cubicBezTo>
                  <a:cubicBezTo>
                    <a:pt x="160" y="68"/>
                    <a:pt x="174" y="72"/>
                    <a:pt x="186" y="80"/>
                  </a:cubicBezTo>
                  <a:cubicBezTo>
                    <a:pt x="188" y="82"/>
                    <a:pt x="189" y="84"/>
                    <a:pt x="190" y="86"/>
                  </a:cubicBezTo>
                  <a:cubicBezTo>
                    <a:pt x="190" y="89"/>
                    <a:pt x="190" y="91"/>
                    <a:pt x="188" y="94"/>
                  </a:cubicBezTo>
                  <a:cubicBezTo>
                    <a:pt x="185" y="98"/>
                    <a:pt x="179" y="99"/>
                    <a:pt x="175" y="96"/>
                  </a:cubicBezTo>
                  <a:cubicBezTo>
                    <a:pt x="166" y="90"/>
                    <a:pt x="156" y="87"/>
                    <a:pt x="146" y="87"/>
                  </a:cubicBezTo>
                  <a:cubicBezTo>
                    <a:pt x="119" y="87"/>
                    <a:pt x="97" y="107"/>
                    <a:pt x="89" y="137"/>
                  </a:cubicBezTo>
                  <a:cubicBezTo>
                    <a:pt x="89" y="137"/>
                    <a:pt x="89" y="137"/>
                    <a:pt x="157"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03"/>
            <p:cNvSpPr>
              <a:spLocks/>
            </p:cNvSpPr>
            <p:nvPr/>
          </p:nvSpPr>
          <p:spPr bwMode="auto">
            <a:xfrm>
              <a:off x="2459" y="1041"/>
              <a:ext cx="842" cy="304"/>
            </a:xfrm>
            <a:custGeom>
              <a:avLst/>
              <a:gdLst>
                <a:gd name="T0" fmla="*/ 101 w 147"/>
                <a:gd name="T1" fmla="*/ 53 h 53"/>
                <a:gd name="T2" fmla="*/ 147 w 147"/>
                <a:gd name="T3" fmla="*/ 5 h 53"/>
                <a:gd name="T4" fmla="*/ 79 w 147"/>
                <a:gd name="T5" fmla="*/ 18 h 53"/>
                <a:gd name="T6" fmla="*/ 78 w 147"/>
                <a:gd name="T7" fmla="*/ 18 h 53"/>
                <a:gd name="T8" fmla="*/ 77 w 147"/>
                <a:gd name="T9" fmla="*/ 19 h 53"/>
                <a:gd name="T10" fmla="*/ 76 w 147"/>
                <a:gd name="T11" fmla="*/ 19 h 53"/>
                <a:gd name="T12" fmla="*/ 75 w 147"/>
                <a:gd name="T13" fmla="*/ 19 h 53"/>
                <a:gd name="T14" fmla="*/ 74 w 147"/>
                <a:gd name="T15" fmla="*/ 19 h 53"/>
                <a:gd name="T16" fmla="*/ 73 w 147"/>
                <a:gd name="T17" fmla="*/ 19 h 53"/>
                <a:gd name="T18" fmla="*/ 72 w 147"/>
                <a:gd name="T19" fmla="*/ 19 h 53"/>
                <a:gd name="T20" fmla="*/ 71 w 147"/>
                <a:gd name="T21" fmla="*/ 19 h 53"/>
                <a:gd name="T22" fmla="*/ 70 w 147"/>
                <a:gd name="T23" fmla="*/ 19 h 53"/>
                <a:gd name="T24" fmla="*/ 69 w 147"/>
                <a:gd name="T25" fmla="*/ 18 h 53"/>
                <a:gd name="T26" fmla="*/ 68 w 147"/>
                <a:gd name="T27" fmla="*/ 18 h 53"/>
                <a:gd name="T28" fmla="*/ 0 w 147"/>
                <a:gd name="T29" fmla="*/ 5 h 53"/>
                <a:gd name="T30" fmla="*/ 46 w 147"/>
                <a:gd name="T31" fmla="*/ 53 h 53"/>
                <a:gd name="T32" fmla="*/ 101 w 147"/>
                <a:gd name="T3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53">
                  <a:moveTo>
                    <a:pt x="101" y="53"/>
                  </a:moveTo>
                  <a:cubicBezTo>
                    <a:pt x="101" y="53"/>
                    <a:pt x="101" y="53"/>
                    <a:pt x="147" y="5"/>
                  </a:cubicBezTo>
                  <a:cubicBezTo>
                    <a:pt x="134" y="0"/>
                    <a:pt x="109" y="4"/>
                    <a:pt x="79" y="18"/>
                  </a:cubicBezTo>
                  <a:cubicBezTo>
                    <a:pt x="79" y="18"/>
                    <a:pt x="79" y="18"/>
                    <a:pt x="78" y="18"/>
                  </a:cubicBezTo>
                  <a:cubicBezTo>
                    <a:pt x="78" y="18"/>
                    <a:pt x="78" y="18"/>
                    <a:pt x="77" y="19"/>
                  </a:cubicBezTo>
                  <a:cubicBezTo>
                    <a:pt x="76" y="19"/>
                    <a:pt x="76" y="19"/>
                    <a:pt x="76" y="19"/>
                  </a:cubicBezTo>
                  <a:cubicBezTo>
                    <a:pt x="76" y="19"/>
                    <a:pt x="76" y="19"/>
                    <a:pt x="75" y="19"/>
                  </a:cubicBezTo>
                  <a:cubicBezTo>
                    <a:pt x="74" y="19"/>
                    <a:pt x="74" y="19"/>
                    <a:pt x="74" y="19"/>
                  </a:cubicBezTo>
                  <a:cubicBezTo>
                    <a:pt x="74" y="19"/>
                    <a:pt x="74" y="19"/>
                    <a:pt x="73" y="19"/>
                  </a:cubicBezTo>
                  <a:cubicBezTo>
                    <a:pt x="72" y="19"/>
                    <a:pt x="72" y="19"/>
                    <a:pt x="72" y="19"/>
                  </a:cubicBezTo>
                  <a:cubicBezTo>
                    <a:pt x="71" y="19"/>
                    <a:pt x="71" y="19"/>
                    <a:pt x="71" y="19"/>
                  </a:cubicBezTo>
                  <a:cubicBezTo>
                    <a:pt x="70" y="19"/>
                    <a:pt x="70" y="19"/>
                    <a:pt x="70" y="19"/>
                  </a:cubicBezTo>
                  <a:cubicBezTo>
                    <a:pt x="69" y="18"/>
                    <a:pt x="69" y="18"/>
                    <a:pt x="69" y="18"/>
                  </a:cubicBezTo>
                  <a:cubicBezTo>
                    <a:pt x="69" y="18"/>
                    <a:pt x="69" y="18"/>
                    <a:pt x="68" y="18"/>
                  </a:cubicBezTo>
                  <a:cubicBezTo>
                    <a:pt x="37" y="4"/>
                    <a:pt x="13" y="0"/>
                    <a:pt x="0" y="5"/>
                  </a:cubicBezTo>
                  <a:cubicBezTo>
                    <a:pt x="0" y="5"/>
                    <a:pt x="0" y="5"/>
                    <a:pt x="46" y="53"/>
                  </a:cubicBezTo>
                  <a:cubicBezTo>
                    <a:pt x="46" y="53"/>
                    <a:pt x="46" y="53"/>
                    <a:pt x="101"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04"/>
            <p:cNvSpPr>
              <a:spLocks noEditPoints="1"/>
            </p:cNvSpPr>
            <p:nvPr/>
          </p:nvSpPr>
          <p:spPr bwMode="auto">
            <a:xfrm>
              <a:off x="720" y="0"/>
              <a:ext cx="4320" cy="4320"/>
            </a:xfrm>
            <a:custGeom>
              <a:avLst/>
              <a:gdLst>
                <a:gd name="T0" fmla="*/ 377 w 755"/>
                <a:gd name="T1" fmla="*/ 0 h 755"/>
                <a:gd name="T2" fmla="*/ 0 w 755"/>
                <a:gd name="T3" fmla="*/ 377 h 755"/>
                <a:gd name="T4" fmla="*/ 377 w 755"/>
                <a:gd name="T5" fmla="*/ 755 h 755"/>
                <a:gd name="T6" fmla="*/ 755 w 755"/>
                <a:gd name="T7" fmla="*/ 377 h 755"/>
                <a:gd name="T8" fmla="*/ 377 w 755"/>
                <a:gd name="T9" fmla="*/ 0 h 755"/>
                <a:gd name="T10" fmla="*/ 541 w 755"/>
                <a:gd name="T11" fmla="*/ 590 h 755"/>
                <a:gd name="T12" fmla="*/ 530 w 755"/>
                <a:gd name="T13" fmla="*/ 597 h 755"/>
                <a:gd name="T14" fmla="*/ 225 w 755"/>
                <a:gd name="T15" fmla="*/ 597 h 755"/>
                <a:gd name="T16" fmla="*/ 214 w 755"/>
                <a:gd name="T17" fmla="*/ 590 h 755"/>
                <a:gd name="T18" fmla="*/ 213 w 755"/>
                <a:gd name="T19" fmla="*/ 577 h 755"/>
                <a:gd name="T20" fmla="*/ 242 w 755"/>
                <a:gd name="T21" fmla="*/ 495 h 755"/>
                <a:gd name="T22" fmla="*/ 231 w 755"/>
                <a:gd name="T23" fmla="*/ 415 h 755"/>
                <a:gd name="T24" fmla="*/ 325 w 755"/>
                <a:gd name="T25" fmla="*/ 248 h 755"/>
                <a:gd name="T26" fmla="*/ 277 w 755"/>
                <a:gd name="T27" fmla="*/ 197 h 755"/>
                <a:gd name="T28" fmla="*/ 273 w 755"/>
                <a:gd name="T29" fmla="*/ 184 h 755"/>
                <a:gd name="T30" fmla="*/ 292 w 755"/>
                <a:gd name="T31" fmla="*/ 164 h 755"/>
                <a:gd name="T32" fmla="*/ 377 w 755"/>
                <a:gd name="T33" fmla="*/ 173 h 755"/>
                <a:gd name="T34" fmla="*/ 463 w 755"/>
                <a:gd name="T35" fmla="*/ 164 h 755"/>
                <a:gd name="T36" fmla="*/ 482 w 755"/>
                <a:gd name="T37" fmla="*/ 184 h 755"/>
                <a:gd name="T38" fmla="*/ 478 w 755"/>
                <a:gd name="T39" fmla="*/ 197 h 755"/>
                <a:gd name="T40" fmla="*/ 430 w 755"/>
                <a:gd name="T41" fmla="*/ 248 h 755"/>
                <a:gd name="T42" fmla="*/ 499 w 755"/>
                <a:gd name="T43" fmla="*/ 332 h 755"/>
                <a:gd name="T44" fmla="*/ 524 w 755"/>
                <a:gd name="T45" fmla="*/ 415 h 755"/>
                <a:gd name="T46" fmla="*/ 513 w 755"/>
                <a:gd name="T47" fmla="*/ 495 h 755"/>
                <a:gd name="T48" fmla="*/ 542 w 755"/>
                <a:gd name="T49" fmla="*/ 577 h 755"/>
                <a:gd name="T50" fmla="*/ 541 w 755"/>
                <a:gd name="T51" fmla="*/ 59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5" h="755">
                  <a:moveTo>
                    <a:pt x="377" y="0"/>
                  </a:moveTo>
                  <a:cubicBezTo>
                    <a:pt x="169" y="0"/>
                    <a:pt x="0" y="169"/>
                    <a:pt x="0" y="377"/>
                  </a:cubicBezTo>
                  <a:cubicBezTo>
                    <a:pt x="0" y="586"/>
                    <a:pt x="169" y="755"/>
                    <a:pt x="377" y="755"/>
                  </a:cubicBezTo>
                  <a:cubicBezTo>
                    <a:pt x="586" y="755"/>
                    <a:pt x="755" y="586"/>
                    <a:pt x="755" y="377"/>
                  </a:cubicBezTo>
                  <a:cubicBezTo>
                    <a:pt x="755" y="169"/>
                    <a:pt x="586" y="0"/>
                    <a:pt x="377" y="0"/>
                  </a:cubicBezTo>
                  <a:close/>
                  <a:moveTo>
                    <a:pt x="541" y="590"/>
                  </a:moveTo>
                  <a:cubicBezTo>
                    <a:pt x="538" y="594"/>
                    <a:pt x="534" y="597"/>
                    <a:pt x="530" y="597"/>
                  </a:cubicBezTo>
                  <a:cubicBezTo>
                    <a:pt x="530" y="597"/>
                    <a:pt x="530" y="597"/>
                    <a:pt x="225" y="597"/>
                  </a:cubicBezTo>
                  <a:cubicBezTo>
                    <a:pt x="221" y="597"/>
                    <a:pt x="217" y="594"/>
                    <a:pt x="214" y="590"/>
                  </a:cubicBezTo>
                  <a:cubicBezTo>
                    <a:pt x="212" y="586"/>
                    <a:pt x="211" y="582"/>
                    <a:pt x="213" y="577"/>
                  </a:cubicBezTo>
                  <a:cubicBezTo>
                    <a:pt x="224" y="555"/>
                    <a:pt x="241" y="514"/>
                    <a:pt x="242" y="495"/>
                  </a:cubicBezTo>
                  <a:cubicBezTo>
                    <a:pt x="238" y="485"/>
                    <a:pt x="228" y="455"/>
                    <a:pt x="231" y="415"/>
                  </a:cubicBezTo>
                  <a:cubicBezTo>
                    <a:pt x="234" y="373"/>
                    <a:pt x="253" y="311"/>
                    <a:pt x="325" y="248"/>
                  </a:cubicBezTo>
                  <a:cubicBezTo>
                    <a:pt x="325" y="248"/>
                    <a:pt x="325" y="248"/>
                    <a:pt x="277" y="197"/>
                  </a:cubicBezTo>
                  <a:cubicBezTo>
                    <a:pt x="273" y="194"/>
                    <a:pt x="272" y="189"/>
                    <a:pt x="273" y="184"/>
                  </a:cubicBezTo>
                  <a:cubicBezTo>
                    <a:pt x="274" y="182"/>
                    <a:pt x="278" y="171"/>
                    <a:pt x="292" y="164"/>
                  </a:cubicBezTo>
                  <a:cubicBezTo>
                    <a:pt x="311" y="154"/>
                    <a:pt x="340" y="158"/>
                    <a:pt x="377" y="173"/>
                  </a:cubicBezTo>
                  <a:cubicBezTo>
                    <a:pt x="415" y="158"/>
                    <a:pt x="443" y="154"/>
                    <a:pt x="463" y="164"/>
                  </a:cubicBezTo>
                  <a:cubicBezTo>
                    <a:pt x="477" y="171"/>
                    <a:pt x="481" y="182"/>
                    <a:pt x="482" y="184"/>
                  </a:cubicBezTo>
                  <a:cubicBezTo>
                    <a:pt x="483" y="189"/>
                    <a:pt x="482" y="194"/>
                    <a:pt x="478" y="197"/>
                  </a:cubicBezTo>
                  <a:cubicBezTo>
                    <a:pt x="478" y="197"/>
                    <a:pt x="478" y="197"/>
                    <a:pt x="430" y="248"/>
                  </a:cubicBezTo>
                  <a:cubicBezTo>
                    <a:pt x="460" y="274"/>
                    <a:pt x="484" y="302"/>
                    <a:pt x="499" y="332"/>
                  </a:cubicBezTo>
                  <a:cubicBezTo>
                    <a:pt x="514" y="359"/>
                    <a:pt x="522" y="387"/>
                    <a:pt x="524" y="415"/>
                  </a:cubicBezTo>
                  <a:cubicBezTo>
                    <a:pt x="527" y="455"/>
                    <a:pt x="517" y="485"/>
                    <a:pt x="513" y="495"/>
                  </a:cubicBezTo>
                  <a:cubicBezTo>
                    <a:pt x="514" y="514"/>
                    <a:pt x="531" y="555"/>
                    <a:pt x="542" y="577"/>
                  </a:cubicBezTo>
                  <a:cubicBezTo>
                    <a:pt x="544" y="582"/>
                    <a:pt x="543" y="586"/>
                    <a:pt x="541" y="5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4"/>
          <p:cNvGrpSpPr>
            <a:grpSpLocks noChangeAspect="1"/>
          </p:cNvGrpSpPr>
          <p:nvPr/>
        </p:nvGrpSpPr>
        <p:grpSpPr bwMode="auto">
          <a:xfrm>
            <a:off x="2088539" y="1693428"/>
            <a:ext cx="365760" cy="365760"/>
            <a:chOff x="720" y="0"/>
            <a:chExt cx="4320" cy="4320"/>
          </a:xfrm>
          <a:solidFill>
            <a:srgbClr val="62B5E5"/>
          </a:solidFill>
        </p:grpSpPr>
        <p:sp>
          <p:nvSpPr>
            <p:cNvPr id="11" name="Freeform 5"/>
            <p:cNvSpPr>
              <a:spLocks/>
            </p:cNvSpPr>
            <p:nvPr/>
          </p:nvSpPr>
          <p:spPr bwMode="auto">
            <a:xfrm>
              <a:off x="2175" y="1501"/>
              <a:ext cx="1781" cy="942"/>
            </a:xfrm>
            <a:custGeom>
              <a:avLst/>
              <a:gdLst>
                <a:gd name="T0" fmla="*/ 0 w 312"/>
                <a:gd name="T1" fmla="*/ 35 h 165"/>
                <a:gd name="T2" fmla="*/ 262 w 312"/>
                <a:gd name="T3" fmla="*/ 35 h 165"/>
                <a:gd name="T4" fmla="*/ 277 w 312"/>
                <a:gd name="T5" fmla="*/ 50 h 165"/>
                <a:gd name="T6" fmla="*/ 277 w 312"/>
                <a:gd name="T7" fmla="*/ 165 h 165"/>
                <a:gd name="T8" fmla="*/ 312 w 312"/>
                <a:gd name="T9" fmla="*/ 165 h 165"/>
                <a:gd name="T10" fmla="*/ 312 w 312"/>
                <a:gd name="T11" fmla="*/ 0 h 165"/>
                <a:gd name="T12" fmla="*/ 0 w 312"/>
                <a:gd name="T13" fmla="*/ 0 h 165"/>
                <a:gd name="T14" fmla="*/ 0 w 312"/>
                <a:gd name="T15" fmla="*/ 35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165">
                  <a:moveTo>
                    <a:pt x="0" y="35"/>
                  </a:moveTo>
                  <a:cubicBezTo>
                    <a:pt x="0" y="35"/>
                    <a:pt x="0" y="35"/>
                    <a:pt x="262" y="35"/>
                  </a:cubicBezTo>
                  <a:cubicBezTo>
                    <a:pt x="270" y="35"/>
                    <a:pt x="277" y="42"/>
                    <a:pt x="277" y="50"/>
                  </a:cubicBezTo>
                  <a:cubicBezTo>
                    <a:pt x="277" y="50"/>
                    <a:pt x="277" y="50"/>
                    <a:pt x="277" y="165"/>
                  </a:cubicBezTo>
                  <a:cubicBezTo>
                    <a:pt x="277" y="165"/>
                    <a:pt x="277" y="165"/>
                    <a:pt x="312" y="165"/>
                  </a:cubicBezTo>
                  <a:cubicBezTo>
                    <a:pt x="312" y="165"/>
                    <a:pt x="312" y="165"/>
                    <a:pt x="312" y="0"/>
                  </a:cubicBezTo>
                  <a:cubicBezTo>
                    <a:pt x="312" y="0"/>
                    <a:pt x="312" y="0"/>
                    <a:pt x="0" y="0"/>
                  </a:cubicBezTo>
                  <a:cubicBezTo>
                    <a:pt x="0" y="0"/>
                    <a:pt x="0" y="0"/>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noEditPoints="1"/>
            </p:cNvSpPr>
            <p:nvPr/>
          </p:nvSpPr>
          <p:spPr bwMode="auto">
            <a:xfrm>
              <a:off x="1804" y="1878"/>
              <a:ext cx="1781" cy="941"/>
            </a:xfrm>
            <a:custGeom>
              <a:avLst/>
              <a:gdLst>
                <a:gd name="T0" fmla="*/ 0 w 312"/>
                <a:gd name="T1" fmla="*/ 165 h 165"/>
                <a:gd name="T2" fmla="*/ 312 w 312"/>
                <a:gd name="T3" fmla="*/ 165 h 165"/>
                <a:gd name="T4" fmla="*/ 312 w 312"/>
                <a:gd name="T5" fmla="*/ 0 h 165"/>
                <a:gd name="T6" fmla="*/ 0 w 312"/>
                <a:gd name="T7" fmla="*/ 0 h 165"/>
                <a:gd name="T8" fmla="*/ 0 w 312"/>
                <a:gd name="T9" fmla="*/ 165 h 165"/>
                <a:gd name="T10" fmla="*/ 104 w 312"/>
                <a:gd name="T11" fmla="*/ 84 h 165"/>
                <a:gd name="T12" fmla="*/ 98 w 312"/>
                <a:gd name="T13" fmla="*/ 77 h 165"/>
                <a:gd name="T14" fmla="*/ 104 w 312"/>
                <a:gd name="T15" fmla="*/ 70 h 165"/>
                <a:gd name="T16" fmla="*/ 111 w 312"/>
                <a:gd name="T17" fmla="*/ 70 h 165"/>
                <a:gd name="T18" fmla="*/ 162 w 312"/>
                <a:gd name="T19" fmla="*/ 24 h 165"/>
                <a:gd name="T20" fmla="*/ 189 w 312"/>
                <a:gd name="T21" fmla="*/ 33 h 165"/>
                <a:gd name="T22" fmla="*/ 191 w 312"/>
                <a:gd name="T23" fmla="*/ 42 h 165"/>
                <a:gd name="T24" fmla="*/ 186 w 312"/>
                <a:gd name="T25" fmla="*/ 45 h 165"/>
                <a:gd name="T26" fmla="*/ 181 w 312"/>
                <a:gd name="T27" fmla="*/ 44 h 165"/>
                <a:gd name="T28" fmla="*/ 162 w 312"/>
                <a:gd name="T29" fmla="*/ 38 h 165"/>
                <a:gd name="T30" fmla="*/ 125 w 312"/>
                <a:gd name="T31" fmla="*/ 70 h 165"/>
                <a:gd name="T32" fmla="*/ 170 w 312"/>
                <a:gd name="T33" fmla="*/ 70 h 165"/>
                <a:gd name="T34" fmla="*/ 177 w 312"/>
                <a:gd name="T35" fmla="*/ 77 h 165"/>
                <a:gd name="T36" fmla="*/ 170 w 312"/>
                <a:gd name="T37" fmla="*/ 84 h 165"/>
                <a:gd name="T38" fmla="*/ 123 w 312"/>
                <a:gd name="T39" fmla="*/ 84 h 165"/>
                <a:gd name="T40" fmla="*/ 123 w 312"/>
                <a:gd name="T41" fmla="*/ 85 h 165"/>
                <a:gd name="T42" fmla="*/ 123 w 312"/>
                <a:gd name="T43" fmla="*/ 86 h 165"/>
                <a:gd name="T44" fmla="*/ 170 w 312"/>
                <a:gd name="T45" fmla="*/ 86 h 165"/>
                <a:gd name="T46" fmla="*/ 177 w 312"/>
                <a:gd name="T47" fmla="*/ 93 h 165"/>
                <a:gd name="T48" fmla="*/ 170 w 312"/>
                <a:gd name="T49" fmla="*/ 100 h 165"/>
                <a:gd name="T50" fmla="*/ 125 w 312"/>
                <a:gd name="T51" fmla="*/ 100 h 165"/>
                <a:gd name="T52" fmla="*/ 162 w 312"/>
                <a:gd name="T53" fmla="*/ 132 h 165"/>
                <a:gd name="T54" fmla="*/ 181 w 312"/>
                <a:gd name="T55" fmla="*/ 126 h 165"/>
                <a:gd name="T56" fmla="*/ 186 w 312"/>
                <a:gd name="T57" fmla="*/ 125 h 165"/>
                <a:gd name="T58" fmla="*/ 191 w 312"/>
                <a:gd name="T59" fmla="*/ 128 h 165"/>
                <a:gd name="T60" fmla="*/ 192 w 312"/>
                <a:gd name="T61" fmla="*/ 133 h 165"/>
                <a:gd name="T62" fmla="*/ 189 w 312"/>
                <a:gd name="T63" fmla="*/ 137 h 165"/>
                <a:gd name="T64" fmla="*/ 162 w 312"/>
                <a:gd name="T65" fmla="*/ 146 h 165"/>
                <a:gd name="T66" fmla="*/ 111 w 312"/>
                <a:gd name="T67" fmla="*/ 100 h 165"/>
                <a:gd name="T68" fmla="*/ 104 w 312"/>
                <a:gd name="T69" fmla="*/ 100 h 165"/>
                <a:gd name="T70" fmla="*/ 98 w 312"/>
                <a:gd name="T71" fmla="*/ 93 h 165"/>
                <a:gd name="T72" fmla="*/ 104 w 312"/>
                <a:gd name="T73" fmla="*/ 86 h 165"/>
                <a:gd name="T74" fmla="*/ 109 w 312"/>
                <a:gd name="T75" fmla="*/ 86 h 165"/>
                <a:gd name="T76" fmla="*/ 109 w 312"/>
                <a:gd name="T77" fmla="*/ 85 h 165"/>
                <a:gd name="T78" fmla="*/ 109 w 312"/>
                <a:gd name="T79" fmla="*/ 84 h 165"/>
                <a:gd name="T80" fmla="*/ 104 w 312"/>
                <a:gd name="T81" fmla="*/ 8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165">
                  <a:moveTo>
                    <a:pt x="0" y="165"/>
                  </a:moveTo>
                  <a:cubicBezTo>
                    <a:pt x="0" y="165"/>
                    <a:pt x="0" y="165"/>
                    <a:pt x="312" y="165"/>
                  </a:cubicBezTo>
                  <a:cubicBezTo>
                    <a:pt x="312" y="165"/>
                    <a:pt x="312" y="165"/>
                    <a:pt x="312" y="0"/>
                  </a:cubicBezTo>
                  <a:cubicBezTo>
                    <a:pt x="0" y="0"/>
                    <a:pt x="0" y="0"/>
                    <a:pt x="0" y="0"/>
                  </a:cubicBezTo>
                  <a:cubicBezTo>
                    <a:pt x="0" y="0"/>
                    <a:pt x="0" y="0"/>
                    <a:pt x="0" y="165"/>
                  </a:cubicBezTo>
                  <a:close/>
                  <a:moveTo>
                    <a:pt x="104" y="84"/>
                  </a:moveTo>
                  <a:cubicBezTo>
                    <a:pt x="101" y="84"/>
                    <a:pt x="98" y="81"/>
                    <a:pt x="98" y="77"/>
                  </a:cubicBezTo>
                  <a:cubicBezTo>
                    <a:pt x="98" y="74"/>
                    <a:pt x="101" y="70"/>
                    <a:pt x="104" y="70"/>
                  </a:cubicBezTo>
                  <a:cubicBezTo>
                    <a:pt x="104" y="70"/>
                    <a:pt x="104" y="70"/>
                    <a:pt x="111" y="70"/>
                  </a:cubicBezTo>
                  <a:cubicBezTo>
                    <a:pt x="116" y="43"/>
                    <a:pt x="137" y="24"/>
                    <a:pt x="162" y="24"/>
                  </a:cubicBezTo>
                  <a:cubicBezTo>
                    <a:pt x="172" y="24"/>
                    <a:pt x="181" y="27"/>
                    <a:pt x="189" y="33"/>
                  </a:cubicBezTo>
                  <a:cubicBezTo>
                    <a:pt x="192" y="35"/>
                    <a:pt x="193" y="39"/>
                    <a:pt x="191" y="42"/>
                  </a:cubicBezTo>
                  <a:cubicBezTo>
                    <a:pt x="190" y="44"/>
                    <a:pt x="188" y="45"/>
                    <a:pt x="186" y="45"/>
                  </a:cubicBezTo>
                  <a:cubicBezTo>
                    <a:pt x="185" y="46"/>
                    <a:pt x="183" y="45"/>
                    <a:pt x="181" y="44"/>
                  </a:cubicBezTo>
                  <a:cubicBezTo>
                    <a:pt x="175" y="40"/>
                    <a:pt x="169" y="38"/>
                    <a:pt x="162" y="38"/>
                  </a:cubicBezTo>
                  <a:cubicBezTo>
                    <a:pt x="145" y="38"/>
                    <a:pt x="130" y="51"/>
                    <a:pt x="125" y="70"/>
                  </a:cubicBezTo>
                  <a:cubicBezTo>
                    <a:pt x="125" y="70"/>
                    <a:pt x="125" y="70"/>
                    <a:pt x="170" y="70"/>
                  </a:cubicBezTo>
                  <a:cubicBezTo>
                    <a:pt x="174" y="70"/>
                    <a:pt x="177" y="74"/>
                    <a:pt x="177" y="77"/>
                  </a:cubicBezTo>
                  <a:cubicBezTo>
                    <a:pt x="177" y="81"/>
                    <a:pt x="174" y="84"/>
                    <a:pt x="170" y="84"/>
                  </a:cubicBezTo>
                  <a:cubicBezTo>
                    <a:pt x="170" y="84"/>
                    <a:pt x="170" y="84"/>
                    <a:pt x="123" y="84"/>
                  </a:cubicBezTo>
                  <a:cubicBezTo>
                    <a:pt x="123" y="85"/>
                    <a:pt x="123" y="85"/>
                    <a:pt x="123" y="85"/>
                  </a:cubicBezTo>
                  <a:cubicBezTo>
                    <a:pt x="123" y="86"/>
                    <a:pt x="123" y="86"/>
                    <a:pt x="123" y="86"/>
                  </a:cubicBezTo>
                  <a:cubicBezTo>
                    <a:pt x="123" y="86"/>
                    <a:pt x="123" y="86"/>
                    <a:pt x="170" y="86"/>
                  </a:cubicBezTo>
                  <a:cubicBezTo>
                    <a:pt x="174" y="86"/>
                    <a:pt x="177" y="89"/>
                    <a:pt x="177" y="93"/>
                  </a:cubicBezTo>
                  <a:cubicBezTo>
                    <a:pt x="177" y="97"/>
                    <a:pt x="174" y="100"/>
                    <a:pt x="170" y="100"/>
                  </a:cubicBezTo>
                  <a:cubicBezTo>
                    <a:pt x="170" y="100"/>
                    <a:pt x="170" y="100"/>
                    <a:pt x="125" y="100"/>
                  </a:cubicBezTo>
                  <a:cubicBezTo>
                    <a:pt x="130" y="119"/>
                    <a:pt x="145" y="132"/>
                    <a:pt x="162" y="132"/>
                  </a:cubicBezTo>
                  <a:cubicBezTo>
                    <a:pt x="169" y="132"/>
                    <a:pt x="175" y="130"/>
                    <a:pt x="181" y="126"/>
                  </a:cubicBezTo>
                  <a:cubicBezTo>
                    <a:pt x="183" y="125"/>
                    <a:pt x="185" y="124"/>
                    <a:pt x="186" y="125"/>
                  </a:cubicBezTo>
                  <a:cubicBezTo>
                    <a:pt x="188" y="125"/>
                    <a:pt x="190" y="126"/>
                    <a:pt x="191" y="128"/>
                  </a:cubicBezTo>
                  <a:cubicBezTo>
                    <a:pt x="192" y="129"/>
                    <a:pt x="192" y="131"/>
                    <a:pt x="192" y="133"/>
                  </a:cubicBezTo>
                  <a:cubicBezTo>
                    <a:pt x="192" y="135"/>
                    <a:pt x="190" y="136"/>
                    <a:pt x="189" y="137"/>
                  </a:cubicBezTo>
                  <a:cubicBezTo>
                    <a:pt x="181" y="143"/>
                    <a:pt x="172" y="146"/>
                    <a:pt x="162" y="146"/>
                  </a:cubicBezTo>
                  <a:cubicBezTo>
                    <a:pt x="137" y="146"/>
                    <a:pt x="116" y="127"/>
                    <a:pt x="111" y="100"/>
                  </a:cubicBezTo>
                  <a:cubicBezTo>
                    <a:pt x="111" y="100"/>
                    <a:pt x="111" y="100"/>
                    <a:pt x="104" y="100"/>
                  </a:cubicBezTo>
                  <a:cubicBezTo>
                    <a:pt x="101" y="100"/>
                    <a:pt x="98" y="97"/>
                    <a:pt x="98" y="93"/>
                  </a:cubicBezTo>
                  <a:cubicBezTo>
                    <a:pt x="98" y="89"/>
                    <a:pt x="101" y="86"/>
                    <a:pt x="104" y="86"/>
                  </a:cubicBezTo>
                  <a:cubicBezTo>
                    <a:pt x="104" y="86"/>
                    <a:pt x="104" y="86"/>
                    <a:pt x="109" y="86"/>
                  </a:cubicBezTo>
                  <a:cubicBezTo>
                    <a:pt x="109" y="85"/>
                    <a:pt x="109" y="85"/>
                    <a:pt x="109" y="85"/>
                  </a:cubicBezTo>
                  <a:cubicBezTo>
                    <a:pt x="109" y="85"/>
                    <a:pt x="109" y="85"/>
                    <a:pt x="109" y="84"/>
                  </a:cubicBezTo>
                  <a:cubicBezTo>
                    <a:pt x="109" y="84"/>
                    <a:pt x="109" y="84"/>
                    <a:pt x="10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noEditPoints="1"/>
            </p:cNvSpPr>
            <p:nvPr/>
          </p:nvSpPr>
          <p:spPr bwMode="auto">
            <a:xfrm>
              <a:off x="720" y="0"/>
              <a:ext cx="4320" cy="4320"/>
            </a:xfrm>
            <a:custGeom>
              <a:avLst/>
              <a:gdLst>
                <a:gd name="T0" fmla="*/ 378 w 757"/>
                <a:gd name="T1" fmla="*/ 0 h 757"/>
                <a:gd name="T2" fmla="*/ 0 w 757"/>
                <a:gd name="T3" fmla="*/ 378 h 757"/>
                <a:gd name="T4" fmla="*/ 378 w 757"/>
                <a:gd name="T5" fmla="*/ 757 h 757"/>
                <a:gd name="T6" fmla="*/ 757 w 757"/>
                <a:gd name="T7" fmla="*/ 378 h 757"/>
                <a:gd name="T8" fmla="*/ 378 w 757"/>
                <a:gd name="T9" fmla="*/ 0 h 757"/>
                <a:gd name="T10" fmla="*/ 598 w 757"/>
                <a:gd name="T11" fmla="*/ 444 h 757"/>
                <a:gd name="T12" fmla="*/ 582 w 757"/>
                <a:gd name="T13" fmla="*/ 459 h 757"/>
                <a:gd name="T14" fmla="*/ 532 w 757"/>
                <a:gd name="T15" fmla="*/ 459 h 757"/>
                <a:gd name="T16" fmla="*/ 532 w 757"/>
                <a:gd name="T17" fmla="*/ 509 h 757"/>
                <a:gd name="T18" fmla="*/ 517 w 757"/>
                <a:gd name="T19" fmla="*/ 524 h 757"/>
                <a:gd name="T20" fmla="*/ 175 w 757"/>
                <a:gd name="T21" fmla="*/ 524 h 757"/>
                <a:gd name="T22" fmla="*/ 159 w 757"/>
                <a:gd name="T23" fmla="*/ 509 h 757"/>
                <a:gd name="T24" fmla="*/ 159 w 757"/>
                <a:gd name="T25" fmla="*/ 313 h 757"/>
                <a:gd name="T26" fmla="*/ 175 w 757"/>
                <a:gd name="T27" fmla="*/ 298 h 757"/>
                <a:gd name="T28" fmla="*/ 225 w 757"/>
                <a:gd name="T29" fmla="*/ 298 h 757"/>
                <a:gd name="T30" fmla="*/ 225 w 757"/>
                <a:gd name="T31" fmla="*/ 248 h 757"/>
                <a:gd name="T32" fmla="*/ 240 w 757"/>
                <a:gd name="T33" fmla="*/ 233 h 757"/>
                <a:gd name="T34" fmla="*/ 582 w 757"/>
                <a:gd name="T35" fmla="*/ 233 h 757"/>
                <a:gd name="T36" fmla="*/ 598 w 757"/>
                <a:gd name="T37" fmla="*/ 248 h 757"/>
                <a:gd name="T38" fmla="*/ 598 w 757"/>
                <a:gd name="T39" fmla="*/ 444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7" h="757">
                  <a:moveTo>
                    <a:pt x="378" y="0"/>
                  </a:moveTo>
                  <a:cubicBezTo>
                    <a:pt x="170" y="0"/>
                    <a:pt x="0" y="170"/>
                    <a:pt x="0" y="378"/>
                  </a:cubicBezTo>
                  <a:cubicBezTo>
                    <a:pt x="0" y="587"/>
                    <a:pt x="170" y="757"/>
                    <a:pt x="378" y="757"/>
                  </a:cubicBezTo>
                  <a:cubicBezTo>
                    <a:pt x="587" y="757"/>
                    <a:pt x="757" y="587"/>
                    <a:pt x="757" y="378"/>
                  </a:cubicBezTo>
                  <a:cubicBezTo>
                    <a:pt x="757" y="170"/>
                    <a:pt x="587" y="0"/>
                    <a:pt x="378" y="0"/>
                  </a:cubicBezTo>
                  <a:close/>
                  <a:moveTo>
                    <a:pt x="598" y="444"/>
                  </a:moveTo>
                  <a:cubicBezTo>
                    <a:pt x="598" y="452"/>
                    <a:pt x="591" y="459"/>
                    <a:pt x="582" y="459"/>
                  </a:cubicBezTo>
                  <a:cubicBezTo>
                    <a:pt x="582" y="459"/>
                    <a:pt x="582" y="459"/>
                    <a:pt x="532" y="459"/>
                  </a:cubicBezTo>
                  <a:cubicBezTo>
                    <a:pt x="532" y="459"/>
                    <a:pt x="532" y="459"/>
                    <a:pt x="532" y="509"/>
                  </a:cubicBezTo>
                  <a:cubicBezTo>
                    <a:pt x="532" y="517"/>
                    <a:pt x="525" y="524"/>
                    <a:pt x="517" y="524"/>
                  </a:cubicBezTo>
                  <a:cubicBezTo>
                    <a:pt x="517" y="524"/>
                    <a:pt x="517" y="524"/>
                    <a:pt x="175" y="524"/>
                  </a:cubicBezTo>
                  <a:cubicBezTo>
                    <a:pt x="166" y="524"/>
                    <a:pt x="159" y="517"/>
                    <a:pt x="159" y="509"/>
                  </a:cubicBezTo>
                  <a:cubicBezTo>
                    <a:pt x="159" y="509"/>
                    <a:pt x="159" y="509"/>
                    <a:pt x="159" y="313"/>
                  </a:cubicBezTo>
                  <a:cubicBezTo>
                    <a:pt x="159" y="305"/>
                    <a:pt x="166" y="298"/>
                    <a:pt x="175" y="298"/>
                  </a:cubicBezTo>
                  <a:cubicBezTo>
                    <a:pt x="175" y="298"/>
                    <a:pt x="175" y="298"/>
                    <a:pt x="225" y="298"/>
                  </a:cubicBezTo>
                  <a:cubicBezTo>
                    <a:pt x="225" y="298"/>
                    <a:pt x="225" y="298"/>
                    <a:pt x="225" y="248"/>
                  </a:cubicBezTo>
                  <a:cubicBezTo>
                    <a:pt x="225" y="240"/>
                    <a:pt x="231" y="233"/>
                    <a:pt x="240" y="233"/>
                  </a:cubicBezTo>
                  <a:cubicBezTo>
                    <a:pt x="240" y="233"/>
                    <a:pt x="240" y="233"/>
                    <a:pt x="582" y="233"/>
                  </a:cubicBezTo>
                  <a:cubicBezTo>
                    <a:pt x="591" y="233"/>
                    <a:pt x="598" y="240"/>
                    <a:pt x="598" y="248"/>
                  </a:cubicBezTo>
                  <a:cubicBezTo>
                    <a:pt x="598" y="248"/>
                    <a:pt x="598" y="248"/>
                    <a:pt x="598" y="4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32974129"/>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Financial services</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85134" y="2092425"/>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uro</a:t>
            </a:r>
          </a:p>
        </p:txBody>
      </p:sp>
      <p:sp>
        <p:nvSpPr>
          <p:cNvPr id="423" name="TextBox 422"/>
          <p:cNvSpPr txBox="1"/>
          <p:nvPr/>
        </p:nvSpPr>
        <p:spPr>
          <a:xfrm>
            <a:off x="1213585" y="20924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lls</a:t>
            </a:r>
          </a:p>
        </p:txBody>
      </p:sp>
      <p:sp>
        <p:nvSpPr>
          <p:cNvPr id="424" name="TextBox 423"/>
          <p:cNvSpPr txBox="1"/>
          <p:nvPr/>
        </p:nvSpPr>
        <p:spPr>
          <a:xfrm>
            <a:off x="2056853"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und</a:t>
            </a:r>
          </a:p>
        </p:txBody>
      </p:sp>
      <p:sp>
        <p:nvSpPr>
          <p:cNvPr id="425" name="TextBox 424"/>
          <p:cNvSpPr txBox="1"/>
          <p:nvPr/>
        </p:nvSpPr>
        <p:spPr>
          <a:xfrm>
            <a:off x="3737039"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ggy bank</a:t>
            </a:r>
          </a:p>
        </p:txBody>
      </p:sp>
      <p:sp>
        <p:nvSpPr>
          <p:cNvPr id="426" name="TextBox 425"/>
          <p:cNvSpPr txBox="1"/>
          <p:nvPr/>
        </p:nvSpPr>
        <p:spPr>
          <a:xfrm>
            <a:off x="4577132"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llar</a:t>
            </a:r>
          </a:p>
        </p:txBody>
      </p:sp>
      <p:sp>
        <p:nvSpPr>
          <p:cNvPr id="427" name="TextBox 426"/>
          <p:cNvSpPr txBox="1"/>
          <p:nvPr/>
        </p:nvSpPr>
        <p:spPr>
          <a:xfrm>
            <a:off x="2896946"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Yen</a:t>
            </a:r>
          </a:p>
        </p:txBody>
      </p:sp>
      <p:sp>
        <p:nvSpPr>
          <p:cNvPr id="428" name="TextBox 427"/>
          <p:cNvSpPr txBox="1"/>
          <p:nvPr/>
        </p:nvSpPr>
        <p:spPr>
          <a:xfrm>
            <a:off x="5417225" y="20924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ublic building</a:t>
            </a:r>
          </a:p>
        </p:txBody>
      </p:sp>
      <p:sp>
        <p:nvSpPr>
          <p:cNvPr id="430" name="TextBox 429"/>
          <p:cNvSpPr txBox="1"/>
          <p:nvPr/>
        </p:nvSpPr>
        <p:spPr>
          <a:xfrm>
            <a:off x="7097411"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t-coin</a:t>
            </a:r>
          </a:p>
        </p:txBody>
      </p:sp>
      <p:sp>
        <p:nvSpPr>
          <p:cNvPr id="431" name="TextBox 430"/>
          <p:cNvSpPr txBox="1"/>
          <p:nvPr/>
        </p:nvSpPr>
        <p:spPr>
          <a:xfrm>
            <a:off x="6257318"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in stack</a:t>
            </a:r>
          </a:p>
        </p:txBody>
      </p:sp>
      <p:sp>
        <p:nvSpPr>
          <p:cNvPr id="472" name="TextBox 471"/>
          <p:cNvSpPr txBox="1"/>
          <p:nvPr/>
        </p:nvSpPr>
        <p:spPr>
          <a:xfrm>
            <a:off x="406400" y="2951787"/>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lculator</a:t>
            </a:r>
          </a:p>
        </p:txBody>
      </p:sp>
      <p:sp>
        <p:nvSpPr>
          <p:cNvPr id="473" name="TextBox 472"/>
          <p:cNvSpPr txBox="1"/>
          <p:nvPr/>
        </p:nvSpPr>
        <p:spPr>
          <a:xfrm>
            <a:off x="1233487" y="2951787"/>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bacus</a:t>
            </a:r>
          </a:p>
        </p:txBody>
      </p:sp>
      <p:sp>
        <p:nvSpPr>
          <p:cNvPr id="474" name="TextBox 473"/>
          <p:cNvSpPr txBox="1"/>
          <p:nvPr/>
        </p:nvSpPr>
        <p:spPr>
          <a:xfrm>
            <a:off x="2075391" y="295178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pital Dome</a:t>
            </a:r>
          </a:p>
        </p:txBody>
      </p:sp>
      <p:sp>
        <p:nvSpPr>
          <p:cNvPr id="475" name="TextBox 474"/>
          <p:cNvSpPr txBox="1"/>
          <p:nvPr/>
        </p:nvSpPr>
        <p:spPr>
          <a:xfrm>
            <a:off x="3752849"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ney bag</a:t>
            </a:r>
          </a:p>
        </p:txBody>
      </p:sp>
      <p:sp>
        <p:nvSpPr>
          <p:cNvPr id="476" name="TextBox 475"/>
          <p:cNvSpPr txBox="1"/>
          <p:nvPr/>
        </p:nvSpPr>
        <p:spPr>
          <a:xfrm>
            <a:off x="4591578"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 push</a:t>
            </a:r>
          </a:p>
        </p:txBody>
      </p:sp>
      <p:sp>
        <p:nvSpPr>
          <p:cNvPr id="477" name="TextBox 476"/>
          <p:cNvSpPr txBox="1"/>
          <p:nvPr/>
        </p:nvSpPr>
        <p:spPr>
          <a:xfrm>
            <a:off x="2914120"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rcent</a:t>
            </a:r>
          </a:p>
        </p:txBody>
      </p:sp>
      <p:sp>
        <p:nvSpPr>
          <p:cNvPr id="478" name="TextBox 477"/>
          <p:cNvSpPr txBox="1"/>
          <p:nvPr/>
        </p:nvSpPr>
        <p:spPr>
          <a:xfrm>
            <a:off x="5430308" y="29517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fe</a:t>
            </a:r>
          </a:p>
        </p:txBody>
      </p:sp>
      <p:sp>
        <p:nvSpPr>
          <p:cNvPr id="682" name="TextBox 681"/>
          <p:cNvSpPr txBox="1"/>
          <p:nvPr/>
        </p:nvSpPr>
        <p:spPr>
          <a:xfrm>
            <a:off x="7937500" y="20924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ield</a:t>
            </a:r>
          </a:p>
        </p:txBody>
      </p:sp>
      <p:sp>
        <p:nvSpPr>
          <p:cNvPr id="256" name="Freeform 509"/>
          <p:cNvSpPr>
            <a:spLocks noChangeAspect="1" noEditPoints="1"/>
          </p:cNvSpPr>
          <p:nvPr/>
        </p:nvSpPr>
        <p:spPr bwMode="auto">
          <a:xfrm>
            <a:off x="406400" y="16970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512"/>
          <p:cNvGrpSpPr>
            <a:grpSpLocks noChangeAspect="1"/>
          </p:cNvGrpSpPr>
          <p:nvPr/>
        </p:nvGrpSpPr>
        <p:grpSpPr bwMode="auto">
          <a:xfrm>
            <a:off x="825182" y="1697038"/>
            <a:ext cx="367631" cy="367631"/>
            <a:chOff x="2728" y="2016"/>
            <a:chExt cx="340" cy="340"/>
          </a:xfrm>
          <a:solidFill>
            <a:schemeClr val="accent6"/>
          </a:solidFill>
        </p:grpSpPr>
        <p:sp>
          <p:nvSpPr>
            <p:cNvPr id="258"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141"/>
          <p:cNvSpPr>
            <a:spLocks noChangeAspect="1" noEditPoints="1"/>
          </p:cNvSpPr>
          <p:nvPr/>
        </p:nvSpPr>
        <p:spPr bwMode="auto">
          <a:xfrm>
            <a:off x="1243964" y="1697038"/>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144"/>
          <p:cNvGrpSpPr>
            <a:grpSpLocks noChangeAspect="1"/>
          </p:cNvGrpSpPr>
          <p:nvPr/>
        </p:nvGrpSpPr>
        <p:grpSpPr bwMode="auto">
          <a:xfrm>
            <a:off x="1662746" y="1697038"/>
            <a:ext cx="367631" cy="367631"/>
            <a:chOff x="2963" y="1300"/>
            <a:chExt cx="340" cy="340"/>
          </a:xfrm>
          <a:solidFill>
            <a:schemeClr val="accent2"/>
          </a:solidFill>
        </p:grpSpPr>
        <p:sp>
          <p:nvSpPr>
            <p:cNvPr id="262"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4" name="Group 423"/>
          <p:cNvGrpSpPr>
            <a:grpSpLocks noChangeAspect="1"/>
          </p:cNvGrpSpPr>
          <p:nvPr/>
        </p:nvGrpSpPr>
        <p:grpSpPr bwMode="auto">
          <a:xfrm>
            <a:off x="2501700" y="1697038"/>
            <a:ext cx="369021" cy="369021"/>
            <a:chOff x="4263" y="1567"/>
            <a:chExt cx="340" cy="340"/>
          </a:xfrm>
          <a:solidFill>
            <a:schemeClr val="accent5"/>
          </a:solidFill>
        </p:grpSpPr>
        <p:sp>
          <p:nvSpPr>
            <p:cNvPr id="265"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7" name="Freeform 429"/>
          <p:cNvSpPr>
            <a:spLocks noChangeAspect="1" noEditPoints="1"/>
          </p:cNvSpPr>
          <p:nvPr/>
        </p:nvSpPr>
        <p:spPr bwMode="auto">
          <a:xfrm>
            <a:off x="2081528" y="1697038"/>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8" name="Freeform 941"/>
          <p:cNvSpPr>
            <a:spLocks noChangeAspect="1" noEditPoints="1"/>
          </p:cNvSpPr>
          <p:nvPr/>
        </p:nvSpPr>
        <p:spPr bwMode="auto">
          <a:xfrm>
            <a:off x="2921872" y="169703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935"/>
          <p:cNvGrpSpPr>
            <a:grpSpLocks noChangeAspect="1"/>
          </p:cNvGrpSpPr>
          <p:nvPr/>
        </p:nvGrpSpPr>
        <p:grpSpPr bwMode="auto">
          <a:xfrm>
            <a:off x="3342699" y="1697038"/>
            <a:ext cx="369676" cy="369676"/>
            <a:chOff x="418" y="3436"/>
            <a:chExt cx="340" cy="340"/>
          </a:xfrm>
          <a:solidFill>
            <a:schemeClr val="accent4"/>
          </a:solidFill>
        </p:grpSpPr>
        <p:sp>
          <p:nvSpPr>
            <p:cNvPr id="270" name="Freeform 269"/>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270"/>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6" name="Group 345"/>
          <p:cNvGrpSpPr>
            <a:grpSpLocks noChangeAspect="1"/>
          </p:cNvGrpSpPr>
          <p:nvPr/>
        </p:nvGrpSpPr>
        <p:grpSpPr bwMode="auto">
          <a:xfrm>
            <a:off x="4183698" y="1697038"/>
            <a:ext cx="369021" cy="369021"/>
            <a:chOff x="3451" y="1171"/>
            <a:chExt cx="340" cy="340"/>
          </a:xfrm>
          <a:solidFill>
            <a:schemeClr val="accent4"/>
          </a:solidFill>
        </p:grpSpPr>
        <p:sp>
          <p:nvSpPr>
            <p:cNvPr id="277"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9" name="Freeform 351"/>
          <p:cNvSpPr>
            <a:spLocks noChangeAspect="1" noEditPoints="1"/>
          </p:cNvSpPr>
          <p:nvPr/>
        </p:nvSpPr>
        <p:spPr bwMode="auto">
          <a:xfrm>
            <a:off x="3763526" y="1697038"/>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6" name="Group 374"/>
          <p:cNvGrpSpPr>
            <a:grpSpLocks noChangeAspect="1"/>
          </p:cNvGrpSpPr>
          <p:nvPr/>
        </p:nvGrpSpPr>
        <p:grpSpPr bwMode="auto">
          <a:xfrm>
            <a:off x="4603870" y="1697363"/>
            <a:ext cx="367631" cy="367631"/>
            <a:chOff x="6996" y="1195"/>
            <a:chExt cx="340" cy="340"/>
          </a:xfrm>
          <a:solidFill>
            <a:schemeClr val="accent4"/>
          </a:solidFill>
        </p:grpSpPr>
        <p:sp>
          <p:nvSpPr>
            <p:cNvPr id="47"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 380"/>
          <p:cNvGrpSpPr>
            <a:grpSpLocks noChangeAspect="1"/>
          </p:cNvGrpSpPr>
          <p:nvPr/>
        </p:nvGrpSpPr>
        <p:grpSpPr bwMode="auto">
          <a:xfrm>
            <a:off x="5022652" y="1697038"/>
            <a:ext cx="367631" cy="367631"/>
            <a:chOff x="7362" y="1207"/>
            <a:chExt cx="340" cy="340"/>
          </a:xfrm>
          <a:solidFill>
            <a:schemeClr val="accent4"/>
          </a:solidFill>
        </p:grpSpPr>
        <p:sp>
          <p:nvSpPr>
            <p:cNvPr id="51"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6"/>
          <p:cNvGrpSpPr>
            <a:grpSpLocks noChangeAspect="1"/>
          </p:cNvGrpSpPr>
          <p:nvPr/>
        </p:nvGrpSpPr>
        <p:grpSpPr bwMode="auto">
          <a:xfrm>
            <a:off x="5861606" y="1697038"/>
            <a:ext cx="369021" cy="369021"/>
            <a:chOff x="3464" y="1974"/>
            <a:chExt cx="340" cy="340"/>
          </a:xfrm>
          <a:solidFill>
            <a:schemeClr val="accent6"/>
          </a:solidFill>
        </p:grpSpPr>
        <p:sp>
          <p:nvSpPr>
            <p:cNvPr id="54"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6" name="Group 531"/>
          <p:cNvGrpSpPr>
            <a:grpSpLocks noChangeAspect="1"/>
          </p:cNvGrpSpPr>
          <p:nvPr/>
        </p:nvGrpSpPr>
        <p:grpSpPr bwMode="auto">
          <a:xfrm>
            <a:off x="5441434" y="1697038"/>
            <a:ext cx="369021" cy="369021"/>
            <a:chOff x="3061" y="1953"/>
            <a:chExt cx="340" cy="340"/>
          </a:xfrm>
          <a:solidFill>
            <a:schemeClr val="accent6"/>
          </a:solidFill>
        </p:grpSpPr>
        <p:sp>
          <p:nvSpPr>
            <p:cNvPr id="57"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Freeform 45"/>
          <p:cNvSpPr>
            <a:spLocks noChangeAspect="1" noEditPoints="1"/>
          </p:cNvSpPr>
          <p:nvPr/>
        </p:nvSpPr>
        <p:spPr bwMode="auto">
          <a:xfrm>
            <a:off x="6281778" y="1697038"/>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0" name="Group 48"/>
          <p:cNvGrpSpPr>
            <a:grpSpLocks noChangeAspect="1"/>
          </p:cNvGrpSpPr>
          <p:nvPr/>
        </p:nvGrpSpPr>
        <p:grpSpPr bwMode="auto">
          <a:xfrm>
            <a:off x="6700560" y="1697038"/>
            <a:ext cx="367631" cy="367631"/>
            <a:chOff x="4277" y="1990"/>
            <a:chExt cx="340" cy="340"/>
          </a:xfrm>
          <a:solidFill>
            <a:schemeClr val="accent1"/>
          </a:solidFill>
        </p:grpSpPr>
        <p:sp>
          <p:nvSpPr>
            <p:cNvPr id="61"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 name="Freeform 543"/>
          <p:cNvSpPr>
            <a:spLocks noChangeAspect="1" noEditPoints="1"/>
          </p:cNvSpPr>
          <p:nvPr/>
        </p:nvSpPr>
        <p:spPr bwMode="auto">
          <a:xfrm>
            <a:off x="7119342" y="1697038"/>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4" name="Group 546"/>
          <p:cNvGrpSpPr>
            <a:grpSpLocks noChangeAspect="1"/>
          </p:cNvGrpSpPr>
          <p:nvPr/>
        </p:nvGrpSpPr>
        <p:grpSpPr bwMode="auto">
          <a:xfrm>
            <a:off x="7538475" y="1697038"/>
            <a:ext cx="367982" cy="367982"/>
            <a:chOff x="4349" y="2972"/>
            <a:chExt cx="340" cy="340"/>
          </a:xfrm>
          <a:solidFill>
            <a:schemeClr val="accent6"/>
          </a:solidFill>
        </p:grpSpPr>
        <p:sp>
          <p:nvSpPr>
            <p:cNvPr id="65" name="Freeform 547"/>
            <p:cNvSpPr>
              <a:spLocks noEditPoints="1"/>
            </p:cNvSpPr>
            <p:nvPr/>
          </p:nvSpPr>
          <p:spPr bwMode="auto">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48"/>
            <p:cNvSpPr>
              <a:spLocks noEditPoints="1"/>
            </p:cNvSpPr>
            <p:nvPr/>
          </p:nvSpPr>
          <p:spPr bwMode="auto">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7" name="Group 853"/>
          <p:cNvGrpSpPr>
            <a:grpSpLocks noChangeAspect="1"/>
          </p:cNvGrpSpPr>
          <p:nvPr/>
        </p:nvGrpSpPr>
        <p:grpSpPr bwMode="auto">
          <a:xfrm>
            <a:off x="8377774" y="1697038"/>
            <a:ext cx="369021" cy="369021"/>
            <a:chOff x="7360" y="3435"/>
            <a:chExt cx="340" cy="340"/>
          </a:xfrm>
          <a:solidFill>
            <a:schemeClr val="accent4"/>
          </a:solidFill>
        </p:grpSpPr>
        <p:sp>
          <p:nvSpPr>
            <p:cNvPr id="68"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Freeform 859"/>
          <p:cNvSpPr>
            <a:spLocks noChangeAspect="1" noEditPoints="1"/>
          </p:cNvSpPr>
          <p:nvPr/>
        </p:nvSpPr>
        <p:spPr bwMode="auto">
          <a:xfrm>
            <a:off x="7957608" y="1697090"/>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760"/>
          <p:cNvSpPr>
            <a:spLocks noChangeAspect="1" noEditPoints="1"/>
          </p:cNvSpPr>
          <p:nvPr/>
        </p:nvSpPr>
        <p:spPr bwMode="auto">
          <a:xfrm>
            <a:off x="406400" y="2529480"/>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2" name="Group 763"/>
          <p:cNvGrpSpPr>
            <a:grpSpLocks noChangeAspect="1"/>
          </p:cNvGrpSpPr>
          <p:nvPr/>
        </p:nvGrpSpPr>
        <p:grpSpPr bwMode="auto">
          <a:xfrm>
            <a:off x="825882" y="2529480"/>
            <a:ext cx="369064" cy="367982"/>
            <a:chOff x="3203" y="3365"/>
            <a:chExt cx="341" cy="340"/>
          </a:xfrm>
          <a:solidFill>
            <a:schemeClr val="accent3"/>
          </a:solidFill>
        </p:grpSpPr>
        <p:sp>
          <p:nvSpPr>
            <p:cNvPr id="73"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9"/>
          <p:cNvGrpSpPr>
            <a:grpSpLocks noChangeAspect="1"/>
          </p:cNvGrpSpPr>
          <p:nvPr/>
        </p:nvGrpSpPr>
        <p:grpSpPr bwMode="auto">
          <a:xfrm>
            <a:off x="1666184" y="2529310"/>
            <a:ext cx="368051" cy="368152"/>
            <a:chOff x="299" y="-289"/>
            <a:chExt cx="3635" cy="3636"/>
          </a:xfrm>
          <a:solidFill>
            <a:schemeClr val="accent1"/>
          </a:solidFill>
        </p:grpSpPr>
        <p:sp>
          <p:nvSpPr>
            <p:cNvPr id="76"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 name="Freeform 77"/>
          <p:cNvSpPr>
            <a:spLocks noChangeAspect="1" noEditPoints="1"/>
          </p:cNvSpPr>
          <p:nvPr/>
        </p:nvSpPr>
        <p:spPr bwMode="auto">
          <a:xfrm>
            <a:off x="1246446" y="2529310"/>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832"/>
          <p:cNvSpPr>
            <a:spLocks noChangeAspect="1" noEditPoints="1"/>
          </p:cNvSpPr>
          <p:nvPr/>
        </p:nvSpPr>
        <p:spPr bwMode="auto">
          <a:xfrm>
            <a:off x="2085735" y="2529480"/>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0" name="Group 835"/>
          <p:cNvGrpSpPr>
            <a:grpSpLocks noChangeAspect="1"/>
          </p:cNvGrpSpPr>
          <p:nvPr/>
        </p:nvGrpSpPr>
        <p:grpSpPr bwMode="auto">
          <a:xfrm>
            <a:off x="2505217" y="2529480"/>
            <a:ext cx="367982" cy="367982"/>
            <a:chOff x="4873" y="3698"/>
            <a:chExt cx="340" cy="340"/>
          </a:xfrm>
          <a:solidFill>
            <a:schemeClr val="accent3"/>
          </a:solidFill>
        </p:grpSpPr>
        <p:sp>
          <p:nvSpPr>
            <p:cNvPr id="81" name="Freeform 80"/>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81"/>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259"/>
          <p:cNvSpPr>
            <a:spLocks noChangeAspect="1" noEditPoints="1"/>
          </p:cNvSpPr>
          <p:nvPr/>
        </p:nvSpPr>
        <p:spPr bwMode="auto">
          <a:xfrm>
            <a:off x="2924699" y="2527356"/>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4" name="Group 262"/>
          <p:cNvGrpSpPr>
            <a:grpSpLocks noChangeAspect="1"/>
          </p:cNvGrpSpPr>
          <p:nvPr/>
        </p:nvGrpSpPr>
        <p:grpSpPr bwMode="auto">
          <a:xfrm>
            <a:off x="3345220" y="2528441"/>
            <a:ext cx="369021" cy="369021"/>
            <a:chOff x="5035" y="791"/>
            <a:chExt cx="340" cy="340"/>
          </a:xfrm>
          <a:solidFill>
            <a:schemeClr val="accent3"/>
          </a:solidFill>
        </p:grpSpPr>
        <p:sp>
          <p:nvSpPr>
            <p:cNvPr id="85" name="Freeform 263"/>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64"/>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7" name="Freeform 910"/>
          <p:cNvSpPr>
            <a:spLocks noChangeAspect="1" noEditPoints="1"/>
          </p:cNvSpPr>
          <p:nvPr/>
        </p:nvSpPr>
        <p:spPr bwMode="auto">
          <a:xfrm>
            <a:off x="3765741" y="2530421"/>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8" name="Group 913"/>
          <p:cNvGrpSpPr>
            <a:grpSpLocks noChangeAspect="1"/>
          </p:cNvGrpSpPr>
          <p:nvPr/>
        </p:nvGrpSpPr>
        <p:grpSpPr bwMode="auto">
          <a:xfrm>
            <a:off x="4184282" y="2530421"/>
            <a:ext cx="367041" cy="367041"/>
            <a:chOff x="4563" y="3912"/>
            <a:chExt cx="340" cy="340"/>
          </a:xfrm>
          <a:solidFill>
            <a:schemeClr val="accent4"/>
          </a:solidFill>
        </p:grpSpPr>
        <p:sp>
          <p:nvSpPr>
            <p:cNvPr id="89"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1" name="Group 781"/>
          <p:cNvGrpSpPr>
            <a:grpSpLocks noChangeAspect="1"/>
          </p:cNvGrpSpPr>
          <p:nvPr/>
        </p:nvGrpSpPr>
        <p:grpSpPr bwMode="auto">
          <a:xfrm>
            <a:off x="5021954" y="2529831"/>
            <a:ext cx="367631" cy="367631"/>
            <a:chOff x="7332" y="2771"/>
            <a:chExt cx="340" cy="340"/>
          </a:xfrm>
          <a:solidFill>
            <a:schemeClr val="accent2"/>
          </a:solidFill>
        </p:grpSpPr>
        <p:sp>
          <p:nvSpPr>
            <p:cNvPr id="92"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Freeform 787"/>
          <p:cNvSpPr>
            <a:spLocks noChangeAspect="1" noEditPoints="1"/>
          </p:cNvSpPr>
          <p:nvPr/>
        </p:nvSpPr>
        <p:spPr bwMode="auto">
          <a:xfrm>
            <a:off x="4602823" y="2529831"/>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95" name="Group 795"/>
          <p:cNvGrpSpPr>
            <a:grpSpLocks noChangeAspect="1"/>
          </p:cNvGrpSpPr>
          <p:nvPr/>
        </p:nvGrpSpPr>
        <p:grpSpPr bwMode="auto">
          <a:xfrm>
            <a:off x="5861606" y="2528441"/>
            <a:ext cx="369021" cy="369021"/>
            <a:chOff x="4288" y="3084"/>
            <a:chExt cx="340" cy="340"/>
          </a:xfrm>
          <a:solidFill>
            <a:schemeClr val="accent3"/>
          </a:solidFill>
        </p:grpSpPr>
        <p:sp>
          <p:nvSpPr>
            <p:cNvPr id="96" name="Freeform 796"/>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97"/>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98"/>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99"/>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0" name="Freeform 803"/>
          <p:cNvSpPr>
            <a:spLocks noChangeAspect="1" noEditPoints="1"/>
          </p:cNvSpPr>
          <p:nvPr/>
        </p:nvSpPr>
        <p:spPr bwMode="auto">
          <a:xfrm>
            <a:off x="5441085" y="2528441"/>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22851871"/>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Environment</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74501" y="2116138"/>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un and shade</a:t>
            </a:r>
          </a:p>
        </p:txBody>
      </p:sp>
      <p:sp>
        <p:nvSpPr>
          <p:cNvPr id="423" name="TextBox 422"/>
          <p:cNvSpPr txBox="1"/>
          <p:nvPr/>
        </p:nvSpPr>
        <p:spPr>
          <a:xfrm>
            <a:off x="1207677" y="211613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vercast</a:t>
            </a:r>
          </a:p>
        </p:txBody>
      </p:sp>
      <p:sp>
        <p:nvSpPr>
          <p:cNvPr id="424" name="TextBox 423"/>
          <p:cNvSpPr txBox="1"/>
          <p:nvPr/>
        </p:nvSpPr>
        <p:spPr>
          <a:xfrm>
            <a:off x="2055670"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ght rain</a:t>
            </a:r>
          </a:p>
        </p:txBody>
      </p:sp>
      <p:sp>
        <p:nvSpPr>
          <p:cNvPr id="425" name="TextBox 424"/>
          <p:cNvSpPr txBox="1"/>
          <p:nvPr/>
        </p:nvSpPr>
        <p:spPr>
          <a:xfrm>
            <a:off x="3745306"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avy rain</a:t>
            </a:r>
          </a:p>
        </p:txBody>
      </p:sp>
      <p:sp>
        <p:nvSpPr>
          <p:cNvPr id="426" name="TextBox 425"/>
          <p:cNvSpPr txBox="1"/>
          <p:nvPr/>
        </p:nvSpPr>
        <p:spPr>
          <a:xfrm>
            <a:off x="459012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loud</a:t>
            </a:r>
          </a:p>
        </p:txBody>
      </p:sp>
      <p:sp>
        <p:nvSpPr>
          <p:cNvPr id="427" name="TextBox 426"/>
          <p:cNvSpPr txBox="1"/>
          <p:nvPr/>
        </p:nvSpPr>
        <p:spPr>
          <a:xfrm>
            <a:off x="2900488"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il</a:t>
            </a:r>
          </a:p>
        </p:txBody>
      </p:sp>
      <p:sp>
        <p:nvSpPr>
          <p:cNvPr id="428" name="TextBox 427"/>
          <p:cNvSpPr txBox="1"/>
          <p:nvPr/>
        </p:nvSpPr>
        <p:spPr>
          <a:xfrm>
            <a:off x="5434942"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e</a:t>
            </a:r>
          </a:p>
        </p:txBody>
      </p:sp>
      <p:sp>
        <p:nvSpPr>
          <p:cNvPr id="429" name="TextBox 428"/>
          <p:cNvSpPr txBox="1"/>
          <p:nvPr/>
        </p:nvSpPr>
        <p:spPr>
          <a:xfrm>
            <a:off x="7969399"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w print</a:t>
            </a:r>
          </a:p>
        </p:txBody>
      </p:sp>
      <p:sp>
        <p:nvSpPr>
          <p:cNvPr id="430" name="TextBox 429"/>
          <p:cNvSpPr txBox="1"/>
          <p:nvPr/>
        </p:nvSpPr>
        <p:spPr>
          <a:xfrm>
            <a:off x="7124578"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nowflake</a:t>
            </a:r>
          </a:p>
        </p:txBody>
      </p:sp>
      <p:sp>
        <p:nvSpPr>
          <p:cNvPr id="431" name="TextBox 430"/>
          <p:cNvSpPr txBox="1"/>
          <p:nvPr/>
        </p:nvSpPr>
        <p:spPr>
          <a:xfrm>
            <a:off x="6279760"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now</a:t>
            </a:r>
          </a:p>
        </p:txBody>
      </p:sp>
      <p:sp>
        <p:nvSpPr>
          <p:cNvPr id="472" name="TextBox 471"/>
          <p:cNvSpPr txBox="1"/>
          <p:nvPr/>
        </p:nvSpPr>
        <p:spPr>
          <a:xfrm>
            <a:off x="374501" y="297039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rd</a:t>
            </a:r>
          </a:p>
        </p:txBody>
      </p:sp>
      <p:sp>
        <p:nvSpPr>
          <p:cNvPr id="473" name="TextBox 472"/>
          <p:cNvSpPr txBox="1"/>
          <p:nvPr/>
        </p:nvSpPr>
        <p:spPr>
          <a:xfrm>
            <a:off x="1204133" y="2970394"/>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t</a:t>
            </a:r>
          </a:p>
        </p:txBody>
      </p:sp>
      <p:sp>
        <p:nvSpPr>
          <p:cNvPr id="474" name="TextBox 473"/>
          <p:cNvSpPr txBox="1"/>
          <p:nvPr/>
        </p:nvSpPr>
        <p:spPr>
          <a:xfrm>
            <a:off x="2048582"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g</a:t>
            </a:r>
          </a:p>
        </p:txBody>
      </p:sp>
      <p:sp>
        <p:nvSpPr>
          <p:cNvPr id="475" name="TextBox 474"/>
          <p:cNvSpPr txBox="1"/>
          <p:nvPr/>
        </p:nvSpPr>
        <p:spPr>
          <a:xfrm>
            <a:off x="3731130"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ug</a:t>
            </a:r>
          </a:p>
        </p:txBody>
      </p:sp>
      <p:sp>
        <p:nvSpPr>
          <p:cNvPr id="476" name="TextBox 475"/>
          <p:cNvSpPr txBox="1"/>
          <p:nvPr/>
        </p:nvSpPr>
        <p:spPr>
          <a:xfrm>
            <a:off x="4572404"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eaf</a:t>
            </a:r>
          </a:p>
        </p:txBody>
      </p:sp>
      <p:sp>
        <p:nvSpPr>
          <p:cNvPr id="477" name="TextBox 476"/>
          <p:cNvSpPr txBox="1"/>
          <p:nvPr/>
        </p:nvSpPr>
        <p:spPr>
          <a:xfrm>
            <a:off x="2889856"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wl</a:t>
            </a:r>
          </a:p>
        </p:txBody>
      </p:sp>
      <p:sp>
        <p:nvSpPr>
          <p:cNvPr id="478" name="TextBox 477"/>
          <p:cNvSpPr txBox="1"/>
          <p:nvPr/>
        </p:nvSpPr>
        <p:spPr>
          <a:xfrm>
            <a:off x="5413678"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ne</a:t>
            </a:r>
          </a:p>
        </p:txBody>
      </p:sp>
      <p:sp>
        <p:nvSpPr>
          <p:cNvPr id="479" name="TextBox 478"/>
          <p:cNvSpPr txBox="1"/>
          <p:nvPr/>
        </p:nvSpPr>
        <p:spPr>
          <a:xfrm>
            <a:off x="7937500"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oot</a:t>
            </a:r>
          </a:p>
        </p:txBody>
      </p:sp>
      <p:sp>
        <p:nvSpPr>
          <p:cNvPr id="480" name="TextBox 479"/>
          <p:cNvSpPr txBox="1"/>
          <p:nvPr/>
        </p:nvSpPr>
        <p:spPr>
          <a:xfrm>
            <a:off x="7096226"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abbit</a:t>
            </a:r>
          </a:p>
        </p:txBody>
      </p:sp>
      <p:sp>
        <p:nvSpPr>
          <p:cNvPr id="481" name="TextBox 480"/>
          <p:cNvSpPr txBox="1"/>
          <p:nvPr/>
        </p:nvSpPr>
        <p:spPr>
          <a:xfrm>
            <a:off x="6254952" y="29703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ghthouse</a:t>
            </a:r>
          </a:p>
        </p:txBody>
      </p:sp>
      <p:sp>
        <p:nvSpPr>
          <p:cNvPr id="522" name="TextBox 521"/>
          <p:cNvSpPr txBox="1"/>
          <p:nvPr/>
        </p:nvSpPr>
        <p:spPr>
          <a:xfrm>
            <a:off x="416983" y="3780085"/>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ghtning bolt</a:t>
            </a:r>
          </a:p>
        </p:txBody>
      </p:sp>
      <p:sp>
        <p:nvSpPr>
          <p:cNvPr id="523" name="TextBox 522"/>
          <p:cNvSpPr txBox="1"/>
          <p:nvPr/>
        </p:nvSpPr>
        <p:spPr>
          <a:xfrm>
            <a:off x="1241895" y="378008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ghtning</a:t>
            </a:r>
          </a:p>
        </p:txBody>
      </p:sp>
      <p:sp>
        <p:nvSpPr>
          <p:cNvPr id="524" name="TextBox 523"/>
          <p:cNvSpPr txBox="1"/>
          <p:nvPr/>
        </p:nvSpPr>
        <p:spPr>
          <a:xfrm>
            <a:off x="2081624"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rop</a:t>
            </a:r>
          </a:p>
        </p:txBody>
      </p:sp>
      <p:sp>
        <p:nvSpPr>
          <p:cNvPr id="525" name="TextBox 524"/>
          <p:cNvSpPr txBox="1"/>
          <p:nvPr/>
        </p:nvSpPr>
        <p:spPr>
          <a:xfrm>
            <a:off x="3754732"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ortoise</a:t>
            </a:r>
          </a:p>
        </p:txBody>
      </p:sp>
      <p:sp>
        <p:nvSpPr>
          <p:cNvPr id="526" name="TextBox 525"/>
          <p:cNvSpPr txBox="1"/>
          <p:nvPr/>
        </p:nvSpPr>
        <p:spPr>
          <a:xfrm>
            <a:off x="4591286"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ee</a:t>
            </a:r>
          </a:p>
        </p:txBody>
      </p:sp>
      <p:sp>
        <p:nvSpPr>
          <p:cNvPr id="527" name="TextBox 526"/>
          <p:cNvSpPr txBox="1"/>
          <p:nvPr/>
        </p:nvSpPr>
        <p:spPr>
          <a:xfrm>
            <a:off x="2918178"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mbrella</a:t>
            </a:r>
          </a:p>
        </p:txBody>
      </p:sp>
      <p:sp>
        <p:nvSpPr>
          <p:cNvPr id="528" name="TextBox 527"/>
          <p:cNvSpPr txBox="1"/>
          <p:nvPr/>
        </p:nvSpPr>
        <p:spPr>
          <a:xfrm>
            <a:off x="5427840"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Kennel</a:t>
            </a:r>
          </a:p>
        </p:txBody>
      </p:sp>
      <p:sp>
        <p:nvSpPr>
          <p:cNvPr id="529" name="TextBox 528"/>
          <p:cNvSpPr txBox="1"/>
          <p:nvPr/>
        </p:nvSpPr>
        <p:spPr>
          <a:xfrm>
            <a:off x="7937500"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ffic cone</a:t>
            </a:r>
          </a:p>
        </p:txBody>
      </p:sp>
      <p:sp>
        <p:nvSpPr>
          <p:cNvPr id="530" name="TextBox 529"/>
          <p:cNvSpPr txBox="1"/>
          <p:nvPr/>
        </p:nvSpPr>
        <p:spPr>
          <a:xfrm>
            <a:off x="7100948"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r tree</a:t>
            </a:r>
          </a:p>
        </p:txBody>
      </p:sp>
      <p:sp>
        <p:nvSpPr>
          <p:cNvPr id="531" name="TextBox 530"/>
          <p:cNvSpPr txBox="1"/>
          <p:nvPr/>
        </p:nvSpPr>
        <p:spPr>
          <a:xfrm>
            <a:off x="6264394" y="378008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lower</a:t>
            </a:r>
          </a:p>
        </p:txBody>
      </p:sp>
      <p:sp>
        <p:nvSpPr>
          <p:cNvPr id="622" name="TextBox 621"/>
          <p:cNvSpPr txBox="1"/>
          <p:nvPr/>
        </p:nvSpPr>
        <p:spPr>
          <a:xfrm>
            <a:off x="385134" y="4617508"/>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un</a:t>
            </a:r>
          </a:p>
        </p:txBody>
      </p:sp>
      <p:sp>
        <p:nvSpPr>
          <p:cNvPr id="623" name="TextBox 622"/>
          <p:cNvSpPr txBox="1"/>
          <p:nvPr/>
        </p:nvSpPr>
        <p:spPr>
          <a:xfrm>
            <a:off x="1222325" y="461750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on</a:t>
            </a:r>
          </a:p>
        </p:txBody>
      </p:sp>
      <p:sp>
        <p:nvSpPr>
          <p:cNvPr id="624" name="TextBox 623"/>
          <p:cNvSpPr txBox="1"/>
          <p:nvPr/>
        </p:nvSpPr>
        <p:spPr>
          <a:xfrm>
            <a:off x="2074333" y="461750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cycle</a:t>
            </a:r>
          </a:p>
        </p:txBody>
      </p:sp>
      <p:grpSp>
        <p:nvGrpSpPr>
          <p:cNvPr id="256" name="Group 290"/>
          <p:cNvGrpSpPr>
            <a:grpSpLocks noChangeAspect="1"/>
          </p:cNvGrpSpPr>
          <p:nvPr/>
        </p:nvGrpSpPr>
        <p:grpSpPr bwMode="auto">
          <a:xfrm>
            <a:off x="826560" y="1697038"/>
            <a:ext cx="369676" cy="369676"/>
            <a:chOff x="7355" y="1132"/>
            <a:chExt cx="340" cy="340"/>
          </a:xfrm>
          <a:solidFill>
            <a:schemeClr val="accent4"/>
          </a:solidFill>
        </p:grpSpPr>
        <p:sp>
          <p:nvSpPr>
            <p:cNvPr id="257" name="Freeform 291"/>
            <p:cNvSpPr>
              <a:spLocks noEditPoints="1"/>
            </p:cNvSpPr>
            <p:nvPr/>
          </p:nvSpPr>
          <p:spPr bwMode="auto">
            <a:xfrm>
              <a:off x="7355" y="113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292"/>
            <p:cNvSpPr>
              <a:spLocks noEditPoints="1"/>
            </p:cNvSpPr>
            <p:nvPr/>
          </p:nvSpPr>
          <p:spPr bwMode="auto">
            <a:xfrm>
              <a:off x="7355" y="1132"/>
              <a:ext cx="340" cy="340"/>
            </a:xfrm>
            <a:custGeom>
              <a:avLst/>
              <a:gdLst>
                <a:gd name="T0" fmla="*/ 256 w 512"/>
                <a:gd name="T1" fmla="*/ 490 h 512"/>
                <a:gd name="T2" fmla="*/ 256 w 512"/>
                <a:gd name="T3" fmla="*/ 0 h 512"/>
                <a:gd name="T4" fmla="*/ 512 w 512"/>
                <a:gd name="T5" fmla="*/ 256 h 512"/>
                <a:gd name="T6" fmla="*/ 160 w 512"/>
                <a:gd name="T7" fmla="*/ 256 h 512"/>
                <a:gd name="T8" fmla="*/ 256 w 512"/>
                <a:gd name="T9" fmla="*/ 160 h 512"/>
                <a:gd name="T10" fmla="*/ 266 w 512"/>
                <a:gd name="T11" fmla="*/ 202 h 512"/>
                <a:gd name="T12" fmla="*/ 323 w 512"/>
                <a:gd name="T13" fmla="*/ 288 h 512"/>
                <a:gd name="T14" fmla="*/ 266 w 512"/>
                <a:gd name="T15" fmla="*/ 329 h 512"/>
                <a:gd name="T16" fmla="*/ 280 w 512"/>
                <a:gd name="T17" fmla="*/ 185 h 512"/>
                <a:gd name="T18" fmla="*/ 245 w 512"/>
                <a:gd name="T19" fmla="*/ 182 h 512"/>
                <a:gd name="T20" fmla="*/ 294 w 512"/>
                <a:gd name="T21" fmla="*/ 320 h 512"/>
                <a:gd name="T22" fmla="*/ 311 w 512"/>
                <a:gd name="T23" fmla="*/ 306 h 512"/>
                <a:gd name="T24" fmla="*/ 266 w 512"/>
                <a:gd name="T25" fmla="*/ 128 h 512"/>
                <a:gd name="T26" fmla="*/ 245 w 512"/>
                <a:gd name="T27" fmla="*/ 106 h 512"/>
                <a:gd name="T28" fmla="*/ 256 w 512"/>
                <a:gd name="T29" fmla="*/ 373 h 512"/>
                <a:gd name="T30" fmla="*/ 256 w 512"/>
                <a:gd name="T31" fmla="*/ 416 h 512"/>
                <a:gd name="T32" fmla="*/ 256 w 512"/>
                <a:gd name="T33" fmla="*/ 373 h 512"/>
                <a:gd name="T34" fmla="*/ 343 w 512"/>
                <a:gd name="T35" fmla="*/ 154 h 512"/>
                <a:gd name="T36" fmla="*/ 339 w 512"/>
                <a:gd name="T37" fmla="*/ 158 h 512"/>
                <a:gd name="T38" fmla="*/ 336 w 512"/>
                <a:gd name="T39" fmla="*/ 166 h 512"/>
                <a:gd name="T40" fmla="*/ 343 w 512"/>
                <a:gd name="T41" fmla="*/ 176 h 512"/>
                <a:gd name="T42" fmla="*/ 354 w 512"/>
                <a:gd name="T43" fmla="*/ 173 h 512"/>
                <a:gd name="T44" fmla="*/ 358 w 512"/>
                <a:gd name="T45" fmla="*/ 169 h 512"/>
                <a:gd name="T46" fmla="*/ 369 w 512"/>
                <a:gd name="T47" fmla="*/ 143 h 512"/>
                <a:gd name="T48" fmla="*/ 147 w 512"/>
                <a:gd name="T49" fmla="*/ 350 h 512"/>
                <a:gd name="T50" fmla="*/ 143 w 512"/>
                <a:gd name="T51" fmla="*/ 354 h 512"/>
                <a:gd name="T52" fmla="*/ 142 w 512"/>
                <a:gd name="T53" fmla="*/ 354 h 512"/>
                <a:gd name="T54" fmla="*/ 142 w 512"/>
                <a:gd name="T55" fmla="*/ 369 h 512"/>
                <a:gd name="T56" fmla="*/ 158 w 512"/>
                <a:gd name="T57" fmla="*/ 369 h 512"/>
                <a:gd name="T58" fmla="*/ 160 w 512"/>
                <a:gd name="T59" fmla="*/ 367 h 512"/>
                <a:gd name="T60" fmla="*/ 176 w 512"/>
                <a:gd name="T61" fmla="*/ 346 h 512"/>
                <a:gd name="T62" fmla="*/ 405 w 512"/>
                <a:gd name="T63" fmla="*/ 245 h 512"/>
                <a:gd name="T64" fmla="*/ 383 w 512"/>
                <a:gd name="T65" fmla="*/ 266 h 512"/>
                <a:gd name="T66" fmla="*/ 405 w 512"/>
                <a:gd name="T67" fmla="*/ 245 h 512"/>
                <a:gd name="T68" fmla="*/ 95 w 512"/>
                <a:gd name="T69" fmla="*/ 256 h 512"/>
                <a:gd name="T70" fmla="*/ 139 w 512"/>
                <a:gd name="T71" fmla="*/ 256 h 512"/>
                <a:gd name="T72" fmla="*/ 354 w 512"/>
                <a:gd name="T73" fmla="*/ 340 h 512"/>
                <a:gd name="T74" fmla="*/ 338 w 512"/>
                <a:gd name="T75" fmla="*/ 339 h 512"/>
                <a:gd name="T76" fmla="*/ 338 w 512"/>
                <a:gd name="T77" fmla="*/ 354 h 512"/>
                <a:gd name="T78" fmla="*/ 339 w 512"/>
                <a:gd name="T79" fmla="*/ 355 h 512"/>
                <a:gd name="T80" fmla="*/ 354 w 512"/>
                <a:gd name="T81" fmla="*/ 370 h 512"/>
                <a:gd name="T82" fmla="*/ 372 w 512"/>
                <a:gd name="T83" fmla="*/ 362 h 512"/>
                <a:gd name="T84" fmla="*/ 142 w 512"/>
                <a:gd name="T85" fmla="*/ 158 h 512"/>
                <a:gd name="T86" fmla="*/ 143 w 512"/>
                <a:gd name="T87" fmla="*/ 158 h 512"/>
                <a:gd name="T88" fmla="*/ 158 w 512"/>
                <a:gd name="T89" fmla="*/ 173 h 512"/>
                <a:gd name="T90" fmla="*/ 176 w 512"/>
                <a:gd name="T91" fmla="*/ 166 h 512"/>
                <a:gd name="T92" fmla="*/ 158 w 512"/>
                <a:gd name="T93" fmla="*/ 144 h 512"/>
                <a:gd name="T94" fmla="*/ 142 w 512"/>
                <a:gd name="T95" fmla="*/ 1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60"/>
                  </a:moveTo>
                  <a:cubicBezTo>
                    <a:pt x="203" y="160"/>
                    <a:pt x="160" y="203"/>
                    <a:pt x="160" y="256"/>
                  </a:cubicBezTo>
                  <a:cubicBezTo>
                    <a:pt x="160" y="309"/>
                    <a:pt x="203" y="352"/>
                    <a:pt x="256" y="352"/>
                  </a:cubicBezTo>
                  <a:cubicBezTo>
                    <a:pt x="309" y="352"/>
                    <a:pt x="352" y="309"/>
                    <a:pt x="352" y="256"/>
                  </a:cubicBezTo>
                  <a:cubicBezTo>
                    <a:pt x="352" y="203"/>
                    <a:pt x="309" y="160"/>
                    <a:pt x="256" y="160"/>
                  </a:cubicBezTo>
                  <a:close/>
                  <a:moveTo>
                    <a:pt x="323" y="288"/>
                  </a:moveTo>
                  <a:cubicBezTo>
                    <a:pt x="266" y="232"/>
                    <a:pt x="266" y="232"/>
                    <a:pt x="266" y="232"/>
                  </a:cubicBezTo>
                  <a:cubicBezTo>
                    <a:pt x="266" y="202"/>
                    <a:pt x="266" y="202"/>
                    <a:pt x="266" y="202"/>
                  </a:cubicBezTo>
                  <a:cubicBezTo>
                    <a:pt x="329" y="264"/>
                    <a:pt x="329" y="264"/>
                    <a:pt x="329" y="264"/>
                  </a:cubicBezTo>
                  <a:cubicBezTo>
                    <a:pt x="329" y="264"/>
                    <a:pt x="329" y="264"/>
                    <a:pt x="330" y="265"/>
                  </a:cubicBezTo>
                  <a:cubicBezTo>
                    <a:pt x="329" y="273"/>
                    <a:pt x="326" y="281"/>
                    <a:pt x="323" y="288"/>
                  </a:cubicBezTo>
                  <a:close/>
                  <a:moveTo>
                    <a:pt x="266" y="322"/>
                  </a:moveTo>
                  <a:cubicBezTo>
                    <a:pt x="272" y="328"/>
                    <a:pt x="272" y="328"/>
                    <a:pt x="272" y="328"/>
                  </a:cubicBezTo>
                  <a:cubicBezTo>
                    <a:pt x="270" y="329"/>
                    <a:pt x="268" y="329"/>
                    <a:pt x="266" y="329"/>
                  </a:cubicBezTo>
                  <a:lnTo>
                    <a:pt x="266" y="322"/>
                  </a:lnTo>
                  <a:close/>
                  <a:moveTo>
                    <a:pt x="326" y="231"/>
                  </a:moveTo>
                  <a:cubicBezTo>
                    <a:pt x="280" y="185"/>
                    <a:pt x="280" y="185"/>
                    <a:pt x="280" y="185"/>
                  </a:cubicBezTo>
                  <a:cubicBezTo>
                    <a:pt x="302" y="193"/>
                    <a:pt x="319" y="210"/>
                    <a:pt x="326" y="231"/>
                  </a:cubicBezTo>
                  <a:close/>
                  <a:moveTo>
                    <a:pt x="181" y="256"/>
                  </a:moveTo>
                  <a:cubicBezTo>
                    <a:pt x="181" y="218"/>
                    <a:pt x="209" y="187"/>
                    <a:pt x="245" y="182"/>
                  </a:cubicBezTo>
                  <a:cubicBezTo>
                    <a:pt x="245" y="329"/>
                    <a:pt x="245" y="329"/>
                    <a:pt x="245" y="329"/>
                  </a:cubicBezTo>
                  <a:cubicBezTo>
                    <a:pt x="209" y="324"/>
                    <a:pt x="181" y="293"/>
                    <a:pt x="181" y="256"/>
                  </a:cubicBezTo>
                  <a:close/>
                  <a:moveTo>
                    <a:pt x="294" y="320"/>
                  </a:moveTo>
                  <a:cubicBezTo>
                    <a:pt x="266" y="292"/>
                    <a:pt x="266" y="292"/>
                    <a:pt x="266" y="292"/>
                  </a:cubicBezTo>
                  <a:cubicBezTo>
                    <a:pt x="266" y="262"/>
                    <a:pt x="266" y="262"/>
                    <a:pt x="266" y="262"/>
                  </a:cubicBezTo>
                  <a:cubicBezTo>
                    <a:pt x="311" y="306"/>
                    <a:pt x="311" y="306"/>
                    <a:pt x="311" y="306"/>
                  </a:cubicBezTo>
                  <a:cubicBezTo>
                    <a:pt x="306" y="311"/>
                    <a:pt x="300" y="316"/>
                    <a:pt x="294" y="320"/>
                  </a:cubicBezTo>
                  <a:close/>
                  <a:moveTo>
                    <a:pt x="256" y="139"/>
                  </a:moveTo>
                  <a:cubicBezTo>
                    <a:pt x="262" y="139"/>
                    <a:pt x="266" y="134"/>
                    <a:pt x="266" y="128"/>
                  </a:cubicBezTo>
                  <a:cubicBezTo>
                    <a:pt x="266" y="106"/>
                    <a:pt x="266" y="106"/>
                    <a:pt x="266" y="106"/>
                  </a:cubicBezTo>
                  <a:cubicBezTo>
                    <a:pt x="266" y="100"/>
                    <a:pt x="262" y="96"/>
                    <a:pt x="256" y="96"/>
                  </a:cubicBezTo>
                  <a:cubicBezTo>
                    <a:pt x="250" y="96"/>
                    <a:pt x="245" y="100"/>
                    <a:pt x="245" y="106"/>
                  </a:cubicBezTo>
                  <a:cubicBezTo>
                    <a:pt x="245" y="128"/>
                    <a:pt x="245" y="128"/>
                    <a:pt x="245" y="128"/>
                  </a:cubicBezTo>
                  <a:cubicBezTo>
                    <a:pt x="245" y="134"/>
                    <a:pt x="250" y="139"/>
                    <a:pt x="256" y="139"/>
                  </a:cubicBezTo>
                  <a:close/>
                  <a:moveTo>
                    <a:pt x="256" y="373"/>
                  </a:moveTo>
                  <a:cubicBezTo>
                    <a:pt x="250" y="373"/>
                    <a:pt x="245" y="378"/>
                    <a:pt x="245" y="384"/>
                  </a:cubicBezTo>
                  <a:cubicBezTo>
                    <a:pt x="245" y="406"/>
                    <a:pt x="245" y="406"/>
                    <a:pt x="245" y="406"/>
                  </a:cubicBezTo>
                  <a:cubicBezTo>
                    <a:pt x="245" y="412"/>
                    <a:pt x="250" y="416"/>
                    <a:pt x="256" y="416"/>
                  </a:cubicBezTo>
                  <a:cubicBezTo>
                    <a:pt x="262" y="416"/>
                    <a:pt x="266" y="412"/>
                    <a:pt x="266" y="406"/>
                  </a:cubicBezTo>
                  <a:cubicBezTo>
                    <a:pt x="266" y="384"/>
                    <a:pt x="266" y="384"/>
                    <a:pt x="266" y="384"/>
                  </a:cubicBezTo>
                  <a:cubicBezTo>
                    <a:pt x="266" y="378"/>
                    <a:pt x="262" y="373"/>
                    <a:pt x="256" y="373"/>
                  </a:cubicBezTo>
                  <a:close/>
                  <a:moveTo>
                    <a:pt x="354" y="143"/>
                  </a:moveTo>
                  <a:cubicBezTo>
                    <a:pt x="343" y="154"/>
                    <a:pt x="343" y="154"/>
                    <a:pt x="343" y="154"/>
                  </a:cubicBezTo>
                  <a:cubicBezTo>
                    <a:pt x="343" y="154"/>
                    <a:pt x="343" y="154"/>
                    <a:pt x="343" y="154"/>
                  </a:cubicBezTo>
                  <a:cubicBezTo>
                    <a:pt x="339" y="158"/>
                    <a:pt x="339" y="158"/>
                    <a:pt x="339" y="158"/>
                  </a:cubicBezTo>
                  <a:cubicBezTo>
                    <a:pt x="339" y="158"/>
                    <a:pt x="339" y="158"/>
                    <a:pt x="339" y="158"/>
                  </a:cubicBezTo>
                  <a:cubicBezTo>
                    <a:pt x="339" y="158"/>
                    <a:pt x="339" y="158"/>
                    <a:pt x="339" y="158"/>
                  </a:cubicBezTo>
                  <a:cubicBezTo>
                    <a:pt x="338" y="158"/>
                    <a:pt x="338" y="158"/>
                    <a:pt x="338" y="158"/>
                  </a:cubicBezTo>
                  <a:cubicBezTo>
                    <a:pt x="338" y="158"/>
                    <a:pt x="338" y="158"/>
                    <a:pt x="338" y="158"/>
                  </a:cubicBezTo>
                  <a:cubicBezTo>
                    <a:pt x="337" y="160"/>
                    <a:pt x="335" y="163"/>
                    <a:pt x="336" y="166"/>
                  </a:cubicBezTo>
                  <a:cubicBezTo>
                    <a:pt x="336" y="169"/>
                    <a:pt x="336" y="171"/>
                    <a:pt x="338" y="173"/>
                  </a:cubicBezTo>
                  <a:cubicBezTo>
                    <a:pt x="338" y="173"/>
                    <a:pt x="338" y="173"/>
                    <a:pt x="338" y="173"/>
                  </a:cubicBezTo>
                  <a:cubicBezTo>
                    <a:pt x="340" y="175"/>
                    <a:pt x="342" y="176"/>
                    <a:pt x="343" y="176"/>
                  </a:cubicBezTo>
                  <a:cubicBezTo>
                    <a:pt x="344" y="176"/>
                    <a:pt x="345" y="177"/>
                    <a:pt x="345" y="177"/>
                  </a:cubicBezTo>
                  <a:cubicBezTo>
                    <a:pt x="348" y="177"/>
                    <a:pt x="351" y="175"/>
                    <a:pt x="354" y="173"/>
                  </a:cubicBezTo>
                  <a:cubicBezTo>
                    <a:pt x="354" y="173"/>
                    <a:pt x="354" y="173"/>
                    <a:pt x="354" y="173"/>
                  </a:cubicBezTo>
                  <a:cubicBezTo>
                    <a:pt x="354" y="173"/>
                    <a:pt x="355" y="172"/>
                    <a:pt x="355" y="172"/>
                  </a:cubicBezTo>
                  <a:cubicBezTo>
                    <a:pt x="355" y="171"/>
                    <a:pt x="356" y="171"/>
                    <a:pt x="356" y="171"/>
                  </a:cubicBezTo>
                  <a:cubicBezTo>
                    <a:pt x="357" y="170"/>
                    <a:pt x="357" y="170"/>
                    <a:pt x="358" y="169"/>
                  </a:cubicBezTo>
                  <a:cubicBezTo>
                    <a:pt x="369" y="158"/>
                    <a:pt x="369" y="158"/>
                    <a:pt x="369" y="158"/>
                  </a:cubicBezTo>
                  <a:cubicBezTo>
                    <a:pt x="371" y="156"/>
                    <a:pt x="372" y="153"/>
                    <a:pt x="372" y="150"/>
                  </a:cubicBezTo>
                  <a:cubicBezTo>
                    <a:pt x="372" y="147"/>
                    <a:pt x="371" y="145"/>
                    <a:pt x="369" y="143"/>
                  </a:cubicBezTo>
                  <a:cubicBezTo>
                    <a:pt x="365" y="139"/>
                    <a:pt x="358" y="139"/>
                    <a:pt x="354" y="143"/>
                  </a:cubicBezTo>
                  <a:close/>
                  <a:moveTo>
                    <a:pt x="158" y="339"/>
                  </a:moveTo>
                  <a:cubicBezTo>
                    <a:pt x="147" y="350"/>
                    <a:pt x="147" y="350"/>
                    <a:pt x="147" y="350"/>
                  </a:cubicBezTo>
                  <a:cubicBezTo>
                    <a:pt x="147" y="350"/>
                    <a:pt x="147" y="350"/>
                    <a:pt x="147" y="350"/>
                  </a:cubicBezTo>
                  <a:cubicBezTo>
                    <a:pt x="143" y="354"/>
                    <a:pt x="143" y="354"/>
                    <a:pt x="143" y="354"/>
                  </a:cubicBezTo>
                  <a:cubicBezTo>
                    <a:pt x="143" y="354"/>
                    <a:pt x="143" y="354"/>
                    <a:pt x="143" y="354"/>
                  </a:cubicBezTo>
                  <a:cubicBezTo>
                    <a:pt x="143" y="354"/>
                    <a:pt x="143" y="354"/>
                    <a:pt x="143" y="354"/>
                  </a:cubicBezTo>
                  <a:cubicBezTo>
                    <a:pt x="142" y="354"/>
                    <a:pt x="142" y="354"/>
                    <a:pt x="142" y="354"/>
                  </a:cubicBezTo>
                  <a:cubicBezTo>
                    <a:pt x="142" y="354"/>
                    <a:pt x="142" y="354"/>
                    <a:pt x="142" y="354"/>
                  </a:cubicBezTo>
                  <a:cubicBezTo>
                    <a:pt x="140" y="356"/>
                    <a:pt x="139" y="359"/>
                    <a:pt x="139" y="362"/>
                  </a:cubicBezTo>
                  <a:cubicBezTo>
                    <a:pt x="139" y="365"/>
                    <a:pt x="140" y="367"/>
                    <a:pt x="142" y="369"/>
                  </a:cubicBezTo>
                  <a:cubicBezTo>
                    <a:pt x="142" y="369"/>
                    <a:pt x="142" y="369"/>
                    <a:pt x="142" y="369"/>
                  </a:cubicBezTo>
                  <a:cubicBezTo>
                    <a:pt x="144" y="371"/>
                    <a:pt x="145" y="372"/>
                    <a:pt x="147" y="372"/>
                  </a:cubicBezTo>
                  <a:cubicBezTo>
                    <a:pt x="148" y="373"/>
                    <a:pt x="148" y="373"/>
                    <a:pt x="149" y="373"/>
                  </a:cubicBezTo>
                  <a:cubicBezTo>
                    <a:pt x="152" y="373"/>
                    <a:pt x="155" y="371"/>
                    <a:pt x="158" y="369"/>
                  </a:cubicBezTo>
                  <a:cubicBezTo>
                    <a:pt x="158" y="369"/>
                    <a:pt x="158" y="369"/>
                    <a:pt x="158" y="369"/>
                  </a:cubicBezTo>
                  <a:cubicBezTo>
                    <a:pt x="158" y="369"/>
                    <a:pt x="158" y="368"/>
                    <a:pt x="159" y="368"/>
                  </a:cubicBezTo>
                  <a:cubicBezTo>
                    <a:pt x="159" y="368"/>
                    <a:pt x="160" y="367"/>
                    <a:pt x="160" y="367"/>
                  </a:cubicBezTo>
                  <a:cubicBezTo>
                    <a:pt x="161" y="366"/>
                    <a:pt x="161" y="366"/>
                    <a:pt x="162" y="365"/>
                  </a:cubicBezTo>
                  <a:cubicBezTo>
                    <a:pt x="173" y="354"/>
                    <a:pt x="173" y="354"/>
                    <a:pt x="173" y="354"/>
                  </a:cubicBezTo>
                  <a:cubicBezTo>
                    <a:pt x="175" y="352"/>
                    <a:pt x="176" y="349"/>
                    <a:pt x="176" y="346"/>
                  </a:cubicBezTo>
                  <a:cubicBezTo>
                    <a:pt x="176" y="344"/>
                    <a:pt x="175" y="341"/>
                    <a:pt x="173" y="339"/>
                  </a:cubicBezTo>
                  <a:cubicBezTo>
                    <a:pt x="169" y="335"/>
                    <a:pt x="162" y="335"/>
                    <a:pt x="158" y="339"/>
                  </a:cubicBezTo>
                  <a:close/>
                  <a:moveTo>
                    <a:pt x="405" y="245"/>
                  </a:moveTo>
                  <a:cubicBezTo>
                    <a:pt x="383" y="245"/>
                    <a:pt x="383" y="245"/>
                    <a:pt x="383" y="245"/>
                  </a:cubicBezTo>
                  <a:cubicBezTo>
                    <a:pt x="377" y="245"/>
                    <a:pt x="373" y="250"/>
                    <a:pt x="373" y="256"/>
                  </a:cubicBezTo>
                  <a:cubicBezTo>
                    <a:pt x="373" y="262"/>
                    <a:pt x="377" y="266"/>
                    <a:pt x="383" y="266"/>
                  </a:cubicBezTo>
                  <a:cubicBezTo>
                    <a:pt x="405" y="266"/>
                    <a:pt x="405" y="266"/>
                    <a:pt x="405" y="266"/>
                  </a:cubicBezTo>
                  <a:cubicBezTo>
                    <a:pt x="411" y="266"/>
                    <a:pt x="416" y="262"/>
                    <a:pt x="416" y="256"/>
                  </a:cubicBezTo>
                  <a:cubicBezTo>
                    <a:pt x="416" y="250"/>
                    <a:pt x="411" y="245"/>
                    <a:pt x="405" y="245"/>
                  </a:cubicBezTo>
                  <a:close/>
                  <a:moveTo>
                    <a:pt x="128" y="245"/>
                  </a:moveTo>
                  <a:cubicBezTo>
                    <a:pt x="106" y="245"/>
                    <a:pt x="106" y="245"/>
                    <a:pt x="106" y="245"/>
                  </a:cubicBezTo>
                  <a:cubicBezTo>
                    <a:pt x="100" y="245"/>
                    <a:pt x="95" y="250"/>
                    <a:pt x="95" y="256"/>
                  </a:cubicBezTo>
                  <a:cubicBezTo>
                    <a:pt x="95" y="262"/>
                    <a:pt x="100" y="266"/>
                    <a:pt x="106" y="266"/>
                  </a:cubicBezTo>
                  <a:cubicBezTo>
                    <a:pt x="128" y="266"/>
                    <a:pt x="128" y="266"/>
                    <a:pt x="128" y="266"/>
                  </a:cubicBezTo>
                  <a:cubicBezTo>
                    <a:pt x="134" y="266"/>
                    <a:pt x="139" y="262"/>
                    <a:pt x="139" y="256"/>
                  </a:cubicBezTo>
                  <a:cubicBezTo>
                    <a:pt x="139" y="250"/>
                    <a:pt x="134" y="245"/>
                    <a:pt x="128" y="245"/>
                  </a:cubicBezTo>
                  <a:close/>
                  <a:moveTo>
                    <a:pt x="358" y="343"/>
                  </a:moveTo>
                  <a:cubicBezTo>
                    <a:pt x="357" y="342"/>
                    <a:pt x="356" y="341"/>
                    <a:pt x="354" y="340"/>
                  </a:cubicBezTo>
                  <a:cubicBezTo>
                    <a:pt x="354" y="339"/>
                    <a:pt x="354" y="339"/>
                    <a:pt x="354" y="339"/>
                  </a:cubicBezTo>
                  <a:cubicBezTo>
                    <a:pt x="353" y="339"/>
                    <a:pt x="353" y="339"/>
                    <a:pt x="353" y="339"/>
                  </a:cubicBezTo>
                  <a:cubicBezTo>
                    <a:pt x="349" y="335"/>
                    <a:pt x="344" y="333"/>
                    <a:pt x="338" y="339"/>
                  </a:cubicBezTo>
                  <a:cubicBezTo>
                    <a:pt x="336" y="341"/>
                    <a:pt x="336" y="343"/>
                    <a:pt x="336" y="346"/>
                  </a:cubicBezTo>
                  <a:cubicBezTo>
                    <a:pt x="335" y="349"/>
                    <a:pt x="337" y="352"/>
                    <a:pt x="338" y="354"/>
                  </a:cubicBezTo>
                  <a:cubicBezTo>
                    <a:pt x="338" y="354"/>
                    <a:pt x="338" y="354"/>
                    <a:pt x="338" y="354"/>
                  </a:cubicBezTo>
                  <a:cubicBezTo>
                    <a:pt x="339" y="354"/>
                    <a:pt x="339" y="354"/>
                    <a:pt x="339" y="354"/>
                  </a:cubicBezTo>
                  <a:cubicBezTo>
                    <a:pt x="339" y="354"/>
                    <a:pt x="339" y="354"/>
                    <a:pt x="339" y="354"/>
                  </a:cubicBezTo>
                  <a:cubicBezTo>
                    <a:pt x="339" y="354"/>
                    <a:pt x="339" y="355"/>
                    <a:pt x="339" y="355"/>
                  </a:cubicBezTo>
                  <a:cubicBezTo>
                    <a:pt x="343" y="358"/>
                    <a:pt x="343" y="358"/>
                    <a:pt x="343" y="358"/>
                  </a:cubicBezTo>
                  <a:cubicBezTo>
                    <a:pt x="343" y="358"/>
                    <a:pt x="343" y="358"/>
                    <a:pt x="343" y="358"/>
                  </a:cubicBezTo>
                  <a:cubicBezTo>
                    <a:pt x="354" y="370"/>
                    <a:pt x="354" y="370"/>
                    <a:pt x="354" y="370"/>
                  </a:cubicBezTo>
                  <a:cubicBezTo>
                    <a:pt x="356" y="372"/>
                    <a:pt x="359" y="373"/>
                    <a:pt x="362" y="373"/>
                  </a:cubicBezTo>
                  <a:cubicBezTo>
                    <a:pt x="364" y="373"/>
                    <a:pt x="367" y="372"/>
                    <a:pt x="369" y="369"/>
                  </a:cubicBezTo>
                  <a:cubicBezTo>
                    <a:pt x="371" y="367"/>
                    <a:pt x="372" y="365"/>
                    <a:pt x="372" y="362"/>
                  </a:cubicBezTo>
                  <a:cubicBezTo>
                    <a:pt x="372" y="359"/>
                    <a:pt x="371" y="356"/>
                    <a:pt x="369" y="354"/>
                  </a:cubicBezTo>
                  <a:lnTo>
                    <a:pt x="358" y="343"/>
                  </a:lnTo>
                  <a:close/>
                  <a:moveTo>
                    <a:pt x="142" y="158"/>
                  </a:moveTo>
                  <a:cubicBezTo>
                    <a:pt x="143" y="158"/>
                    <a:pt x="143" y="158"/>
                    <a:pt x="143" y="158"/>
                  </a:cubicBezTo>
                  <a:cubicBezTo>
                    <a:pt x="143" y="158"/>
                    <a:pt x="143" y="158"/>
                    <a:pt x="143" y="158"/>
                  </a:cubicBezTo>
                  <a:cubicBezTo>
                    <a:pt x="143" y="158"/>
                    <a:pt x="143" y="158"/>
                    <a:pt x="143" y="158"/>
                  </a:cubicBezTo>
                  <a:cubicBezTo>
                    <a:pt x="147" y="162"/>
                    <a:pt x="147" y="162"/>
                    <a:pt x="147" y="162"/>
                  </a:cubicBezTo>
                  <a:cubicBezTo>
                    <a:pt x="147" y="162"/>
                    <a:pt x="147" y="162"/>
                    <a:pt x="147" y="162"/>
                  </a:cubicBezTo>
                  <a:cubicBezTo>
                    <a:pt x="158" y="173"/>
                    <a:pt x="158" y="173"/>
                    <a:pt x="158" y="173"/>
                  </a:cubicBezTo>
                  <a:cubicBezTo>
                    <a:pt x="160" y="176"/>
                    <a:pt x="163" y="176"/>
                    <a:pt x="165" y="176"/>
                  </a:cubicBezTo>
                  <a:cubicBezTo>
                    <a:pt x="168" y="176"/>
                    <a:pt x="171" y="175"/>
                    <a:pt x="173" y="173"/>
                  </a:cubicBezTo>
                  <a:cubicBezTo>
                    <a:pt x="175" y="171"/>
                    <a:pt x="176" y="168"/>
                    <a:pt x="176" y="166"/>
                  </a:cubicBezTo>
                  <a:cubicBezTo>
                    <a:pt x="176" y="163"/>
                    <a:pt x="175" y="160"/>
                    <a:pt x="173" y="158"/>
                  </a:cubicBezTo>
                  <a:cubicBezTo>
                    <a:pt x="162" y="147"/>
                    <a:pt x="162" y="147"/>
                    <a:pt x="162" y="147"/>
                  </a:cubicBezTo>
                  <a:cubicBezTo>
                    <a:pt x="161" y="146"/>
                    <a:pt x="160" y="145"/>
                    <a:pt x="158" y="144"/>
                  </a:cubicBezTo>
                  <a:cubicBezTo>
                    <a:pt x="158" y="143"/>
                    <a:pt x="158" y="143"/>
                    <a:pt x="157" y="143"/>
                  </a:cubicBezTo>
                  <a:cubicBezTo>
                    <a:pt x="157" y="143"/>
                    <a:pt x="157" y="143"/>
                    <a:pt x="157" y="143"/>
                  </a:cubicBezTo>
                  <a:cubicBezTo>
                    <a:pt x="153" y="139"/>
                    <a:pt x="148" y="137"/>
                    <a:pt x="142" y="143"/>
                  </a:cubicBezTo>
                  <a:cubicBezTo>
                    <a:pt x="140" y="145"/>
                    <a:pt x="139" y="147"/>
                    <a:pt x="139" y="150"/>
                  </a:cubicBezTo>
                  <a:cubicBezTo>
                    <a:pt x="139" y="153"/>
                    <a:pt x="140" y="156"/>
                    <a:pt x="14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295"/>
          <p:cNvGrpSpPr>
            <a:grpSpLocks noChangeAspect="1"/>
          </p:cNvGrpSpPr>
          <p:nvPr/>
        </p:nvGrpSpPr>
        <p:grpSpPr bwMode="auto">
          <a:xfrm>
            <a:off x="405155" y="1697038"/>
            <a:ext cx="369676" cy="369676"/>
            <a:chOff x="6958" y="1122"/>
            <a:chExt cx="340" cy="340"/>
          </a:xfrm>
          <a:solidFill>
            <a:schemeClr val="accent4"/>
          </a:solidFill>
        </p:grpSpPr>
        <p:sp>
          <p:nvSpPr>
            <p:cNvPr id="260" name="Freeform 296"/>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297"/>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298"/>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299"/>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300"/>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301"/>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302"/>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7" name="Freeform 118"/>
          <p:cNvSpPr>
            <a:spLocks noChangeAspect="1" noEditPoints="1"/>
          </p:cNvSpPr>
          <p:nvPr/>
        </p:nvSpPr>
        <p:spPr bwMode="auto">
          <a:xfrm>
            <a:off x="1247965" y="1697038"/>
            <a:ext cx="369021" cy="369021"/>
          </a:xfrm>
          <a:custGeom>
            <a:avLst/>
            <a:gdLst>
              <a:gd name="T0" fmla="*/ 368 w 512"/>
              <a:gd name="T1" fmla="*/ 330 h 512"/>
              <a:gd name="T2" fmla="*/ 154 w 512"/>
              <a:gd name="T3" fmla="*/ 288 h 512"/>
              <a:gd name="T4" fmla="*/ 217 w 512"/>
              <a:gd name="T5" fmla="*/ 253 h 512"/>
              <a:gd name="T6" fmla="*/ 233 w 512"/>
              <a:gd name="T7" fmla="*/ 247 h 512"/>
              <a:gd name="T8" fmla="*/ 344 w 512"/>
              <a:gd name="T9" fmla="*/ 258 h 512"/>
              <a:gd name="T10" fmla="*/ 347 w 512"/>
              <a:gd name="T11" fmla="*/ 280 h 512"/>
              <a:gd name="T12" fmla="*/ 362 w 512"/>
              <a:gd name="T13" fmla="*/ 278 h 512"/>
              <a:gd name="T14" fmla="*/ 394 w 512"/>
              <a:gd name="T15" fmla="*/ 304 h 512"/>
              <a:gd name="T16" fmla="*/ 216 w 512"/>
              <a:gd name="T17" fmla="*/ 229 h 512"/>
              <a:gd name="T18" fmla="*/ 213 w 512"/>
              <a:gd name="T19" fmla="*/ 181 h 512"/>
              <a:gd name="T20" fmla="*/ 184 w 512"/>
              <a:gd name="T21" fmla="*/ 226 h 512"/>
              <a:gd name="T22" fmla="*/ 512 w 512"/>
              <a:gd name="T23" fmla="*/ 256 h 512"/>
              <a:gd name="T24" fmla="*/ 0 w 512"/>
              <a:gd name="T25" fmla="*/ 256 h 512"/>
              <a:gd name="T26" fmla="*/ 512 w 512"/>
              <a:gd name="T27" fmla="*/ 256 h 512"/>
              <a:gd name="T28" fmla="*/ 273 w 512"/>
              <a:gd name="T29" fmla="*/ 163 h 512"/>
              <a:gd name="T30" fmla="*/ 296 w 512"/>
              <a:gd name="T31" fmla="*/ 145 h 512"/>
              <a:gd name="T32" fmla="*/ 281 w 512"/>
              <a:gd name="T33" fmla="*/ 130 h 512"/>
              <a:gd name="T34" fmla="*/ 266 w 512"/>
              <a:gd name="T35" fmla="*/ 160 h 512"/>
              <a:gd name="T36" fmla="*/ 213 w 512"/>
              <a:gd name="T37" fmla="*/ 138 h 512"/>
              <a:gd name="T38" fmla="*/ 224 w 512"/>
              <a:gd name="T39" fmla="*/ 106 h 512"/>
              <a:gd name="T40" fmla="*/ 202 w 512"/>
              <a:gd name="T41" fmla="*/ 106 h 512"/>
              <a:gd name="T42" fmla="*/ 130 w 512"/>
              <a:gd name="T43" fmla="*/ 145 h 512"/>
              <a:gd name="T44" fmla="*/ 153 w 512"/>
              <a:gd name="T45" fmla="*/ 163 h 512"/>
              <a:gd name="T46" fmla="*/ 160 w 512"/>
              <a:gd name="T47" fmla="*/ 145 h 512"/>
              <a:gd name="T48" fmla="*/ 130 w 512"/>
              <a:gd name="T49" fmla="*/ 130 h 512"/>
              <a:gd name="T50" fmla="*/ 128 w 512"/>
              <a:gd name="T51" fmla="*/ 224 h 512"/>
              <a:gd name="T52" fmla="*/ 128 w 512"/>
              <a:gd name="T53" fmla="*/ 202 h 512"/>
              <a:gd name="T54" fmla="*/ 96 w 512"/>
              <a:gd name="T55" fmla="*/ 213 h 512"/>
              <a:gd name="T56" fmla="*/ 128 w 512"/>
              <a:gd name="T57" fmla="*/ 224 h 512"/>
              <a:gd name="T58" fmla="*/ 365 w 512"/>
              <a:gd name="T59" fmla="*/ 256 h 512"/>
              <a:gd name="T60" fmla="*/ 259 w 512"/>
              <a:gd name="T61" fmla="*/ 187 h 512"/>
              <a:gd name="T62" fmla="*/ 160 w 512"/>
              <a:gd name="T63" fmla="*/ 213 h 512"/>
              <a:gd name="T64" fmla="*/ 133 w 512"/>
              <a:gd name="T65" fmla="*/ 288 h 512"/>
              <a:gd name="T66" fmla="*/ 368 w 512"/>
              <a:gd name="T67"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94" y="304"/>
                </a:moveTo>
                <a:cubicBezTo>
                  <a:pt x="394" y="318"/>
                  <a:pt x="382" y="330"/>
                  <a:pt x="368" y="330"/>
                </a:cubicBezTo>
                <a:cubicBezTo>
                  <a:pt x="196" y="330"/>
                  <a:pt x="196" y="330"/>
                  <a:pt x="196" y="330"/>
                </a:cubicBezTo>
                <a:cubicBezTo>
                  <a:pt x="173" y="330"/>
                  <a:pt x="154" y="311"/>
                  <a:pt x="154" y="288"/>
                </a:cubicBezTo>
                <a:cubicBezTo>
                  <a:pt x="154" y="265"/>
                  <a:pt x="173" y="246"/>
                  <a:pt x="196" y="246"/>
                </a:cubicBezTo>
                <a:cubicBezTo>
                  <a:pt x="205" y="246"/>
                  <a:pt x="210" y="249"/>
                  <a:pt x="217" y="253"/>
                </a:cubicBezTo>
                <a:cubicBezTo>
                  <a:pt x="220" y="255"/>
                  <a:pt x="224" y="256"/>
                  <a:pt x="227" y="254"/>
                </a:cubicBezTo>
                <a:cubicBezTo>
                  <a:pt x="230" y="253"/>
                  <a:pt x="232" y="250"/>
                  <a:pt x="233" y="247"/>
                </a:cubicBezTo>
                <a:cubicBezTo>
                  <a:pt x="238" y="221"/>
                  <a:pt x="262" y="202"/>
                  <a:pt x="289" y="202"/>
                </a:cubicBezTo>
                <a:cubicBezTo>
                  <a:pt x="319" y="202"/>
                  <a:pt x="344" y="227"/>
                  <a:pt x="344" y="258"/>
                </a:cubicBezTo>
                <a:cubicBezTo>
                  <a:pt x="344" y="260"/>
                  <a:pt x="344" y="263"/>
                  <a:pt x="343" y="265"/>
                </a:cubicBezTo>
                <a:cubicBezTo>
                  <a:pt x="341" y="272"/>
                  <a:pt x="342" y="276"/>
                  <a:pt x="347" y="280"/>
                </a:cubicBezTo>
                <a:cubicBezTo>
                  <a:pt x="350" y="282"/>
                  <a:pt x="356" y="282"/>
                  <a:pt x="360" y="279"/>
                </a:cubicBezTo>
                <a:cubicBezTo>
                  <a:pt x="361" y="278"/>
                  <a:pt x="362" y="278"/>
                  <a:pt x="362" y="278"/>
                </a:cubicBezTo>
                <a:cubicBezTo>
                  <a:pt x="364" y="277"/>
                  <a:pt x="366" y="277"/>
                  <a:pt x="368" y="277"/>
                </a:cubicBezTo>
                <a:cubicBezTo>
                  <a:pt x="382" y="277"/>
                  <a:pt x="394" y="289"/>
                  <a:pt x="394" y="304"/>
                </a:cubicBezTo>
                <a:close/>
                <a:moveTo>
                  <a:pt x="196" y="225"/>
                </a:moveTo>
                <a:cubicBezTo>
                  <a:pt x="204" y="225"/>
                  <a:pt x="211" y="226"/>
                  <a:pt x="216" y="229"/>
                </a:cubicBezTo>
                <a:cubicBezTo>
                  <a:pt x="222" y="216"/>
                  <a:pt x="230" y="205"/>
                  <a:pt x="241" y="197"/>
                </a:cubicBezTo>
                <a:cubicBezTo>
                  <a:pt x="235" y="187"/>
                  <a:pt x="225" y="181"/>
                  <a:pt x="213" y="181"/>
                </a:cubicBezTo>
                <a:cubicBezTo>
                  <a:pt x="195" y="181"/>
                  <a:pt x="181" y="195"/>
                  <a:pt x="181" y="213"/>
                </a:cubicBezTo>
                <a:cubicBezTo>
                  <a:pt x="181" y="218"/>
                  <a:pt x="182" y="222"/>
                  <a:pt x="184" y="226"/>
                </a:cubicBezTo>
                <a:cubicBezTo>
                  <a:pt x="188" y="225"/>
                  <a:pt x="192" y="225"/>
                  <a:pt x="196" y="22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160"/>
                </a:moveTo>
                <a:cubicBezTo>
                  <a:pt x="268" y="162"/>
                  <a:pt x="271" y="163"/>
                  <a:pt x="273" y="163"/>
                </a:cubicBezTo>
                <a:cubicBezTo>
                  <a:pt x="276" y="163"/>
                  <a:pt x="279" y="162"/>
                  <a:pt x="281" y="160"/>
                </a:cubicBezTo>
                <a:cubicBezTo>
                  <a:pt x="296" y="145"/>
                  <a:pt x="296" y="145"/>
                  <a:pt x="296" y="145"/>
                </a:cubicBezTo>
                <a:cubicBezTo>
                  <a:pt x="300" y="141"/>
                  <a:pt x="300" y="134"/>
                  <a:pt x="296" y="130"/>
                </a:cubicBezTo>
                <a:cubicBezTo>
                  <a:pt x="292" y="126"/>
                  <a:pt x="285" y="126"/>
                  <a:pt x="281" y="130"/>
                </a:cubicBezTo>
                <a:cubicBezTo>
                  <a:pt x="266" y="145"/>
                  <a:pt x="266" y="145"/>
                  <a:pt x="266" y="145"/>
                </a:cubicBezTo>
                <a:cubicBezTo>
                  <a:pt x="262" y="149"/>
                  <a:pt x="262" y="156"/>
                  <a:pt x="266" y="160"/>
                </a:cubicBezTo>
                <a:close/>
                <a:moveTo>
                  <a:pt x="202" y="128"/>
                </a:moveTo>
                <a:cubicBezTo>
                  <a:pt x="202" y="134"/>
                  <a:pt x="207" y="138"/>
                  <a:pt x="213" y="138"/>
                </a:cubicBezTo>
                <a:cubicBezTo>
                  <a:pt x="219" y="138"/>
                  <a:pt x="224" y="134"/>
                  <a:pt x="224" y="128"/>
                </a:cubicBezTo>
                <a:cubicBezTo>
                  <a:pt x="224" y="106"/>
                  <a:pt x="224" y="106"/>
                  <a:pt x="224" y="106"/>
                </a:cubicBezTo>
                <a:cubicBezTo>
                  <a:pt x="224" y="100"/>
                  <a:pt x="219" y="96"/>
                  <a:pt x="213" y="96"/>
                </a:cubicBezTo>
                <a:cubicBezTo>
                  <a:pt x="207" y="96"/>
                  <a:pt x="202" y="100"/>
                  <a:pt x="202" y="106"/>
                </a:cubicBezTo>
                <a:lnTo>
                  <a:pt x="202" y="128"/>
                </a:lnTo>
                <a:close/>
                <a:moveTo>
                  <a:pt x="130" y="145"/>
                </a:moveTo>
                <a:cubicBezTo>
                  <a:pt x="145" y="160"/>
                  <a:pt x="145" y="160"/>
                  <a:pt x="145" y="160"/>
                </a:cubicBezTo>
                <a:cubicBezTo>
                  <a:pt x="147" y="162"/>
                  <a:pt x="150" y="163"/>
                  <a:pt x="153" y="163"/>
                </a:cubicBezTo>
                <a:cubicBezTo>
                  <a:pt x="155" y="163"/>
                  <a:pt x="158" y="162"/>
                  <a:pt x="160" y="160"/>
                </a:cubicBezTo>
                <a:cubicBezTo>
                  <a:pt x="164" y="156"/>
                  <a:pt x="164" y="149"/>
                  <a:pt x="160" y="145"/>
                </a:cubicBezTo>
                <a:cubicBezTo>
                  <a:pt x="145" y="130"/>
                  <a:pt x="145" y="130"/>
                  <a:pt x="145" y="130"/>
                </a:cubicBezTo>
                <a:cubicBezTo>
                  <a:pt x="141" y="126"/>
                  <a:pt x="134" y="126"/>
                  <a:pt x="130" y="130"/>
                </a:cubicBezTo>
                <a:cubicBezTo>
                  <a:pt x="126" y="134"/>
                  <a:pt x="126" y="141"/>
                  <a:pt x="130" y="145"/>
                </a:cubicBezTo>
                <a:close/>
                <a:moveTo>
                  <a:pt x="128" y="224"/>
                </a:moveTo>
                <a:cubicBezTo>
                  <a:pt x="134" y="224"/>
                  <a:pt x="138" y="219"/>
                  <a:pt x="138" y="213"/>
                </a:cubicBezTo>
                <a:cubicBezTo>
                  <a:pt x="138" y="207"/>
                  <a:pt x="134" y="202"/>
                  <a:pt x="128" y="202"/>
                </a:cubicBezTo>
                <a:cubicBezTo>
                  <a:pt x="106" y="202"/>
                  <a:pt x="106" y="202"/>
                  <a:pt x="106" y="202"/>
                </a:cubicBezTo>
                <a:cubicBezTo>
                  <a:pt x="100" y="202"/>
                  <a:pt x="96" y="207"/>
                  <a:pt x="96" y="213"/>
                </a:cubicBezTo>
                <a:cubicBezTo>
                  <a:pt x="96" y="219"/>
                  <a:pt x="100" y="224"/>
                  <a:pt x="106" y="224"/>
                </a:cubicBezTo>
                <a:lnTo>
                  <a:pt x="128" y="224"/>
                </a:lnTo>
                <a:close/>
                <a:moveTo>
                  <a:pt x="416" y="304"/>
                </a:moveTo>
                <a:cubicBezTo>
                  <a:pt x="416" y="276"/>
                  <a:pt x="392" y="254"/>
                  <a:pt x="365" y="256"/>
                </a:cubicBezTo>
                <a:cubicBezTo>
                  <a:pt x="364" y="214"/>
                  <a:pt x="330" y="181"/>
                  <a:pt x="289" y="181"/>
                </a:cubicBezTo>
                <a:cubicBezTo>
                  <a:pt x="278" y="181"/>
                  <a:pt x="268" y="183"/>
                  <a:pt x="259" y="187"/>
                </a:cubicBezTo>
                <a:cubicBezTo>
                  <a:pt x="250" y="170"/>
                  <a:pt x="233" y="160"/>
                  <a:pt x="213" y="160"/>
                </a:cubicBezTo>
                <a:cubicBezTo>
                  <a:pt x="184" y="160"/>
                  <a:pt x="160" y="184"/>
                  <a:pt x="160" y="213"/>
                </a:cubicBezTo>
                <a:cubicBezTo>
                  <a:pt x="160" y="220"/>
                  <a:pt x="161" y="227"/>
                  <a:pt x="164" y="234"/>
                </a:cubicBezTo>
                <a:cubicBezTo>
                  <a:pt x="146" y="245"/>
                  <a:pt x="133" y="265"/>
                  <a:pt x="133" y="288"/>
                </a:cubicBezTo>
                <a:cubicBezTo>
                  <a:pt x="133" y="323"/>
                  <a:pt x="161" y="352"/>
                  <a:pt x="196" y="352"/>
                </a:cubicBezTo>
                <a:cubicBezTo>
                  <a:pt x="368" y="352"/>
                  <a:pt x="368" y="352"/>
                  <a:pt x="368" y="352"/>
                </a:cubicBezTo>
                <a:cubicBezTo>
                  <a:pt x="394" y="352"/>
                  <a:pt x="416" y="330"/>
                  <a:pt x="416" y="30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8" name="Group 121"/>
          <p:cNvGrpSpPr>
            <a:grpSpLocks noChangeAspect="1"/>
          </p:cNvGrpSpPr>
          <p:nvPr/>
        </p:nvGrpSpPr>
        <p:grpSpPr bwMode="auto">
          <a:xfrm>
            <a:off x="1668715" y="1697038"/>
            <a:ext cx="369021" cy="369021"/>
            <a:chOff x="1929" y="393"/>
            <a:chExt cx="340" cy="340"/>
          </a:xfrm>
          <a:solidFill>
            <a:schemeClr val="accent2"/>
          </a:solidFill>
        </p:grpSpPr>
        <p:sp>
          <p:nvSpPr>
            <p:cNvPr id="269" name="Freeform 122"/>
            <p:cNvSpPr>
              <a:spLocks noEditPoints="1"/>
            </p:cNvSpPr>
            <p:nvPr/>
          </p:nvSpPr>
          <p:spPr bwMode="auto">
            <a:xfrm>
              <a:off x="2017" y="499"/>
              <a:ext cx="188" cy="128"/>
            </a:xfrm>
            <a:custGeom>
              <a:avLst/>
              <a:gdLst>
                <a:gd name="T0" fmla="*/ 232 w 283"/>
                <a:gd name="T1" fmla="*/ 96 h 192"/>
                <a:gd name="T2" fmla="*/ 156 w 283"/>
                <a:gd name="T3" fmla="*/ 21 h 192"/>
                <a:gd name="T4" fmla="*/ 126 w 283"/>
                <a:gd name="T5" fmla="*/ 27 h 192"/>
                <a:gd name="T6" fmla="*/ 80 w 283"/>
                <a:gd name="T7" fmla="*/ 0 h 192"/>
                <a:gd name="T8" fmla="*/ 27 w 283"/>
                <a:gd name="T9" fmla="*/ 53 h 192"/>
                <a:gd name="T10" fmla="*/ 31 w 283"/>
                <a:gd name="T11" fmla="*/ 74 h 192"/>
                <a:gd name="T12" fmla="*/ 0 w 283"/>
                <a:gd name="T13" fmla="*/ 128 h 192"/>
                <a:gd name="T14" fmla="*/ 63 w 283"/>
                <a:gd name="T15" fmla="*/ 192 h 192"/>
                <a:gd name="T16" fmla="*/ 235 w 283"/>
                <a:gd name="T17" fmla="*/ 192 h 192"/>
                <a:gd name="T18" fmla="*/ 283 w 283"/>
                <a:gd name="T19" fmla="*/ 144 h 192"/>
                <a:gd name="T20" fmla="*/ 232 w 283"/>
                <a:gd name="T21" fmla="*/ 96 h 192"/>
                <a:gd name="T22" fmla="*/ 80 w 283"/>
                <a:gd name="T23" fmla="*/ 21 h 192"/>
                <a:gd name="T24" fmla="*/ 108 w 283"/>
                <a:gd name="T25" fmla="*/ 37 h 192"/>
                <a:gd name="T26" fmla="*/ 83 w 283"/>
                <a:gd name="T27" fmla="*/ 69 h 192"/>
                <a:gd name="T28" fmla="*/ 63 w 283"/>
                <a:gd name="T29" fmla="*/ 65 h 192"/>
                <a:gd name="T30" fmla="*/ 51 w 283"/>
                <a:gd name="T31" fmla="*/ 66 h 192"/>
                <a:gd name="T32" fmla="*/ 48 w 283"/>
                <a:gd name="T33" fmla="*/ 53 h 192"/>
                <a:gd name="T34" fmla="*/ 80 w 283"/>
                <a:gd name="T35" fmla="*/ 21 h 192"/>
                <a:gd name="T36" fmla="*/ 235 w 283"/>
                <a:gd name="T37" fmla="*/ 170 h 192"/>
                <a:gd name="T38" fmla="*/ 63 w 283"/>
                <a:gd name="T39" fmla="*/ 170 h 192"/>
                <a:gd name="T40" fmla="*/ 21 w 283"/>
                <a:gd name="T41" fmla="*/ 128 h 192"/>
                <a:gd name="T42" fmla="*/ 63 w 283"/>
                <a:gd name="T43" fmla="*/ 86 h 192"/>
                <a:gd name="T44" fmla="*/ 84 w 283"/>
                <a:gd name="T45" fmla="*/ 93 h 192"/>
                <a:gd name="T46" fmla="*/ 94 w 283"/>
                <a:gd name="T47" fmla="*/ 94 h 192"/>
                <a:gd name="T48" fmla="*/ 100 w 283"/>
                <a:gd name="T49" fmla="*/ 87 h 192"/>
                <a:gd name="T50" fmla="*/ 156 w 283"/>
                <a:gd name="T51" fmla="*/ 42 h 192"/>
                <a:gd name="T52" fmla="*/ 211 w 283"/>
                <a:gd name="T53" fmla="*/ 98 h 192"/>
                <a:gd name="T54" fmla="*/ 210 w 283"/>
                <a:gd name="T55" fmla="*/ 105 h 192"/>
                <a:gd name="T56" fmla="*/ 214 w 283"/>
                <a:gd name="T57" fmla="*/ 120 h 192"/>
                <a:gd name="T58" fmla="*/ 227 w 283"/>
                <a:gd name="T59" fmla="*/ 119 h 192"/>
                <a:gd name="T60" fmla="*/ 229 w 283"/>
                <a:gd name="T61" fmla="*/ 118 h 192"/>
                <a:gd name="T62" fmla="*/ 235 w 283"/>
                <a:gd name="T63" fmla="*/ 117 h 192"/>
                <a:gd name="T64" fmla="*/ 261 w 283"/>
                <a:gd name="T65" fmla="*/ 144 h 192"/>
                <a:gd name="T66" fmla="*/ 235 w 283"/>
                <a:gd name="T6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92">
                  <a:moveTo>
                    <a:pt x="232" y="96"/>
                  </a:moveTo>
                  <a:cubicBezTo>
                    <a:pt x="231" y="54"/>
                    <a:pt x="197" y="21"/>
                    <a:pt x="156" y="21"/>
                  </a:cubicBezTo>
                  <a:cubicBezTo>
                    <a:pt x="145" y="21"/>
                    <a:pt x="135" y="23"/>
                    <a:pt x="126" y="27"/>
                  </a:cubicBezTo>
                  <a:cubicBezTo>
                    <a:pt x="117" y="10"/>
                    <a:pt x="100" y="0"/>
                    <a:pt x="80" y="0"/>
                  </a:cubicBezTo>
                  <a:cubicBezTo>
                    <a:pt x="51" y="0"/>
                    <a:pt x="27" y="24"/>
                    <a:pt x="27" y="53"/>
                  </a:cubicBezTo>
                  <a:cubicBezTo>
                    <a:pt x="27" y="60"/>
                    <a:pt x="28" y="67"/>
                    <a:pt x="31" y="74"/>
                  </a:cubicBezTo>
                  <a:cubicBezTo>
                    <a:pt x="13" y="85"/>
                    <a:pt x="0" y="105"/>
                    <a:pt x="0" y="128"/>
                  </a:cubicBezTo>
                  <a:cubicBezTo>
                    <a:pt x="0" y="163"/>
                    <a:pt x="28" y="192"/>
                    <a:pt x="63" y="192"/>
                  </a:cubicBezTo>
                  <a:cubicBezTo>
                    <a:pt x="235" y="192"/>
                    <a:pt x="235" y="192"/>
                    <a:pt x="235" y="192"/>
                  </a:cubicBezTo>
                  <a:cubicBezTo>
                    <a:pt x="261" y="192"/>
                    <a:pt x="283" y="170"/>
                    <a:pt x="283" y="144"/>
                  </a:cubicBezTo>
                  <a:cubicBezTo>
                    <a:pt x="283" y="116"/>
                    <a:pt x="259" y="94"/>
                    <a:pt x="232" y="96"/>
                  </a:cubicBezTo>
                  <a:close/>
                  <a:moveTo>
                    <a:pt x="80" y="21"/>
                  </a:moveTo>
                  <a:cubicBezTo>
                    <a:pt x="92" y="21"/>
                    <a:pt x="102" y="27"/>
                    <a:pt x="108" y="37"/>
                  </a:cubicBezTo>
                  <a:cubicBezTo>
                    <a:pt x="97" y="45"/>
                    <a:pt x="89" y="56"/>
                    <a:pt x="83" y="69"/>
                  </a:cubicBezTo>
                  <a:cubicBezTo>
                    <a:pt x="78" y="66"/>
                    <a:pt x="71" y="65"/>
                    <a:pt x="63" y="65"/>
                  </a:cubicBezTo>
                  <a:cubicBezTo>
                    <a:pt x="59" y="65"/>
                    <a:pt x="55" y="65"/>
                    <a:pt x="51" y="66"/>
                  </a:cubicBezTo>
                  <a:cubicBezTo>
                    <a:pt x="49" y="62"/>
                    <a:pt x="48" y="58"/>
                    <a:pt x="48" y="53"/>
                  </a:cubicBezTo>
                  <a:cubicBezTo>
                    <a:pt x="48" y="35"/>
                    <a:pt x="62" y="21"/>
                    <a:pt x="80" y="21"/>
                  </a:cubicBezTo>
                  <a:close/>
                  <a:moveTo>
                    <a:pt x="235" y="170"/>
                  </a:moveTo>
                  <a:cubicBezTo>
                    <a:pt x="63" y="170"/>
                    <a:pt x="63" y="170"/>
                    <a:pt x="63" y="170"/>
                  </a:cubicBezTo>
                  <a:cubicBezTo>
                    <a:pt x="40" y="170"/>
                    <a:pt x="21" y="151"/>
                    <a:pt x="21" y="128"/>
                  </a:cubicBezTo>
                  <a:cubicBezTo>
                    <a:pt x="21" y="105"/>
                    <a:pt x="40" y="86"/>
                    <a:pt x="63" y="86"/>
                  </a:cubicBezTo>
                  <a:cubicBezTo>
                    <a:pt x="72" y="86"/>
                    <a:pt x="77" y="89"/>
                    <a:pt x="84" y="93"/>
                  </a:cubicBezTo>
                  <a:cubicBezTo>
                    <a:pt x="87" y="95"/>
                    <a:pt x="91" y="96"/>
                    <a:pt x="94" y="94"/>
                  </a:cubicBezTo>
                  <a:cubicBezTo>
                    <a:pt x="97" y="93"/>
                    <a:pt x="99" y="90"/>
                    <a:pt x="100" y="87"/>
                  </a:cubicBezTo>
                  <a:cubicBezTo>
                    <a:pt x="105" y="61"/>
                    <a:pt x="129" y="42"/>
                    <a:pt x="156" y="42"/>
                  </a:cubicBezTo>
                  <a:cubicBezTo>
                    <a:pt x="186" y="42"/>
                    <a:pt x="211" y="67"/>
                    <a:pt x="211" y="98"/>
                  </a:cubicBezTo>
                  <a:cubicBezTo>
                    <a:pt x="211" y="100"/>
                    <a:pt x="211" y="103"/>
                    <a:pt x="210" y="105"/>
                  </a:cubicBezTo>
                  <a:cubicBezTo>
                    <a:pt x="208" y="112"/>
                    <a:pt x="209" y="116"/>
                    <a:pt x="214" y="120"/>
                  </a:cubicBezTo>
                  <a:cubicBezTo>
                    <a:pt x="217" y="122"/>
                    <a:pt x="223" y="122"/>
                    <a:pt x="227" y="119"/>
                  </a:cubicBezTo>
                  <a:cubicBezTo>
                    <a:pt x="228" y="118"/>
                    <a:pt x="229" y="118"/>
                    <a:pt x="229" y="118"/>
                  </a:cubicBezTo>
                  <a:cubicBezTo>
                    <a:pt x="231" y="117"/>
                    <a:pt x="233" y="117"/>
                    <a:pt x="235" y="117"/>
                  </a:cubicBezTo>
                  <a:cubicBezTo>
                    <a:pt x="249" y="117"/>
                    <a:pt x="261" y="129"/>
                    <a:pt x="261" y="144"/>
                  </a:cubicBezTo>
                  <a:cubicBezTo>
                    <a:pt x="261" y="158"/>
                    <a:pt x="249" y="170"/>
                    <a:pt x="235"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123"/>
            <p:cNvSpPr>
              <a:spLocks/>
            </p:cNvSpPr>
            <p:nvPr/>
          </p:nvSpPr>
          <p:spPr bwMode="auto">
            <a:xfrm>
              <a:off x="2063" y="457"/>
              <a:ext cx="15" cy="28"/>
            </a:xfrm>
            <a:custGeom>
              <a:avLst/>
              <a:gdLst>
                <a:gd name="T0" fmla="*/ 11 w 22"/>
                <a:gd name="T1" fmla="*/ 42 h 42"/>
                <a:gd name="T2" fmla="*/ 22 w 22"/>
                <a:gd name="T3" fmla="*/ 32 h 42"/>
                <a:gd name="T4" fmla="*/ 22 w 22"/>
                <a:gd name="T5" fmla="*/ 10 h 42"/>
                <a:gd name="T6" fmla="*/ 11 w 22"/>
                <a:gd name="T7" fmla="*/ 0 h 42"/>
                <a:gd name="T8" fmla="*/ 0 w 22"/>
                <a:gd name="T9" fmla="*/ 10 h 42"/>
                <a:gd name="T10" fmla="*/ 0 w 22"/>
                <a:gd name="T11" fmla="*/ 32 h 42"/>
                <a:gd name="T12" fmla="*/ 11 w 2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11" y="42"/>
                  </a:moveTo>
                  <a:cubicBezTo>
                    <a:pt x="17" y="42"/>
                    <a:pt x="22" y="38"/>
                    <a:pt x="22" y="32"/>
                  </a:cubicBezTo>
                  <a:cubicBezTo>
                    <a:pt x="22" y="10"/>
                    <a:pt x="22" y="10"/>
                    <a:pt x="22" y="10"/>
                  </a:cubicBezTo>
                  <a:cubicBezTo>
                    <a:pt x="22"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24"/>
            <p:cNvSpPr>
              <a:spLocks/>
            </p:cNvSpPr>
            <p:nvPr/>
          </p:nvSpPr>
          <p:spPr bwMode="auto">
            <a:xfrm>
              <a:off x="1993" y="527"/>
              <a:ext cx="28" cy="15"/>
            </a:xfrm>
            <a:custGeom>
              <a:avLst/>
              <a:gdLst>
                <a:gd name="T0" fmla="*/ 42 w 42"/>
                <a:gd name="T1" fmla="*/ 11 h 22"/>
                <a:gd name="T2" fmla="*/ 32 w 42"/>
                <a:gd name="T3" fmla="*/ 0 h 22"/>
                <a:gd name="T4" fmla="*/ 10 w 42"/>
                <a:gd name="T5" fmla="*/ 0 h 22"/>
                <a:gd name="T6" fmla="*/ 0 w 42"/>
                <a:gd name="T7" fmla="*/ 11 h 22"/>
                <a:gd name="T8" fmla="*/ 10 w 42"/>
                <a:gd name="T9" fmla="*/ 22 h 22"/>
                <a:gd name="T10" fmla="*/ 32 w 42"/>
                <a:gd name="T11" fmla="*/ 22 h 22"/>
                <a:gd name="T12" fmla="*/ 42 w 42"/>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11"/>
                  </a:moveTo>
                  <a:cubicBezTo>
                    <a:pt x="42" y="5"/>
                    <a:pt x="38" y="0"/>
                    <a:pt x="32" y="0"/>
                  </a:cubicBezTo>
                  <a:cubicBezTo>
                    <a:pt x="10" y="0"/>
                    <a:pt x="10" y="0"/>
                    <a:pt x="10" y="0"/>
                  </a:cubicBezTo>
                  <a:cubicBezTo>
                    <a:pt x="4" y="0"/>
                    <a:pt x="0" y="5"/>
                    <a:pt x="0" y="11"/>
                  </a:cubicBezTo>
                  <a:cubicBezTo>
                    <a:pt x="0" y="17"/>
                    <a:pt x="4" y="22"/>
                    <a:pt x="10" y="22"/>
                  </a:cubicBezTo>
                  <a:cubicBezTo>
                    <a:pt x="32" y="22"/>
                    <a:pt x="32" y="22"/>
                    <a:pt x="32" y="22"/>
                  </a:cubicBezTo>
                  <a:cubicBezTo>
                    <a:pt x="38" y="22"/>
                    <a:pt x="42" y="17"/>
                    <a:pt x="42"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125"/>
            <p:cNvSpPr>
              <a:spLocks/>
            </p:cNvSpPr>
            <p:nvPr/>
          </p:nvSpPr>
          <p:spPr bwMode="auto">
            <a:xfrm>
              <a:off x="2013" y="477"/>
              <a:ext cx="25" cy="24"/>
            </a:xfrm>
            <a:custGeom>
              <a:avLst/>
              <a:gdLst>
                <a:gd name="T0" fmla="*/ 19 w 38"/>
                <a:gd name="T1" fmla="*/ 34 h 37"/>
                <a:gd name="T2" fmla="*/ 27 w 38"/>
                <a:gd name="T3" fmla="*/ 37 h 37"/>
                <a:gd name="T4" fmla="*/ 34 w 38"/>
                <a:gd name="T5" fmla="*/ 34 h 37"/>
                <a:gd name="T6" fmla="*/ 34 w 38"/>
                <a:gd name="T7" fmla="*/ 19 h 37"/>
                <a:gd name="T8" fmla="*/ 19 w 38"/>
                <a:gd name="T9" fmla="*/ 4 h 37"/>
                <a:gd name="T10" fmla="*/ 4 w 38"/>
                <a:gd name="T11" fmla="*/ 4 h 37"/>
                <a:gd name="T12" fmla="*/ 4 w 38"/>
                <a:gd name="T13" fmla="*/ 19 h 37"/>
                <a:gd name="T14" fmla="*/ 19 w 38"/>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9" y="34"/>
                  </a:moveTo>
                  <a:cubicBezTo>
                    <a:pt x="21" y="36"/>
                    <a:pt x="24" y="37"/>
                    <a:pt x="27" y="37"/>
                  </a:cubicBezTo>
                  <a:cubicBezTo>
                    <a:pt x="29" y="37"/>
                    <a:pt x="32" y="36"/>
                    <a:pt x="34" y="34"/>
                  </a:cubicBezTo>
                  <a:cubicBezTo>
                    <a:pt x="38" y="30"/>
                    <a:pt x="38" y="23"/>
                    <a:pt x="34" y="19"/>
                  </a:cubicBezTo>
                  <a:cubicBezTo>
                    <a:pt x="19" y="4"/>
                    <a:pt x="19" y="4"/>
                    <a:pt x="19" y="4"/>
                  </a:cubicBezTo>
                  <a:cubicBezTo>
                    <a:pt x="15" y="0"/>
                    <a:pt x="8" y="0"/>
                    <a:pt x="4" y="4"/>
                  </a:cubicBezTo>
                  <a:cubicBezTo>
                    <a:pt x="0" y="8"/>
                    <a:pt x="0" y="15"/>
                    <a:pt x="4" y="19"/>
                  </a:cubicBezTo>
                  <a:lnTo>
                    <a:pt x="19"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126"/>
            <p:cNvSpPr>
              <a:spLocks/>
            </p:cNvSpPr>
            <p:nvPr/>
          </p:nvSpPr>
          <p:spPr bwMode="auto">
            <a:xfrm>
              <a:off x="2103" y="477"/>
              <a:ext cx="25" cy="24"/>
            </a:xfrm>
            <a:custGeom>
              <a:avLst/>
              <a:gdLst>
                <a:gd name="T0" fmla="*/ 11 w 38"/>
                <a:gd name="T1" fmla="*/ 37 h 37"/>
                <a:gd name="T2" fmla="*/ 19 w 38"/>
                <a:gd name="T3" fmla="*/ 34 h 37"/>
                <a:gd name="T4" fmla="*/ 34 w 38"/>
                <a:gd name="T5" fmla="*/ 19 h 37"/>
                <a:gd name="T6" fmla="*/ 34 w 38"/>
                <a:gd name="T7" fmla="*/ 4 h 37"/>
                <a:gd name="T8" fmla="*/ 19 w 38"/>
                <a:gd name="T9" fmla="*/ 4 h 37"/>
                <a:gd name="T10" fmla="*/ 4 w 38"/>
                <a:gd name="T11" fmla="*/ 19 h 37"/>
                <a:gd name="T12" fmla="*/ 4 w 38"/>
                <a:gd name="T13" fmla="*/ 34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14" y="37"/>
                    <a:pt x="17" y="36"/>
                    <a:pt x="19" y="34"/>
                  </a:cubicBezTo>
                  <a:cubicBezTo>
                    <a:pt x="34" y="19"/>
                    <a:pt x="34" y="19"/>
                    <a:pt x="34" y="19"/>
                  </a:cubicBezTo>
                  <a:cubicBezTo>
                    <a:pt x="38" y="15"/>
                    <a:pt x="38" y="8"/>
                    <a:pt x="34" y="4"/>
                  </a:cubicBezTo>
                  <a:cubicBezTo>
                    <a:pt x="30" y="0"/>
                    <a:pt x="23" y="0"/>
                    <a:pt x="19" y="4"/>
                  </a:cubicBezTo>
                  <a:cubicBezTo>
                    <a:pt x="4" y="19"/>
                    <a:pt x="4" y="19"/>
                    <a:pt x="4" y="19"/>
                  </a:cubicBezTo>
                  <a:cubicBezTo>
                    <a:pt x="0" y="23"/>
                    <a:pt x="0" y="30"/>
                    <a:pt x="4" y="34"/>
                  </a:cubicBezTo>
                  <a:cubicBezTo>
                    <a:pt x="6" y="36"/>
                    <a:pt x="9" y="37"/>
                    <a:pt x="11" y="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127"/>
            <p:cNvSpPr>
              <a:spLocks noEditPoints="1"/>
            </p:cNvSpPr>
            <p:nvPr/>
          </p:nvSpPr>
          <p:spPr bwMode="auto">
            <a:xfrm>
              <a:off x="1929" y="3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Freeform 514"/>
          <p:cNvSpPr>
            <a:spLocks noChangeAspect="1" noEditPoints="1"/>
          </p:cNvSpPr>
          <p:nvPr/>
        </p:nvSpPr>
        <p:spPr bwMode="auto">
          <a:xfrm>
            <a:off x="2089465" y="1697038"/>
            <a:ext cx="367041" cy="367041"/>
          </a:xfrm>
          <a:custGeom>
            <a:avLst/>
            <a:gdLst>
              <a:gd name="T0" fmla="*/ 360 w 512"/>
              <a:gd name="T1" fmla="*/ 268 h 512"/>
              <a:gd name="T2" fmla="*/ 115 w 512"/>
              <a:gd name="T3" fmla="*/ 218 h 512"/>
              <a:gd name="T4" fmla="*/ 189 w 512"/>
              <a:gd name="T5" fmla="*/ 176 h 512"/>
              <a:gd name="T6" fmla="*/ 205 w 512"/>
              <a:gd name="T7" fmla="*/ 169 h 512"/>
              <a:gd name="T8" fmla="*/ 335 w 512"/>
              <a:gd name="T9" fmla="*/ 182 h 512"/>
              <a:gd name="T10" fmla="*/ 334 w 512"/>
              <a:gd name="T11" fmla="*/ 192 h 512"/>
              <a:gd name="T12" fmla="*/ 351 w 512"/>
              <a:gd name="T13" fmla="*/ 205 h 512"/>
              <a:gd name="T14" fmla="*/ 360 w 512"/>
              <a:gd name="T15" fmla="*/ 203 h 512"/>
              <a:gd name="T16" fmla="*/ 512 w 512"/>
              <a:gd name="T17" fmla="*/ 256 h 512"/>
              <a:gd name="T18" fmla="*/ 0 w 512"/>
              <a:gd name="T19" fmla="*/ 256 h 512"/>
              <a:gd name="T20" fmla="*/ 512 w 512"/>
              <a:gd name="T21" fmla="*/ 256 h 512"/>
              <a:gd name="T22" fmla="*/ 153 w 512"/>
              <a:gd name="T23" fmla="*/ 382 h 512"/>
              <a:gd name="T24" fmla="*/ 155 w 512"/>
              <a:gd name="T25" fmla="*/ 416 h 512"/>
              <a:gd name="T26" fmla="*/ 168 w 512"/>
              <a:gd name="T27" fmla="*/ 408 h 512"/>
              <a:gd name="T28" fmla="*/ 166 w 512"/>
              <a:gd name="T29" fmla="*/ 374 h 512"/>
              <a:gd name="T30" fmla="*/ 169 w 512"/>
              <a:gd name="T31" fmla="*/ 318 h 512"/>
              <a:gd name="T32" fmla="*/ 171 w 512"/>
              <a:gd name="T33" fmla="*/ 352 h 512"/>
              <a:gd name="T34" fmla="*/ 184 w 512"/>
              <a:gd name="T35" fmla="*/ 344 h 512"/>
              <a:gd name="T36" fmla="*/ 182 w 512"/>
              <a:gd name="T37" fmla="*/ 310 h 512"/>
              <a:gd name="T38" fmla="*/ 227 w 512"/>
              <a:gd name="T39" fmla="*/ 382 h 512"/>
              <a:gd name="T40" fmla="*/ 230 w 512"/>
              <a:gd name="T41" fmla="*/ 416 h 512"/>
              <a:gd name="T42" fmla="*/ 243 w 512"/>
              <a:gd name="T43" fmla="*/ 408 h 512"/>
              <a:gd name="T44" fmla="*/ 240 w 512"/>
              <a:gd name="T45" fmla="*/ 374 h 512"/>
              <a:gd name="T46" fmla="*/ 243 w 512"/>
              <a:gd name="T47" fmla="*/ 318 h 512"/>
              <a:gd name="T48" fmla="*/ 246 w 512"/>
              <a:gd name="T49" fmla="*/ 352 h 512"/>
              <a:gd name="T50" fmla="*/ 259 w 512"/>
              <a:gd name="T51" fmla="*/ 344 h 512"/>
              <a:gd name="T52" fmla="*/ 256 w 512"/>
              <a:gd name="T53" fmla="*/ 310 h 512"/>
              <a:gd name="T54" fmla="*/ 302 w 512"/>
              <a:gd name="T55" fmla="*/ 382 h 512"/>
              <a:gd name="T56" fmla="*/ 304 w 512"/>
              <a:gd name="T57" fmla="*/ 416 h 512"/>
              <a:gd name="T58" fmla="*/ 317 w 512"/>
              <a:gd name="T59" fmla="*/ 408 h 512"/>
              <a:gd name="T60" fmla="*/ 315 w 512"/>
              <a:gd name="T61" fmla="*/ 374 h 512"/>
              <a:gd name="T62" fmla="*/ 318 w 512"/>
              <a:gd name="T63" fmla="*/ 318 h 512"/>
              <a:gd name="T64" fmla="*/ 320 w 512"/>
              <a:gd name="T65" fmla="*/ 352 h 512"/>
              <a:gd name="T66" fmla="*/ 333 w 512"/>
              <a:gd name="T67" fmla="*/ 344 h 512"/>
              <a:gd name="T68" fmla="*/ 331 w 512"/>
              <a:gd name="T69" fmla="*/ 310 h 512"/>
              <a:gd name="T70" fmla="*/ 360 w 512"/>
              <a:gd name="T71" fmla="*/ 182 h 512"/>
              <a:gd name="T72" fmla="*/ 270 w 512"/>
              <a:gd name="T73" fmla="*/ 96 h 512"/>
              <a:gd name="T74" fmla="*/ 164 w 512"/>
              <a:gd name="T75" fmla="*/ 147 h 512"/>
              <a:gd name="T76" fmla="*/ 164 w 512"/>
              <a:gd name="T77" fmla="*/ 289 h 512"/>
              <a:gd name="T78" fmla="*/ 414 w 512"/>
              <a:gd name="T79" fmla="*/ 23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92" y="235"/>
                </a:moveTo>
                <a:cubicBezTo>
                  <a:pt x="392" y="253"/>
                  <a:pt x="378" y="268"/>
                  <a:pt x="360" y="268"/>
                </a:cubicBezTo>
                <a:cubicBezTo>
                  <a:pt x="164" y="268"/>
                  <a:pt x="164" y="268"/>
                  <a:pt x="164" y="268"/>
                </a:cubicBezTo>
                <a:cubicBezTo>
                  <a:pt x="137" y="268"/>
                  <a:pt x="115" y="245"/>
                  <a:pt x="115" y="218"/>
                </a:cubicBezTo>
                <a:cubicBezTo>
                  <a:pt x="115" y="190"/>
                  <a:pt x="137" y="168"/>
                  <a:pt x="164" y="168"/>
                </a:cubicBezTo>
                <a:cubicBezTo>
                  <a:pt x="174" y="168"/>
                  <a:pt x="181" y="171"/>
                  <a:pt x="189" y="176"/>
                </a:cubicBezTo>
                <a:cubicBezTo>
                  <a:pt x="192" y="178"/>
                  <a:pt x="195" y="179"/>
                  <a:pt x="199" y="177"/>
                </a:cubicBezTo>
                <a:cubicBezTo>
                  <a:pt x="202" y="176"/>
                  <a:pt x="204" y="173"/>
                  <a:pt x="205" y="169"/>
                </a:cubicBezTo>
                <a:cubicBezTo>
                  <a:pt x="211" y="140"/>
                  <a:pt x="239" y="118"/>
                  <a:pt x="270" y="118"/>
                </a:cubicBezTo>
                <a:cubicBezTo>
                  <a:pt x="306" y="118"/>
                  <a:pt x="335" y="147"/>
                  <a:pt x="335" y="182"/>
                </a:cubicBezTo>
                <a:cubicBezTo>
                  <a:pt x="335" y="185"/>
                  <a:pt x="334" y="188"/>
                  <a:pt x="334" y="190"/>
                </a:cubicBezTo>
                <a:cubicBezTo>
                  <a:pt x="334" y="192"/>
                  <a:pt x="334" y="192"/>
                  <a:pt x="334" y="192"/>
                </a:cubicBezTo>
                <a:cubicBezTo>
                  <a:pt x="333" y="194"/>
                  <a:pt x="331" y="202"/>
                  <a:pt x="338" y="206"/>
                </a:cubicBezTo>
                <a:cubicBezTo>
                  <a:pt x="342" y="209"/>
                  <a:pt x="347" y="209"/>
                  <a:pt x="351" y="205"/>
                </a:cubicBezTo>
                <a:cubicBezTo>
                  <a:pt x="352" y="205"/>
                  <a:pt x="353" y="204"/>
                  <a:pt x="353" y="204"/>
                </a:cubicBezTo>
                <a:cubicBezTo>
                  <a:pt x="355" y="203"/>
                  <a:pt x="358" y="203"/>
                  <a:pt x="360" y="203"/>
                </a:cubicBezTo>
                <a:cubicBezTo>
                  <a:pt x="378" y="203"/>
                  <a:pt x="392" y="218"/>
                  <a:pt x="392" y="235"/>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166" y="374"/>
                </a:moveTo>
                <a:cubicBezTo>
                  <a:pt x="160" y="373"/>
                  <a:pt x="154" y="376"/>
                  <a:pt x="153" y="382"/>
                </a:cubicBezTo>
                <a:cubicBezTo>
                  <a:pt x="147" y="403"/>
                  <a:pt x="147" y="403"/>
                  <a:pt x="147" y="403"/>
                </a:cubicBezTo>
                <a:cubicBezTo>
                  <a:pt x="146" y="409"/>
                  <a:pt x="149" y="415"/>
                  <a:pt x="155" y="416"/>
                </a:cubicBezTo>
                <a:cubicBezTo>
                  <a:pt x="156" y="416"/>
                  <a:pt x="157" y="416"/>
                  <a:pt x="158" y="416"/>
                </a:cubicBezTo>
                <a:cubicBezTo>
                  <a:pt x="162" y="416"/>
                  <a:pt x="167" y="413"/>
                  <a:pt x="168" y="408"/>
                </a:cubicBezTo>
                <a:cubicBezTo>
                  <a:pt x="173" y="387"/>
                  <a:pt x="173" y="387"/>
                  <a:pt x="173" y="387"/>
                </a:cubicBezTo>
                <a:cubicBezTo>
                  <a:pt x="175" y="381"/>
                  <a:pt x="171" y="375"/>
                  <a:pt x="166" y="374"/>
                </a:cubicBezTo>
                <a:close/>
                <a:moveTo>
                  <a:pt x="182" y="310"/>
                </a:moveTo>
                <a:cubicBezTo>
                  <a:pt x="176" y="309"/>
                  <a:pt x="170" y="312"/>
                  <a:pt x="169" y="318"/>
                </a:cubicBezTo>
                <a:cubicBezTo>
                  <a:pt x="163" y="339"/>
                  <a:pt x="163" y="339"/>
                  <a:pt x="163" y="339"/>
                </a:cubicBezTo>
                <a:cubicBezTo>
                  <a:pt x="162" y="345"/>
                  <a:pt x="165" y="351"/>
                  <a:pt x="171" y="352"/>
                </a:cubicBezTo>
                <a:cubicBezTo>
                  <a:pt x="172" y="352"/>
                  <a:pt x="173" y="352"/>
                  <a:pt x="174" y="352"/>
                </a:cubicBezTo>
                <a:cubicBezTo>
                  <a:pt x="178" y="352"/>
                  <a:pt x="183" y="349"/>
                  <a:pt x="184" y="344"/>
                </a:cubicBezTo>
                <a:cubicBezTo>
                  <a:pt x="189" y="323"/>
                  <a:pt x="189" y="323"/>
                  <a:pt x="189" y="323"/>
                </a:cubicBezTo>
                <a:cubicBezTo>
                  <a:pt x="191" y="317"/>
                  <a:pt x="187" y="311"/>
                  <a:pt x="182" y="310"/>
                </a:cubicBezTo>
                <a:close/>
                <a:moveTo>
                  <a:pt x="240" y="374"/>
                </a:moveTo>
                <a:cubicBezTo>
                  <a:pt x="234" y="373"/>
                  <a:pt x="229" y="376"/>
                  <a:pt x="227" y="382"/>
                </a:cubicBezTo>
                <a:cubicBezTo>
                  <a:pt x="222" y="403"/>
                  <a:pt x="222" y="403"/>
                  <a:pt x="222" y="403"/>
                </a:cubicBezTo>
                <a:cubicBezTo>
                  <a:pt x="220" y="409"/>
                  <a:pt x="224" y="415"/>
                  <a:pt x="230" y="416"/>
                </a:cubicBezTo>
                <a:cubicBezTo>
                  <a:pt x="231" y="416"/>
                  <a:pt x="231" y="416"/>
                  <a:pt x="232" y="416"/>
                </a:cubicBezTo>
                <a:cubicBezTo>
                  <a:pt x="237" y="416"/>
                  <a:pt x="241" y="413"/>
                  <a:pt x="243" y="408"/>
                </a:cubicBezTo>
                <a:cubicBezTo>
                  <a:pt x="248" y="387"/>
                  <a:pt x="248" y="387"/>
                  <a:pt x="248" y="387"/>
                </a:cubicBezTo>
                <a:cubicBezTo>
                  <a:pt x="249" y="381"/>
                  <a:pt x="246" y="375"/>
                  <a:pt x="240" y="374"/>
                </a:cubicBezTo>
                <a:close/>
                <a:moveTo>
                  <a:pt x="256" y="310"/>
                </a:moveTo>
                <a:cubicBezTo>
                  <a:pt x="250" y="309"/>
                  <a:pt x="245" y="312"/>
                  <a:pt x="243" y="318"/>
                </a:cubicBezTo>
                <a:cubicBezTo>
                  <a:pt x="238" y="339"/>
                  <a:pt x="238" y="339"/>
                  <a:pt x="238" y="339"/>
                </a:cubicBezTo>
                <a:cubicBezTo>
                  <a:pt x="236" y="345"/>
                  <a:pt x="240" y="351"/>
                  <a:pt x="246" y="352"/>
                </a:cubicBezTo>
                <a:cubicBezTo>
                  <a:pt x="247" y="352"/>
                  <a:pt x="247" y="352"/>
                  <a:pt x="248" y="352"/>
                </a:cubicBezTo>
                <a:cubicBezTo>
                  <a:pt x="253" y="352"/>
                  <a:pt x="257" y="349"/>
                  <a:pt x="259" y="344"/>
                </a:cubicBezTo>
                <a:cubicBezTo>
                  <a:pt x="264" y="323"/>
                  <a:pt x="264" y="323"/>
                  <a:pt x="264" y="323"/>
                </a:cubicBezTo>
                <a:cubicBezTo>
                  <a:pt x="265" y="317"/>
                  <a:pt x="262" y="311"/>
                  <a:pt x="256" y="310"/>
                </a:cubicBezTo>
                <a:close/>
                <a:moveTo>
                  <a:pt x="315" y="374"/>
                </a:moveTo>
                <a:cubicBezTo>
                  <a:pt x="309" y="373"/>
                  <a:pt x="303" y="376"/>
                  <a:pt x="302" y="382"/>
                </a:cubicBezTo>
                <a:cubicBezTo>
                  <a:pt x="297" y="403"/>
                  <a:pt x="297" y="403"/>
                  <a:pt x="297" y="403"/>
                </a:cubicBezTo>
                <a:cubicBezTo>
                  <a:pt x="295" y="409"/>
                  <a:pt x="299" y="415"/>
                  <a:pt x="304" y="416"/>
                </a:cubicBezTo>
                <a:cubicBezTo>
                  <a:pt x="305" y="416"/>
                  <a:pt x="306" y="416"/>
                  <a:pt x="307" y="416"/>
                </a:cubicBezTo>
                <a:cubicBezTo>
                  <a:pt x="312" y="416"/>
                  <a:pt x="316" y="413"/>
                  <a:pt x="317" y="408"/>
                </a:cubicBezTo>
                <a:cubicBezTo>
                  <a:pt x="323" y="387"/>
                  <a:pt x="323" y="387"/>
                  <a:pt x="323" y="387"/>
                </a:cubicBezTo>
                <a:cubicBezTo>
                  <a:pt x="324" y="381"/>
                  <a:pt x="321" y="375"/>
                  <a:pt x="315" y="374"/>
                </a:cubicBezTo>
                <a:close/>
                <a:moveTo>
                  <a:pt x="331" y="310"/>
                </a:moveTo>
                <a:cubicBezTo>
                  <a:pt x="325" y="309"/>
                  <a:pt x="319" y="312"/>
                  <a:pt x="318" y="318"/>
                </a:cubicBezTo>
                <a:cubicBezTo>
                  <a:pt x="313" y="339"/>
                  <a:pt x="313" y="339"/>
                  <a:pt x="313" y="339"/>
                </a:cubicBezTo>
                <a:cubicBezTo>
                  <a:pt x="311" y="345"/>
                  <a:pt x="315" y="351"/>
                  <a:pt x="320" y="352"/>
                </a:cubicBezTo>
                <a:cubicBezTo>
                  <a:pt x="321" y="352"/>
                  <a:pt x="322" y="352"/>
                  <a:pt x="323" y="352"/>
                </a:cubicBezTo>
                <a:cubicBezTo>
                  <a:pt x="328" y="352"/>
                  <a:pt x="332" y="349"/>
                  <a:pt x="333" y="344"/>
                </a:cubicBezTo>
                <a:cubicBezTo>
                  <a:pt x="339" y="323"/>
                  <a:pt x="339" y="323"/>
                  <a:pt x="339" y="323"/>
                </a:cubicBezTo>
                <a:cubicBezTo>
                  <a:pt x="340" y="317"/>
                  <a:pt x="337" y="311"/>
                  <a:pt x="331" y="310"/>
                </a:cubicBezTo>
                <a:close/>
                <a:moveTo>
                  <a:pt x="414" y="235"/>
                </a:moveTo>
                <a:cubicBezTo>
                  <a:pt x="414" y="206"/>
                  <a:pt x="390" y="182"/>
                  <a:pt x="360" y="182"/>
                </a:cubicBezTo>
                <a:cubicBezTo>
                  <a:pt x="359" y="182"/>
                  <a:pt x="357" y="182"/>
                  <a:pt x="356" y="182"/>
                </a:cubicBezTo>
                <a:cubicBezTo>
                  <a:pt x="356" y="135"/>
                  <a:pt x="317" y="96"/>
                  <a:pt x="270" y="96"/>
                </a:cubicBezTo>
                <a:cubicBezTo>
                  <a:pt x="233" y="96"/>
                  <a:pt x="201" y="119"/>
                  <a:pt x="188" y="151"/>
                </a:cubicBezTo>
                <a:cubicBezTo>
                  <a:pt x="181" y="148"/>
                  <a:pt x="174" y="147"/>
                  <a:pt x="164" y="147"/>
                </a:cubicBezTo>
                <a:cubicBezTo>
                  <a:pt x="125" y="147"/>
                  <a:pt x="94" y="179"/>
                  <a:pt x="94" y="218"/>
                </a:cubicBezTo>
                <a:cubicBezTo>
                  <a:pt x="94" y="257"/>
                  <a:pt x="125" y="289"/>
                  <a:pt x="164" y="289"/>
                </a:cubicBezTo>
                <a:cubicBezTo>
                  <a:pt x="360" y="289"/>
                  <a:pt x="360" y="289"/>
                  <a:pt x="360" y="289"/>
                </a:cubicBezTo>
                <a:cubicBezTo>
                  <a:pt x="390" y="289"/>
                  <a:pt x="414" y="265"/>
                  <a:pt x="414" y="23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4" name="Group 517"/>
          <p:cNvGrpSpPr>
            <a:grpSpLocks noChangeAspect="1"/>
          </p:cNvGrpSpPr>
          <p:nvPr/>
        </p:nvGrpSpPr>
        <p:grpSpPr bwMode="auto">
          <a:xfrm>
            <a:off x="2508235" y="1697038"/>
            <a:ext cx="367041" cy="367041"/>
            <a:chOff x="4034" y="2248"/>
            <a:chExt cx="340" cy="340"/>
          </a:xfrm>
          <a:solidFill>
            <a:schemeClr val="accent6"/>
          </a:solidFill>
        </p:grpSpPr>
        <p:sp>
          <p:nvSpPr>
            <p:cNvPr id="285"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3" name="Group 123"/>
          <p:cNvGrpSpPr>
            <a:grpSpLocks noChangeAspect="1"/>
          </p:cNvGrpSpPr>
          <p:nvPr/>
        </p:nvGrpSpPr>
        <p:grpSpPr bwMode="auto">
          <a:xfrm>
            <a:off x="2927005" y="1697038"/>
            <a:ext cx="367041" cy="367041"/>
            <a:chOff x="2343" y="399"/>
            <a:chExt cx="340" cy="340"/>
          </a:xfrm>
          <a:solidFill>
            <a:schemeClr val="accent2"/>
          </a:solidFill>
        </p:grpSpPr>
        <p:sp>
          <p:nvSpPr>
            <p:cNvPr id="294" name="Freeform 124"/>
            <p:cNvSpPr>
              <a:spLocks/>
            </p:cNvSpPr>
            <p:nvPr/>
          </p:nvSpPr>
          <p:spPr bwMode="auto">
            <a:xfrm>
              <a:off x="2421" y="477"/>
              <a:ext cx="184" cy="99"/>
            </a:xfrm>
            <a:custGeom>
              <a:avLst/>
              <a:gdLst>
                <a:gd name="T0" fmla="*/ 245 w 277"/>
                <a:gd name="T1" fmla="*/ 85 h 149"/>
                <a:gd name="T2" fmla="*/ 236 w 277"/>
                <a:gd name="T3" fmla="*/ 87 h 149"/>
                <a:gd name="T4" fmla="*/ 223 w 277"/>
                <a:gd name="T5" fmla="*/ 89 h 149"/>
                <a:gd name="T6" fmla="*/ 219 w 277"/>
                <a:gd name="T7" fmla="*/ 74 h 149"/>
                <a:gd name="T8" fmla="*/ 220 w 277"/>
                <a:gd name="T9" fmla="*/ 65 h 149"/>
                <a:gd name="T10" fmla="*/ 155 w 277"/>
                <a:gd name="T11" fmla="*/ 0 h 149"/>
                <a:gd name="T12" fmla="*/ 90 w 277"/>
                <a:gd name="T13" fmla="*/ 52 h 149"/>
                <a:gd name="T14" fmla="*/ 84 w 277"/>
                <a:gd name="T15" fmla="*/ 59 h 149"/>
                <a:gd name="T16" fmla="*/ 74 w 277"/>
                <a:gd name="T17" fmla="*/ 58 h 149"/>
                <a:gd name="T18" fmla="*/ 50 w 277"/>
                <a:gd name="T19" fmla="*/ 50 h 149"/>
                <a:gd name="T20" fmla="*/ 0 w 277"/>
                <a:gd name="T21" fmla="*/ 100 h 149"/>
                <a:gd name="T22" fmla="*/ 50 w 277"/>
                <a:gd name="T23" fmla="*/ 149 h 149"/>
                <a:gd name="T24" fmla="*/ 245 w 277"/>
                <a:gd name="T25" fmla="*/ 149 h 149"/>
                <a:gd name="T26" fmla="*/ 277 w 277"/>
                <a:gd name="T27" fmla="*/ 117 h 149"/>
                <a:gd name="T28" fmla="*/ 245 w 277"/>
                <a:gd name="T29"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149">
                  <a:moveTo>
                    <a:pt x="245" y="85"/>
                  </a:moveTo>
                  <a:cubicBezTo>
                    <a:pt x="241" y="85"/>
                    <a:pt x="237" y="86"/>
                    <a:pt x="236" y="87"/>
                  </a:cubicBezTo>
                  <a:cubicBezTo>
                    <a:pt x="233" y="90"/>
                    <a:pt x="227" y="91"/>
                    <a:pt x="223" y="89"/>
                  </a:cubicBezTo>
                  <a:cubicBezTo>
                    <a:pt x="218" y="86"/>
                    <a:pt x="217" y="81"/>
                    <a:pt x="219" y="74"/>
                  </a:cubicBezTo>
                  <a:cubicBezTo>
                    <a:pt x="219" y="74"/>
                    <a:pt x="220" y="68"/>
                    <a:pt x="220" y="65"/>
                  </a:cubicBezTo>
                  <a:cubicBezTo>
                    <a:pt x="220" y="29"/>
                    <a:pt x="191" y="0"/>
                    <a:pt x="155" y="0"/>
                  </a:cubicBezTo>
                  <a:cubicBezTo>
                    <a:pt x="124" y="0"/>
                    <a:pt x="96" y="22"/>
                    <a:pt x="90" y="52"/>
                  </a:cubicBezTo>
                  <a:cubicBezTo>
                    <a:pt x="89" y="55"/>
                    <a:pt x="87" y="58"/>
                    <a:pt x="84" y="59"/>
                  </a:cubicBezTo>
                  <a:cubicBezTo>
                    <a:pt x="80" y="61"/>
                    <a:pt x="77" y="60"/>
                    <a:pt x="74" y="58"/>
                  </a:cubicBezTo>
                  <a:cubicBezTo>
                    <a:pt x="66" y="53"/>
                    <a:pt x="59" y="50"/>
                    <a:pt x="50" y="50"/>
                  </a:cubicBezTo>
                  <a:cubicBezTo>
                    <a:pt x="22" y="50"/>
                    <a:pt x="0" y="72"/>
                    <a:pt x="0" y="100"/>
                  </a:cubicBezTo>
                  <a:cubicBezTo>
                    <a:pt x="0" y="127"/>
                    <a:pt x="22" y="149"/>
                    <a:pt x="50" y="149"/>
                  </a:cubicBezTo>
                  <a:cubicBezTo>
                    <a:pt x="245" y="149"/>
                    <a:pt x="245" y="149"/>
                    <a:pt x="245" y="149"/>
                  </a:cubicBezTo>
                  <a:cubicBezTo>
                    <a:pt x="263" y="149"/>
                    <a:pt x="277" y="135"/>
                    <a:pt x="277" y="117"/>
                  </a:cubicBezTo>
                  <a:cubicBezTo>
                    <a:pt x="277" y="100"/>
                    <a:pt x="263" y="85"/>
                    <a:pt x="24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125"/>
            <p:cNvSpPr>
              <a:spLocks noEditPoints="1"/>
            </p:cNvSpPr>
            <p:nvPr/>
          </p:nvSpPr>
          <p:spPr bwMode="auto">
            <a:xfrm>
              <a:off x="2343" y="39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0 w 512"/>
                <a:gd name="T11" fmla="*/ 416 h 512"/>
                <a:gd name="T12" fmla="*/ 149 w 512"/>
                <a:gd name="T13" fmla="*/ 405 h 512"/>
                <a:gd name="T14" fmla="*/ 160 w 512"/>
                <a:gd name="T15" fmla="*/ 394 h 512"/>
                <a:gd name="T16" fmla="*/ 170 w 512"/>
                <a:gd name="T17" fmla="*/ 405 h 512"/>
                <a:gd name="T18" fmla="*/ 160 w 512"/>
                <a:gd name="T19" fmla="*/ 416 h 512"/>
                <a:gd name="T20" fmla="*/ 170 w 512"/>
                <a:gd name="T21" fmla="*/ 373 h 512"/>
                <a:gd name="T22" fmla="*/ 160 w 512"/>
                <a:gd name="T23" fmla="*/ 362 h 512"/>
                <a:gd name="T24" fmla="*/ 170 w 512"/>
                <a:gd name="T25" fmla="*/ 352 h 512"/>
                <a:gd name="T26" fmla="*/ 181 w 512"/>
                <a:gd name="T27" fmla="*/ 362 h 512"/>
                <a:gd name="T28" fmla="*/ 170 w 512"/>
                <a:gd name="T29" fmla="*/ 373 h 512"/>
                <a:gd name="T30" fmla="*/ 181 w 512"/>
                <a:gd name="T31" fmla="*/ 330 h 512"/>
                <a:gd name="T32" fmla="*/ 170 w 512"/>
                <a:gd name="T33" fmla="*/ 320 h 512"/>
                <a:gd name="T34" fmla="*/ 181 w 512"/>
                <a:gd name="T35" fmla="*/ 309 h 512"/>
                <a:gd name="T36" fmla="*/ 192 w 512"/>
                <a:gd name="T37" fmla="*/ 320 h 512"/>
                <a:gd name="T38" fmla="*/ 181 w 512"/>
                <a:gd name="T39" fmla="*/ 330 h 512"/>
                <a:gd name="T40" fmla="*/ 234 w 512"/>
                <a:gd name="T41" fmla="*/ 416 h 512"/>
                <a:gd name="T42" fmla="*/ 224 w 512"/>
                <a:gd name="T43" fmla="*/ 405 h 512"/>
                <a:gd name="T44" fmla="*/ 234 w 512"/>
                <a:gd name="T45" fmla="*/ 394 h 512"/>
                <a:gd name="T46" fmla="*/ 245 w 512"/>
                <a:gd name="T47" fmla="*/ 405 h 512"/>
                <a:gd name="T48" fmla="*/ 234 w 512"/>
                <a:gd name="T49" fmla="*/ 416 h 512"/>
                <a:gd name="T50" fmla="*/ 245 w 512"/>
                <a:gd name="T51" fmla="*/ 373 h 512"/>
                <a:gd name="T52" fmla="*/ 234 w 512"/>
                <a:gd name="T53" fmla="*/ 362 h 512"/>
                <a:gd name="T54" fmla="*/ 245 w 512"/>
                <a:gd name="T55" fmla="*/ 352 h 512"/>
                <a:gd name="T56" fmla="*/ 256 w 512"/>
                <a:gd name="T57" fmla="*/ 362 h 512"/>
                <a:gd name="T58" fmla="*/ 245 w 512"/>
                <a:gd name="T59" fmla="*/ 373 h 512"/>
                <a:gd name="T60" fmla="*/ 256 w 512"/>
                <a:gd name="T61" fmla="*/ 330 h 512"/>
                <a:gd name="T62" fmla="*/ 245 w 512"/>
                <a:gd name="T63" fmla="*/ 320 h 512"/>
                <a:gd name="T64" fmla="*/ 256 w 512"/>
                <a:gd name="T65" fmla="*/ 309 h 512"/>
                <a:gd name="T66" fmla="*/ 266 w 512"/>
                <a:gd name="T67" fmla="*/ 320 h 512"/>
                <a:gd name="T68" fmla="*/ 256 w 512"/>
                <a:gd name="T69" fmla="*/ 330 h 512"/>
                <a:gd name="T70" fmla="*/ 309 w 512"/>
                <a:gd name="T71" fmla="*/ 416 h 512"/>
                <a:gd name="T72" fmla="*/ 298 w 512"/>
                <a:gd name="T73" fmla="*/ 405 h 512"/>
                <a:gd name="T74" fmla="*/ 309 w 512"/>
                <a:gd name="T75" fmla="*/ 394 h 512"/>
                <a:gd name="T76" fmla="*/ 320 w 512"/>
                <a:gd name="T77" fmla="*/ 405 h 512"/>
                <a:gd name="T78" fmla="*/ 309 w 512"/>
                <a:gd name="T79" fmla="*/ 416 h 512"/>
                <a:gd name="T80" fmla="*/ 320 w 512"/>
                <a:gd name="T81" fmla="*/ 373 h 512"/>
                <a:gd name="T82" fmla="*/ 309 w 512"/>
                <a:gd name="T83" fmla="*/ 362 h 512"/>
                <a:gd name="T84" fmla="*/ 320 w 512"/>
                <a:gd name="T85" fmla="*/ 352 h 512"/>
                <a:gd name="T86" fmla="*/ 330 w 512"/>
                <a:gd name="T87" fmla="*/ 362 h 512"/>
                <a:gd name="T88" fmla="*/ 320 w 512"/>
                <a:gd name="T89" fmla="*/ 373 h 512"/>
                <a:gd name="T90" fmla="*/ 330 w 512"/>
                <a:gd name="T91" fmla="*/ 330 h 512"/>
                <a:gd name="T92" fmla="*/ 320 w 512"/>
                <a:gd name="T93" fmla="*/ 320 h 512"/>
                <a:gd name="T94" fmla="*/ 330 w 512"/>
                <a:gd name="T95" fmla="*/ 309 h 512"/>
                <a:gd name="T96" fmla="*/ 341 w 512"/>
                <a:gd name="T97" fmla="*/ 320 h 512"/>
                <a:gd name="T98" fmla="*/ 330 w 512"/>
                <a:gd name="T99" fmla="*/ 330 h 512"/>
                <a:gd name="T100" fmla="*/ 362 w 512"/>
                <a:gd name="T101" fmla="*/ 288 h 512"/>
                <a:gd name="T102" fmla="*/ 167 w 512"/>
                <a:gd name="T103" fmla="*/ 288 h 512"/>
                <a:gd name="T104" fmla="*/ 96 w 512"/>
                <a:gd name="T105" fmla="*/ 217 h 512"/>
                <a:gd name="T106" fmla="*/ 167 w 512"/>
                <a:gd name="T107" fmla="*/ 146 h 512"/>
                <a:gd name="T108" fmla="*/ 190 w 512"/>
                <a:gd name="T109" fmla="*/ 151 h 512"/>
                <a:gd name="T110" fmla="*/ 272 w 512"/>
                <a:gd name="T111" fmla="*/ 96 h 512"/>
                <a:gd name="T112" fmla="*/ 358 w 512"/>
                <a:gd name="T113" fmla="*/ 181 h 512"/>
                <a:gd name="T114" fmla="*/ 362 w 512"/>
                <a:gd name="T115" fmla="*/ 181 h 512"/>
                <a:gd name="T116" fmla="*/ 416 w 512"/>
                <a:gd name="T117" fmla="*/ 234 h 512"/>
                <a:gd name="T118" fmla="*/ 362 w 512"/>
                <a:gd name="T11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0" y="416"/>
                  </a:moveTo>
                  <a:cubicBezTo>
                    <a:pt x="154" y="416"/>
                    <a:pt x="149" y="411"/>
                    <a:pt x="149" y="405"/>
                  </a:cubicBezTo>
                  <a:cubicBezTo>
                    <a:pt x="149" y="399"/>
                    <a:pt x="154" y="394"/>
                    <a:pt x="160" y="394"/>
                  </a:cubicBezTo>
                  <a:cubicBezTo>
                    <a:pt x="166" y="394"/>
                    <a:pt x="170" y="399"/>
                    <a:pt x="170" y="405"/>
                  </a:cubicBezTo>
                  <a:cubicBezTo>
                    <a:pt x="170" y="411"/>
                    <a:pt x="166" y="416"/>
                    <a:pt x="160" y="416"/>
                  </a:cubicBezTo>
                  <a:close/>
                  <a:moveTo>
                    <a:pt x="170" y="373"/>
                  </a:moveTo>
                  <a:cubicBezTo>
                    <a:pt x="164" y="373"/>
                    <a:pt x="160" y="368"/>
                    <a:pt x="160" y="362"/>
                  </a:cubicBezTo>
                  <a:cubicBezTo>
                    <a:pt x="160" y="356"/>
                    <a:pt x="164" y="352"/>
                    <a:pt x="170" y="352"/>
                  </a:cubicBezTo>
                  <a:cubicBezTo>
                    <a:pt x="176" y="352"/>
                    <a:pt x="181" y="356"/>
                    <a:pt x="181" y="362"/>
                  </a:cubicBezTo>
                  <a:cubicBezTo>
                    <a:pt x="181" y="368"/>
                    <a:pt x="176" y="373"/>
                    <a:pt x="170" y="373"/>
                  </a:cubicBezTo>
                  <a:close/>
                  <a:moveTo>
                    <a:pt x="181" y="330"/>
                  </a:moveTo>
                  <a:cubicBezTo>
                    <a:pt x="175" y="330"/>
                    <a:pt x="170" y="326"/>
                    <a:pt x="170" y="320"/>
                  </a:cubicBezTo>
                  <a:cubicBezTo>
                    <a:pt x="170" y="314"/>
                    <a:pt x="175" y="309"/>
                    <a:pt x="181" y="309"/>
                  </a:cubicBezTo>
                  <a:cubicBezTo>
                    <a:pt x="187" y="309"/>
                    <a:pt x="192" y="314"/>
                    <a:pt x="192" y="320"/>
                  </a:cubicBezTo>
                  <a:cubicBezTo>
                    <a:pt x="192" y="326"/>
                    <a:pt x="187" y="330"/>
                    <a:pt x="181" y="330"/>
                  </a:cubicBezTo>
                  <a:close/>
                  <a:moveTo>
                    <a:pt x="234" y="416"/>
                  </a:moveTo>
                  <a:cubicBezTo>
                    <a:pt x="228" y="416"/>
                    <a:pt x="224" y="411"/>
                    <a:pt x="224" y="405"/>
                  </a:cubicBezTo>
                  <a:cubicBezTo>
                    <a:pt x="224" y="399"/>
                    <a:pt x="228" y="394"/>
                    <a:pt x="234" y="394"/>
                  </a:cubicBezTo>
                  <a:cubicBezTo>
                    <a:pt x="240" y="394"/>
                    <a:pt x="245" y="399"/>
                    <a:pt x="245" y="405"/>
                  </a:cubicBezTo>
                  <a:cubicBezTo>
                    <a:pt x="245" y="411"/>
                    <a:pt x="240" y="416"/>
                    <a:pt x="234" y="416"/>
                  </a:cubicBezTo>
                  <a:close/>
                  <a:moveTo>
                    <a:pt x="245" y="373"/>
                  </a:moveTo>
                  <a:cubicBezTo>
                    <a:pt x="239" y="373"/>
                    <a:pt x="234" y="368"/>
                    <a:pt x="234" y="362"/>
                  </a:cubicBezTo>
                  <a:cubicBezTo>
                    <a:pt x="234" y="356"/>
                    <a:pt x="239" y="352"/>
                    <a:pt x="245" y="352"/>
                  </a:cubicBezTo>
                  <a:cubicBezTo>
                    <a:pt x="251" y="352"/>
                    <a:pt x="256" y="356"/>
                    <a:pt x="256" y="362"/>
                  </a:cubicBezTo>
                  <a:cubicBezTo>
                    <a:pt x="256" y="368"/>
                    <a:pt x="251" y="373"/>
                    <a:pt x="245" y="373"/>
                  </a:cubicBezTo>
                  <a:close/>
                  <a:moveTo>
                    <a:pt x="256" y="330"/>
                  </a:moveTo>
                  <a:cubicBezTo>
                    <a:pt x="250" y="330"/>
                    <a:pt x="245" y="326"/>
                    <a:pt x="245" y="320"/>
                  </a:cubicBezTo>
                  <a:cubicBezTo>
                    <a:pt x="245" y="314"/>
                    <a:pt x="250" y="309"/>
                    <a:pt x="256" y="309"/>
                  </a:cubicBezTo>
                  <a:cubicBezTo>
                    <a:pt x="262" y="309"/>
                    <a:pt x="266" y="314"/>
                    <a:pt x="266" y="320"/>
                  </a:cubicBezTo>
                  <a:cubicBezTo>
                    <a:pt x="266" y="326"/>
                    <a:pt x="262" y="330"/>
                    <a:pt x="256" y="330"/>
                  </a:cubicBezTo>
                  <a:close/>
                  <a:moveTo>
                    <a:pt x="309" y="416"/>
                  </a:moveTo>
                  <a:cubicBezTo>
                    <a:pt x="303" y="416"/>
                    <a:pt x="298" y="411"/>
                    <a:pt x="298" y="405"/>
                  </a:cubicBezTo>
                  <a:cubicBezTo>
                    <a:pt x="298" y="399"/>
                    <a:pt x="303" y="394"/>
                    <a:pt x="309" y="394"/>
                  </a:cubicBezTo>
                  <a:cubicBezTo>
                    <a:pt x="315" y="394"/>
                    <a:pt x="320" y="399"/>
                    <a:pt x="320" y="405"/>
                  </a:cubicBezTo>
                  <a:cubicBezTo>
                    <a:pt x="320" y="411"/>
                    <a:pt x="315" y="416"/>
                    <a:pt x="309" y="416"/>
                  </a:cubicBezTo>
                  <a:close/>
                  <a:moveTo>
                    <a:pt x="320" y="373"/>
                  </a:moveTo>
                  <a:cubicBezTo>
                    <a:pt x="314" y="373"/>
                    <a:pt x="309" y="368"/>
                    <a:pt x="309" y="362"/>
                  </a:cubicBezTo>
                  <a:cubicBezTo>
                    <a:pt x="309" y="356"/>
                    <a:pt x="314" y="352"/>
                    <a:pt x="320" y="352"/>
                  </a:cubicBezTo>
                  <a:cubicBezTo>
                    <a:pt x="326" y="352"/>
                    <a:pt x="330" y="356"/>
                    <a:pt x="330" y="362"/>
                  </a:cubicBezTo>
                  <a:cubicBezTo>
                    <a:pt x="330" y="368"/>
                    <a:pt x="326" y="373"/>
                    <a:pt x="320" y="373"/>
                  </a:cubicBezTo>
                  <a:close/>
                  <a:moveTo>
                    <a:pt x="330" y="330"/>
                  </a:moveTo>
                  <a:cubicBezTo>
                    <a:pt x="324" y="330"/>
                    <a:pt x="320" y="326"/>
                    <a:pt x="320" y="320"/>
                  </a:cubicBezTo>
                  <a:cubicBezTo>
                    <a:pt x="320" y="314"/>
                    <a:pt x="324" y="309"/>
                    <a:pt x="330" y="309"/>
                  </a:cubicBezTo>
                  <a:cubicBezTo>
                    <a:pt x="336" y="309"/>
                    <a:pt x="341" y="314"/>
                    <a:pt x="341" y="320"/>
                  </a:cubicBezTo>
                  <a:cubicBezTo>
                    <a:pt x="341" y="326"/>
                    <a:pt x="336" y="330"/>
                    <a:pt x="330" y="330"/>
                  </a:cubicBezTo>
                  <a:close/>
                  <a:moveTo>
                    <a:pt x="362" y="288"/>
                  </a:moveTo>
                  <a:cubicBezTo>
                    <a:pt x="167" y="288"/>
                    <a:pt x="167" y="288"/>
                    <a:pt x="167" y="288"/>
                  </a:cubicBezTo>
                  <a:cubicBezTo>
                    <a:pt x="127" y="288"/>
                    <a:pt x="96" y="256"/>
                    <a:pt x="96" y="217"/>
                  </a:cubicBezTo>
                  <a:cubicBezTo>
                    <a:pt x="96" y="178"/>
                    <a:pt x="127" y="146"/>
                    <a:pt x="167" y="146"/>
                  </a:cubicBezTo>
                  <a:cubicBezTo>
                    <a:pt x="176" y="146"/>
                    <a:pt x="183" y="148"/>
                    <a:pt x="190" y="151"/>
                  </a:cubicBezTo>
                  <a:cubicBezTo>
                    <a:pt x="203" y="118"/>
                    <a:pt x="235" y="96"/>
                    <a:pt x="272" y="96"/>
                  </a:cubicBezTo>
                  <a:cubicBezTo>
                    <a:pt x="319" y="96"/>
                    <a:pt x="358" y="134"/>
                    <a:pt x="358" y="181"/>
                  </a:cubicBezTo>
                  <a:cubicBezTo>
                    <a:pt x="359" y="181"/>
                    <a:pt x="361" y="181"/>
                    <a:pt x="362" y="181"/>
                  </a:cubicBezTo>
                  <a:cubicBezTo>
                    <a:pt x="392" y="181"/>
                    <a:pt x="416" y="205"/>
                    <a:pt x="416" y="234"/>
                  </a:cubicBezTo>
                  <a:cubicBezTo>
                    <a:pt x="416" y="264"/>
                    <a:pt x="392" y="288"/>
                    <a:pt x="362" y="2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6" name="Group 128"/>
          <p:cNvGrpSpPr>
            <a:grpSpLocks noChangeAspect="1"/>
          </p:cNvGrpSpPr>
          <p:nvPr/>
        </p:nvGrpSpPr>
        <p:grpSpPr bwMode="auto">
          <a:xfrm>
            <a:off x="3345775" y="1697038"/>
            <a:ext cx="368120" cy="367041"/>
            <a:chOff x="2963" y="475"/>
            <a:chExt cx="341" cy="340"/>
          </a:xfrm>
          <a:solidFill>
            <a:schemeClr val="accent2"/>
          </a:solidFill>
        </p:grpSpPr>
        <p:sp>
          <p:nvSpPr>
            <p:cNvPr id="297" name="Freeform 129"/>
            <p:cNvSpPr>
              <a:spLocks noEditPoints="1"/>
            </p:cNvSpPr>
            <p:nvPr/>
          </p:nvSpPr>
          <p:spPr bwMode="auto">
            <a:xfrm>
              <a:off x="3027" y="539"/>
              <a:ext cx="213" cy="212"/>
            </a:xfrm>
            <a:custGeom>
              <a:avLst/>
              <a:gdLst>
                <a:gd name="T0" fmla="*/ 262 w 320"/>
                <a:gd name="T1" fmla="*/ 85 h 320"/>
                <a:gd name="T2" fmla="*/ 94 w 320"/>
                <a:gd name="T3" fmla="*/ 55 h 320"/>
                <a:gd name="T4" fmla="*/ 0 w 320"/>
                <a:gd name="T5" fmla="*/ 121 h 320"/>
                <a:gd name="T6" fmla="*/ 266 w 320"/>
                <a:gd name="T7" fmla="*/ 192 h 320"/>
                <a:gd name="T8" fmla="*/ 266 w 320"/>
                <a:gd name="T9" fmla="*/ 85 h 320"/>
                <a:gd name="T10" fmla="*/ 71 w 320"/>
                <a:gd name="T11" fmla="*/ 170 h 320"/>
                <a:gd name="T12" fmla="*/ 71 w 320"/>
                <a:gd name="T13" fmla="*/ 71 h 320"/>
                <a:gd name="T14" fmla="*/ 105 w 320"/>
                <a:gd name="T15" fmla="*/ 80 h 320"/>
                <a:gd name="T16" fmla="*/ 176 w 320"/>
                <a:gd name="T17" fmla="*/ 21 h 320"/>
                <a:gd name="T18" fmla="*/ 240 w 320"/>
                <a:gd name="T19" fmla="*/ 95 h 320"/>
                <a:gd name="T20" fmla="*/ 257 w 320"/>
                <a:gd name="T21" fmla="*/ 108 h 320"/>
                <a:gd name="T22" fmla="*/ 298 w 320"/>
                <a:gd name="T23" fmla="*/ 138 h 320"/>
                <a:gd name="T24" fmla="*/ 96 w 320"/>
                <a:gd name="T25" fmla="*/ 224 h 320"/>
                <a:gd name="T26" fmla="*/ 74 w 320"/>
                <a:gd name="T27" fmla="*/ 224 h 320"/>
                <a:gd name="T28" fmla="*/ 96 w 320"/>
                <a:gd name="T29" fmla="*/ 224 h 320"/>
                <a:gd name="T30" fmla="*/ 160 w 320"/>
                <a:gd name="T31" fmla="*/ 234 h 320"/>
                <a:gd name="T32" fmla="*/ 160 w 320"/>
                <a:gd name="T33" fmla="*/ 213 h 320"/>
                <a:gd name="T34" fmla="*/ 245 w 320"/>
                <a:gd name="T35" fmla="*/ 224 h 320"/>
                <a:gd name="T36" fmla="*/ 224 w 320"/>
                <a:gd name="T37" fmla="*/ 224 h 320"/>
                <a:gd name="T38" fmla="*/ 245 w 320"/>
                <a:gd name="T39" fmla="*/ 224 h 320"/>
                <a:gd name="T40" fmla="*/ 74 w 320"/>
                <a:gd name="T41" fmla="*/ 277 h 320"/>
                <a:gd name="T42" fmla="*/ 74 w 320"/>
                <a:gd name="T43" fmla="*/ 256 h 320"/>
                <a:gd name="T44" fmla="*/ 160 w 320"/>
                <a:gd name="T45" fmla="*/ 266 h 320"/>
                <a:gd name="T46" fmla="*/ 138 w 320"/>
                <a:gd name="T47" fmla="*/ 266 h 320"/>
                <a:gd name="T48" fmla="*/ 160 w 320"/>
                <a:gd name="T49" fmla="*/ 266 h 320"/>
                <a:gd name="T50" fmla="*/ 224 w 320"/>
                <a:gd name="T51" fmla="*/ 277 h 320"/>
                <a:gd name="T52" fmla="*/ 224 w 320"/>
                <a:gd name="T53" fmla="*/ 256 h 320"/>
                <a:gd name="T54" fmla="*/ 74 w 320"/>
                <a:gd name="T55" fmla="*/ 309 h 320"/>
                <a:gd name="T56" fmla="*/ 53 w 320"/>
                <a:gd name="T57" fmla="*/ 309 h 320"/>
                <a:gd name="T58" fmla="*/ 74 w 320"/>
                <a:gd name="T59" fmla="*/ 309 h 320"/>
                <a:gd name="T60" fmla="*/ 138 w 320"/>
                <a:gd name="T61" fmla="*/ 320 h 320"/>
                <a:gd name="T62" fmla="*/ 138 w 320"/>
                <a:gd name="T63" fmla="*/ 298 h 320"/>
                <a:gd name="T64" fmla="*/ 224 w 320"/>
                <a:gd name="T65" fmla="*/ 309 h 320"/>
                <a:gd name="T66" fmla="*/ 202 w 320"/>
                <a:gd name="T67" fmla="*/ 309 h 320"/>
                <a:gd name="T68" fmla="*/ 224 w 320"/>
                <a:gd name="T69" fmla="*/ 30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20">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5"/>
                    <a:pt x="240" y="95"/>
                  </a:cubicBezTo>
                  <a:cubicBezTo>
                    <a:pt x="238" y="102"/>
                    <a:pt x="239" y="107"/>
                    <a:pt x="244" y="110"/>
                  </a:cubicBezTo>
                  <a:cubicBezTo>
                    <a:pt x="248" y="112"/>
                    <a:pt x="254" y="111"/>
                    <a:pt x="257" y="108"/>
                  </a:cubicBezTo>
                  <a:cubicBezTo>
                    <a:pt x="258" y="107"/>
                    <a:pt x="262" y="106"/>
                    <a:pt x="266" y="106"/>
                  </a:cubicBezTo>
                  <a:cubicBezTo>
                    <a:pt x="284" y="106"/>
                    <a:pt x="298" y="121"/>
                    <a:pt x="298" y="138"/>
                  </a:cubicBezTo>
                  <a:cubicBezTo>
                    <a:pt x="298" y="156"/>
                    <a:pt x="284" y="170"/>
                    <a:pt x="266" y="170"/>
                  </a:cubicBezTo>
                  <a:close/>
                  <a:moveTo>
                    <a:pt x="96" y="224"/>
                  </a:moveTo>
                  <a:cubicBezTo>
                    <a:pt x="96" y="230"/>
                    <a:pt x="91" y="234"/>
                    <a:pt x="85" y="234"/>
                  </a:cubicBezTo>
                  <a:cubicBezTo>
                    <a:pt x="79" y="234"/>
                    <a:pt x="74" y="230"/>
                    <a:pt x="74" y="224"/>
                  </a:cubicBezTo>
                  <a:cubicBezTo>
                    <a:pt x="74" y="218"/>
                    <a:pt x="79" y="213"/>
                    <a:pt x="85" y="213"/>
                  </a:cubicBezTo>
                  <a:cubicBezTo>
                    <a:pt x="91" y="213"/>
                    <a:pt x="96" y="218"/>
                    <a:pt x="96" y="224"/>
                  </a:cubicBezTo>
                  <a:close/>
                  <a:moveTo>
                    <a:pt x="170" y="224"/>
                  </a:moveTo>
                  <a:cubicBezTo>
                    <a:pt x="170" y="230"/>
                    <a:pt x="166" y="234"/>
                    <a:pt x="160" y="234"/>
                  </a:cubicBezTo>
                  <a:cubicBezTo>
                    <a:pt x="154" y="234"/>
                    <a:pt x="149" y="230"/>
                    <a:pt x="149" y="224"/>
                  </a:cubicBezTo>
                  <a:cubicBezTo>
                    <a:pt x="149" y="218"/>
                    <a:pt x="154" y="213"/>
                    <a:pt x="160" y="213"/>
                  </a:cubicBezTo>
                  <a:cubicBezTo>
                    <a:pt x="166" y="213"/>
                    <a:pt x="170" y="218"/>
                    <a:pt x="170" y="224"/>
                  </a:cubicBezTo>
                  <a:close/>
                  <a:moveTo>
                    <a:pt x="245" y="224"/>
                  </a:moveTo>
                  <a:cubicBezTo>
                    <a:pt x="245" y="230"/>
                    <a:pt x="240" y="234"/>
                    <a:pt x="234" y="234"/>
                  </a:cubicBezTo>
                  <a:cubicBezTo>
                    <a:pt x="228" y="234"/>
                    <a:pt x="224" y="230"/>
                    <a:pt x="224" y="224"/>
                  </a:cubicBezTo>
                  <a:cubicBezTo>
                    <a:pt x="224" y="218"/>
                    <a:pt x="228" y="213"/>
                    <a:pt x="234" y="213"/>
                  </a:cubicBezTo>
                  <a:cubicBezTo>
                    <a:pt x="240" y="213"/>
                    <a:pt x="245" y="218"/>
                    <a:pt x="245" y="224"/>
                  </a:cubicBezTo>
                  <a:close/>
                  <a:moveTo>
                    <a:pt x="85" y="266"/>
                  </a:moveTo>
                  <a:cubicBezTo>
                    <a:pt x="85" y="272"/>
                    <a:pt x="80" y="277"/>
                    <a:pt x="74" y="277"/>
                  </a:cubicBezTo>
                  <a:cubicBezTo>
                    <a:pt x="68" y="277"/>
                    <a:pt x="64" y="272"/>
                    <a:pt x="64" y="266"/>
                  </a:cubicBezTo>
                  <a:cubicBezTo>
                    <a:pt x="64" y="260"/>
                    <a:pt x="68" y="256"/>
                    <a:pt x="74" y="256"/>
                  </a:cubicBezTo>
                  <a:cubicBezTo>
                    <a:pt x="80" y="256"/>
                    <a:pt x="85" y="260"/>
                    <a:pt x="85" y="266"/>
                  </a:cubicBezTo>
                  <a:close/>
                  <a:moveTo>
                    <a:pt x="160" y="266"/>
                  </a:moveTo>
                  <a:cubicBezTo>
                    <a:pt x="160" y="272"/>
                    <a:pt x="155" y="277"/>
                    <a:pt x="149" y="277"/>
                  </a:cubicBezTo>
                  <a:cubicBezTo>
                    <a:pt x="143" y="277"/>
                    <a:pt x="138" y="272"/>
                    <a:pt x="138" y="266"/>
                  </a:cubicBezTo>
                  <a:cubicBezTo>
                    <a:pt x="138" y="260"/>
                    <a:pt x="143" y="256"/>
                    <a:pt x="149" y="256"/>
                  </a:cubicBezTo>
                  <a:cubicBezTo>
                    <a:pt x="155" y="256"/>
                    <a:pt x="160" y="260"/>
                    <a:pt x="160" y="266"/>
                  </a:cubicBezTo>
                  <a:close/>
                  <a:moveTo>
                    <a:pt x="234" y="266"/>
                  </a:moveTo>
                  <a:cubicBezTo>
                    <a:pt x="234" y="272"/>
                    <a:pt x="230" y="277"/>
                    <a:pt x="224" y="277"/>
                  </a:cubicBezTo>
                  <a:cubicBezTo>
                    <a:pt x="218" y="277"/>
                    <a:pt x="213" y="272"/>
                    <a:pt x="213" y="266"/>
                  </a:cubicBezTo>
                  <a:cubicBezTo>
                    <a:pt x="213" y="260"/>
                    <a:pt x="218" y="256"/>
                    <a:pt x="224" y="256"/>
                  </a:cubicBezTo>
                  <a:cubicBezTo>
                    <a:pt x="230" y="256"/>
                    <a:pt x="234" y="260"/>
                    <a:pt x="234" y="266"/>
                  </a:cubicBezTo>
                  <a:close/>
                  <a:moveTo>
                    <a:pt x="74" y="309"/>
                  </a:moveTo>
                  <a:cubicBezTo>
                    <a:pt x="74" y="315"/>
                    <a:pt x="70" y="320"/>
                    <a:pt x="64" y="320"/>
                  </a:cubicBezTo>
                  <a:cubicBezTo>
                    <a:pt x="58" y="320"/>
                    <a:pt x="53" y="315"/>
                    <a:pt x="53" y="309"/>
                  </a:cubicBezTo>
                  <a:cubicBezTo>
                    <a:pt x="53" y="303"/>
                    <a:pt x="58" y="298"/>
                    <a:pt x="64" y="298"/>
                  </a:cubicBezTo>
                  <a:cubicBezTo>
                    <a:pt x="70" y="298"/>
                    <a:pt x="74" y="303"/>
                    <a:pt x="74" y="309"/>
                  </a:cubicBezTo>
                  <a:close/>
                  <a:moveTo>
                    <a:pt x="149" y="309"/>
                  </a:moveTo>
                  <a:cubicBezTo>
                    <a:pt x="149" y="315"/>
                    <a:pt x="144" y="320"/>
                    <a:pt x="138" y="320"/>
                  </a:cubicBezTo>
                  <a:cubicBezTo>
                    <a:pt x="132" y="320"/>
                    <a:pt x="128" y="315"/>
                    <a:pt x="128" y="309"/>
                  </a:cubicBezTo>
                  <a:cubicBezTo>
                    <a:pt x="128" y="303"/>
                    <a:pt x="132" y="298"/>
                    <a:pt x="138" y="298"/>
                  </a:cubicBezTo>
                  <a:cubicBezTo>
                    <a:pt x="144" y="298"/>
                    <a:pt x="149" y="303"/>
                    <a:pt x="149" y="309"/>
                  </a:cubicBezTo>
                  <a:close/>
                  <a:moveTo>
                    <a:pt x="224" y="309"/>
                  </a:moveTo>
                  <a:cubicBezTo>
                    <a:pt x="224" y="315"/>
                    <a:pt x="219" y="320"/>
                    <a:pt x="213" y="320"/>
                  </a:cubicBezTo>
                  <a:cubicBezTo>
                    <a:pt x="207" y="320"/>
                    <a:pt x="202" y="315"/>
                    <a:pt x="202" y="309"/>
                  </a:cubicBezTo>
                  <a:cubicBezTo>
                    <a:pt x="202" y="303"/>
                    <a:pt x="207" y="298"/>
                    <a:pt x="213" y="298"/>
                  </a:cubicBezTo>
                  <a:cubicBezTo>
                    <a:pt x="219" y="298"/>
                    <a:pt x="224" y="303"/>
                    <a:pt x="224" y="3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130"/>
            <p:cNvSpPr>
              <a:spLocks noEditPoints="1"/>
            </p:cNvSpPr>
            <p:nvPr/>
          </p:nvSpPr>
          <p:spPr bwMode="auto">
            <a:xfrm>
              <a:off x="2963" y="4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9" name="Group 257"/>
          <p:cNvGrpSpPr>
            <a:grpSpLocks noChangeAspect="1"/>
          </p:cNvGrpSpPr>
          <p:nvPr/>
        </p:nvGrpSpPr>
        <p:grpSpPr bwMode="auto">
          <a:xfrm>
            <a:off x="4184394" y="1697038"/>
            <a:ext cx="367041" cy="367041"/>
            <a:chOff x="5413" y="732"/>
            <a:chExt cx="340" cy="340"/>
          </a:xfrm>
          <a:solidFill>
            <a:schemeClr val="accent3"/>
          </a:solidFill>
        </p:grpSpPr>
        <p:sp>
          <p:nvSpPr>
            <p:cNvPr id="300" name="Freeform 258"/>
            <p:cNvSpPr>
              <a:spLocks noEditPoints="1"/>
            </p:cNvSpPr>
            <p:nvPr/>
          </p:nvSpPr>
          <p:spPr bwMode="auto">
            <a:xfrm>
              <a:off x="5477" y="796"/>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3 w 320"/>
                <a:gd name="T43" fmla="*/ 109 h 192"/>
                <a:gd name="T44" fmla="*/ 256 w 320"/>
                <a:gd name="T45" fmla="*/ 109 h 192"/>
                <a:gd name="T46" fmla="*/ 260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7"/>
                    <a:pt x="237" y="105"/>
                    <a:pt x="243" y="109"/>
                  </a:cubicBezTo>
                  <a:cubicBezTo>
                    <a:pt x="247" y="112"/>
                    <a:pt x="252" y="112"/>
                    <a:pt x="256" y="109"/>
                  </a:cubicBezTo>
                  <a:cubicBezTo>
                    <a:pt x="257" y="108"/>
                    <a:pt x="259" y="108"/>
                    <a:pt x="260"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259"/>
            <p:cNvSpPr>
              <a:spLocks/>
            </p:cNvSpPr>
            <p:nvPr/>
          </p:nvSpPr>
          <p:spPr bwMode="auto">
            <a:xfrm>
              <a:off x="5511" y="937"/>
              <a:ext cx="30" cy="71"/>
            </a:xfrm>
            <a:custGeom>
              <a:avLst/>
              <a:gdLst>
                <a:gd name="T0" fmla="*/ 36 w 45"/>
                <a:gd name="T1" fmla="*/ 1 h 108"/>
                <a:gd name="T2" fmla="*/ 23 w 45"/>
                <a:gd name="T3" fmla="*/ 9 h 108"/>
                <a:gd name="T4" fmla="*/ 1 w 45"/>
                <a:gd name="T5" fmla="*/ 94 h 108"/>
                <a:gd name="T6" fmla="*/ 9 w 45"/>
                <a:gd name="T7" fmla="*/ 107 h 108"/>
                <a:gd name="T8" fmla="*/ 12 w 45"/>
                <a:gd name="T9" fmla="*/ 108 h 108"/>
                <a:gd name="T10" fmla="*/ 22 w 45"/>
                <a:gd name="T11" fmla="*/ 100 h 108"/>
                <a:gd name="T12" fmla="*/ 43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1" y="94"/>
                    <a:pt x="1" y="94"/>
                    <a:pt x="1" y="94"/>
                  </a:cubicBezTo>
                  <a:cubicBezTo>
                    <a:pt x="0" y="100"/>
                    <a:pt x="3" y="106"/>
                    <a:pt x="9" y="107"/>
                  </a:cubicBezTo>
                  <a:cubicBezTo>
                    <a:pt x="10" y="108"/>
                    <a:pt x="11" y="108"/>
                    <a:pt x="12" y="108"/>
                  </a:cubicBezTo>
                  <a:cubicBezTo>
                    <a:pt x="16" y="108"/>
                    <a:pt x="21" y="104"/>
                    <a:pt x="22" y="100"/>
                  </a:cubicBezTo>
                  <a:cubicBezTo>
                    <a:pt x="43" y="14"/>
                    <a:pt x="43" y="14"/>
                    <a:pt x="43" y="14"/>
                  </a:cubicBezTo>
                  <a:cubicBezTo>
                    <a:pt x="45" y="9"/>
                    <a:pt x="41" y="3"/>
                    <a:pt x="36"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260"/>
            <p:cNvSpPr>
              <a:spLocks/>
            </p:cNvSpPr>
            <p:nvPr/>
          </p:nvSpPr>
          <p:spPr bwMode="auto">
            <a:xfrm>
              <a:off x="5561" y="937"/>
              <a:ext cx="29" cy="71"/>
            </a:xfrm>
            <a:custGeom>
              <a:avLst/>
              <a:gdLst>
                <a:gd name="T0" fmla="*/ 35 w 44"/>
                <a:gd name="T1" fmla="*/ 1 h 108"/>
                <a:gd name="T2" fmla="*/ 22 w 44"/>
                <a:gd name="T3" fmla="*/ 9 h 108"/>
                <a:gd name="T4" fmla="*/ 1 w 44"/>
                <a:gd name="T5" fmla="*/ 94 h 108"/>
                <a:gd name="T6" fmla="*/ 9 w 44"/>
                <a:gd name="T7" fmla="*/ 107 h 108"/>
                <a:gd name="T8" fmla="*/ 11 w 44"/>
                <a:gd name="T9" fmla="*/ 108 h 108"/>
                <a:gd name="T10" fmla="*/ 22 w 44"/>
                <a:gd name="T11" fmla="*/ 100 h 108"/>
                <a:gd name="T12" fmla="*/ 43 w 44"/>
                <a:gd name="T13" fmla="*/ 14 h 108"/>
                <a:gd name="T14" fmla="*/ 35 w 44"/>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8">
                  <a:moveTo>
                    <a:pt x="35" y="1"/>
                  </a:moveTo>
                  <a:cubicBezTo>
                    <a:pt x="30" y="0"/>
                    <a:pt x="24" y="3"/>
                    <a:pt x="22" y="9"/>
                  </a:cubicBezTo>
                  <a:cubicBezTo>
                    <a:pt x="1" y="94"/>
                    <a:pt x="1" y="94"/>
                    <a:pt x="1" y="94"/>
                  </a:cubicBezTo>
                  <a:cubicBezTo>
                    <a:pt x="0" y="100"/>
                    <a:pt x="3" y="106"/>
                    <a:pt x="9" y="107"/>
                  </a:cubicBezTo>
                  <a:cubicBezTo>
                    <a:pt x="10" y="108"/>
                    <a:pt x="10" y="108"/>
                    <a:pt x="11" y="108"/>
                  </a:cubicBezTo>
                  <a:cubicBezTo>
                    <a:pt x="16" y="108"/>
                    <a:pt x="20" y="104"/>
                    <a:pt x="22" y="100"/>
                  </a:cubicBezTo>
                  <a:cubicBezTo>
                    <a:pt x="43" y="14"/>
                    <a:pt x="43" y="14"/>
                    <a:pt x="43" y="14"/>
                  </a:cubicBezTo>
                  <a:cubicBezTo>
                    <a:pt x="44" y="9"/>
                    <a:pt x="41" y="3"/>
                    <a:pt x="35"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261"/>
            <p:cNvSpPr>
              <a:spLocks/>
            </p:cNvSpPr>
            <p:nvPr/>
          </p:nvSpPr>
          <p:spPr bwMode="auto">
            <a:xfrm>
              <a:off x="5610" y="937"/>
              <a:ext cx="30" cy="71"/>
            </a:xfrm>
            <a:custGeom>
              <a:avLst/>
              <a:gdLst>
                <a:gd name="T0" fmla="*/ 36 w 45"/>
                <a:gd name="T1" fmla="*/ 1 h 108"/>
                <a:gd name="T2" fmla="*/ 23 w 45"/>
                <a:gd name="T3" fmla="*/ 9 h 108"/>
                <a:gd name="T4" fmla="*/ 2 w 45"/>
                <a:gd name="T5" fmla="*/ 94 h 108"/>
                <a:gd name="T6" fmla="*/ 9 w 45"/>
                <a:gd name="T7" fmla="*/ 107 h 108"/>
                <a:gd name="T8" fmla="*/ 12 w 45"/>
                <a:gd name="T9" fmla="*/ 108 h 108"/>
                <a:gd name="T10" fmla="*/ 22 w 45"/>
                <a:gd name="T11" fmla="*/ 100 h 108"/>
                <a:gd name="T12" fmla="*/ 44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2" y="94"/>
                    <a:pt x="2" y="94"/>
                    <a:pt x="2" y="94"/>
                  </a:cubicBezTo>
                  <a:cubicBezTo>
                    <a:pt x="0" y="100"/>
                    <a:pt x="4" y="106"/>
                    <a:pt x="9" y="107"/>
                  </a:cubicBezTo>
                  <a:cubicBezTo>
                    <a:pt x="10" y="108"/>
                    <a:pt x="11" y="108"/>
                    <a:pt x="12" y="108"/>
                  </a:cubicBezTo>
                  <a:cubicBezTo>
                    <a:pt x="17" y="108"/>
                    <a:pt x="21" y="104"/>
                    <a:pt x="22" y="100"/>
                  </a:cubicBezTo>
                  <a:cubicBezTo>
                    <a:pt x="44" y="14"/>
                    <a:pt x="44" y="14"/>
                    <a:pt x="44" y="14"/>
                  </a:cubicBezTo>
                  <a:cubicBezTo>
                    <a:pt x="45" y="9"/>
                    <a:pt x="42" y="3"/>
                    <a:pt x="36"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262"/>
            <p:cNvSpPr>
              <a:spLocks noEditPoints="1"/>
            </p:cNvSpPr>
            <p:nvPr/>
          </p:nvSpPr>
          <p:spPr bwMode="auto">
            <a:xfrm>
              <a:off x="5413" y="7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266"/>
          <p:cNvSpPr>
            <a:spLocks noChangeAspect="1" noEditPoints="1"/>
          </p:cNvSpPr>
          <p:nvPr/>
        </p:nvSpPr>
        <p:spPr bwMode="auto">
          <a:xfrm>
            <a:off x="3765624" y="1697038"/>
            <a:ext cx="367041" cy="367041"/>
          </a:xfrm>
          <a:custGeom>
            <a:avLst/>
            <a:gdLst>
              <a:gd name="T0" fmla="*/ 394 w 512"/>
              <a:gd name="T1" fmla="*/ 234 h 512"/>
              <a:gd name="T2" fmla="*/ 362 w 512"/>
              <a:gd name="T3" fmla="*/ 266 h 512"/>
              <a:gd name="T4" fmla="*/ 167 w 512"/>
              <a:gd name="T5" fmla="*/ 266 h 512"/>
              <a:gd name="T6" fmla="*/ 117 w 512"/>
              <a:gd name="T7" fmla="*/ 217 h 512"/>
              <a:gd name="T8" fmla="*/ 167 w 512"/>
              <a:gd name="T9" fmla="*/ 167 h 512"/>
              <a:gd name="T10" fmla="*/ 191 w 512"/>
              <a:gd name="T11" fmla="*/ 175 h 512"/>
              <a:gd name="T12" fmla="*/ 201 w 512"/>
              <a:gd name="T13" fmla="*/ 176 h 512"/>
              <a:gd name="T14" fmla="*/ 207 w 512"/>
              <a:gd name="T15" fmla="*/ 169 h 512"/>
              <a:gd name="T16" fmla="*/ 272 w 512"/>
              <a:gd name="T17" fmla="*/ 117 h 512"/>
              <a:gd name="T18" fmla="*/ 337 w 512"/>
              <a:gd name="T19" fmla="*/ 182 h 512"/>
              <a:gd name="T20" fmla="*/ 336 w 512"/>
              <a:gd name="T21" fmla="*/ 190 h 512"/>
              <a:gd name="T22" fmla="*/ 336 w 512"/>
              <a:gd name="T23" fmla="*/ 191 h 512"/>
              <a:gd name="T24" fmla="*/ 339 w 512"/>
              <a:gd name="T25" fmla="*/ 205 h 512"/>
              <a:gd name="T26" fmla="*/ 352 w 512"/>
              <a:gd name="T27" fmla="*/ 205 h 512"/>
              <a:gd name="T28" fmla="*/ 356 w 512"/>
              <a:gd name="T29" fmla="*/ 203 h 512"/>
              <a:gd name="T30" fmla="*/ 362 w 512"/>
              <a:gd name="T31" fmla="*/ 202 h 512"/>
              <a:gd name="T32" fmla="*/ 394 w 512"/>
              <a:gd name="T33" fmla="*/ 23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184 w 512"/>
              <a:gd name="T45" fmla="*/ 309 h 512"/>
              <a:gd name="T46" fmla="*/ 171 w 512"/>
              <a:gd name="T47" fmla="*/ 317 h 512"/>
              <a:gd name="T48" fmla="*/ 149 w 512"/>
              <a:gd name="T49" fmla="*/ 402 h 512"/>
              <a:gd name="T50" fmla="*/ 157 w 512"/>
              <a:gd name="T51" fmla="*/ 415 h 512"/>
              <a:gd name="T52" fmla="*/ 160 w 512"/>
              <a:gd name="T53" fmla="*/ 416 h 512"/>
              <a:gd name="T54" fmla="*/ 170 w 512"/>
              <a:gd name="T55" fmla="*/ 408 h 512"/>
              <a:gd name="T56" fmla="*/ 191 w 512"/>
              <a:gd name="T57" fmla="*/ 322 h 512"/>
              <a:gd name="T58" fmla="*/ 184 w 512"/>
              <a:gd name="T59" fmla="*/ 309 h 512"/>
              <a:gd name="T60" fmla="*/ 258 w 512"/>
              <a:gd name="T61" fmla="*/ 309 h 512"/>
              <a:gd name="T62" fmla="*/ 245 w 512"/>
              <a:gd name="T63" fmla="*/ 317 h 512"/>
              <a:gd name="T64" fmla="*/ 224 w 512"/>
              <a:gd name="T65" fmla="*/ 402 h 512"/>
              <a:gd name="T66" fmla="*/ 232 w 512"/>
              <a:gd name="T67" fmla="*/ 415 h 512"/>
              <a:gd name="T68" fmla="*/ 234 w 512"/>
              <a:gd name="T69" fmla="*/ 416 h 512"/>
              <a:gd name="T70" fmla="*/ 245 w 512"/>
              <a:gd name="T71" fmla="*/ 408 h 512"/>
              <a:gd name="T72" fmla="*/ 266 w 512"/>
              <a:gd name="T73" fmla="*/ 322 h 512"/>
              <a:gd name="T74" fmla="*/ 258 w 512"/>
              <a:gd name="T75" fmla="*/ 309 h 512"/>
              <a:gd name="T76" fmla="*/ 333 w 512"/>
              <a:gd name="T77" fmla="*/ 309 h 512"/>
              <a:gd name="T78" fmla="*/ 320 w 512"/>
              <a:gd name="T79" fmla="*/ 317 h 512"/>
              <a:gd name="T80" fmla="*/ 299 w 512"/>
              <a:gd name="T81" fmla="*/ 402 h 512"/>
              <a:gd name="T82" fmla="*/ 306 w 512"/>
              <a:gd name="T83" fmla="*/ 415 h 512"/>
              <a:gd name="T84" fmla="*/ 309 w 512"/>
              <a:gd name="T85" fmla="*/ 416 h 512"/>
              <a:gd name="T86" fmla="*/ 319 w 512"/>
              <a:gd name="T87" fmla="*/ 408 h 512"/>
              <a:gd name="T88" fmla="*/ 341 w 512"/>
              <a:gd name="T89" fmla="*/ 322 h 512"/>
              <a:gd name="T90" fmla="*/ 333 w 512"/>
              <a:gd name="T91" fmla="*/ 309 h 512"/>
              <a:gd name="T92" fmla="*/ 416 w 512"/>
              <a:gd name="T93" fmla="*/ 234 h 512"/>
              <a:gd name="T94" fmla="*/ 362 w 512"/>
              <a:gd name="T95" fmla="*/ 181 h 512"/>
              <a:gd name="T96" fmla="*/ 358 w 512"/>
              <a:gd name="T97" fmla="*/ 181 h 512"/>
              <a:gd name="T98" fmla="*/ 272 w 512"/>
              <a:gd name="T99" fmla="*/ 96 h 512"/>
              <a:gd name="T100" fmla="*/ 190 w 512"/>
              <a:gd name="T101" fmla="*/ 151 h 512"/>
              <a:gd name="T102" fmla="*/ 167 w 512"/>
              <a:gd name="T103" fmla="*/ 146 h 512"/>
              <a:gd name="T104" fmla="*/ 96 w 512"/>
              <a:gd name="T105" fmla="*/ 217 h 512"/>
              <a:gd name="T106" fmla="*/ 167 w 512"/>
              <a:gd name="T107" fmla="*/ 288 h 512"/>
              <a:gd name="T108" fmla="*/ 362 w 512"/>
              <a:gd name="T109" fmla="*/ 288 h 512"/>
              <a:gd name="T110" fmla="*/ 416 w 512"/>
              <a:gd name="T11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1"/>
                  <a:pt x="336" y="191"/>
                  <a:pt x="336" y="191"/>
                </a:cubicBezTo>
                <a:cubicBezTo>
                  <a:pt x="335" y="193"/>
                  <a:pt x="333" y="201"/>
                  <a:pt x="339" y="205"/>
                </a:cubicBezTo>
                <a:cubicBezTo>
                  <a:pt x="343" y="208"/>
                  <a:pt x="348" y="208"/>
                  <a:pt x="352" y="205"/>
                </a:cubicBezTo>
                <a:cubicBezTo>
                  <a:pt x="353" y="204"/>
                  <a:pt x="355" y="204"/>
                  <a:pt x="356" y="203"/>
                </a:cubicBezTo>
                <a:cubicBezTo>
                  <a:pt x="358" y="203"/>
                  <a:pt x="360"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4" y="309"/>
                </a:moveTo>
                <a:cubicBezTo>
                  <a:pt x="178" y="308"/>
                  <a:pt x="172" y="311"/>
                  <a:pt x="171" y="317"/>
                </a:cubicBezTo>
                <a:cubicBezTo>
                  <a:pt x="149" y="402"/>
                  <a:pt x="149" y="402"/>
                  <a:pt x="149" y="402"/>
                </a:cubicBezTo>
                <a:cubicBezTo>
                  <a:pt x="148" y="408"/>
                  <a:pt x="151" y="414"/>
                  <a:pt x="157" y="415"/>
                </a:cubicBezTo>
                <a:cubicBezTo>
                  <a:pt x="158" y="416"/>
                  <a:pt x="159" y="416"/>
                  <a:pt x="160" y="416"/>
                </a:cubicBezTo>
                <a:cubicBezTo>
                  <a:pt x="164" y="416"/>
                  <a:pt x="169" y="412"/>
                  <a:pt x="170" y="408"/>
                </a:cubicBezTo>
                <a:cubicBezTo>
                  <a:pt x="191" y="322"/>
                  <a:pt x="191" y="322"/>
                  <a:pt x="191" y="322"/>
                </a:cubicBezTo>
                <a:cubicBezTo>
                  <a:pt x="193" y="317"/>
                  <a:pt x="189" y="311"/>
                  <a:pt x="184" y="309"/>
                </a:cubicBezTo>
                <a:close/>
                <a:moveTo>
                  <a:pt x="258" y="309"/>
                </a:moveTo>
                <a:cubicBezTo>
                  <a:pt x="253" y="308"/>
                  <a:pt x="247" y="311"/>
                  <a:pt x="245" y="317"/>
                </a:cubicBezTo>
                <a:cubicBezTo>
                  <a:pt x="224" y="402"/>
                  <a:pt x="224" y="402"/>
                  <a:pt x="224" y="402"/>
                </a:cubicBezTo>
                <a:cubicBezTo>
                  <a:pt x="223" y="408"/>
                  <a:pt x="226" y="414"/>
                  <a:pt x="232" y="415"/>
                </a:cubicBezTo>
                <a:cubicBezTo>
                  <a:pt x="233" y="416"/>
                  <a:pt x="233" y="416"/>
                  <a:pt x="234" y="416"/>
                </a:cubicBezTo>
                <a:cubicBezTo>
                  <a:pt x="239" y="416"/>
                  <a:pt x="243" y="412"/>
                  <a:pt x="245" y="408"/>
                </a:cubicBezTo>
                <a:cubicBezTo>
                  <a:pt x="266" y="322"/>
                  <a:pt x="266" y="322"/>
                  <a:pt x="266" y="322"/>
                </a:cubicBezTo>
                <a:cubicBezTo>
                  <a:pt x="267" y="317"/>
                  <a:pt x="264" y="311"/>
                  <a:pt x="258" y="309"/>
                </a:cubicBezTo>
                <a:close/>
                <a:moveTo>
                  <a:pt x="333" y="309"/>
                </a:moveTo>
                <a:cubicBezTo>
                  <a:pt x="327" y="308"/>
                  <a:pt x="321" y="311"/>
                  <a:pt x="320" y="317"/>
                </a:cubicBezTo>
                <a:cubicBezTo>
                  <a:pt x="299" y="402"/>
                  <a:pt x="299" y="402"/>
                  <a:pt x="299" y="402"/>
                </a:cubicBezTo>
                <a:cubicBezTo>
                  <a:pt x="297" y="408"/>
                  <a:pt x="301" y="414"/>
                  <a:pt x="306" y="415"/>
                </a:cubicBezTo>
                <a:cubicBezTo>
                  <a:pt x="307" y="416"/>
                  <a:pt x="308" y="416"/>
                  <a:pt x="309" y="416"/>
                </a:cubicBezTo>
                <a:cubicBezTo>
                  <a:pt x="314" y="416"/>
                  <a:pt x="318" y="412"/>
                  <a:pt x="319" y="408"/>
                </a:cubicBezTo>
                <a:cubicBezTo>
                  <a:pt x="341" y="322"/>
                  <a:pt x="341" y="322"/>
                  <a:pt x="341" y="322"/>
                </a:cubicBezTo>
                <a:cubicBezTo>
                  <a:pt x="342" y="317"/>
                  <a:pt x="339" y="311"/>
                  <a:pt x="333" y="309"/>
                </a:cubicBezTo>
                <a:close/>
                <a:moveTo>
                  <a:pt x="416" y="234"/>
                </a:moveTo>
                <a:cubicBezTo>
                  <a:pt x="416" y="205"/>
                  <a:pt x="392" y="181"/>
                  <a:pt x="362" y="181"/>
                </a:cubicBezTo>
                <a:cubicBezTo>
                  <a:pt x="361"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6" name="Freeform 997"/>
          <p:cNvSpPr>
            <a:spLocks noChangeAspect="1" noEditPoints="1"/>
          </p:cNvSpPr>
          <p:nvPr/>
        </p:nvSpPr>
        <p:spPr bwMode="auto">
          <a:xfrm>
            <a:off x="4603164" y="1697038"/>
            <a:ext cx="367982" cy="367982"/>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7" name="Group 1000"/>
          <p:cNvGrpSpPr>
            <a:grpSpLocks noChangeAspect="1"/>
          </p:cNvGrpSpPr>
          <p:nvPr/>
        </p:nvGrpSpPr>
        <p:grpSpPr bwMode="auto">
          <a:xfrm>
            <a:off x="5022875" y="1697038"/>
            <a:ext cx="367982" cy="367982"/>
            <a:chOff x="5030" y="4091"/>
            <a:chExt cx="340" cy="340"/>
          </a:xfrm>
          <a:solidFill>
            <a:schemeClr val="accent5"/>
          </a:solidFill>
        </p:grpSpPr>
        <p:sp>
          <p:nvSpPr>
            <p:cNvPr id="308"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0" name="Freeform 810"/>
          <p:cNvSpPr>
            <a:spLocks noChangeAspect="1" noEditPoints="1"/>
          </p:cNvSpPr>
          <p:nvPr/>
        </p:nvSpPr>
        <p:spPr bwMode="auto">
          <a:xfrm>
            <a:off x="5442586" y="1697038"/>
            <a:ext cx="367631" cy="367631"/>
          </a:xfrm>
          <a:custGeom>
            <a:avLst/>
            <a:gdLst>
              <a:gd name="T0" fmla="*/ 354 w 512"/>
              <a:gd name="T1" fmla="*/ 244 h 512"/>
              <a:gd name="T2" fmla="*/ 329 w 512"/>
              <a:gd name="T3" fmla="*/ 358 h 512"/>
              <a:gd name="T4" fmla="*/ 240 w 512"/>
              <a:gd name="T5" fmla="*/ 394 h 512"/>
              <a:gd name="T6" fmla="*/ 145 w 512"/>
              <a:gd name="T7" fmla="*/ 321 h 512"/>
              <a:gd name="T8" fmla="*/ 147 w 512"/>
              <a:gd name="T9" fmla="*/ 226 h 512"/>
              <a:gd name="T10" fmla="*/ 197 w 512"/>
              <a:gd name="T11" fmla="*/ 285 h 512"/>
              <a:gd name="T12" fmla="*/ 208 w 512"/>
              <a:gd name="T13" fmla="*/ 283 h 512"/>
              <a:gd name="T14" fmla="*/ 212 w 512"/>
              <a:gd name="T15" fmla="*/ 273 h 512"/>
              <a:gd name="T16" fmla="*/ 260 w 512"/>
              <a:gd name="T17" fmla="*/ 124 h 512"/>
              <a:gd name="T18" fmla="*/ 301 w 512"/>
              <a:gd name="T19" fmla="*/ 265 h 512"/>
              <a:gd name="T20" fmla="*/ 311 w 512"/>
              <a:gd name="T21" fmla="*/ 268 h 512"/>
              <a:gd name="T22" fmla="*/ 319 w 512"/>
              <a:gd name="T23" fmla="*/ 260 h 512"/>
              <a:gd name="T24" fmla="*/ 338 w 512"/>
              <a:gd name="T25" fmla="*/ 201 h 512"/>
              <a:gd name="T26" fmla="*/ 354 w 512"/>
              <a:gd name="T27" fmla="*/ 24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72 w 512"/>
              <a:gd name="T39" fmla="*/ 233 h 512"/>
              <a:gd name="T40" fmla="*/ 355 w 512"/>
              <a:gd name="T41" fmla="*/ 173 h 512"/>
              <a:gd name="T42" fmla="*/ 348 w 512"/>
              <a:gd name="T43" fmla="*/ 164 h 512"/>
              <a:gd name="T44" fmla="*/ 337 w 512"/>
              <a:gd name="T45" fmla="*/ 166 h 512"/>
              <a:gd name="T46" fmla="*/ 303 w 512"/>
              <a:gd name="T47" fmla="*/ 233 h 512"/>
              <a:gd name="T48" fmla="*/ 283 w 512"/>
              <a:gd name="T49" fmla="*/ 109 h 512"/>
              <a:gd name="T50" fmla="*/ 279 w 512"/>
              <a:gd name="T51" fmla="*/ 99 h 512"/>
              <a:gd name="T52" fmla="*/ 269 w 512"/>
              <a:gd name="T53" fmla="*/ 97 h 512"/>
              <a:gd name="T54" fmla="*/ 188 w 512"/>
              <a:gd name="T55" fmla="*/ 253 h 512"/>
              <a:gd name="T56" fmla="*/ 161 w 512"/>
              <a:gd name="T57" fmla="*/ 197 h 512"/>
              <a:gd name="T58" fmla="*/ 153 w 512"/>
              <a:gd name="T59" fmla="*/ 188 h 512"/>
              <a:gd name="T60" fmla="*/ 142 w 512"/>
              <a:gd name="T61" fmla="*/ 193 h 512"/>
              <a:gd name="T62" fmla="*/ 126 w 512"/>
              <a:gd name="T63" fmla="*/ 331 h 512"/>
              <a:gd name="T64" fmla="*/ 239 w 512"/>
              <a:gd name="T65" fmla="*/ 416 h 512"/>
              <a:gd name="T66" fmla="*/ 244 w 512"/>
              <a:gd name="T67" fmla="*/ 416 h 512"/>
              <a:gd name="T68" fmla="*/ 344 w 512"/>
              <a:gd name="T69" fmla="*/ 374 h 512"/>
              <a:gd name="T70" fmla="*/ 372 w 512"/>
              <a:gd name="T71" fmla="*/ 2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54" y="244"/>
                </a:moveTo>
                <a:cubicBezTo>
                  <a:pt x="368" y="269"/>
                  <a:pt x="358" y="331"/>
                  <a:pt x="329" y="358"/>
                </a:cubicBezTo>
                <a:cubicBezTo>
                  <a:pt x="294" y="391"/>
                  <a:pt x="258" y="395"/>
                  <a:pt x="240" y="394"/>
                </a:cubicBezTo>
                <a:cubicBezTo>
                  <a:pt x="217" y="393"/>
                  <a:pt x="173" y="377"/>
                  <a:pt x="145" y="321"/>
                </a:cubicBezTo>
                <a:cubicBezTo>
                  <a:pt x="126" y="284"/>
                  <a:pt x="134" y="251"/>
                  <a:pt x="147" y="226"/>
                </a:cubicBezTo>
                <a:cubicBezTo>
                  <a:pt x="154" y="246"/>
                  <a:pt x="169" y="273"/>
                  <a:pt x="197" y="285"/>
                </a:cubicBezTo>
                <a:cubicBezTo>
                  <a:pt x="201" y="286"/>
                  <a:pt x="205" y="286"/>
                  <a:pt x="208" y="283"/>
                </a:cubicBezTo>
                <a:cubicBezTo>
                  <a:pt x="211" y="281"/>
                  <a:pt x="212" y="277"/>
                  <a:pt x="212" y="273"/>
                </a:cubicBezTo>
                <a:cubicBezTo>
                  <a:pt x="211" y="272"/>
                  <a:pt x="190" y="165"/>
                  <a:pt x="260" y="124"/>
                </a:cubicBezTo>
                <a:cubicBezTo>
                  <a:pt x="258" y="156"/>
                  <a:pt x="261" y="220"/>
                  <a:pt x="301" y="265"/>
                </a:cubicBezTo>
                <a:cubicBezTo>
                  <a:pt x="303" y="268"/>
                  <a:pt x="308" y="269"/>
                  <a:pt x="311" y="268"/>
                </a:cubicBezTo>
                <a:cubicBezTo>
                  <a:pt x="315" y="267"/>
                  <a:pt x="318" y="264"/>
                  <a:pt x="319" y="260"/>
                </a:cubicBezTo>
                <a:cubicBezTo>
                  <a:pt x="321" y="248"/>
                  <a:pt x="327" y="222"/>
                  <a:pt x="338" y="201"/>
                </a:cubicBezTo>
                <a:cubicBezTo>
                  <a:pt x="341" y="214"/>
                  <a:pt x="346" y="230"/>
                  <a:pt x="354" y="24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233"/>
                </a:moveTo>
                <a:cubicBezTo>
                  <a:pt x="358" y="207"/>
                  <a:pt x="355" y="173"/>
                  <a:pt x="355" y="173"/>
                </a:cubicBezTo>
                <a:cubicBezTo>
                  <a:pt x="355" y="169"/>
                  <a:pt x="352" y="165"/>
                  <a:pt x="348" y="164"/>
                </a:cubicBezTo>
                <a:cubicBezTo>
                  <a:pt x="344" y="162"/>
                  <a:pt x="340" y="163"/>
                  <a:pt x="337" y="166"/>
                </a:cubicBezTo>
                <a:cubicBezTo>
                  <a:pt x="320" y="183"/>
                  <a:pt x="309" y="212"/>
                  <a:pt x="303" y="233"/>
                </a:cubicBezTo>
                <a:cubicBezTo>
                  <a:pt x="272" y="180"/>
                  <a:pt x="283" y="109"/>
                  <a:pt x="283" y="109"/>
                </a:cubicBezTo>
                <a:cubicBezTo>
                  <a:pt x="283" y="105"/>
                  <a:pt x="282" y="101"/>
                  <a:pt x="279" y="99"/>
                </a:cubicBezTo>
                <a:cubicBezTo>
                  <a:pt x="276" y="96"/>
                  <a:pt x="272" y="96"/>
                  <a:pt x="269" y="97"/>
                </a:cubicBezTo>
                <a:cubicBezTo>
                  <a:pt x="189" y="126"/>
                  <a:pt x="185" y="211"/>
                  <a:pt x="188" y="253"/>
                </a:cubicBezTo>
                <a:cubicBezTo>
                  <a:pt x="167" y="232"/>
                  <a:pt x="161" y="198"/>
                  <a:pt x="161" y="197"/>
                </a:cubicBezTo>
                <a:cubicBezTo>
                  <a:pt x="161" y="193"/>
                  <a:pt x="157" y="189"/>
                  <a:pt x="153" y="188"/>
                </a:cubicBezTo>
                <a:cubicBezTo>
                  <a:pt x="149" y="187"/>
                  <a:pt x="144" y="189"/>
                  <a:pt x="142" y="193"/>
                </a:cubicBezTo>
                <a:cubicBezTo>
                  <a:pt x="130" y="211"/>
                  <a:pt x="92" y="265"/>
                  <a:pt x="126" y="331"/>
                </a:cubicBezTo>
                <a:cubicBezTo>
                  <a:pt x="154" y="387"/>
                  <a:pt x="203" y="414"/>
                  <a:pt x="239" y="416"/>
                </a:cubicBezTo>
                <a:cubicBezTo>
                  <a:pt x="240" y="416"/>
                  <a:pt x="242" y="416"/>
                  <a:pt x="244" y="416"/>
                </a:cubicBezTo>
                <a:cubicBezTo>
                  <a:pt x="267" y="416"/>
                  <a:pt x="306" y="409"/>
                  <a:pt x="344" y="374"/>
                </a:cubicBezTo>
                <a:cubicBezTo>
                  <a:pt x="381" y="339"/>
                  <a:pt x="391" y="266"/>
                  <a:pt x="372" y="23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1" name="Group 813"/>
          <p:cNvGrpSpPr>
            <a:grpSpLocks noChangeAspect="1"/>
          </p:cNvGrpSpPr>
          <p:nvPr/>
        </p:nvGrpSpPr>
        <p:grpSpPr bwMode="auto">
          <a:xfrm>
            <a:off x="5861946" y="1697038"/>
            <a:ext cx="367631" cy="367631"/>
            <a:chOff x="1924" y="3187"/>
            <a:chExt cx="340" cy="340"/>
          </a:xfrm>
          <a:solidFill>
            <a:schemeClr val="accent3"/>
          </a:solidFill>
        </p:grpSpPr>
        <p:sp>
          <p:nvSpPr>
            <p:cNvPr id="312" name="Freeform 814"/>
            <p:cNvSpPr>
              <a:spLocks noEditPoints="1"/>
            </p:cNvSpPr>
            <p:nvPr/>
          </p:nvSpPr>
          <p:spPr bwMode="auto">
            <a:xfrm>
              <a:off x="1985" y="3251"/>
              <a:ext cx="199" cy="212"/>
            </a:xfrm>
            <a:custGeom>
              <a:avLst/>
              <a:gdLst>
                <a:gd name="T0" fmla="*/ 152 w 299"/>
                <a:gd name="T1" fmla="*/ 320 h 320"/>
                <a:gd name="T2" fmla="*/ 147 w 299"/>
                <a:gd name="T3" fmla="*/ 320 h 320"/>
                <a:gd name="T4" fmla="*/ 34 w 299"/>
                <a:gd name="T5" fmla="*/ 235 h 320"/>
                <a:gd name="T6" fmla="*/ 50 w 299"/>
                <a:gd name="T7" fmla="*/ 97 h 320"/>
                <a:gd name="T8" fmla="*/ 61 w 299"/>
                <a:gd name="T9" fmla="*/ 92 h 320"/>
                <a:gd name="T10" fmla="*/ 69 w 299"/>
                <a:gd name="T11" fmla="*/ 101 h 320"/>
                <a:gd name="T12" fmla="*/ 96 w 299"/>
                <a:gd name="T13" fmla="*/ 157 h 320"/>
                <a:gd name="T14" fmla="*/ 177 w 299"/>
                <a:gd name="T15" fmla="*/ 1 h 320"/>
                <a:gd name="T16" fmla="*/ 187 w 299"/>
                <a:gd name="T17" fmla="*/ 3 h 320"/>
                <a:gd name="T18" fmla="*/ 191 w 299"/>
                <a:gd name="T19" fmla="*/ 13 h 320"/>
                <a:gd name="T20" fmla="*/ 211 w 299"/>
                <a:gd name="T21" fmla="*/ 137 h 320"/>
                <a:gd name="T22" fmla="*/ 245 w 299"/>
                <a:gd name="T23" fmla="*/ 70 h 320"/>
                <a:gd name="T24" fmla="*/ 256 w 299"/>
                <a:gd name="T25" fmla="*/ 68 h 320"/>
                <a:gd name="T26" fmla="*/ 263 w 299"/>
                <a:gd name="T27" fmla="*/ 77 h 320"/>
                <a:gd name="T28" fmla="*/ 280 w 299"/>
                <a:gd name="T29" fmla="*/ 137 h 320"/>
                <a:gd name="T30" fmla="*/ 252 w 299"/>
                <a:gd name="T31" fmla="*/ 278 h 320"/>
                <a:gd name="T32" fmla="*/ 152 w 299"/>
                <a:gd name="T33" fmla="*/ 320 h 320"/>
                <a:gd name="T34" fmla="*/ 55 w 299"/>
                <a:gd name="T35" fmla="*/ 130 h 320"/>
                <a:gd name="T36" fmla="*/ 53 w 299"/>
                <a:gd name="T37" fmla="*/ 225 h 320"/>
                <a:gd name="T38" fmla="*/ 148 w 299"/>
                <a:gd name="T39" fmla="*/ 298 h 320"/>
                <a:gd name="T40" fmla="*/ 237 w 299"/>
                <a:gd name="T41" fmla="*/ 262 h 320"/>
                <a:gd name="T42" fmla="*/ 262 w 299"/>
                <a:gd name="T43" fmla="*/ 148 h 320"/>
                <a:gd name="T44" fmla="*/ 246 w 299"/>
                <a:gd name="T45" fmla="*/ 105 h 320"/>
                <a:gd name="T46" fmla="*/ 227 w 299"/>
                <a:gd name="T47" fmla="*/ 164 h 320"/>
                <a:gd name="T48" fmla="*/ 219 w 299"/>
                <a:gd name="T49" fmla="*/ 172 h 320"/>
                <a:gd name="T50" fmla="*/ 209 w 299"/>
                <a:gd name="T51" fmla="*/ 169 h 320"/>
                <a:gd name="T52" fmla="*/ 168 w 299"/>
                <a:gd name="T53" fmla="*/ 28 h 320"/>
                <a:gd name="T54" fmla="*/ 120 w 299"/>
                <a:gd name="T55" fmla="*/ 177 h 320"/>
                <a:gd name="T56" fmla="*/ 116 w 299"/>
                <a:gd name="T57" fmla="*/ 187 h 320"/>
                <a:gd name="T58" fmla="*/ 105 w 299"/>
                <a:gd name="T59" fmla="*/ 189 h 320"/>
                <a:gd name="T60" fmla="*/ 55 w 299"/>
                <a:gd name="T61" fmla="*/ 13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9" h="320">
                  <a:moveTo>
                    <a:pt x="152" y="320"/>
                  </a:moveTo>
                  <a:cubicBezTo>
                    <a:pt x="150" y="320"/>
                    <a:pt x="148" y="320"/>
                    <a:pt x="147" y="320"/>
                  </a:cubicBezTo>
                  <a:cubicBezTo>
                    <a:pt x="111" y="318"/>
                    <a:pt x="62" y="291"/>
                    <a:pt x="34" y="235"/>
                  </a:cubicBezTo>
                  <a:cubicBezTo>
                    <a:pt x="0" y="169"/>
                    <a:pt x="38" y="115"/>
                    <a:pt x="50" y="97"/>
                  </a:cubicBezTo>
                  <a:cubicBezTo>
                    <a:pt x="52" y="93"/>
                    <a:pt x="57" y="91"/>
                    <a:pt x="61" y="92"/>
                  </a:cubicBezTo>
                  <a:cubicBezTo>
                    <a:pt x="65" y="93"/>
                    <a:pt x="69" y="97"/>
                    <a:pt x="69" y="101"/>
                  </a:cubicBezTo>
                  <a:cubicBezTo>
                    <a:pt x="69" y="102"/>
                    <a:pt x="75" y="136"/>
                    <a:pt x="96" y="157"/>
                  </a:cubicBezTo>
                  <a:cubicBezTo>
                    <a:pt x="93" y="115"/>
                    <a:pt x="97" y="30"/>
                    <a:pt x="177" y="1"/>
                  </a:cubicBezTo>
                  <a:cubicBezTo>
                    <a:pt x="180" y="0"/>
                    <a:pt x="184" y="0"/>
                    <a:pt x="187" y="3"/>
                  </a:cubicBezTo>
                  <a:cubicBezTo>
                    <a:pt x="190" y="5"/>
                    <a:pt x="191" y="9"/>
                    <a:pt x="191" y="13"/>
                  </a:cubicBezTo>
                  <a:cubicBezTo>
                    <a:pt x="191" y="13"/>
                    <a:pt x="180" y="84"/>
                    <a:pt x="211" y="137"/>
                  </a:cubicBezTo>
                  <a:cubicBezTo>
                    <a:pt x="217" y="116"/>
                    <a:pt x="228" y="87"/>
                    <a:pt x="245" y="70"/>
                  </a:cubicBezTo>
                  <a:cubicBezTo>
                    <a:pt x="248" y="67"/>
                    <a:pt x="252" y="66"/>
                    <a:pt x="256" y="68"/>
                  </a:cubicBezTo>
                  <a:cubicBezTo>
                    <a:pt x="260" y="69"/>
                    <a:pt x="263" y="73"/>
                    <a:pt x="263" y="77"/>
                  </a:cubicBezTo>
                  <a:cubicBezTo>
                    <a:pt x="263" y="77"/>
                    <a:pt x="266" y="111"/>
                    <a:pt x="280" y="137"/>
                  </a:cubicBezTo>
                  <a:cubicBezTo>
                    <a:pt x="299" y="170"/>
                    <a:pt x="289" y="243"/>
                    <a:pt x="252" y="278"/>
                  </a:cubicBezTo>
                  <a:cubicBezTo>
                    <a:pt x="214" y="313"/>
                    <a:pt x="175" y="320"/>
                    <a:pt x="152" y="320"/>
                  </a:cubicBezTo>
                  <a:close/>
                  <a:moveTo>
                    <a:pt x="55" y="130"/>
                  </a:moveTo>
                  <a:cubicBezTo>
                    <a:pt x="42" y="155"/>
                    <a:pt x="34" y="188"/>
                    <a:pt x="53" y="225"/>
                  </a:cubicBezTo>
                  <a:cubicBezTo>
                    <a:pt x="81" y="281"/>
                    <a:pt x="125" y="297"/>
                    <a:pt x="148" y="298"/>
                  </a:cubicBezTo>
                  <a:cubicBezTo>
                    <a:pt x="166" y="299"/>
                    <a:pt x="202" y="295"/>
                    <a:pt x="237" y="262"/>
                  </a:cubicBezTo>
                  <a:cubicBezTo>
                    <a:pt x="266" y="235"/>
                    <a:pt x="276" y="173"/>
                    <a:pt x="262" y="148"/>
                  </a:cubicBezTo>
                  <a:cubicBezTo>
                    <a:pt x="254" y="134"/>
                    <a:pt x="249" y="118"/>
                    <a:pt x="246" y="105"/>
                  </a:cubicBezTo>
                  <a:cubicBezTo>
                    <a:pt x="235" y="126"/>
                    <a:pt x="229" y="152"/>
                    <a:pt x="227" y="164"/>
                  </a:cubicBezTo>
                  <a:cubicBezTo>
                    <a:pt x="226" y="168"/>
                    <a:pt x="223" y="171"/>
                    <a:pt x="219" y="172"/>
                  </a:cubicBezTo>
                  <a:cubicBezTo>
                    <a:pt x="216" y="173"/>
                    <a:pt x="211" y="172"/>
                    <a:pt x="209" y="169"/>
                  </a:cubicBezTo>
                  <a:cubicBezTo>
                    <a:pt x="169" y="124"/>
                    <a:pt x="166" y="60"/>
                    <a:pt x="168" y="28"/>
                  </a:cubicBezTo>
                  <a:cubicBezTo>
                    <a:pt x="98" y="69"/>
                    <a:pt x="119" y="176"/>
                    <a:pt x="120" y="177"/>
                  </a:cubicBezTo>
                  <a:cubicBezTo>
                    <a:pt x="120" y="181"/>
                    <a:pt x="119" y="185"/>
                    <a:pt x="116" y="187"/>
                  </a:cubicBezTo>
                  <a:cubicBezTo>
                    <a:pt x="113" y="190"/>
                    <a:pt x="109" y="190"/>
                    <a:pt x="105" y="189"/>
                  </a:cubicBezTo>
                  <a:cubicBezTo>
                    <a:pt x="77" y="177"/>
                    <a:pt x="62" y="150"/>
                    <a:pt x="55"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15"/>
            <p:cNvSpPr>
              <a:spLocks noEditPoints="1"/>
            </p:cNvSpPr>
            <p:nvPr/>
          </p:nvSpPr>
          <p:spPr bwMode="auto">
            <a:xfrm>
              <a:off x="1924" y="3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4" name="Group 154"/>
          <p:cNvGrpSpPr>
            <a:grpSpLocks noChangeAspect="1"/>
          </p:cNvGrpSpPr>
          <p:nvPr/>
        </p:nvGrpSpPr>
        <p:grpSpPr bwMode="auto">
          <a:xfrm>
            <a:off x="7546608" y="1697038"/>
            <a:ext cx="369676" cy="369676"/>
            <a:chOff x="2716" y="380"/>
            <a:chExt cx="340" cy="340"/>
          </a:xfrm>
          <a:solidFill>
            <a:schemeClr val="accent2"/>
          </a:solidFill>
        </p:grpSpPr>
        <p:sp>
          <p:nvSpPr>
            <p:cNvPr id="315" name="Freeform 155"/>
            <p:cNvSpPr>
              <a:spLocks/>
            </p:cNvSpPr>
            <p:nvPr/>
          </p:nvSpPr>
          <p:spPr bwMode="auto">
            <a:xfrm>
              <a:off x="2780" y="444"/>
              <a:ext cx="211" cy="212"/>
            </a:xfrm>
            <a:custGeom>
              <a:avLst/>
              <a:gdLst>
                <a:gd name="T0" fmla="*/ 234 w 317"/>
                <a:gd name="T1" fmla="*/ 191 h 320"/>
                <a:gd name="T2" fmla="*/ 234 w 317"/>
                <a:gd name="T3" fmla="*/ 128 h 320"/>
                <a:gd name="T4" fmla="*/ 305 w 317"/>
                <a:gd name="T5" fmla="*/ 147 h 320"/>
                <a:gd name="T6" fmla="*/ 308 w 317"/>
                <a:gd name="T7" fmla="*/ 126 h 320"/>
                <a:gd name="T8" fmla="*/ 293 w 317"/>
                <a:gd name="T9" fmla="*/ 94 h 320"/>
                <a:gd name="T10" fmla="*/ 283 w 317"/>
                <a:gd name="T11" fmla="*/ 76 h 320"/>
                <a:gd name="T12" fmla="*/ 262 w 317"/>
                <a:gd name="T13" fmla="*/ 47 h 320"/>
                <a:gd name="T14" fmla="*/ 242 w 317"/>
                <a:gd name="T15" fmla="*/ 41 h 320"/>
                <a:gd name="T16" fmla="*/ 169 w 317"/>
                <a:gd name="T17" fmla="*/ 141 h 320"/>
                <a:gd name="T18" fmla="*/ 220 w 317"/>
                <a:gd name="T19" fmla="*/ 29 h 320"/>
                <a:gd name="T20" fmla="*/ 204 w 317"/>
                <a:gd name="T21" fmla="*/ 13 h 320"/>
                <a:gd name="T22" fmla="*/ 169 w 317"/>
                <a:gd name="T23" fmla="*/ 10 h 320"/>
                <a:gd name="T24" fmla="*/ 148 w 317"/>
                <a:gd name="T25" fmla="*/ 10 h 320"/>
                <a:gd name="T26" fmla="*/ 113 w 317"/>
                <a:gd name="T27" fmla="*/ 13 h 320"/>
                <a:gd name="T28" fmla="*/ 98 w 317"/>
                <a:gd name="T29" fmla="*/ 29 h 320"/>
                <a:gd name="T30" fmla="*/ 148 w 317"/>
                <a:gd name="T31" fmla="*/ 141 h 320"/>
                <a:gd name="T32" fmla="*/ 75 w 317"/>
                <a:gd name="T33" fmla="*/ 41 h 320"/>
                <a:gd name="T34" fmla="*/ 55 w 317"/>
                <a:gd name="T35" fmla="*/ 47 h 320"/>
                <a:gd name="T36" fmla="*/ 35 w 317"/>
                <a:gd name="T37" fmla="*/ 76 h 320"/>
                <a:gd name="T38" fmla="*/ 24 w 317"/>
                <a:gd name="T39" fmla="*/ 94 h 320"/>
                <a:gd name="T40" fmla="*/ 9 w 317"/>
                <a:gd name="T41" fmla="*/ 126 h 320"/>
                <a:gd name="T42" fmla="*/ 12 w 317"/>
                <a:gd name="T43" fmla="*/ 147 h 320"/>
                <a:gd name="T44" fmla="*/ 83 w 317"/>
                <a:gd name="T45" fmla="*/ 128 h 320"/>
                <a:gd name="T46" fmla="*/ 83 w 317"/>
                <a:gd name="T47" fmla="*/ 191 h 320"/>
                <a:gd name="T48" fmla="*/ 2 w 317"/>
                <a:gd name="T49" fmla="*/ 180 h 320"/>
                <a:gd name="T50" fmla="*/ 57 w 317"/>
                <a:gd name="T51" fmla="*/ 206 h 320"/>
                <a:gd name="T52" fmla="*/ 20 w 317"/>
                <a:gd name="T53" fmla="*/ 240 h 320"/>
                <a:gd name="T54" fmla="*/ 35 w 317"/>
                <a:gd name="T55" fmla="*/ 244 h 320"/>
                <a:gd name="T56" fmla="*/ 55 w 317"/>
                <a:gd name="T57" fmla="*/ 272 h 320"/>
                <a:gd name="T58" fmla="*/ 65 w 317"/>
                <a:gd name="T59" fmla="*/ 286 h 320"/>
                <a:gd name="T60" fmla="*/ 94 w 317"/>
                <a:gd name="T61" fmla="*/ 209 h 320"/>
                <a:gd name="T62" fmla="*/ 148 w 317"/>
                <a:gd name="T63" fmla="*/ 241 h 320"/>
                <a:gd name="T64" fmla="*/ 98 w 317"/>
                <a:gd name="T65" fmla="*/ 306 h 320"/>
                <a:gd name="T66" fmla="*/ 113 w 317"/>
                <a:gd name="T67" fmla="*/ 306 h 320"/>
                <a:gd name="T68" fmla="*/ 148 w 317"/>
                <a:gd name="T69" fmla="*/ 309 h 320"/>
                <a:gd name="T70" fmla="*/ 169 w 317"/>
                <a:gd name="T71" fmla="*/ 309 h 320"/>
                <a:gd name="T72" fmla="*/ 204 w 317"/>
                <a:gd name="T73" fmla="*/ 306 h 320"/>
                <a:gd name="T74" fmla="*/ 220 w 317"/>
                <a:gd name="T75" fmla="*/ 306 h 320"/>
                <a:gd name="T76" fmla="*/ 169 w 317"/>
                <a:gd name="T77" fmla="*/ 241 h 320"/>
                <a:gd name="T78" fmla="*/ 223 w 317"/>
                <a:gd name="T79" fmla="*/ 209 h 320"/>
                <a:gd name="T80" fmla="*/ 252 w 317"/>
                <a:gd name="T81" fmla="*/ 286 h 320"/>
                <a:gd name="T82" fmla="*/ 262 w 317"/>
                <a:gd name="T83" fmla="*/ 272 h 320"/>
                <a:gd name="T84" fmla="*/ 283 w 317"/>
                <a:gd name="T85" fmla="*/ 244 h 320"/>
                <a:gd name="T86" fmla="*/ 297 w 317"/>
                <a:gd name="T87" fmla="*/ 240 h 320"/>
                <a:gd name="T88" fmla="*/ 260 w 317"/>
                <a:gd name="T89" fmla="*/ 206 h 320"/>
                <a:gd name="T90" fmla="*/ 316 w 317"/>
                <a:gd name="T91" fmla="*/ 1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320">
                  <a:moveTo>
                    <a:pt x="303" y="172"/>
                  </a:moveTo>
                  <a:cubicBezTo>
                    <a:pt x="234" y="191"/>
                    <a:pt x="234" y="191"/>
                    <a:pt x="234" y="191"/>
                  </a:cubicBezTo>
                  <a:cubicBezTo>
                    <a:pt x="180" y="160"/>
                    <a:pt x="180" y="160"/>
                    <a:pt x="180" y="160"/>
                  </a:cubicBezTo>
                  <a:cubicBezTo>
                    <a:pt x="234" y="128"/>
                    <a:pt x="234" y="128"/>
                    <a:pt x="234" y="128"/>
                  </a:cubicBezTo>
                  <a:cubicBezTo>
                    <a:pt x="303" y="147"/>
                    <a:pt x="303" y="147"/>
                    <a:pt x="303" y="147"/>
                  </a:cubicBezTo>
                  <a:cubicBezTo>
                    <a:pt x="304" y="147"/>
                    <a:pt x="305" y="147"/>
                    <a:pt x="305" y="147"/>
                  </a:cubicBezTo>
                  <a:cubicBezTo>
                    <a:pt x="310" y="147"/>
                    <a:pt x="314" y="144"/>
                    <a:pt x="316" y="139"/>
                  </a:cubicBezTo>
                  <a:cubicBezTo>
                    <a:pt x="317" y="134"/>
                    <a:pt x="314" y="128"/>
                    <a:pt x="308" y="126"/>
                  </a:cubicBezTo>
                  <a:cubicBezTo>
                    <a:pt x="260" y="113"/>
                    <a:pt x="260" y="113"/>
                    <a:pt x="260" y="113"/>
                  </a:cubicBezTo>
                  <a:cubicBezTo>
                    <a:pt x="293" y="94"/>
                    <a:pt x="293" y="94"/>
                    <a:pt x="293" y="94"/>
                  </a:cubicBezTo>
                  <a:cubicBezTo>
                    <a:pt x="298" y="91"/>
                    <a:pt x="300" y="85"/>
                    <a:pt x="297" y="80"/>
                  </a:cubicBezTo>
                  <a:cubicBezTo>
                    <a:pt x="294" y="75"/>
                    <a:pt x="288" y="73"/>
                    <a:pt x="283" y="76"/>
                  </a:cubicBezTo>
                  <a:cubicBezTo>
                    <a:pt x="250" y="95"/>
                    <a:pt x="250" y="95"/>
                    <a:pt x="250" y="95"/>
                  </a:cubicBezTo>
                  <a:cubicBezTo>
                    <a:pt x="262" y="47"/>
                    <a:pt x="262" y="47"/>
                    <a:pt x="262" y="47"/>
                  </a:cubicBezTo>
                  <a:cubicBezTo>
                    <a:pt x="264" y="41"/>
                    <a:pt x="261" y="35"/>
                    <a:pt x="255" y="34"/>
                  </a:cubicBezTo>
                  <a:cubicBezTo>
                    <a:pt x="249" y="32"/>
                    <a:pt x="243" y="36"/>
                    <a:pt x="242" y="41"/>
                  </a:cubicBezTo>
                  <a:cubicBezTo>
                    <a:pt x="223" y="110"/>
                    <a:pt x="223" y="110"/>
                    <a:pt x="223" y="110"/>
                  </a:cubicBezTo>
                  <a:cubicBezTo>
                    <a:pt x="169" y="141"/>
                    <a:pt x="169" y="141"/>
                    <a:pt x="169" y="141"/>
                  </a:cubicBezTo>
                  <a:cubicBezTo>
                    <a:pt x="169" y="79"/>
                    <a:pt x="169" y="79"/>
                    <a:pt x="169" y="79"/>
                  </a:cubicBezTo>
                  <a:cubicBezTo>
                    <a:pt x="220" y="29"/>
                    <a:pt x="220" y="29"/>
                    <a:pt x="220" y="29"/>
                  </a:cubicBezTo>
                  <a:cubicBezTo>
                    <a:pt x="224" y="24"/>
                    <a:pt x="224" y="18"/>
                    <a:pt x="220" y="13"/>
                  </a:cubicBezTo>
                  <a:cubicBezTo>
                    <a:pt x="215" y="9"/>
                    <a:pt x="209" y="9"/>
                    <a:pt x="204" y="13"/>
                  </a:cubicBezTo>
                  <a:cubicBezTo>
                    <a:pt x="169" y="49"/>
                    <a:pt x="169" y="49"/>
                    <a:pt x="169" y="49"/>
                  </a:cubicBezTo>
                  <a:cubicBezTo>
                    <a:pt x="169" y="10"/>
                    <a:pt x="169" y="10"/>
                    <a:pt x="169" y="10"/>
                  </a:cubicBezTo>
                  <a:cubicBezTo>
                    <a:pt x="169" y="4"/>
                    <a:pt x="165" y="0"/>
                    <a:pt x="159" y="0"/>
                  </a:cubicBezTo>
                  <a:cubicBezTo>
                    <a:pt x="153" y="0"/>
                    <a:pt x="148" y="4"/>
                    <a:pt x="148" y="10"/>
                  </a:cubicBezTo>
                  <a:cubicBezTo>
                    <a:pt x="148" y="49"/>
                    <a:pt x="148" y="49"/>
                    <a:pt x="148" y="49"/>
                  </a:cubicBezTo>
                  <a:cubicBezTo>
                    <a:pt x="113" y="13"/>
                    <a:pt x="113" y="13"/>
                    <a:pt x="113" y="13"/>
                  </a:cubicBezTo>
                  <a:cubicBezTo>
                    <a:pt x="109" y="9"/>
                    <a:pt x="102" y="9"/>
                    <a:pt x="98" y="13"/>
                  </a:cubicBezTo>
                  <a:cubicBezTo>
                    <a:pt x="94" y="18"/>
                    <a:pt x="94" y="24"/>
                    <a:pt x="98" y="29"/>
                  </a:cubicBezTo>
                  <a:cubicBezTo>
                    <a:pt x="148" y="79"/>
                    <a:pt x="148" y="79"/>
                    <a:pt x="148" y="79"/>
                  </a:cubicBezTo>
                  <a:cubicBezTo>
                    <a:pt x="148" y="141"/>
                    <a:pt x="148" y="141"/>
                    <a:pt x="148" y="141"/>
                  </a:cubicBezTo>
                  <a:cubicBezTo>
                    <a:pt x="94" y="110"/>
                    <a:pt x="94" y="110"/>
                    <a:pt x="94" y="110"/>
                  </a:cubicBezTo>
                  <a:cubicBezTo>
                    <a:pt x="75" y="41"/>
                    <a:pt x="75" y="41"/>
                    <a:pt x="75" y="41"/>
                  </a:cubicBezTo>
                  <a:cubicBezTo>
                    <a:pt x="74" y="36"/>
                    <a:pt x="68" y="32"/>
                    <a:pt x="62" y="34"/>
                  </a:cubicBezTo>
                  <a:cubicBezTo>
                    <a:pt x="57" y="35"/>
                    <a:pt x="53" y="41"/>
                    <a:pt x="55" y="47"/>
                  </a:cubicBezTo>
                  <a:cubicBezTo>
                    <a:pt x="68" y="95"/>
                    <a:pt x="68" y="95"/>
                    <a:pt x="68" y="95"/>
                  </a:cubicBezTo>
                  <a:cubicBezTo>
                    <a:pt x="35" y="76"/>
                    <a:pt x="35" y="76"/>
                    <a:pt x="35" y="76"/>
                  </a:cubicBezTo>
                  <a:cubicBezTo>
                    <a:pt x="30" y="73"/>
                    <a:pt x="23" y="75"/>
                    <a:pt x="20" y="80"/>
                  </a:cubicBezTo>
                  <a:cubicBezTo>
                    <a:pt x="17" y="85"/>
                    <a:pt x="19" y="91"/>
                    <a:pt x="24" y="94"/>
                  </a:cubicBezTo>
                  <a:cubicBezTo>
                    <a:pt x="57" y="113"/>
                    <a:pt x="57" y="113"/>
                    <a:pt x="57" y="113"/>
                  </a:cubicBezTo>
                  <a:cubicBezTo>
                    <a:pt x="9" y="126"/>
                    <a:pt x="9" y="126"/>
                    <a:pt x="9" y="126"/>
                  </a:cubicBezTo>
                  <a:cubicBezTo>
                    <a:pt x="3" y="128"/>
                    <a:pt x="0" y="134"/>
                    <a:pt x="2" y="139"/>
                  </a:cubicBezTo>
                  <a:cubicBezTo>
                    <a:pt x="3" y="144"/>
                    <a:pt x="7" y="147"/>
                    <a:pt x="12" y="147"/>
                  </a:cubicBezTo>
                  <a:cubicBezTo>
                    <a:pt x="13" y="147"/>
                    <a:pt x="14" y="147"/>
                    <a:pt x="15" y="147"/>
                  </a:cubicBezTo>
                  <a:cubicBezTo>
                    <a:pt x="83" y="128"/>
                    <a:pt x="83" y="128"/>
                    <a:pt x="83" y="128"/>
                  </a:cubicBezTo>
                  <a:cubicBezTo>
                    <a:pt x="137" y="160"/>
                    <a:pt x="137" y="160"/>
                    <a:pt x="137" y="160"/>
                  </a:cubicBezTo>
                  <a:cubicBezTo>
                    <a:pt x="83" y="191"/>
                    <a:pt x="83" y="191"/>
                    <a:pt x="83" y="191"/>
                  </a:cubicBezTo>
                  <a:cubicBezTo>
                    <a:pt x="15" y="172"/>
                    <a:pt x="15" y="172"/>
                    <a:pt x="15" y="172"/>
                  </a:cubicBezTo>
                  <a:cubicBezTo>
                    <a:pt x="9" y="171"/>
                    <a:pt x="3" y="174"/>
                    <a:pt x="2" y="180"/>
                  </a:cubicBezTo>
                  <a:cubicBezTo>
                    <a:pt x="0" y="186"/>
                    <a:pt x="3" y="192"/>
                    <a:pt x="9" y="193"/>
                  </a:cubicBezTo>
                  <a:cubicBezTo>
                    <a:pt x="57" y="206"/>
                    <a:pt x="57" y="206"/>
                    <a:pt x="57" y="206"/>
                  </a:cubicBezTo>
                  <a:cubicBezTo>
                    <a:pt x="24" y="225"/>
                    <a:pt x="24" y="225"/>
                    <a:pt x="24" y="225"/>
                  </a:cubicBezTo>
                  <a:cubicBezTo>
                    <a:pt x="19" y="228"/>
                    <a:pt x="17" y="234"/>
                    <a:pt x="20" y="240"/>
                  </a:cubicBezTo>
                  <a:cubicBezTo>
                    <a:pt x="22" y="243"/>
                    <a:pt x="26" y="245"/>
                    <a:pt x="29" y="245"/>
                  </a:cubicBezTo>
                  <a:cubicBezTo>
                    <a:pt x="31" y="245"/>
                    <a:pt x="33" y="244"/>
                    <a:pt x="35" y="244"/>
                  </a:cubicBezTo>
                  <a:cubicBezTo>
                    <a:pt x="68" y="224"/>
                    <a:pt x="68" y="224"/>
                    <a:pt x="68" y="224"/>
                  </a:cubicBezTo>
                  <a:cubicBezTo>
                    <a:pt x="55" y="272"/>
                    <a:pt x="55" y="272"/>
                    <a:pt x="55" y="272"/>
                  </a:cubicBezTo>
                  <a:cubicBezTo>
                    <a:pt x="53" y="278"/>
                    <a:pt x="57" y="284"/>
                    <a:pt x="62" y="285"/>
                  </a:cubicBezTo>
                  <a:cubicBezTo>
                    <a:pt x="63" y="286"/>
                    <a:pt x="64" y="286"/>
                    <a:pt x="65" y="286"/>
                  </a:cubicBezTo>
                  <a:cubicBezTo>
                    <a:pt x="70" y="286"/>
                    <a:pt x="74" y="283"/>
                    <a:pt x="75" y="278"/>
                  </a:cubicBezTo>
                  <a:cubicBezTo>
                    <a:pt x="94" y="209"/>
                    <a:pt x="94" y="209"/>
                    <a:pt x="94" y="209"/>
                  </a:cubicBezTo>
                  <a:cubicBezTo>
                    <a:pt x="148" y="178"/>
                    <a:pt x="148" y="178"/>
                    <a:pt x="148" y="178"/>
                  </a:cubicBezTo>
                  <a:cubicBezTo>
                    <a:pt x="148" y="241"/>
                    <a:pt x="148" y="241"/>
                    <a:pt x="148" y="241"/>
                  </a:cubicBezTo>
                  <a:cubicBezTo>
                    <a:pt x="98" y="291"/>
                    <a:pt x="98" y="291"/>
                    <a:pt x="98" y="291"/>
                  </a:cubicBezTo>
                  <a:cubicBezTo>
                    <a:pt x="94" y="295"/>
                    <a:pt x="94" y="302"/>
                    <a:pt x="98" y="306"/>
                  </a:cubicBezTo>
                  <a:cubicBezTo>
                    <a:pt x="100" y="308"/>
                    <a:pt x="103" y="309"/>
                    <a:pt x="105" y="309"/>
                  </a:cubicBezTo>
                  <a:cubicBezTo>
                    <a:pt x="108" y="309"/>
                    <a:pt x="111" y="308"/>
                    <a:pt x="113" y="306"/>
                  </a:cubicBezTo>
                  <a:cubicBezTo>
                    <a:pt x="148" y="271"/>
                    <a:pt x="148" y="271"/>
                    <a:pt x="148" y="271"/>
                  </a:cubicBezTo>
                  <a:cubicBezTo>
                    <a:pt x="148" y="309"/>
                    <a:pt x="148" y="309"/>
                    <a:pt x="148" y="309"/>
                  </a:cubicBezTo>
                  <a:cubicBezTo>
                    <a:pt x="148" y="315"/>
                    <a:pt x="153" y="320"/>
                    <a:pt x="159" y="320"/>
                  </a:cubicBezTo>
                  <a:cubicBezTo>
                    <a:pt x="165" y="320"/>
                    <a:pt x="169" y="315"/>
                    <a:pt x="169" y="309"/>
                  </a:cubicBezTo>
                  <a:cubicBezTo>
                    <a:pt x="169" y="271"/>
                    <a:pt x="169" y="271"/>
                    <a:pt x="169" y="271"/>
                  </a:cubicBezTo>
                  <a:cubicBezTo>
                    <a:pt x="204" y="306"/>
                    <a:pt x="204" y="306"/>
                    <a:pt x="204" y="306"/>
                  </a:cubicBezTo>
                  <a:cubicBezTo>
                    <a:pt x="207" y="308"/>
                    <a:pt x="209" y="309"/>
                    <a:pt x="212" y="309"/>
                  </a:cubicBezTo>
                  <a:cubicBezTo>
                    <a:pt x="215" y="309"/>
                    <a:pt x="217" y="308"/>
                    <a:pt x="220" y="306"/>
                  </a:cubicBezTo>
                  <a:cubicBezTo>
                    <a:pt x="224" y="302"/>
                    <a:pt x="224" y="295"/>
                    <a:pt x="220" y="291"/>
                  </a:cubicBezTo>
                  <a:cubicBezTo>
                    <a:pt x="169" y="241"/>
                    <a:pt x="169" y="241"/>
                    <a:pt x="169" y="241"/>
                  </a:cubicBezTo>
                  <a:cubicBezTo>
                    <a:pt x="169" y="178"/>
                    <a:pt x="169" y="178"/>
                    <a:pt x="169" y="178"/>
                  </a:cubicBezTo>
                  <a:cubicBezTo>
                    <a:pt x="223" y="209"/>
                    <a:pt x="223" y="209"/>
                    <a:pt x="223" y="209"/>
                  </a:cubicBezTo>
                  <a:cubicBezTo>
                    <a:pt x="242" y="278"/>
                    <a:pt x="242" y="278"/>
                    <a:pt x="242" y="278"/>
                  </a:cubicBezTo>
                  <a:cubicBezTo>
                    <a:pt x="243" y="283"/>
                    <a:pt x="247" y="286"/>
                    <a:pt x="252" y="286"/>
                  </a:cubicBezTo>
                  <a:cubicBezTo>
                    <a:pt x="253" y="286"/>
                    <a:pt x="254" y="286"/>
                    <a:pt x="255" y="285"/>
                  </a:cubicBezTo>
                  <a:cubicBezTo>
                    <a:pt x="261" y="284"/>
                    <a:pt x="264" y="278"/>
                    <a:pt x="262" y="272"/>
                  </a:cubicBezTo>
                  <a:cubicBezTo>
                    <a:pt x="250" y="224"/>
                    <a:pt x="250" y="224"/>
                    <a:pt x="250" y="224"/>
                  </a:cubicBezTo>
                  <a:cubicBezTo>
                    <a:pt x="283" y="244"/>
                    <a:pt x="283" y="244"/>
                    <a:pt x="283" y="244"/>
                  </a:cubicBezTo>
                  <a:cubicBezTo>
                    <a:pt x="284" y="244"/>
                    <a:pt x="286" y="245"/>
                    <a:pt x="288" y="245"/>
                  </a:cubicBezTo>
                  <a:cubicBezTo>
                    <a:pt x="292" y="245"/>
                    <a:pt x="295" y="243"/>
                    <a:pt x="297" y="240"/>
                  </a:cubicBezTo>
                  <a:cubicBezTo>
                    <a:pt x="300" y="234"/>
                    <a:pt x="298" y="228"/>
                    <a:pt x="293" y="225"/>
                  </a:cubicBezTo>
                  <a:cubicBezTo>
                    <a:pt x="260" y="206"/>
                    <a:pt x="260" y="206"/>
                    <a:pt x="260" y="206"/>
                  </a:cubicBezTo>
                  <a:cubicBezTo>
                    <a:pt x="308" y="193"/>
                    <a:pt x="308" y="193"/>
                    <a:pt x="308" y="193"/>
                  </a:cubicBezTo>
                  <a:cubicBezTo>
                    <a:pt x="314" y="192"/>
                    <a:pt x="317" y="186"/>
                    <a:pt x="316" y="180"/>
                  </a:cubicBezTo>
                  <a:cubicBezTo>
                    <a:pt x="314" y="174"/>
                    <a:pt x="308" y="171"/>
                    <a:pt x="303"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156"/>
            <p:cNvSpPr>
              <a:spLocks noEditPoints="1"/>
            </p:cNvSpPr>
            <p:nvPr/>
          </p:nvSpPr>
          <p:spPr bwMode="auto">
            <a:xfrm>
              <a:off x="2716"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7" name="Freeform 164"/>
          <p:cNvSpPr>
            <a:spLocks noChangeAspect="1" noEditPoints="1"/>
          </p:cNvSpPr>
          <p:nvPr/>
        </p:nvSpPr>
        <p:spPr bwMode="auto">
          <a:xfrm>
            <a:off x="7125203" y="1697038"/>
            <a:ext cx="369676" cy="369676"/>
          </a:xfrm>
          <a:custGeom>
            <a:avLst/>
            <a:gdLst>
              <a:gd name="T0" fmla="*/ 0 w 512"/>
              <a:gd name="T1" fmla="*/ 256 h 512"/>
              <a:gd name="T2" fmla="*/ 512 w 512"/>
              <a:gd name="T3" fmla="*/ 256 h 512"/>
              <a:gd name="T4" fmla="*/ 331 w 512"/>
              <a:gd name="T5" fmla="*/ 287 h 512"/>
              <a:gd name="T6" fmla="*/ 413 w 512"/>
              <a:gd name="T7" fmla="*/ 276 h 512"/>
              <a:gd name="T8" fmla="*/ 357 w 512"/>
              <a:gd name="T9" fmla="*/ 302 h 512"/>
              <a:gd name="T10" fmla="*/ 394 w 512"/>
              <a:gd name="T11" fmla="*/ 336 h 512"/>
              <a:gd name="T12" fmla="*/ 380 w 512"/>
              <a:gd name="T13" fmla="*/ 340 h 512"/>
              <a:gd name="T14" fmla="*/ 359 w 512"/>
              <a:gd name="T15" fmla="*/ 368 h 512"/>
              <a:gd name="T16" fmla="*/ 349 w 512"/>
              <a:gd name="T17" fmla="*/ 382 h 512"/>
              <a:gd name="T18" fmla="*/ 320 w 512"/>
              <a:gd name="T19" fmla="*/ 305 h 512"/>
              <a:gd name="T20" fmla="*/ 266 w 512"/>
              <a:gd name="T21" fmla="*/ 337 h 512"/>
              <a:gd name="T22" fmla="*/ 317 w 512"/>
              <a:gd name="T23" fmla="*/ 402 h 512"/>
              <a:gd name="T24" fmla="*/ 301 w 512"/>
              <a:gd name="T25" fmla="*/ 402 h 512"/>
              <a:gd name="T26" fmla="*/ 266 w 512"/>
              <a:gd name="T27" fmla="*/ 405 h 512"/>
              <a:gd name="T28" fmla="*/ 245 w 512"/>
              <a:gd name="T29" fmla="*/ 405 h 512"/>
              <a:gd name="T30" fmla="*/ 210 w 512"/>
              <a:gd name="T31" fmla="*/ 402 h 512"/>
              <a:gd name="T32" fmla="*/ 195 w 512"/>
              <a:gd name="T33" fmla="*/ 402 h 512"/>
              <a:gd name="T34" fmla="*/ 245 w 512"/>
              <a:gd name="T35" fmla="*/ 337 h 512"/>
              <a:gd name="T36" fmla="*/ 191 w 512"/>
              <a:gd name="T37" fmla="*/ 305 h 512"/>
              <a:gd name="T38" fmla="*/ 162 w 512"/>
              <a:gd name="T39" fmla="*/ 382 h 512"/>
              <a:gd name="T40" fmla="*/ 152 w 512"/>
              <a:gd name="T41" fmla="*/ 368 h 512"/>
              <a:gd name="T42" fmla="*/ 132 w 512"/>
              <a:gd name="T43" fmla="*/ 340 h 512"/>
              <a:gd name="T44" fmla="*/ 117 w 512"/>
              <a:gd name="T45" fmla="*/ 336 h 512"/>
              <a:gd name="T46" fmla="*/ 154 w 512"/>
              <a:gd name="T47" fmla="*/ 302 h 512"/>
              <a:gd name="T48" fmla="*/ 99 w 512"/>
              <a:gd name="T49" fmla="*/ 276 h 512"/>
              <a:gd name="T50" fmla="*/ 180 w 512"/>
              <a:gd name="T51" fmla="*/ 287 h 512"/>
              <a:gd name="T52" fmla="*/ 180 w 512"/>
              <a:gd name="T53" fmla="*/ 224 h 512"/>
              <a:gd name="T54" fmla="*/ 109 w 512"/>
              <a:gd name="T55" fmla="*/ 243 h 512"/>
              <a:gd name="T56" fmla="*/ 106 w 512"/>
              <a:gd name="T57" fmla="*/ 222 h 512"/>
              <a:gd name="T58" fmla="*/ 121 w 512"/>
              <a:gd name="T59" fmla="*/ 190 h 512"/>
              <a:gd name="T60" fmla="*/ 132 w 512"/>
              <a:gd name="T61" fmla="*/ 172 h 512"/>
              <a:gd name="T62" fmla="*/ 152 w 512"/>
              <a:gd name="T63" fmla="*/ 143 h 512"/>
              <a:gd name="T64" fmla="*/ 172 w 512"/>
              <a:gd name="T65" fmla="*/ 137 h 512"/>
              <a:gd name="T66" fmla="*/ 245 w 512"/>
              <a:gd name="T67" fmla="*/ 237 h 512"/>
              <a:gd name="T68" fmla="*/ 195 w 512"/>
              <a:gd name="T69" fmla="*/ 125 h 512"/>
              <a:gd name="T70" fmla="*/ 210 w 512"/>
              <a:gd name="T71" fmla="*/ 109 h 512"/>
              <a:gd name="T72" fmla="*/ 245 w 512"/>
              <a:gd name="T73" fmla="*/ 106 h 512"/>
              <a:gd name="T74" fmla="*/ 266 w 512"/>
              <a:gd name="T75" fmla="*/ 106 h 512"/>
              <a:gd name="T76" fmla="*/ 301 w 512"/>
              <a:gd name="T77" fmla="*/ 109 h 512"/>
              <a:gd name="T78" fmla="*/ 317 w 512"/>
              <a:gd name="T79" fmla="*/ 125 h 512"/>
              <a:gd name="T80" fmla="*/ 266 w 512"/>
              <a:gd name="T81" fmla="*/ 237 h 512"/>
              <a:gd name="T82" fmla="*/ 339 w 512"/>
              <a:gd name="T83" fmla="*/ 137 h 512"/>
              <a:gd name="T84" fmla="*/ 359 w 512"/>
              <a:gd name="T85" fmla="*/ 143 h 512"/>
              <a:gd name="T86" fmla="*/ 380 w 512"/>
              <a:gd name="T87" fmla="*/ 172 h 512"/>
              <a:gd name="T88" fmla="*/ 390 w 512"/>
              <a:gd name="T89" fmla="*/ 190 h 512"/>
              <a:gd name="T90" fmla="*/ 405 w 512"/>
              <a:gd name="T91" fmla="*/ 222 h 512"/>
              <a:gd name="T92" fmla="*/ 402 w 512"/>
              <a:gd name="T93" fmla="*/ 243 h 512"/>
              <a:gd name="T94" fmla="*/ 331 w 512"/>
              <a:gd name="T95" fmla="*/ 224 h 512"/>
              <a:gd name="T96" fmla="*/ 331 w 512"/>
              <a:gd name="T97" fmla="*/ 28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1" y="287"/>
                </a:moveTo>
                <a:cubicBezTo>
                  <a:pt x="400" y="268"/>
                  <a:pt x="400" y="268"/>
                  <a:pt x="400" y="268"/>
                </a:cubicBezTo>
                <a:cubicBezTo>
                  <a:pt x="405" y="267"/>
                  <a:pt x="411" y="270"/>
                  <a:pt x="413" y="276"/>
                </a:cubicBezTo>
                <a:cubicBezTo>
                  <a:pt x="414" y="282"/>
                  <a:pt x="411" y="288"/>
                  <a:pt x="405" y="289"/>
                </a:cubicBezTo>
                <a:cubicBezTo>
                  <a:pt x="357" y="302"/>
                  <a:pt x="357" y="302"/>
                  <a:pt x="357" y="302"/>
                </a:cubicBezTo>
                <a:cubicBezTo>
                  <a:pt x="390" y="321"/>
                  <a:pt x="390" y="321"/>
                  <a:pt x="390" y="321"/>
                </a:cubicBezTo>
                <a:cubicBezTo>
                  <a:pt x="395" y="324"/>
                  <a:pt x="397" y="330"/>
                  <a:pt x="394" y="336"/>
                </a:cubicBezTo>
                <a:cubicBezTo>
                  <a:pt x="392" y="339"/>
                  <a:pt x="389" y="341"/>
                  <a:pt x="385" y="341"/>
                </a:cubicBezTo>
                <a:cubicBezTo>
                  <a:pt x="383" y="341"/>
                  <a:pt x="381" y="340"/>
                  <a:pt x="380" y="340"/>
                </a:cubicBezTo>
                <a:cubicBezTo>
                  <a:pt x="347" y="320"/>
                  <a:pt x="347" y="320"/>
                  <a:pt x="347" y="320"/>
                </a:cubicBezTo>
                <a:cubicBezTo>
                  <a:pt x="359" y="368"/>
                  <a:pt x="359" y="368"/>
                  <a:pt x="359" y="368"/>
                </a:cubicBezTo>
                <a:cubicBezTo>
                  <a:pt x="361" y="374"/>
                  <a:pt x="358" y="380"/>
                  <a:pt x="352" y="381"/>
                </a:cubicBezTo>
                <a:cubicBezTo>
                  <a:pt x="351" y="382"/>
                  <a:pt x="350" y="382"/>
                  <a:pt x="349" y="382"/>
                </a:cubicBezTo>
                <a:cubicBezTo>
                  <a:pt x="344" y="382"/>
                  <a:pt x="340" y="379"/>
                  <a:pt x="339" y="374"/>
                </a:cubicBezTo>
                <a:cubicBezTo>
                  <a:pt x="320" y="305"/>
                  <a:pt x="320" y="305"/>
                  <a:pt x="320" y="305"/>
                </a:cubicBezTo>
                <a:cubicBezTo>
                  <a:pt x="266" y="274"/>
                  <a:pt x="266" y="274"/>
                  <a:pt x="266" y="274"/>
                </a:cubicBezTo>
                <a:cubicBezTo>
                  <a:pt x="266" y="337"/>
                  <a:pt x="266" y="337"/>
                  <a:pt x="266" y="337"/>
                </a:cubicBezTo>
                <a:cubicBezTo>
                  <a:pt x="317" y="387"/>
                  <a:pt x="317" y="387"/>
                  <a:pt x="317" y="387"/>
                </a:cubicBezTo>
                <a:cubicBezTo>
                  <a:pt x="321" y="391"/>
                  <a:pt x="321" y="398"/>
                  <a:pt x="317" y="402"/>
                </a:cubicBezTo>
                <a:cubicBezTo>
                  <a:pt x="314" y="404"/>
                  <a:pt x="312" y="405"/>
                  <a:pt x="309" y="405"/>
                </a:cubicBezTo>
                <a:cubicBezTo>
                  <a:pt x="306" y="405"/>
                  <a:pt x="304" y="404"/>
                  <a:pt x="301" y="402"/>
                </a:cubicBezTo>
                <a:cubicBezTo>
                  <a:pt x="266" y="367"/>
                  <a:pt x="266" y="367"/>
                  <a:pt x="266" y="367"/>
                </a:cubicBezTo>
                <a:cubicBezTo>
                  <a:pt x="266" y="405"/>
                  <a:pt x="266" y="405"/>
                  <a:pt x="266" y="405"/>
                </a:cubicBezTo>
                <a:cubicBezTo>
                  <a:pt x="266" y="411"/>
                  <a:pt x="262" y="416"/>
                  <a:pt x="256" y="416"/>
                </a:cubicBezTo>
                <a:cubicBezTo>
                  <a:pt x="250" y="416"/>
                  <a:pt x="245" y="411"/>
                  <a:pt x="245" y="405"/>
                </a:cubicBezTo>
                <a:cubicBezTo>
                  <a:pt x="245" y="367"/>
                  <a:pt x="245" y="367"/>
                  <a:pt x="245" y="367"/>
                </a:cubicBezTo>
                <a:cubicBezTo>
                  <a:pt x="210" y="402"/>
                  <a:pt x="210" y="402"/>
                  <a:pt x="210" y="402"/>
                </a:cubicBezTo>
                <a:cubicBezTo>
                  <a:pt x="208" y="404"/>
                  <a:pt x="205" y="405"/>
                  <a:pt x="202" y="405"/>
                </a:cubicBezTo>
                <a:cubicBezTo>
                  <a:pt x="200" y="405"/>
                  <a:pt x="197" y="404"/>
                  <a:pt x="195" y="402"/>
                </a:cubicBezTo>
                <a:cubicBezTo>
                  <a:pt x="191" y="398"/>
                  <a:pt x="191" y="391"/>
                  <a:pt x="195" y="387"/>
                </a:cubicBezTo>
                <a:cubicBezTo>
                  <a:pt x="245" y="337"/>
                  <a:pt x="245" y="337"/>
                  <a:pt x="245" y="337"/>
                </a:cubicBezTo>
                <a:cubicBezTo>
                  <a:pt x="245" y="274"/>
                  <a:pt x="245" y="274"/>
                  <a:pt x="245" y="274"/>
                </a:cubicBezTo>
                <a:cubicBezTo>
                  <a:pt x="191" y="305"/>
                  <a:pt x="191" y="305"/>
                  <a:pt x="191" y="305"/>
                </a:cubicBezTo>
                <a:cubicBezTo>
                  <a:pt x="172" y="374"/>
                  <a:pt x="172" y="374"/>
                  <a:pt x="172" y="374"/>
                </a:cubicBezTo>
                <a:cubicBezTo>
                  <a:pt x="171" y="379"/>
                  <a:pt x="167" y="382"/>
                  <a:pt x="162" y="382"/>
                </a:cubicBezTo>
                <a:cubicBezTo>
                  <a:pt x="161" y="382"/>
                  <a:pt x="160" y="382"/>
                  <a:pt x="159" y="381"/>
                </a:cubicBezTo>
                <a:cubicBezTo>
                  <a:pt x="154" y="380"/>
                  <a:pt x="150" y="374"/>
                  <a:pt x="152" y="368"/>
                </a:cubicBezTo>
                <a:cubicBezTo>
                  <a:pt x="165" y="320"/>
                  <a:pt x="165" y="320"/>
                  <a:pt x="165" y="320"/>
                </a:cubicBezTo>
                <a:cubicBezTo>
                  <a:pt x="132" y="340"/>
                  <a:pt x="132" y="340"/>
                  <a:pt x="132" y="340"/>
                </a:cubicBezTo>
                <a:cubicBezTo>
                  <a:pt x="130" y="340"/>
                  <a:pt x="128" y="341"/>
                  <a:pt x="126" y="341"/>
                </a:cubicBezTo>
                <a:cubicBezTo>
                  <a:pt x="123" y="341"/>
                  <a:pt x="119" y="339"/>
                  <a:pt x="117" y="336"/>
                </a:cubicBezTo>
                <a:cubicBezTo>
                  <a:pt x="114" y="330"/>
                  <a:pt x="116" y="324"/>
                  <a:pt x="121" y="321"/>
                </a:cubicBezTo>
                <a:cubicBezTo>
                  <a:pt x="154" y="302"/>
                  <a:pt x="154" y="302"/>
                  <a:pt x="154" y="302"/>
                </a:cubicBezTo>
                <a:cubicBezTo>
                  <a:pt x="106" y="289"/>
                  <a:pt x="106" y="289"/>
                  <a:pt x="106" y="289"/>
                </a:cubicBezTo>
                <a:cubicBezTo>
                  <a:pt x="100" y="288"/>
                  <a:pt x="97" y="282"/>
                  <a:pt x="99" y="276"/>
                </a:cubicBezTo>
                <a:cubicBezTo>
                  <a:pt x="100" y="270"/>
                  <a:pt x="106" y="267"/>
                  <a:pt x="112" y="268"/>
                </a:cubicBezTo>
                <a:cubicBezTo>
                  <a:pt x="180" y="287"/>
                  <a:pt x="180" y="287"/>
                  <a:pt x="180" y="287"/>
                </a:cubicBezTo>
                <a:cubicBezTo>
                  <a:pt x="234" y="256"/>
                  <a:pt x="234" y="256"/>
                  <a:pt x="234" y="256"/>
                </a:cubicBezTo>
                <a:cubicBezTo>
                  <a:pt x="180" y="224"/>
                  <a:pt x="180" y="224"/>
                  <a:pt x="180" y="224"/>
                </a:cubicBezTo>
                <a:cubicBezTo>
                  <a:pt x="112" y="243"/>
                  <a:pt x="112" y="243"/>
                  <a:pt x="112" y="243"/>
                </a:cubicBezTo>
                <a:cubicBezTo>
                  <a:pt x="111" y="243"/>
                  <a:pt x="110" y="243"/>
                  <a:pt x="109" y="243"/>
                </a:cubicBezTo>
                <a:cubicBezTo>
                  <a:pt x="104" y="243"/>
                  <a:pt x="100" y="240"/>
                  <a:pt x="99" y="235"/>
                </a:cubicBezTo>
                <a:cubicBezTo>
                  <a:pt x="97" y="230"/>
                  <a:pt x="100" y="224"/>
                  <a:pt x="106" y="222"/>
                </a:cubicBezTo>
                <a:cubicBezTo>
                  <a:pt x="154" y="209"/>
                  <a:pt x="154" y="209"/>
                  <a:pt x="154" y="209"/>
                </a:cubicBezTo>
                <a:cubicBezTo>
                  <a:pt x="121" y="190"/>
                  <a:pt x="121" y="190"/>
                  <a:pt x="121" y="190"/>
                </a:cubicBezTo>
                <a:cubicBezTo>
                  <a:pt x="116" y="187"/>
                  <a:pt x="114" y="181"/>
                  <a:pt x="117" y="176"/>
                </a:cubicBezTo>
                <a:cubicBezTo>
                  <a:pt x="120" y="171"/>
                  <a:pt x="127" y="169"/>
                  <a:pt x="132" y="172"/>
                </a:cubicBezTo>
                <a:cubicBezTo>
                  <a:pt x="165" y="191"/>
                  <a:pt x="165" y="191"/>
                  <a:pt x="165" y="191"/>
                </a:cubicBezTo>
                <a:cubicBezTo>
                  <a:pt x="152" y="143"/>
                  <a:pt x="152" y="143"/>
                  <a:pt x="152" y="143"/>
                </a:cubicBezTo>
                <a:cubicBezTo>
                  <a:pt x="150" y="137"/>
                  <a:pt x="154" y="131"/>
                  <a:pt x="159" y="130"/>
                </a:cubicBezTo>
                <a:cubicBezTo>
                  <a:pt x="165" y="128"/>
                  <a:pt x="171" y="132"/>
                  <a:pt x="172" y="137"/>
                </a:cubicBezTo>
                <a:cubicBezTo>
                  <a:pt x="191" y="206"/>
                  <a:pt x="191" y="206"/>
                  <a:pt x="191" y="206"/>
                </a:cubicBezTo>
                <a:cubicBezTo>
                  <a:pt x="245" y="237"/>
                  <a:pt x="245" y="237"/>
                  <a:pt x="245" y="237"/>
                </a:cubicBezTo>
                <a:cubicBezTo>
                  <a:pt x="245" y="175"/>
                  <a:pt x="245" y="175"/>
                  <a:pt x="245" y="175"/>
                </a:cubicBezTo>
                <a:cubicBezTo>
                  <a:pt x="195" y="125"/>
                  <a:pt x="195" y="125"/>
                  <a:pt x="195" y="125"/>
                </a:cubicBezTo>
                <a:cubicBezTo>
                  <a:pt x="191" y="120"/>
                  <a:pt x="191" y="114"/>
                  <a:pt x="195" y="109"/>
                </a:cubicBezTo>
                <a:cubicBezTo>
                  <a:pt x="199" y="105"/>
                  <a:pt x="206" y="105"/>
                  <a:pt x="210" y="109"/>
                </a:cubicBezTo>
                <a:cubicBezTo>
                  <a:pt x="245" y="145"/>
                  <a:pt x="245" y="145"/>
                  <a:pt x="245" y="145"/>
                </a:cubicBezTo>
                <a:cubicBezTo>
                  <a:pt x="245" y="106"/>
                  <a:pt x="245" y="106"/>
                  <a:pt x="245" y="106"/>
                </a:cubicBezTo>
                <a:cubicBezTo>
                  <a:pt x="245" y="100"/>
                  <a:pt x="250" y="96"/>
                  <a:pt x="256" y="96"/>
                </a:cubicBezTo>
                <a:cubicBezTo>
                  <a:pt x="262" y="96"/>
                  <a:pt x="266" y="100"/>
                  <a:pt x="266" y="106"/>
                </a:cubicBezTo>
                <a:cubicBezTo>
                  <a:pt x="266" y="145"/>
                  <a:pt x="266" y="145"/>
                  <a:pt x="266" y="145"/>
                </a:cubicBezTo>
                <a:cubicBezTo>
                  <a:pt x="301" y="109"/>
                  <a:pt x="301" y="109"/>
                  <a:pt x="301" y="109"/>
                </a:cubicBezTo>
                <a:cubicBezTo>
                  <a:pt x="306" y="105"/>
                  <a:pt x="312" y="105"/>
                  <a:pt x="317" y="109"/>
                </a:cubicBezTo>
                <a:cubicBezTo>
                  <a:pt x="321" y="114"/>
                  <a:pt x="321" y="120"/>
                  <a:pt x="317" y="125"/>
                </a:cubicBezTo>
                <a:cubicBezTo>
                  <a:pt x="266" y="175"/>
                  <a:pt x="266" y="175"/>
                  <a:pt x="266" y="175"/>
                </a:cubicBezTo>
                <a:cubicBezTo>
                  <a:pt x="266" y="237"/>
                  <a:pt x="266" y="237"/>
                  <a:pt x="266" y="237"/>
                </a:cubicBezTo>
                <a:cubicBezTo>
                  <a:pt x="320" y="206"/>
                  <a:pt x="320" y="206"/>
                  <a:pt x="320" y="206"/>
                </a:cubicBezTo>
                <a:cubicBezTo>
                  <a:pt x="339" y="137"/>
                  <a:pt x="339" y="137"/>
                  <a:pt x="339" y="137"/>
                </a:cubicBezTo>
                <a:cubicBezTo>
                  <a:pt x="340" y="132"/>
                  <a:pt x="346" y="128"/>
                  <a:pt x="352" y="130"/>
                </a:cubicBezTo>
                <a:cubicBezTo>
                  <a:pt x="358" y="131"/>
                  <a:pt x="361" y="137"/>
                  <a:pt x="359" y="143"/>
                </a:cubicBezTo>
                <a:cubicBezTo>
                  <a:pt x="347" y="191"/>
                  <a:pt x="347" y="191"/>
                  <a:pt x="347" y="191"/>
                </a:cubicBezTo>
                <a:cubicBezTo>
                  <a:pt x="380" y="172"/>
                  <a:pt x="380" y="172"/>
                  <a:pt x="380" y="172"/>
                </a:cubicBezTo>
                <a:cubicBezTo>
                  <a:pt x="385" y="169"/>
                  <a:pt x="391" y="171"/>
                  <a:pt x="394" y="176"/>
                </a:cubicBezTo>
                <a:cubicBezTo>
                  <a:pt x="397" y="181"/>
                  <a:pt x="395" y="187"/>
                  <a:pt x="390" y="190"/>
                </a:cubicBezTo>
                <a:cubicBezTo>
                  <a:pt x="357" y="209"/>
                  <a:pt x="357" y="209"/>
                  <a:pt x="357" y="209"/>
                </a:cubicBezTo>
                <a:cubicBezTo>
                  <a:pt x="405" y="222"/>
                  <a:pt x="405" y="222"/>
                  <a:pt x="405" y="222"/>
                </a:cubicBezTo>
                <a:cubicBezTo>
                  <a:pt x="411" y="224"/>
                  <a:pt x="414" y="230"/>
                  <a:pt x="413" y="235"/>
                </a:cubicBezTo>
                <a:cubicBezTo>
                  <a:pt x="411" y="240"/>
                  <a:pt x="407" y="243"/>
                  <a:pt x="402" y="243"/>
                </a:cubicBezTo>
                <a:cubicBezTo>
                  <a:pt x="402" y="243"/>
                  <a:pt x="401" y="243"/>
                  <a:pt x="400" y="243"/>
                </a:cubicBezTo>
                <a:cubicBezTo>
                  <a:pt x="331" y="224"/>
                  <a:pt x="331" y="224"/>
                  <a:pt x="331" y="224"/>
                </a:cubicBezTo>
                <a:cubicBezTo>
                  <a:pt x="277" y="256"/>
                  <a:pt x="277" y="256"/>
                  <a:pt x="277" y="256"/>
                </a:cubicBezTo>
                <a:lnTo>
                  <a:pt x="331" y="28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8" name="Group 167"/>
          <p:cNvGrpSpPr>
            <a:grpSpLocks noChangeAspect="1"/>
          </p:cNvGrpSpPr>
          <p:nvPr/>
        </p:nvGrpSpPr>
        <p:grpSpPr bwMode="auto">
          <a:xfrm>
            <a:off x="6703798" y="1697038"/>
            <a:ext cx="369676" cy="369676"/>
            <a:chOff x="1941" y="385"/>
            <a:chExt cx="340" cy="340"/>
          </a:xfrm>
          <a:solidFill>
            <a:schemeClr val="accent2"/>
          </a:solidFill>
        </p:grpSpPr>
        <p:sp>
          <p:nvSpPr>
            <p:cNvPr id="319" name="Freeform 168"/>
            <p:cNvSpPr>
              <a:spLocks noEditPoints="1"/>
            </p:cNvSpPr>
            <p:nvPr/>
          </p:nvSpPr>
          <p:spPr bwMode="auto">
            <a:xfrm>
              <a:off x="194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169"/>
            <p:cNvSpPr>
              <a:spLocks/>
            </p:cNvSpPr>
            <p:nvPr/>
          </p:nvSpPr>
          <p:spPr bwMode="auto">
            <a:xfrm>
              <a:off x="2090" y="625"/>
              <a:ext cx="41" cy="43"/>
            </a:xfrm>
            <a:custGeom>
              <a:avLst/>
              <a:gdLst>
                <a:gd name="T0" fmla="*/ 58 w 61"/>
                <a:gd name="T1" fmla="*/ 16 h 64"/>
                <a:gd name="T2" fmla="*/ 44 w 61"/>
                <a:gd name="T3" fmla="*/ 12 h 64"/>
                <a:gd name="T4" fmla="*/ 41 w 61"/>
                <a:gd name="T5" fmla="*/ 14 h 64"/>
                <a:gd name="T6" fmla="*/ 41 w 61"/>
                <a:gd name="T7" fmla="*/ 11 h 64"/>
                <a:gd name="T8" fmla="*/ 31 w 61"/>
                <a:gd name="T9" fmla="*/ 0 h 64"/>
                <a:gd name="T10" fmla="*/ 20 w 61"/>
                <a:gd name="T11" fmla="*/ 11 h 64"/>
                <a:gd name="T12" fmla="*/ 20 w 61"/>
                <a:gd name="T13" fmla="*/ 14 h 64"/>
                <a:gd name="T14" fmla="*/ 18 w 61"/>
                <a:gd name="T15" fmla="*/ 12 h 64"/>
                <a:gd name="T16" fmla="*/ 3 w 61"/>
                <a:gd name="T17" fmla="*/ 16 h 64"/>
                <a:gd name="T18" fmla="*/ 7 w 61"/>
                <a:gd name="T19" fmla="*/ 31 h 64"/>
                <a:gd name="T20" fmla="*/ 9 w 61"/>
                <a:gd name="T21" fmla="*/ 32 h 64"/>
                <a:gd name="T22" fmla="*/ 7 w 61"/>
                <a:gd name="T23" fmla="*/ 34 h 64"/>
                <a:gd name="T24" fmla="*/ 3 w 61"/>
                <a:gd name="T25" fmla="*/ 48 h 64"/>
                <a:gd name="T26" fmla="*/ 12 w 61"/>
                <a:gd name="T27" fmla="*/ 54 h 64"/>
                <a:gd name="T28" fmla="*/ 18 w 61"/>
                <a:gd name="T29" fmla="*/ 52 h 64"/>
                <a:gd name="T30" fmla="*/ 20 w 61"/>
                <a:gd name="T31" fmla="*/ 51 h 64"/>
                <a:gd name="T32" fmla="*/ 20 w 61"/>
                <a:gd name="T33" fmla="*/ 54 h 64"/>
                <a:gd name="T34" fmla="*/ 31 w 61"/>
                <a:gd name="T35" fmla="*/ 64 h 64"/>
                <a:gd name="T36" fmla="*/ 41 w 61"/>
                <a:gd name="T37" fmla="*/ 54 h 64"/>
                <a:gd name="T38" fmla="*/ 41 w 61"/>
                <a:gd name="T39" fmla="*/ 51 h 64"/>
                <a:gd name="T40" fmla="*/ 44 w 61"/>
                <a:gd name="T41" fmla="*/ 52 h 64"/>
                <a:gd name="T42" fmla="*/ 49 w 61"/>
                <a:gd name="T43" fmla="*/ 54 h 64"/>
                <a:gd name="T44" fmla="*/ 58 w 61"/>
                <a:gd name="T45" fmla="*/ 48 h 64"/>
                <a:gd name="T46" fmla="*/ 54 w 61"/>
                <a:gd name="T47" fmla="*/ 34 h 64"/>
                <a:gd name="T48" fmla="*/ 52 w 61"/>
                <a:gd name="T49" fmla="*/ 32 h 64"/>
                <a:gd name="T50" fmla="*/ 54 w 61"/>
                <a:gd name="T51" fmla="*/ 31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4" y="12"/>
                  </a:cubicBezTo>
                  <a:cubicBezTo>
                    <a:pt x="41" y="14"/>
                    <a:pt x="41" y="14"/>
                    <a:pt x="41" y="14"/>
                  </a:cubicBezTo>
                  <a:cubicBezTo>
                    <a:pt x="41" y="11"/>
                    <a:pt x="41" y="11"/>
                    <a:pt x="41" y="11"/>
                  </a:cubicBezTo>
                  <a:cubicBezTo>
                    <a:pt x="41" y="5"/>
                    <a:pt x="37" y="0"/>
                    <a:pt x="31" y="0"/>
                  </a:cubicBezTo>
                  <a:cubicBezTo>
                    <a:pt x="25" y="0"/>
                    <a:pt x="20" y="5"/>
                    <a:pt x="20" y="11"/>
                  </a:cubicBezTo>
                  <a:cubicBezTo>
                    <a:pt x="20" y="14"/>
                    <a:pt x="20" y="14"/>
                    <a:pt x="20" y="14"/>
                  </a:cubicBezTo>
                  <a:cubicBezTo>
                    <a:pt x="18" y="12"/>
                    <a:pt x="18" y="12"/>
                    <a:pt x="18" y="12"/>
                  </a:cubicBezTo>
                  <a:cubicBezTo>
                    <a:pt x="12" y="9"/>
                    <a:pt x="6" y="11"/>
                    <a:pt x="3" y="16"/>
                  </a:cubicBezTo>
                  <a:cubicBezTo>
                    <a:pt x="0" y="21"/>
                    <a:pt x="2" y="28"/>
                    <a:pt x="7" y="31"/>
                  </a:cubicBezTo>
                  <a:cubicBezTo>
                    <a:pt x="9" y="32"/>
                    <a:pt x="9" y="32"/>
                    <a:pt x="9" y="32"/>
                  </a:cubicBezTo>
                  <a:cubicBezTo>
                    <a:pt x="7" y="34"/>
                    <a:pt x="7" y="34"/>
                    <a:pt x="7" y="34"/>
                  </a:cubicBezTo>
                  <a:cubicBezTo>
                    <a:pt x="2" y="37"/>
                    <a:pt x="0" y="43"/>
                    <a:pt x="3" y="48"/>
                  </a:cubicBezTo>
                  <a:cubicBezTo>
                    <a:pt x="5" y="52"/>
                    <a:pt x="9" y="54"/>
                    <a:pt x="12" y="54"/>
                  </a:cubicBezTo>
                  <a:cubicBezTo>
                    <a:pt x="14" y="54"/>
                    <a:pt x="16" y="53"/>
                    <a:pt x="18" y="52"/>
                  </a:cubicBezTo>
                  <a:cubicBezTo>
                    <a:pt x="20" y="51"/>
                    <a:pt x="20" y="51"/>
                    <a:pt x="20" y="51"/>
                  </a:cubicBezTo>
                  <a:cubicBezTo>
                    <a:pt x="20" y="54"/>
                    <a:pt x="20" y="54"/>
                    <a:pt x="20" y="54"/>
                  </a:cubicBezTo>
                  <a:cubicBezTo>
                    <a:pt x="20" y="60"/>
                    <a:pt x="25" y="64"/>
                    <a:pt x="31" y="64"/>
                  </a:cubicBezTo>
                  <a:cubicBezTo>
                    <a:pt x="37" y="64"/>
                    <a:pt x="41" y="60"/>
                    <a:pt x="41" y="54"/>
                  </a:cubicBezTo>
                  <a:cubicBezTo>
                    <a:pt x="41" y="51"/>
                    <a:pt x="41" y="51"/>
                    <a:pt x="41" y="51"/>
                  </a:cubicBezTo>
                  <a:cubicBezTo>
                    <a:pt x="44" y="52"/>
                    <a:pt x="44" y="52"/>
                    <a:pt x="44" y="52"/>
                  </a:cubicBezTo>
                  <a:cubicBezTo>
                    <a:pt x="45" y="53"/>
                    <a:pt x="47" y="54"/>
                    <a:pt x="49" y="54"/>
                  </a:cubicBezTo>
                  <a:cubicBezTo>
                    <a:pt x="53" y="54"/>
                    <a:pt x="56" y="52"/>
                    <a:pt x="58" y="48"/>
                  </a:cubicBezTo>
                  <a:cubicBezTo>
                    <a:pt x="61" y="43"/>
                    <a:pt x="60" y="37"/>
                    <a:pt x="54" y="34"/>
                  </a:cubicBezTo>
                  <a:cubicBezTo>
                    <a:pt x="52" y="32"/>
                    <a:pt x="52" y="32"/>
                    <a:pt x="52" y="32"/>
                  </a:cubicBezTo>
                  <a:cubicBezTo>
                    <a:pt x="54" y="31"/>
                    <a:pt x="54" y="31"/>
                    <a:pt x="54" y="31"/>
                  </a:cubicBezTo>
                  <a:cubicBezTo>
                    <a:pt x="60" y="28"/>
                    <a:pt x="61" y="21"/>
                    <a:pt x="58"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170"/>
            <p:cNvSpPr>
              <a:spLocks/>
            </p:cNvSpPr>
            <p:nvPr/>
          </p:nvSpPr>
          <p:spPr bwMode="auto">
            <a:xfrm>
              <a:off x="2147" y="590"/>
              <a:ext cx="41" cy="43"/>
            </a:xfrm>
            <a:custGeom>
              <a:avLst/>
              <a:gdLst>
                <a:gd name="T0" fmla="*/ 55 w 62"/>
                <a:gd name="T1" fmla="*/ 33 h 64"/>
                <a:gd name="T2" fmla="*/ 52 w 62"/>
                <a:gd name="T3" fmla="*/ 32 h 64"/>
                <a:gd name="T4" fmla="*/ 55 w 62"/>
                <a:gd name="T5" fmla="*/ 31 h 64"/>
                <a:gd name="T6" fmla="*/ 59 w 62"/>
                <a:gd name="T7" fmla="*/ 16 h 64"/>
                <a:gd name="T8" fmla="*/ 44 w 62"/>
                <a:gd name="T9" fmla="*/ 12 h 64"/>
                <a:gd name="T10" fmla="*/ 42 w 62"/>
                <a:gd name="T11" fmla="*/ 14 h 64"/>
                <a:gd name="T12" fmla="*/ 42 w 62"/>
                <a:gd name="T13" fmla="*/ 11 h 64"/>
                <a:gd name="T14" fmla="*/ 31 w 62"/>
                <a:gd name="T15" fmla="*/ 0 h 64"/>
                <a:gd name="T16" fmla="*/ 20 w 62"/>
                <a:gd name="T17" fmla="*/ 11 h 64"/>
                <a:gd name="T18" fmla="*/ 20 w 62"/>
                <a:gd name="T19" fmla="*/ 14 h 64"/>
                <a:gd name="T20" fmla="*/ 18 w 62"/>
                <a:gd name="T21" fmla="*/ 12 h 64"/>
                <a:gd name="T22" fmla="*/ 3 w 62"/>
                <a:gd name="T23" fmla="*/ 16 h 64"/>
                <a:gd name="T24" fmla="*/ 7 w 62"/>
                <a:gd name="T25" fmla="*/ 31 h 64"/>
                <a:gd name="T26" fmla="*/ 10 w 62"/>
                <a:gd name="T27" fmla="*/ 32 h 64"/>
                <a:gd name="T28" fmla="*/ 7 w 62"/>
                <a:gd name="T29" fmla="*/ 33 h 64"/>
                <a:gd name="T30" fmla="*/ 3 w 62"/>
                <a:gd name="T31" fmla="*/ 48 h 64"/>
                <a:gd name="T32" fmla="*/ 13 w 62"/>
                <a:gd name="T33" fmla="*/ 53 h 64"/>
                <a:gd name="T34" fmla="*/ 18 w 62"/>
                <a:gd name="T35" fmla="*/ 52 h 64"/>
                <a:gd name="T36" fmla="*/ 20 w 62"/>
                <a:gd name="T37" fmla="*/ 50 h 64"/>
                <a:gd name="T38" fmla="*/ 20 w 62"/>
                <a:gd name="T39" fmla="*/ 53 h 64"/>
                <a:gd name="T40" fmla="*/ 31 w 62"/>
                <a:gd name="T41" fmla="*/ 64 h 64"/>
                <a:gd name="T42" fmla="*/ 42 w 62"/>
                <a:gd name="T43" fmla="*/ 53 h 64"/>
                <a:gd name="T44" fmla="*/ 42 w 62"/>
                <a:gd name="T45" fmla="*/ 50 h 64"/>
                <a:gd name="T46" fmla="*/ 44 w 62"/>
                <a:gd name="T47" fmla="*/ 52 h 64"/>
                <a:gd name="T48" fmla="*/ 49 w 62"/>
                <a:gd name="T49" fmla="*/ 53 h 64"/>
                <a:gd name="T50" fmla="*/ 59 w 62"/>
                <a:gd name="T51" fmla="*/ 48 h 64"/>
                <a:gd name="T52" fmla="*/ 55 w 62"/>
                <a:gd name="T5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64">
                  <a:moveTo>
                    <a:pt x="55" y="33"/>
                  </a:moveTo>
                  <a:cubicBezTo>
                    <a:pt x="52" y="32"/>
                    <a:pt x="52" y="32"/>
                    <a:pt x="52" y="32"/>
                  </a:cubicBezTo>
                  <a:cubicBezTo>
                    <a:pt x="55" y="31"/>
                    <a:pt x="55" y="31"/>
                    <a:pt x="55" y="31"/>
                  </a:cubicBezTo>
                  <a:cubicBezTo>
                    <a:pt x="60" y="28"/>
                    <a:pt x="62" y="21"/>
                    <a:pt x="59" y="16"/>
                  </a:cubicBezTo>
                  <a:cubicBezTo>
                    <a:pt x="56" y="11"/>
                    <a:pt x="49" y="9"/>
                    <a:pt x="44" y="12"/>
                  </a:cubicBezTo>
                  <a:cubicBezTo>
                    <a:pt x="42" y="14"/>
                    <a:pt x="42" y="14"/>
                    <a:pt x="42" y="14"/>
                  </a:cubicBezTo>
                  <a:cubicBezTo>
                    <a:pt x="42" y="11"/>
                    <a:pt x="42" y="11"/>
                    <a:pt x="42" y="11"/>
                  </a:cubicBezTo>
                  <a:cubicBezTo>
                    <a:pt x="42" y="5"/>
                    <a:pt x="37" y="0"/>
                    <a:pt x="31" y="0"/>
                  </a:cubicBezTo>
                  <a:cubicBezTo>
                    <a:pt x="25" y="0"/>
                    <a:pt x="20" y="5"/>
                    <a:pt x="20" y="11"/>
                  </a:cubicBezTo>
                  <a:cubicBezTo>
                    <a:pt x="20" y="14"/>
                    <a:pt x="20" y="14"/>
                    <a:pt x="20" y="14"/>
                  </a:cubicBezTo>
                  <a:cubicBezTo>
                    <a:pt x="18" y="12"/>
                    <a:pt x="18" y="12"/>
                    <a:pt x="18" y="12"/>
                  </a:cubicBezTo>
                  <a:cubicBezTo>
                    <a:pt x="13" y="9"/>
                    <a:pt x="6" y="11"/>
                    <a:pt x="3" y="16"/>
                  </a:cubicBezTo>
                  <a:cubicBezTo>
                    <a:pt x="0" y="21"/>
                    <a:pt x="2" y="28"/>
                    <a:pt x="7" y="31"/>
                  </a:cubicBezTo>
                  <a:cubicBezTo>
                    <a:pt x="10" y="32"/>
                    <a:pt x="10" y="32"/>
                    <a:pt x="10" y="32"/>
                  </a:cubicBezTo>
                  <a:cubicBezTo>
                    <a:pt x="7" y="33"/>
                    <a:pt x="7" y="33"/>
                    <a:pt x="7" y="33"/>
                  </a:cubicBezTo>
                  <a:cubicBezTo>
                    <a:pt x="2" y="36"/>
                    <a:pt x="0" y="43"/>
                    <a:pt x="3" y="48"/>
                  </a:cubicBezTo>
                  <a:cubicBezTo>
                    <a:pt x="5" y="51"/>
                    <a:pt x="9" y="53"/>
                    <a:pt x="13" y="53"/>
                  </a:cubicBezTo>
                  <a:cubicBezTo>
                    <a:pt x="14" y="53"/>
                    <a:pt x="16" y="53"/>
                    <a:pt x="18" y="52"/>
                  </a:cubicBezTo>
                  <a:cubicBezTo>
                    <a:pt x="20" y="50"/>
                    <a:pt x="20" y="50"/>
                    <a:pt x="20" y="50"/>
                  </a:cubicBezTo>
                  <a:cubicBezTo>
                    <a:pt x="20" y="53"/>
                    <a:pt x="20" y="53"/>
                    <a:pt x="20" y="53"/>
                  </a:cubicBezTo>
                  <a:cubicBezTo>
                    <a:pt x="20" y="59"/>
                    <a:pt x="25" y="64"/>
                    <a:pt x="31" y="64"/>
                  </a:cubicBezTo>
                  <a:cubicBezTo>
                    <a:pt x="37" y="64"/>
                    <a:pt x="42" y="59"/>
                    <a:pt x="42" y="53"/>
                  </a:cubicBezTo>
                  <a:cubicBezTo>
                    <a:pt x="42" y="50"/>
                    <a:pt x="42" y="50"/>
                    <a:pt x="42" y="50"/>
                  </a:cubicBezTo>
                  <a:cubicBezTo>
                    <a:pt x="44" y="52"/>
                    <a:pt x="44" y="52"/>
                    <a:pt x="44" y="52"/>
                  </a:cubicBezTo>
                  <a:cubicBezTo>
                    <a:pt x="46" y="53"/>
                    <a:pt x="48" y="53"/>
                    <a:pt x="49" y="53"/>
                  </a:cubicBezTo>
                  <a:cubicBezTo>
                    <a:pt x="53" y="53"/>
                    <a:pt x="57" y="51"/>
                    <a:pt x="59" y="48"/>
                  </a:cubicBezTo>
                  <a:cubicBezTo>
                    <a:pt x="62" y="43"/>
                    <a:pt x="60" y="36"/>
                    <a:pt x="55"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171"/>
            <p:cNvSpPr>
              <a:spLocks/>
            </p:cNvSpPr>
            <p:nvPr/>
          </p:nvSpPr>
          <p:spPr bwMode="auto">
            <a:xfrm>
              <a:off x="2034" y="597"/>
              <a:ext cx="40" cy="43"/>
            </a:xfrm>
            <a:custGeom>
              <a:avLst/>
              <a:gdLst>
                <a:gd name="T0" fmla="*/ 58 w 61"/>
                <a:gd name="T1" fmla="*/ 16 h 64"/>
                <a:gd name="T2" fmla="*/ 43 w 61"/>
                <a:gd name="T3" fmla="*/ 12 h 64"/>
                <a:gd name="T4" fmla="*/ 41 w 61"/>
                <a:gd name="T5" fmla="*/ 13 h 64"/>
                <a:gd name="T6" fmla="*/ 41 w 61"/>
                <a:gd name="T7" fmla="*/ 10 h 64"/>
                <a:gd name="T8" fmla="*/ 30 w 61"/>
                <a:gd name="T9" fmla="*/ 0 h 64"/>
                <a:gd name="T10" fmla="*/ 20 w 61"/>
                <a:gd name="T11" fmla="*/ 10 h 64"/>
                <a:gd name="T12" fmla="*/ 20 w 61"/>
                <a:gd name="T13" fmla="*/ 13 h 64"/>
                <a:gd name="T14" fmla="*/ 17 w 61"/>
                <a:gd name="T15" fmla="*/ 12 h 64"/>
                <a:gd name="T16" fmla="*/ 3 w 61"/>
                <a:gd name="T17" fmla="*/ 16 h 64"/>
                <a:gd name="T18" fmla="*/ 7 w 61"/>
                <a:gd name="T19" fmla="*/ 30 h 64"/>
                <a:gd name="T20" fmla="*/ 9 w 61"/>
                <a:gd name="T21" fmla="*/ 32 h 64"/>
                <a:gd name="T22" fmla="*/ 7 w 61"/>
                <a:gd name="T23" fmla="*/ 33 h 64"/>
                <a:gd name="T24" fmla="*/ 3 w 61"/>
                <a:gd name="T25" fmla="*/ 48 h 64"/>
                <a:gd name="T26" fmla="*/ 12 w 61"/>
                <a:gd name="T27" fmla="*/ 53 h 64"/>
                <a:gd name="T28" fmla="*/ 17 w 61"/>
                <a:gd name="T29" fmla="*/ 52 h 64"/>
                <a:gd name="T30" fmla="*/ 20 w 61"/>
                <a:gd name="T31" fmla="*/ 50 h 64"/>
                <a:gd name="T32" fmla="*/ 20 w 61"/>
                <a:gd name="T33" fmla="*/ 53 h 64"/>
                <a:gd name="T34" fmla="*/ 30 w 61"/>
                <a:gd name="T35" fmla="*/ 64 h 64"/>
                <a:gd name="T36" fmla="*/ 41 w 61"/>
                <a:gd name="T37" fmla="*/ 53 h 64"/>
                <a:gd name="T38" fmla="*/ 41 w 61"/>
                <a:gd name="T39" fmla="*/ 50 h 64"/>
                <a:gd name="T40" fmla="*/ 43 w 61"/>
                <a:gd name="T41" fmla="*/ 52 h 64"/>
                <a:gd name="T42" fmla="*/ 49 w 61"/>
                <a:gd name="T43" fmla="*/ 53 h 64"/>
                <a:gd name="T44" fmla="*/ 58 w 61"/>
                <a:gd name="T45" fmla="*/ 48 h 64"/>
                <a:gd name="T46" fmla="*/ 54 w 61"/>
                <a:gd name="T47" fmla="*/ 33 h 64"/>
                <a:gd name="T48" fmla="*/ 52 w 61"/>
                <a:gd name="T49" fmla="*/ 32 h 64"/>
                <a:gd name="T50" fmla="*/ 54 w 61"/>
                <a:gd name="T51" fmla="*/ 30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3" y="12"/>
                  </a:cubicBezTo>
                  <a:cubicBezTo>
                    <a:pt x="41" y="13"/>
                    <a:pt x="41" y="13"/>
                    <a:pt x="41" y="13"/>
                  </a:cubicBezTo>
                  <a:cubicBezTo>
                    <a:pt x="41" y="10"/>
                    <a:pt x="41" y="10"/>
                    <a:pt x="41" y="10"/>
                  </a:cubicBezTo>
                  <a:cubicBezTo>
                    <a:pt x="41" y="4"/>
                    <a:pt x="36" y="0"/>
                    <a:pt x="30" y="0"/>
                  </a:cubicBezTo>
                  <a:cubicBezTo>
                    <a:pt x="24" y="0"/>
                    <a:pt x="20" y="4"/>
                    <a:pt x="20" y="10"/>
                  </a:cubicBezTo>
                  <a:cubicBezTo>
                    <a:pt x="20" y="13"/>
                    <a:pt x="20" y="13"/>
                    <a:pt x="20" y="13"/>
                  </a:cubicBezTo>
                  <a:cubicBezTo>
                    <a:pt x="17" y="12"/>
                    <a:pt x="17" y="12"/>
                    <a:pt x="17" y="12"/>
                  </a:cubicBezTo>
                  <a:cubicBezTo>
                    <a:pt x="12" y="9"/>
                    <a:pt x="6" y="11"/>
                    <a:pt x="3" y="16"/>
                  </a:cubicBezTo>
                  <a:cubicBezTo>
                    <a:pt x="0" y="21"/>
                    <a:pt x="1" y="27"/>
                    <a:pt x="7" y="30"/>
                  </a:cubicBezTo>
                  <a:cubicBezTo>
                    <a:pt x="9" y="32"/>
                    <a:pt x="9" y="32"/>
                    <a:pt x="9" y="32"/>
                  </a:cubicBezTo>
                  <a:cubicBezTo>
                    <a:pt x="7" y="33"/>
                    <a:pt x="7" y="33"/>
                    <a:pt x="7" y="33"/>
                  </a:cubicBezTo>
                  <a:cubicBezTo>
                    <a:pt x="1" y="36"/>
                    <a:pt x="0" y="43"/>
                    <a:pt x="3" y="48"/>
                  </a:cubicBezTo>
                  <a:cubicBezTo>
                    <a:pt x="5" y="51"/>
                    <a:pt x="8" y="53"/>
                    <a:pt x="12" y="53"/>
                  </a:cubicBezTo>
                  <a:cubicBezTo>
                    <a:pt x="14" y="53"/>
                    <a:pt x="16" y="53"/>
                    <a:pt x="17" y="52"/>
                  </a:cubicBezTo>
                  <a:cubicBezTo>
                    <a:pt x="20" y="50"/>
                    <a:pt x="20" y="50"/>
                    <a:pt x="20" y="50"/>
                  </a:cubicBezTo>
                  <a:cubicBezTo>
                    <a:pt x="20" y="53"/>
                    <a:pt x="20" y="53"/>
                    <a:pt x="20" y="53"/>
                  </a:cubicBezTo>
                  <a:cubicBezTo>
                    <a:pt x="20" y="59"/>
                    <a:pt x="24" y="64"/>
                    <a:pt x="30" y="64"/>
                  </a:cubicBezTo>
                  <a:cubicBezTo>
                    <a:pt x="36" y="64"/>
                    <a:pt x="41" y="59"/>
                    <a:pt x="41" y="53"/>
                  </a:cubicBezTo>
                  <a:cubicBezTo>
                    <a:pt x="41" y="50"/>
                    <a:pt x="41" y="50"/>
                    <a:pt x="41" y="50"/>
                  </a:cubicBezTo>
                  <a:cubicBezTo>
                    <a:pt x="43" y="52"/>
                    <a:pt x="43" y="52"/>
                    <a:pt x="43" y="52"/>
                  </a:cubicBezTo>
                  <a:cubicBezTo>
                    <a:pt x="45" y="53"/>
                    <a:pt x="47" y="53"/>
                    <a:pt x="49" y="53"/>
                  </a:cubicBezTo>
                  <a:cubicBezTo>
                    <a:pt x="52" y="53"/>
                    <a:pt x="56" y="51"/>
                    <a:pt x="58" y="48"/>
                  </a:cubicBezTo>
                  <a:cubicBezTo>
                    <a:pt x="61" y="43"/>
                    <a:pt x="59" y="36"/>
                    <a:pt x="54" y="33"/>
                  </a:cubicBezTo>
                  <a:cubicBezTo>
                    <a:pt x="52" y="32"/>
                    <a:pt x="52" y="32"/>
                    <a:pt x="52" y="32"/>
                  </a:cubicBezTo>
                  <a:cubicBezTo>
                    <a:pt x="54" y="30"/>
                    <a:pt x="54" y="30"/>
                    <a:pt x="54" y="30"/>
                  </a:cubicBezTo>
                  <a:cubicBezTo>
                    <a:pt x="59" y="27"/>
                    <a:pt x="61" y="21"/>
                    <a:pt x="58"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172"/>
            <p:cNvSpPr>
              <a:spLocks noEditPoints="1"/>
            </p:cNvSpPr>
            <p:nvPr/>
          </p:nvSpPr>
          <p:spPr bwMode="auto">
            <a:xfrm>
              <a:off x="2005" y="449"/>
              <a:ext cx="212" cy="127"/>
            </a:xfrm>
            <a:custGeom>
              <a:avLst/>
              <a:gdLst>
                <a:gd name="T0" fmla="*/ 266 w 320"/>
                <a:gd name="T1" fmla="*/ 192 h 192"/>
                <a:gd name="T2" fmla="*/ 71 w 320"/>
                <a:gd name="T3" fmla="*/ 192 h 192"/>
                <a:gd name="T4" fmla="*/ 0 w 320"/>
                <a:gd name="T5" fmla="*/ 121 h 192"/>
                <a:gd name="T6" fmla="*/ 71 w 320"/>
                <a:gd name="T7" fmla="*/ 50 h 192"/>
                <a:gd name="T8" fmla="*/ 94 w 320"/>
                <a:gd name="T9" fmla="*/ 55 h 192"/>
                <a:gd name="T10" fmla="*/ 176 w 320"/>
                <a:gd name="T11" fmla="*/ 0 h 192"/>
                <a:gd name="T12" fmla="*/ 262 w 320"/>
                <a:gd name="T13" fmla="*/ 85 h 192"/>
                <a:gd name="T14" fmla="*/ 266 w 320"/>
                <a:gd name="T15" fmla="*/ 85 h 192"/>
                <a:gd name="T16" fmla="*/ 320 w 320"/>
                <a:gd name="T17" fmla="*/ 138 h 192"/>
                <a:gd name="T18" fmla="*/ 266 w 320"/>
                <a:gd name="T19" fmla="*/ 192 h 192"/>
                <a:gd name="T20" fmla="*/ 71 w 320"/>
                <a:gd name="T21" fmla="*/ 71 h 192"/>
                <a:gd name="T22" fmla="*/ 21 w 320"/>
                <a:gd name="T23" fmla="*/ 121 h 192"/>
                <a:gd name="T24" fmla="*/ 71 w 320"/>
                <a:gd name="T25" fmla="*/ 170 h 192"/>
                <a:gd name="T26" fmla="*/ 266 w 320"/>
                <a:gd name="T27" fmla="*/ 170 h 192"/>
                <a:gd name="T28" fmla="*/ 298 w 320"/>
                <a:gd name="T29" fmla="*/ 138 h 192"/>
                <a:gd name="T30" fmla="*/ 266 w 320"/>
                <a:gd name="T31" fmla="*/ 106 h 192"/>
                <a:gd name="T32" fmla="*/ 259 w 320"/>
                <a:gd name="T33" fmla="*/ 107 h 192"/>
                <a:gd name="T34" fmla="*/ 258 w 320"/>
                <a:gd name="T35" fmla="*/ 108 h 192"/>
                <a:gd name="T36" fmla="*/ 245 w 320"/>
                <a:gd name="T37" fmla="*/ 111 h 192"/>
                <a:gd name="T38" fmla="*/ 239 w 320"/>
                <a:gd name="T39" fmla="*/ 99 h 192"/>
                <a:gd name="T40" fmla="*/ 240 w 320"/>
                <a:gd name="T41" fmla="*/ 94 h 192"/>
                <a:gd name="T42" fmla="*/ 241 w 320"/>
                <a:gd name="T43" fmla="*/ 86 h 192"/>
                <a:gd name="T44" fmla="*/ 176 w 320"/>
                <a:gd name="T45" fmla="*/ 21 h 192"/>
                <a:gd name="T46" fmla="*/ 111 w 320"/>
                <a:gd name="T47" fmla="*/ 73 h 192"/>
                <a:gd name="T48" fmla="*/ 105 w 320"/>
                <a:gd name="T49" fmla="*/ 80 h 192"/>
                <a:gd name="T50" fmla="*/ 95 w 320"/>
                <a:gd name="T51" fmla="*/ 79 h 192"/>
                <a:gd name="T52" fmla="*/ 71 w 320"/>
                <a:gd name="T53" fmla="*/ 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192"/>
                  </a:moveTo>
                  <a:cubicBezTo>
                    <a:pt x="71" y="192"/>
                    <a:pt x="71" y="192"/>
                    <a:pt x="71" y="192"/>
                  </a:cubicBezTo>
                  <a:cubicBezTo>
                    <a:pt x="31" y="192"/>
                    <a:pt x="0" y="160"/>
                    <a:pt x="0" y="121"/>
                  </a:cubicBezTo>
                  <a:cubicBezTo>
                    <a:pt x="0" y="82"/>
                    <a:pt x="31" y="50"/>
                    <a:pt x="71" y="50"/>
                  </a:cubicBezTo>
                  <a:cubicBezTo>
                    <a:pt x="80" y="50"/>
                    <a:pt x="87" y="52"/>
                    <a:pt x="94" y="55"/>
                  </a:cubicBezTo>
                  <a:cubicBezTo>
                    <a:pt x="107" y="22"/>
                    <a:pt x="139" y="0"/>
                    <a:pt x="176" y="0"/>
                  </a:cubicBezTo>
                  <a:cubicBezTo>
                    <a:pt x="223" y="0"/>
                    <a:pt x="262" y="38"/>
                    <a:pt x="262" y="85"/>
                  </a:cubicBezTo>
                  <a:cubicBezTo>
                    <a:pt x="263" y="85"/>
                    <a:pt x="264" y="85"/>
                    <a:pt x="266" y="85"/>
                  </a:cubicBezTo>
                  <a:cubicBezTo>
                    <a:pt x="296" y="85"/>
                    <a:pt x="320" y="109"/>
                    <a:pt x="320" y="138"/>
                  </a:cubicBezTo>
                  <a:cubicBezTo>
                    <a:pt x="320" y="168"/>
                    <a:pt x="296" y="192"/>
                    <a:pt x="266" y="192"/>
                  </a:cubicBezTo>
                  <a:close/>
                  <a:moveTo>
                    <a:pt x="71" y="71"/>
                  </a:moveTo>
                  <a:cubicBezTo>
                    <a:pt x="43" y="71"/>
                    <a:pt x="21" y="93"/>
                    <a:pt x="21" y="121"/>
                  </a:cubicBezTo>
                  <a:cubicBezTo>
                    <a:pt x="21" y="148"/>
                    <a:pt x="43" y="170"/>
                    <a:pt x="71" y="170"/>
                  </a:cubicBezTo>
                  <a:cubicBezTo>
                    <a:pt x="266" y="170"/>
                    <a:pt x="266" y="170"/>
                    <a:pt x="266" y="170"/>
                  </a:cubicBezTo>
                  <a:cubicBezTo>
                    <a:pt x="284" y="170"/>
                    <a:pt x="298" y="156"/>
                    <a:pt x="298" y="138"/>
                  </a:cubicBezTo>
                  <a:cubicBezTo>
                    <a:pt x="298" y="121"/>
                    <a:pt x="284" y="106"/>
                    <a:pt x="266" y="106"/>
                  </a:cubicBezTo>
                  <a:cubicBezTo>
                    <a:pt x="263" y="106"/>
                    <a:pt x="262" y="106"/>
                    <a:pt x="259" y="107"/>
                  </a:cubicBezTo>
                  <a:cubicBezTo>
                    <a:pt x="258" y="107"/>
                    <a:pt x="258" y="108"/>
                    <a:pt x="258" y="108"/>
                  </a:cubicBezTo>
                  <a:cubicBezTo>
                    <a:pt x="255" y="112"/>
                    <a:pt x="249" y="113"/>
                    <a:pt x="245" y="111"/>
                  </a:cubicBezTo>
                  <a:cubicBezTo>
                    <a:pt x="241" y="108"/>
                    <a:pt x="238" y="103"/>
                    <a:pt x="239" y="99"/>
                  </a:cubicBezTo>
                  <a:cubicBezTo>
                    <a:pt x="240" y="97"/>
                    <a:pt x="240" y="96"/>
                    <a:pt x="240" y="94"/>
                  </a:cubicBezTo>
                  <a:cubicBezTo>
                    <a:pt x="240" y="91"/>
                    <a:pt x="241" y="89"/>
                    <a:pt x="241" y="86"/>
                  </a:cubicBezTo>
                  <a:cubicBezTo>
                    <a:pt x="241" y="50"/>
                    <a:pt x="212" y="21"/>
                    <a:pt x="176" y="21"/>
                  </a:cubicBezTo>
                  <a:cubicBezTo>
                    <a:pt x="145" y="21"/>
                    <a:pt x="117" y="43"/>
                    <a:pt x="111" y="73"/>
                  </a:cubicBezTo>
                  <a:cubicBezTo>
                    <a:pt x="110" y="76"/>
                    <a:pt x="108" y="79"/>
                    <a:pt x="105" y="80"/>
                  </a:cubicBezTo>
                  <a:cubicBezTo>
                    <a:pt x="101" y="82"/>
                    <a:pt x="98" y="81"/>
                    <a:pt x="95" y="79"/>
                  </a:cubicBezTo>
                  <a:cubicBezTo>
                    <a:pt x="87" y="74"/>
                    <a:pt x="80" y="71"/>
                    <a:pt x="71"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4" name="Freeform 176"/>
          <p:cNvSpPr>
            <a:spLocks noChangeAspect="1" noEditPoints="1"/>
          </p:cNvSpPr>
          <p:nvPr/>
        </p:nvSpPr>
        <p:spPr bwMode="auto">
          <a:xfrm>
            <a:off x="6281306" y="1697038"/>
            <a:ext cx="370763" cy="369676"/>
          </a:xfrm>
          <a:custGeom>
            <a:avLst/>
            <a:gdLst>
              <a:gd name="T0" fmla="*/ 362 w 512"/>
              <a:gd name="T1" fmla="*/ 266 h 512"/>
              <a:gd name="T2" fmla="*/ 117 w 512"/>
              <a:gd name="T3" fmla="*/ 217 h 512"/>
              <a:gd name="T4" fmla="*/ 191 w 512"/>
              <a:gd name="T5" fmla="*/ 175 h 512"/>
              <a:gd name="T6" fmla="*/ 207 w 512"/>
              <a:gd name="T7" fmla="*/ 169 h 512"/>
              <a:gd name="T8" fmla="*/ 337 w 512"/>
              <a:gd name="T9" fmla="*/ 182 h 512"/>
              <a:gd name="T10" fmla="*/ 335 w 512"/>
              <a:gd name="T11" fmla="*/ 195 h 512"/>
              <a:gd name="T12" fmla="*/ 354 w 512"/>
              <a:gd name="T13" fmla="*/ 204 h 512"/>
              <a:gd name="T14" fmla="*/ 362 w 512"/>
              <a:gd name="T15" fmla="*/ 202 h 512"/>
              <a:gd name="T16" fmla="*/ 512 w 512"/>
              <a:gd name="T17" fmla="*/ 256 h 512"/>
              <a:gd name="T18" fmla="*/ 0 w 512"/>
              <a:gd name="T19" fmla="*/ 256 h 512"/>
              <a:gd name="T20" fmla="*/ 512 w 512"/>
              <a:gd name="T21" fmla="*/ 256 h 512"/>
              <a:gd name="T22" fmla="*/ 194 w 512"/>
              <a:gd name="T23" fmla="*/ 350 h 512"/>
              <a:gd name="T24" fmla="*/ 183 w 512"/>
              <a:gd name="T25" fmla="*/ 332 h 512"/>
              <a:gd name="T26" fmla="*/ 181 w 512"/>
              <a:gd name="T27" fmla="*/ 330 h 512"/>
              <a:gd name="T28" fmla="*/ 160 w 512"/>
              <a:gd name="T29" fmla="*/ 330 h 512"/>
              <a:gd name="T30" fmla="*/ 157 w 512"/>
              <a:gd name="T31" fmla="*/ 332 h 512"/>
              <a:gd name="T32" fmla="*/ 147 w 512"/>
              <a:gd name="T33" fmla="*/ 350 h 512"/>
              <a:gd name="T34" fmla="*/ 147 w 512"/>
              <a:gd name="T35" fmla="*/ 353 h 512"/>
              <a:gd name="T36" fmla="*/ 152 w 512"/>
              <a:gd name="T37" fmla="*/ 373 h 512"/>
              <a:gd name="T38" fmla="*/ 160 w 512"/>
              <a:gd name="T39" fmla="*/ 370 h 512"/>
              <a:gd name="T40" fmla="*/ 170 w 512"/>
              <a:gd name="T41" fmla="*/ 384 h 512"/>
              <a:gd name="T42" fmla="*/ 181 w 512"/>
              <a:gd name="T43" fmla="*/ 370 h 512"/>
              <a:gd name="T44" fmla="*/ 189 w 512"/>
              <a:gd name="T45" fmla="*/ 373 h 512"/>
              <a:gd name="T46" fmla="*/ 194 w 512"/>
              <a:gd name="T47" fmla="*/ 353 h 512"/>
              <a:gd name="T48" fmla="*/ 277 w 512"/>
              <a:gd name="T49" fmla="*/ 394 h 512"/>
              <a:gd name="T50" fmla="*/ 283 w 512"/>
              <a:gd name="T51" fmla="*/ 378 h 512"/>
              <a:gd name="T52" fmla="*/ 266 w 512"/>
              <a:gd name="T53" fmla="*/ 376 h 512"/>
              <a:gd name="T54" fmla="*/ 256 w 512"/>
              <a:gd name="T55" fmla="*/ 362 h 512"/>
              <a:gd name="T56" fmla="*/ 245 w 512"/>
              <a:gd name="T57" fmla="*/ 376 h 512"/>
              <a:gd name="T58" fmla="*/ 228 w 512"/>
              <a:gd name="T59" fmla="*/ 378 h 512"/>
              <a:gd name="T60" fmla="*/ 234 w 512"/>
              <a:gd name="T61" fmla="*/ 394 h 512"/>
              <a:gd name="T62" fmla="*/ 228 w 512"/>
              <a:gd name="T63" fmla="*/ 410 h 512"/>
              <a:gd name="T64" fmla="*/ 243 w 512"/>
              <a:gd name="T65" fmla="*/ 414 h 512"/>
              <a:gd name="T66" fmla="*/ 245 w 512"/>
              <a:gd name="T67" fmla="*/ 416 h 512"/>
              <a:gd name="T68" fmla="*/ 266 w 512"/>
              <a:gd name="T69" fmla="*/ 416 h 512"/>
              <a:gd name="T70" fmla="*/ 269 w 512"/>
              <a:gd name="T71" fmla="*/ 414 h 512"/>
              <a:gd name="T72" fmla="*/ 283 w 512"/>
              <a:gd name="T73" fmla="*/ 410 h 512"/>
              <a:gd name="T74" fmla="*/ 277 w 512"/>
              <a:gd name="T75" fmla="*/ 394 h 512"/>
              <a:gd name="T76" fmla="*/ 365 w 512"/>
              <a:gd name="T77" fmla="*/ 340 h 512"/>
              <a:gd name="T78" fmla="*/ 354 w 512"/>
              <a:gd name="T79" fmla="*/ 321 h 512"/>
              <a:gd name="T80" fmla="*/ 352 w 512"/>
              <a:gd name="T81" fmla="*/ 320 h 512"/>
              <a:gd name="T82" fmla="*/ 330 w 512"/>
              <a:gd name="T83" fmla="*/ 320 h 512"/>
              <a:gd name="T84" fmla="*/ 328 w 512"/>
              <a:gd name="T85" fmla="*/ 321 h 512"/>
              <a:gd name="T86" fmla="*/ 317 w 512"/>
              <a:gd name="T87" fmla="*/ 340 h 512"/>
              <a:gd name="T88" fmla="*/ 317 w 512"/>
              <a:gd name="T89" fmla="*/ 342 h 512"/>
              <a:gd name="T90" fmla="*/ 323 w 512"/>
              <a:gd name="T91" fmla="*/ 362 h 512"/>
              <a:gd name="T92" fmla="*/ 330 w 512"/>
              <a:gd name="T93" fmla="*/ 359 h 512"/>
              <a:gd name="T94" fmla="*/ 341 w 512"/>
              <a:gd name="T95" fmla="*/ 373 h 512"/>
              <a:gd name="T96" fmla="*/ 352 w 512"/>
              <a:gd name="T97" fmla="*/ 359 h 512"/>
              <a:gd name="T98" fmla="*/ 359 w 512"/>
              <a:gd name="T99" fmla="*/ 362 h 512"/>
              <a:gd name="T100" fmla="*/ 365 w 512"/>
              <a:gd name="T101" fmla="*/ 342 h 512"/>
              <a:gd name="T102" fmla="*/ 416 w 512"/>
              <a:gd name="T103" fmla="*/ 234 h 512"/>
              <a:gd name="T104" fmla="*/ 358 w 512"/>
              <a:gd name="T105" fmla="*/ 181 h 512"/>
              <a:gd name="T106" fmla="*/ 190 w 512"/>
              <a:gd name="T107" fmla="*/ 151 h 512"/>
              <a:gd name="T108" fmla="*/ 96 w 512"/>
              <a:gd name="T109" fmla="*/ 217 h 512"/>
              <a:gd name="T110" fmla="*/ 362 w 512"/>
              <a:gd name="T11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2"/>
                  <a:pt x="336" y="193"/>
                  <a:pt x="335" y="195"/>
                </a:cubicBezTo>
                <a:cubicBezTo>
                  <a:pt x="334" y="199"/>
                  <a:pt x="337" y="204"/>
                  <a:pt x="341" y="207"/>
                </a:cubicBezTo>
                <a:cubicBezTo>
                  <a:pt x="345" y="209"/>
                  <a:pt x="351" y="208"/>
                  <a:pt x="354" y="204"/>
                </a:cubicBezTo>
                <a:cubicBezTo>
                  <a:pt x="354" y="204"/>
                  <a:pt x="354" y="203"/>
                  <a:pt x="355" y="203"/>
                </a:cubicBezTo>
                <a:cubicBezTo>
                  <a:pt x="358" y="202"/>
                  <a:pt x="359"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352"/>
                </a:moveTo>
                <a:cubicBezTo>
                  <a:pt x="194" y="350"/>
                  <a:pt x="194" y="350"/>
                  <a:pt x="194" y="350"/>
                </a:cubicBezTo>
                <a:cubicBezTo>
                  <a:pt x="199" y="347"/>
                  <a:pt x="201" y="341"/>
                  <a:pt x="198" y="336"/>
                </a:cubicBezTo>
                <a:cubicBezTo>
                  <a:pt x="195" y="331"/>
                  <a:pt x="189" y="329"/>
                  <a:pt x="183" y="332"/>
                </a:cubicBezTo>
                <a:cubicBezTo>
                  <a:pt x="181" y="333"/>
                  <a:pt x="181" y="333"/>
                  <a:pt x="181" y="333"/>
                </a:cubicBezTo>
                <a:cubicBezTo>
                  <a:pt x="181" y="330"/>
                  <a:pt x="181" y="330"/>
                  <a:pt x="181" y="330"/>
                </a:cubicBezTo>
                <a:cubicBezTo>
                  <a:pt x="181" y="324"/>
                  <a:pt x="176" y="320"/>
                  <a:pt x="170" y="320"/>
                </a:cubicBezTo>
                <a:cubicBezTo>
                  <a:pt x="164" y="320"/>
                  <a:pt x="160" y="324"/>
                  <a:pt x="160" y="330"/>
                </a:cubicBezTo>
                <a:cubicBezTo>
                  <a:pt x="160" y="333"/>
                  <a:pt x="160" y="333"/>
                  <a:pt x="160" y="333"/>
                </a:cubicBezTo>
                <a:cubicBezTo>
                  <a:pt x="157" y="332"/>
                  <a:pt x="157" y="332"/>
                  <a:pt x="157" y="332"/>
                </a:cubicBezTo>
                <a:cubicBezTo>
                  <a:pt x="152" y="329"/>
                  <a:pt x="146" y="331"/>
                  <a:pt x="143" y="336"/>
                </a:cubicBezTo>
                <a:cubicBezTo>
                  <a:pt x="140" y="341"/>
                  <a:pt x="141" y="347"/>
                  <a:pt x="147" y="350"/>
                </a:cubicBezTo>
                <a:cubicBezTo>
                  <a:pt x="149" y="352"/>
                  <a:pt x="149" y="352"/>
                  <a:pt x="149" y="352"/>
                </a:cubicBezTo>
                <a:cubicBezTo>
                  <a:pt x="147" y="353"/>
                  <a:pt x="147" y="353"/>
                  <a:pt x="147" y="353"/>
                </a:cubicBezTo>
                <a:cubicBezTo>
                  <a:pt x="141" y="356"/>
                  <a:pt x="140" y="363"/>
                  <a:pt x="143" y="368"/>
                </a:cubicBezTo>
                <a:cubicBezTo>
                  <a:pt x="145" y="371"/>
                  <a:pt x="148" y="373"/>
                  <a:pt x="152" y="373"/>
                </a:cubicBezTo>
                <a:cubicBezTo>
                  <a:pt x="154" y="373"/>
                  <a:pt x="156" y="373"/>
                  <a:pt x="157" y="372"/>
                </a:cubicBezTo>
                <a:cubicBezTo>
                  <a:pt x="160" y="370"/>
                  <a:pt x="160" y="370"/>
                  <a:pt x="160" y="370"/>
                </a:cubicBezTo>
                <a:cubicBezTo>
                  <a:pt x="160" y="373"/>
                  <a:pt x="160" y="373"/>
                  <a:pt x="160" y="373"/>
                </a:cubicBezTo>
                <a:cubicBezTo>
                  <a:pt x="160" y="379"/>
                  <a:pt x="164" y="384"/>
                  <a:pt x="170" y="384"/>
                </a:cubicBezTo>
                <a:cubicBezTo>
                  <a:pt x="176" y="384"/>
                  <a:pt x="181" y="379"/>
                  <a:pt x="181" y="373"/>
                </a:cubicBezTo>
                <a:cubicBezTo>
                  <a:pt x="181" y="370"/>
                  <a:pt x="181" y="370"/>
                  <a:pt x="181" y="370"/>
                </a:cubicBezTo>
                <a:cubicBezTo>
                  <a:pt x="183" y="372"/>
                  <a:pt x="183" y="372"/>
                  <a:pt x="183" y="372"/>
                </a:cubicBezTo>
                <a:cubicBezTo>
                  <a:pt x="185" y="373"/>
                  <a:pt x="187" y="373"/>
                  <a:pt x="189" y="373"/>
                </a:cubicBezTo>
                <a:cubicBezTo>
                  <a:pt x="192" y="373"/>
                  <a:pt x="196" y="371"/>
                  <a:pt x="198" y="368"/>
                </a:cubicBezTo>
                <a:cubicBezTo>
                  <a:pt x="201" y="363"/>
                  <a:pt x="199" y="356"/>
                  <a:pt x="194" y="353"/>
                </a:cubicBezTo>
                <a:lnTo>
                  <a:pt x="192" y="352"/>
                </a:lnTo>
                <a:close/>
                <a:moveTo>
                  <a:pt x="277" y="394"/>
                </a:moveTo>
                <a:cubicBezTo>
                  <a:pt x="279" y="393"/>
                  <a:pt x="279" y="393"/>
                  <a:pt x="279" y="393"/>
                </a:cubicBezTo>
                <a:cubicBezTo>
                  <a:pt x="285" y="390"/>
                  <a:pt x="286" y="383"/>
                  <a:pt x="283" y="378"/>
                </a:cubicBezTo>
                <a:cubicBezTo>
                  <a:pt x="280" y="373"/>
                  <a:pt x="274" y="371"/>
                  <a:pt x="269" y="374"/>
                </a:cubicBezTo>
                <a:cubicBezTo>
                  <a:pt x="266" y="376"/>
                  <a:pt x="266" y="376"/>
                  <a:pt x="266" y="376"/>
                </a:cubicBezTo>
                <a:cubicBezTo>
                  <a:pt x="266" y="373"/>
                  <a:pt x="266" y="373"/>
                  <a:pt x="266" y="373"/>
                </a:cubicBezTo>
                <a:cubicBezTo>
                  <a:pt x="266" y="367"/>
                  <a:pt x="262" y="362"/>
                  <a:pt x="256" y="362"/>
                </a:cubicBezTo>
                <a:cubicBezTo>
                  <a:pt x="250" y="362"/>
                  <a:pt x="245" y="367"/>
                  <a:pt x="245" y="373"/>
                </a:cubicBezTo>
                <a:cubicBezTo>
                  <a:pt x="245" y="376"/>
                  <a:pt x="245" y="376"/>
                  <a:pt x="245" y="376"/>
                </a:cubicBezTo>
                <a:cubicBezTo>
                  <a:pt x="243" y="374"/>
                  <a:pt x="243" y="374"/>
                  <a:pt x="243" y="374"/>
                </a:cubicBezTo>
                <a:cubicBezTo>
                  <a:pt x="237" y="371"/>
                  <a:pt x="231" y="373"/>
                  <a:pt x="228" y="378"/>
                </a:cubicBezTo>
                <a:cubicBezTo>
                  <a:pt x="225" y="383"/>
                  <a:pt x="227" y="390"/>
                  <a:pt x="232" y="393"/>
                </a:cubicBezTo>
                <a:cubicBezTo>
                  <a:pt x="234" y="394"/>
                  <a:pt x="234" y="394"/>
                  <a:pt x="234" y="394"/>
                </a:cubicBezTo>
                <a:cubicBezTo>
                  <a:pt x="232" y="396"/>
                  <a:pt x="232" y="396"/>
                  <a:pt x="232" y="396"/>
                </a:cubicBezTo>
                <a:cubicBezTo>
                  <a:pt x="227" y="399"/>
                  <a:pt x="225" y="405"/>
                  <a:pt x="228" y="410"/>
                </a:cubicBezTo>
                <a:cubicBezTo>
                  <a:pt x="230" y="414"/>
                  <a:pt x="234" y="416"/>
                  <a:pt x="237" y="416"/>
                </a:cubicBezTo>
                <a:cubicBezTo>
                  <a:pt x="239" y="416"/>
                  <a:pt x="241" y="415"/>
                  <a:pt x="243" y="414"/>
                </a:cubicBezTo>
                <a:cubicBezTo>
                  <a:pt x="245" y="413"/>
                  <a:pt x="245" y="413"/>
                  <a:pt x="245" y="413"/>
                </a:cubicBezTo>
                <a:cubicBezTo>
                  <a:pt x="245" y="416"/>
                  <a:pt x="245" y="416"/>
                  <a:pt x="245" y="416"/>
                </a:cubicBezTo>
                <a:cubicBezTo>
                  <a:pt x="245" y="422"/>
                  <a:pt x="250" y="426"/>
                  <a:pt x="256" y="426"/>
                </a:cubicBezTo>
                <a:cubicBezTo>
                  <a:pt x="262" y="426"/>
                  <a:pt x="266" y="422"/>
                  <a:pt x="266" y="416"/>
                </a:cubicBezTo>
                <a:cubicBezTo>
                  <a:pt x="266" y="413"/>
                  <a:pt x="266" y="413"/>
                  <a:pt x="266" y="413"/>
                </a:cubicBezTo>
                <a:cubicBezTo>
                  <a:pt x="269" y="414"/>
                  <a:pt x="269" y="414"/>
                  <a:pt x="269" y="414"/>
                </a:cubicBezTo>
                <a:cubicBezTo>
                  <a:pt x="270" y="415"/>
                  <a:pt x="272" y="416"/>
                  <a:pt x="274" y="416"/>
                </a:cubicBezTo>
                <a:cubicBezTo>
                  <a:pt x="278" y="416"/>
                  <a:pt x="281" y="414"/>
                  <a:pt x="283" y="410"/>
                </a:cubicBezTo>
                <a:cubicBezTo>
                  <a:pt x="286" y="405"/>
                  <a:pt x="285" y="399"/>
                  <a:pt x="279" y="396"/>
                </a:cubicBezTo>
                <a:lnTo>
                  <a:pt x="277" y="394"/>
                </a:lnTo>
                <a:close/>
                <a:moveTo>
                  <a:pt x="362" y="341"/>
                </a:moveTo>
                <a:cubicBezTo>
                  <a:pt x="365" y="340"/>
                  <a:pt x="365" y="340"/>
                  <a:pt x="365" y="340"/>
                </a:cubicBezTo>
                <a:cubicBezTo>
                  <a:pt x="370" y="337"/>
                  <a:pt x="372" y="330"/>
                  <a:pt x="369" y="325"/>
                </a:cubicBezTo>
                <a:cubicBezTo>
                  <a:pt x="366" y="320"/>
                  <a:pt x="359" y="318"/>
                  <a:pt x="354" y="321"/>
                </a:cubicBezTo>
                <a:cubicBezTo>
                  <a:pt x="352" y="323"/>
                  <a:pt x="352" y="323"/>
                  <a:pt x="352" y="323"/>
                </a:cubicBezTo>
                <a:cubicBezTo>
                  <a:pt x="352" y="320"/>
                  <a:pt x="352" y="320"/>
                  <a:pt x="352" y="320"/>
                </a:cubicBezTo>
                <a:cubicBezTo>
                  <a:pt x="352" y="314"/>
                  <a:pt x="347" y="309"/>
                  <a:pt x="341" y="309"/>
                </a:cubicBezTo>
                <a:cubicBezTo>
                  <a:pt x="335" y="309"/>
                  <a:pt x="330" y="314"/>
                  <a:pt x="330" y="320"/>
                </a:cubicBezTo>
                <a:cubicBezTo>
                  <a:pt x="330" y="323"/>
                  <a:pt x="330" y="323"/>
                  <a:pt x="330" y="323"/>
                </a:cubicBezTo>
                <a:cubicBezTo>
                  <a:pt x="328" y="321"/>
                  <a:pt x="328" y="321"/>
                  <a:pt x="328" y="321"/>
                </a:cubicBezTo>
                <a:cubicBezTo>
                  <a:pt x="323" y="318"/>
                  <a:pt x="316" y="320"/>
                  <a:pt x="313" y="325"/>
                </a:cubicBezTo>
                <a:cubicBezTo>
                  <a:pt x="310" y="330"/>
                  <a:pt x="312" y="337"/>
                  <a:pt x="317" y="340"/>
                </a:cubicBezTo>
                <a:cubicBezTo>
                  <a:pt x="320" y="341"/>
                  <a:pt x="320" y="341"/>
                  <a:pt x="320" y="341"/>
                </a:cubicBezTo>
                <a:cubicBezTo>
                  <a:pt x="317" y="342"/>
                  <a:pt x="317" y="342"/>
                  <a:pt x="317" y="342"/>
                </a:cubicBezTo>
                <a:cubicBezTo>
                  <a:pt x="312" y="345"/>
                  <a:pt x="310" y="352"/>
                  <a:pt x="313" y="357"/>
                </a:cubicBezTo>
                <a:cubicBezTo>
                  <a:pt x="315" y="360"/>
                  <a:pt x="319" y="362"/>
                  <a:pt x="323" y="362"/>
                </a:cubicBezTo>
                <a:cubicBezTo>
                  <a:pt x="324" y="362"/>
                  <a:pt x="326" y="362"/>
                  <a:pt x="328" y="361"/>
                </a:cubicBezTo>
                <a:cubicBezTo>
                  <a:pt x="330" y="359"/>
                  <a:pt x="330" y="359"/>
                  <a:pt x="330" y="359"/>
                </a:cubicBezTo>
                <a:cubicBezTo>
                  <a:pt x="330" y="362"/>
                  <a:pt x="330" y="362"/>
                  <a:pt x="330" y="362"/>
                </a:cubicBezTo>
                <a:cubicBezTo>
                  <a:pt x="330" y="368"/>
                  <a:pt x="335" y="373"/>
                  <a:pt x="341" y="373"/>
                </a:cubicBezTo>
                <a:cubicBezTo>
                  <a:pt x="347" y="373"/>
                  <a:pt x="352" y="368"/>
                  <a:pt x="352" y="362"/>
                </a:cubicBezTo>
                <a:cubicBezTo>
                  <a:pt x="352" y="359"/>
                  <a:pt x="352" y="359"/>
                  <a:pt x="352" y="359"/>
                </a:cubicBezTo>
                <a:cubicBezTo>
                  <a:pt x="354" y="361"/>
                  <a:pt x="354" y="361"/>
                  <a:pt x="354" y="361"/>
                </a:cubicBezTo>
                <a:cubicBezTo>
                  <a:pt x="356" y="362"/>
                  <a:pt x="358" y="362"/>
                  <a:pt x="359" y="362"/>
                </a:cubicBezTo>
                <a:cubicBezTo>
                  <a:pt x="363" y="362"/>
                  <a:pt x="367" y="360"/>
                  <a:pt x="369" y="357"/>
                </a:cubicBezTo>
                <a:cubicBezTo>
                  <a:pt x="372" y="352"/>
                  <a:pt x="370" y="345"/>
                  <a:pt x="365" y="342"/>
                </a:cubicBezTo>
                <a:lnTo>
                  <a:pt x="362" y="341"/>
                </a:lnTo>
                <a:close/>
                <a:moveTo>
                  <a:pt x="416" y="234"/>
                </a:moveTo>
                <a:cubicBezTo>
                  <a:pt x="416" y="205"/>
                  <a:pt x="392" y="181"/>
                  <a:pt x="362" y="181"/>
                </a:cubicBezTo>
                <a:cubicBezTo>
                  <a:pt x="360"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5" name="Freeform 525"/>
          <p:cNvSpPr>
            <a:spLocks noChangeAspect="1" noEditPoints="1"/>
          </p:cNvSpPr>
          <p:nvPr/>
        </p:nvSpPr>
        <p:spPr bwMode="auto">
          <a:xfrm>
            <a:off x="406400" y="2528098"/>
            <a:ext cx="367982" cy="367982"/>
          </a:xfrm>
          <a:custGeom>
            <a:avLst/>
            <a:gdLst>
              <a:gd name="T0" fmla="*/ 0 w 512"/>
              <a:gd name="T1" fmla="*/ 256 h 512"/>
              <a:gd name="T2" fmla="*/ 512 w 512"/>
              <a:gd name="T3" fmla="*/ 256 h 512"/>
              <a:gd name="T4" fmla="*/ 407 w 512"/>
              <a:gd name="T5" fmla="*/ 267 h 512"/>
              <a:gd name="T6" fmla="*/ 390 w 512"/>
              <a:gd name="T7" fmla="*/ 294 h 512"/>
              <a:gd name="T8" fmla="*/ 394 w 512"/>
              <a:gd name="T9" fmla="*/ 330 h 512"/>
              <a:gd name="T10" fmla="*/ 309 w 512"/>
              <a:gd name="T11" fmla="*/ 341 h 512"/>
              <a:gd name="T12" fmla="*/ 298 w 512"/>
              <a:gd name="T13" fmla="*/ 416 h 512"/>
              <a:gd name="T14" fmla="*/ 288 w 512"/>
              <a:gd name="T15" fmla="*/ 330 h 512"/>
              <a:gd name="T16" fmla="*/ 373 w 512"/>
              <a:gd name="T17" fmla="*/ 320 h 512"/>
              <a:gd name="T18" fmla="*/ 340 w 512"/>
              <a:gd name="T19" fmla="*/ 283 h 512"/>
              <a:gd name="T20" fmla="*/ 246 w 512"/>
              <a:gd name="T21" fmla="*/ 298 h 512"/>
              <a:gd name="T22" fmla="*/ 192 w 512"/>
              <a:gd name="T23" fmla="*/ 245 h 512"/>
              <a:gd name="T24" fmla="*/ 234 w 512"/>
              <a:gd name="T25" fmla="*/ 170 h 512"/>
              <a:gd name="T26" fmla="*/ 170 w 512"/>
              <a:gd name="T27" fmla="*/ 171 h 512"/>
              <a:gd name="T28" fmla="*/ 142 w 512"/>
              <a:gd name="T29" fmla="*/ 187 h 512"/>
              <a:gd name="T30" fmla="*/ 160 w 512"/>
              <a:gd name="T31" fmla="*/ 192 h 512"/>
              <a:gd name="T32" fmla="*/ 170 w 512"/>
              <a:gd name="T33" fmla="*/ 277 h 512"/>
              <a:gd name="T34" fmla="*/ 182 w 512"/>
              <a:gd name="T35" fmla="*/ 316 h 512"/>
              <a:gd name="T36" fmla="*/ 256 w 512"/>
              <a:gd name="T37" fmla="*/ 330 h 512"/>
              <a:gd name="T38" fmla="*/ 266 w 512"/>
              <a:gd name="T39" fmla="*/ 405 h 512"/>
              <a:gd name="T40" fmla="*/ 245 w 512"/>
              <a:gd name="T41" fmla="*/ 405 h 512"/>
              <a:gd name="T42" fmla="*/ 224 w 512"/>
              <a:gd name="T43" fmla="*/ 352 h 512"/>
              <a:gd name="T44" fmla="*/ 149 w 512"/>
              <a:gd name="T45" fmla="*/ 277 h 512"/>
              <a:gd name="T46" fmla="*/ 128 w 512"/>
              <a:gd name="T47" fmla="*/ 213 h 512"/>
              <a:gd name="T48" fmla="*/ 126 w 512"/>
              <a:gd name="T49" fmla="*/ 173 h 512"/>
              <a:gd name="T50" fmla="*/ 202 w 512"/>
              <a:gd name="T51" fmla="*/ 117 h 512"/>
              <a:gd name="T52" fmla="*/ 256 w 512"/>
              <a:gd name="T53" fmla="*/ 192 h 512"/>
              <a:gd name="T54" fmla="*/ 408 w 512"/>
              <a:gd name="T55" fmla="*/ 246 h 512"/>
              <a:gd name="T56" fmla="*/ 407 w 512"/>
              <a:gd name="T57" fmla="*/ 267 h 512"/>
              <a:gd name="T58" fmla="*/ 370 w 512"/>
              <a:gd name="T59" fmla="*/ 254 h 512"/>
              <a:gd name="T60" fmla="*/ 245 w 512"/>
              <a:gd name="T61" fmla="*/ 278 h 512"/>
              <a:gd name="T62" fmla="*/ 245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7" y="267"/>
                </a:moveTo>
                <a:cubicBezTo>
                  <a:pt x="407" y="267"/>
                  <a:pt x="389" y="271"/>
                  <a:pt x="367" y="277"/>
                </a:cubicBezTo>
                <a:cubicBezTo>
                  <a:pt x="390" y="294"/>
                  <a:pt x="390" y="294"/>
                  <a:pt x="390" y="294"/>
                </a:cubicBezTo>
                <a:cubicBezTo>
                  <a:pt x="393" y="296"/>
                  <a:pt x="394" y="299"/>
                  <a:pt x="394" y="302"/>
                </a:cubicBezTo>
                <a:cubicBezTo>
                  <a:pt x="394" y="330"/>
                  <a:pt x="394" y="330"/>
                  <a:pt x="394" y="330"/>
                </a:cubicBezTo>
                <a:cubicBezTo>
                  <a:pt x="394" y="336"/>
                  <a:pt x="390" y="341"/>
                  <a:pt x="384" y="341"/>
                </a:cubicBezTo>
                <a:cubicBezTo>
                  <a:pt x="309" y="341"/>
                  <a:pt x="309" y="341"/>
                  <a:pt x="309" y="341"/>
                </a:cubicBezTo>
                <a:cubicBezTo>
                  <a:pt x="309" y="405"/>
                  <a:pt x="309" y="405"/>
                  <a:pt x="309" y="405"/>
                </a:cubicBezTo>
                <a:cubicBezTo>
                  <a:pt x="309" y="411"/>
                  <a:pt x="304" y="416"/>
                  <a:pt x="298" y="416"/>
                </a:cubicBezTo>
                <a:cubicBezTo>
                  <a:pt x="292" y="416"/>
                  <a:pt x="288" y="411"/>
                  <a:pt x="288" y="405"/>
                </a:cubicBezTo>
                <a:cubicBezTo>
                  <a:pt x="288" y="330"/>
                  <a:pt x="288" y="330"/>
                  <a:pt x="288" y="330"/>
                </a:cubicBezTo>
                <a:cubicBezTo>
                  <a:pt x="288" y="324"/>
                  <a:pt x="292" y="320"/>
                  <a:pt x="298" y="320"/>
                </a:cubicBezTo>
                <a:cubicBezTo>
                  <a:pt x="373" y="320"/>
                  <a:pt x="373" y="320"/>
                  <a:pt x="373" y="320"/>
                </a:cubicBezTo>
                <a:cubicBezTo>
                  <a:pt x="373" y="308"/>
                  <a:pt x="373" y="308"/>
                  <a:pt x="373" y="308"/>
                </a:cubicBezTo>
                <a:cubicBezTo>
                  <a:pt x="340" y="283"/>
                  <a:pt x="340" y="283"/>
                  <a:pt x="340" y="283"/>
                </a:cubicBezTo>
                <a:cubicBezTo>
                  <a:pt x="334" y="285"/>
                  <a:pt x="328" y="286"/>
                  <a:pt x="323" y="287"/>
                </a:cubicBezTo>
                <a:cubicBezTo>
                  <a:pt x="284" y="295"/>
                  <a:pt x="247" y="298"/>
                  <a:pt x="246" y="298"/>
                </a:cubicBezTo>
                <a:cubicBezTo>
                  <a:pt x="246" y="298"/>
                  <a:pt x="246" y="298"/>
                  <a:pt x="246" y="298"/>
                </a:cubicBezTo>
                <a:cubicBezTo>
                  <a:pt x="211" y="298"/>
                  <a:pt x="192" y="279"/>
                  <a:pt x="192" y="245"/>
                </a:cubicBezTo>
                <a:cubicBezTo>
                  <a:pt x="192" y="215"/>
                  <a:pt x="207" y="196"/>
                  <a:pt x="234" y="192"/>
                </a:cubicBezTo>
                <a:cubicBezTo>
                  <a:pt x="234" y="170"/>
                  <a:pt x="234" y="170"/>
                  <a:pt x="234" y="170"/>
                </a:cubicBezTo>
                <a:cubicBezTo>
                  <a:pt x="234" y="167"/>
                  <a:pt x="232" y="138"/>
                  <a:pt x="202" y="138"/>
                </a:cubicBezTo>
                <a:cubicBezTo>
                  <a:pt x="172" y="138"/>
                  <a:pt x="170" y="167"/>
                  <a:pt x="170" y="171"/>
                </a:cubicBezTo>
                <a:cubicBezTo>
                  <a:pt x="170" y="176"/>
                  <a:pt x="165" y="181"/>
                  <a:pt x="160" y="181"/>
                </a:cubicBezTo>
                <a:cubicBezTo>
                  <a:pt x="151" y="181"/>
                  <a:pt x="146" y="183"/>
                  <a:pt x="142" y="187"/>
                </a:cubicBezTo>
                <a:cubicBezTo>
                  <a:pt x="141" y="188"/>
                  <a:pt x="140" y="190"/>
                  <a:pt x="139" y="192"/>
                </a:cubicBezTo>
                <a:cubicBezTo>
                  <a:pt x="160" y="192"/>
                  <a:pt x="160" y="192"/>
                  <a:pt x="160" y="192"/>
                </a:cubicBezTo>
                <a:cubicBezTo>
                  <a:pt x="166" y="192"/>
                  <a:pt x="170" y="196"/>
                  <a:pt x="170" y="202"/>
                </a:cubicBezTo>
                <a:cubicBezTo>
                  <a:pt x="170" y="277"/>
                  <a:pt x="170" y="277"/>
                  <a:pt x="170" y="277"/>
                </a:cubicBezTo>
                <a:cubicBezTo>
                  <a:pt x="170" y="277"/>
                  <a:pt x="170" y="278"/>
                  <a:pt x="170" y="278"/>
                </a:cubicBezTo>
                <a:cubicBezTo>
                  <a:pt x="170" y="278"/>
                  <a:pt x="168" y="301"/>
                  <a:pt x="182" y="316"/>
                </a:cubicBezTo>
                <a:cubicBezTo>
                  <a:pt x="191" y="325"/>
                  <a:pt x="205" y="330"/>
                  <a:pt x="224" y="330"/>
                </a:cubicBezTo>
                <a:cubicBezTo>
                  <a:pt x="256" y="330"/>
                  <a:pt x="256" y="330"/>
                  <a:pt x="256" y="330"/>
                </a:cubicBezTo>
                <a:cubicBezTo>
                  <a:pt x="262" y="330"/>
                  <a:pt x="266" y="335"/>
                  <a:pt x="266" y="341"/>
                </a:cubicBezTo>
                <a:cubicBezTo>
                  <a:pt x="266" y="405"/>
                  <a:pt x="266" y="405"/>
                  <a:pt x="266" y="405"/>
                </a:cubicBezTo>
                <a:cubicBezTo>
                  <a:pt x="266" y="411"/>
                  <a:pt x="262" y="416"/>
                  <a:pt x="256" y="416"/>
                </a:cubicBezTo>
                <a:cubicBezTo>
                  <a:pt x="250" y="416"/>
                  <a:pt x="245" y="411"/>
                  <a:pt x="245" y="405"/>
                </a:cubicBezTo>
                <a:cubicBezTo>
                  <a:pt x="245" y="352"/>
                  <a:pt x="245" y="352"/>
                  <a:pt x="245" y="352"/>
                </a:cubicBezTo>
                <a:cubicBezTo>
                  <a:pt x="224" y="352"/>
                  <a:pt x="224" y="352"/>
                  <a:pt x="224" y="352"/>
                </a:cubicBezTo>
                <a:cubicBezTo>
                  <a:pt x="199" y="352"/>
                  <a:pt x="179" y="344"/>
                  <a:pt x="166" y="330"/>
                </a:cubicBezTo>
                <a:cubicBezTo>
                  <a:pt x="147" y="309"/>
                  <a:pt x="149" y="281"/>
                  <a:pt x="149" y="277"/>
                </a:cubicBezTo>
                <a:cubicBezTo>
                  <a:pt x="149" y="213"/>
                  <a:pt x="149" y="213"/>
                  <a:pt x="149" y="213"/>
                </a:cubicBezTo>
                <a:cubicBezTo>
                  <a:pt x="128" y="213"/>
                  <a:pt x="128" y="213"/>
                  <a:pt x="128" y="213"/>
                </a:cubicBezTo>
                <a:cubicBezTo>
                  <a:pt x="122" y="213"/>
                  <a:pt x="118" y="209"/>
                  <a:pt x="117" y="204"/>
                </a:cubicBezTo>
                <a:cubicBezTo>
                  <a:pt x="117" y="202"/>
                  <a:pt x="115" y="185"/>
                  <a:pt x="126" y="173"/>
                </a:cubicBezTo>
                <a:cubicBezTo>
                  <a:pt x="132" y="166"/>
                  <a:pt x="140" y="162"/>
                  <a:pt x="150" y="160"/>
                </a:cubicBezTo>
                <a:cubicBezTo>
                  <a:pt x="154" y="142"/>
                  <a:pt x="168" y="117"/>
                  <a:pt x="202" y="117"/>
                </a:cubicBezTo>
                <a:cubicBezTo>
                  <a:pt x="243" y="117"/>
                  <a:pt x="256" y="152"/>
                  <a:pt x="256" y="170"/>
                </a:cubicBezTo>
                <a:cubicBezTo>
                  <a:pt x="256" y="192"/>
                  <a:pt x="256" y="192"/>
                  <a:pt x="256" y="192"/>
                </a:cubicBezTo>
                <a:cubicBezTo>
                  <a:pt x="272" y="194"/>
                  <a:pt x="286" y="199"/>
                  <a:pt x="286" y="200"/>
                </a:cubicBezTo>
                <a:cubicBezTo>
                  <a:pt x="408" y="246"/>
                  <a:pt x="408" y="246"/>
                  <a:pt x="408" y="246"/>
                </a:cubicBezTo>
                <a:cubicBezTo>
                  <a:pt x="412" y="248"/>
                  <a:pt x="415" y="252"/>
                  <a:pt x="415" y="257"/>
                </a:cubicBezTo>
                <a:cubicBezTo>
                  <a:pt x="415" y="261"/>
                  <a:pt x="412" y="265"/>
                  <a:pt x="407" y="267"/>
                </a:cubicBezTo>
                <a:close/>
                <a:moveTo>
                  <a:pt x="279" y="220"/>
                </a:moveTo>
                <a:cubicBezTo>
                  <a:pt x="370" y="254"/>
                  <a:pt x="370" y="254"/>
                  <a:pt x="370" y="254"/>
                </a:cubicBezTo>
                <a:cubicBezTo>
                  <a:pt x="354" y="258"/>
                  <a:pt x="335" y="263"/>
                  <a:pt x="318" y="267"/>
                </a:cubicBezTo>
                <a:cubicBezTo>
                  <a:pt x="281" y="275"/>
                  <a:pt x="244" y="278"/>
                  <a:pt x="245" y="278"/>
                </a:cubicBezTo>
                <a:cubicBezTo>
                  <a:pt x="223" y="278"/>
                  <a:pt x="213" y="268"/>
                  <a:pt x="213" y="245"/>
                </a:cubicBezTo>
                <a:cubicBezTo>
                  <a:pt x="213" y="223"/>
                  <a:pt x="223" y="213"/>
                  <a:pt x="245" y="213"/>
                </a:cubicBezTo>
                <a:cubicBezTo>
                  <a:pt x="262" y="213"/>
                  <a:pt x="278" y="220"/>
                  <a:pt x="279" y="22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6" name="Group 528"/>
          <p:cNvGrpSpPr>
            <a:grpSpLocks noChangeAspect="1"/>
          </p:cNvGrpSpPr>
          <p:nvPr/>
        </p:nvGrpSpPr>
        <p:grpSpPr bwMode="auto">
          <a:xfrm>
            <a:off x="826429" y="2528098"/>
            <a:ext cx="369064" cy="367982"/>
            <a:chOff x="5046" y="2977"/>
            <a:chExt cx="341" cy="340"/>
          </a:xfrm>
          <a:solidFill>
            <a:schemeClr val="accent6"/>
          </a:solidFill>
        </p:grpSpPr>
        <p:sp>
          <p:nvSpPr>
            <p:cNvPr id="327" name="Freeform 326"/>
            <p:cNvSpPr>
              <a:spLocks noEditPoints="1"/>
            </p:cNvSpPr>
            <p:nvPr/>
          </p:nvSpPr>
          <p:spPr bwMode="auto">
            <a:xfrm>
              <a:off x="5046" y="297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327"/>
            <p:cNvSpPr>
              <a:spLocks noEditPoints="1"/>
            </p:cNvSpPr>
            <p:nvPr/>
          </p:nvSpPr>
          <p:spPr bwMode="auto">
            <a:xfrm>
              <a:off x="5123" y="3055"/>
              <a:ext cx="199" cy="198"/>
            </a:xfrm>
            <a:custGeom>
              <a:avLst/>
              <a:gdLst>
                <a:gd name="T0" fmla="*/ 293 w 300"/>
                <a:gd name="T1" fmla="*/ 129 h 299"/>
                <a:gd name="T2" fmla="*/ 171 w 300"/>
                <a:gd name="T3" fmla="*/ 83 h 299"/>
                <a:gd name="T4" fmla="*/ 141 w 300"/>
                <a:gd name="T5" fmla="*/ 75 h 299"/>
                <a:gd name="T6" fmla="*/ 141 w 300"/>
                <a:gd name="T7" fmla="*/ 53 h 299"/>
                <a:gd name="T8" fmla="*/ 87 w 300"/>
                <a:gd name="T9" fmla="*/ 0 h 299"/>
                <a:gd name="T10" fmla="*/ 35 w 300"/>
                <a:gd name="T11" fmla="*/ 43 h 299"/>
                <a:gd name="T12" fmla="*/ 11 w 300"/>
                <a:gd name="T13" fmla="*/ 56 h 299"/>
                <a:gd name="T14" fmla="*/ 2 w 300"/>
                <a:gd name="T15" fmla="*/ 87 h 299"/>
                <a:gd name="T16" fmla="*/ 13 w 300"/>
                <a:gd name="T17" fmla="*/ 96 h 299"/>
                <a:gd name="T18" fmla="*/ 34 w 300"/>
                <a:gd name="T19" fmla="*/ 96 h 299"/>
                <a:gd name="T20" fmla="*/ 34 w 300"/>
                <a:gd name="T21" fmla="*/ 160 h 299"/>
                <a:gd name="T22" fmla="*/ 51 w 300"/>
                <a:gd name="T23" fmla="*/ 213 h 299"/>
                <a:gd name="T24" fmla="*/ 109 w 300"/>
                <a:gd name="T25" fmla="*/ 235 h 299"/>
                <a:gd name="T26" fmla="*/ 130 w 300"/>
                <a:gd name="T27" fmla="*/ 235 h 299"/>
                <a:gd name="T28" fmla="*/ 130 w 300"/>
                <a:gd name="T29" fmla="*/ 288 h 299"/>
                <a:gd name="T30" fmla="*/ 141 w 300"/>
                <a:gd name="T31" fmla="*/ 299 h 299"/>
                <a:gd name="T32" fmla="*/ 151 w 300"/>
                <a:gd name="T33" fmla="*/ 288 h 299"/>
                <a:gd name="T34" fmla="*/ 151 w 300"/>
                <a:gd name="T35" fmla="*/ 224 h 299"/>
                <a:gd name="T36" fmla="*/ 141 w 300"/>
                <a:gd name="T37" fmla="*/ 213 h 299"/>
                <a:gd name="T38" fmla="*/ 109 w 300"/>
                <a:gd name="T39" fmla="*/ 213 h 299"/>
                <a:gd name="T40" fmla="*/ 67 w 300"/>
                <a:gd name="T41" fmla="*/ 199 h 299"/>
                <a:gd name="T42" fmla="*/ 55 w 300"/>
                <a:gd name="T43" fmla="*/ 161 h 299"/>
                <a:gd name="T44" fmla="*/ 55 w 300"/>
                <a:gd name="T45" fmla="*/ 160 h 299"/>
                <a:gd name="T46" fmla="*/ 55 w 300"/>
                <a:gd name="T47" fmla="*/ 85 h 299"/>
                <a:gd name="T48" fmla="*/ 45 w 300"/>
                <a:gd name="T49" fmla="*/ 75 h 299"/>
                <a:gd name="T50" fmla="*/ 24 w 300"/>
                <a:gd name="T51" fmla="*/ 75 h 299"/>
                <a:gd name="T52" fmla="*/ 27 w 300"/>
                <a:gd name="T53" fmla="*/ 70 h 299"/>
                <a:gd name="T54" fmla="*/ 45 w 300"/>
                <a:gd name="T55" fmla="*/ 64 h 299"/>
                <a:gd name="T56" fmla="*/ 55 w 300"/>
                <a:gd name="T57" fmla="*/ 54 h 299"/>
                <a:gd name="T58" fmla="*/ 87 w 300"/>
                <a:gd name="T59" fmla="*/ 21 h 299"/>
                <a:gd name="T60" fmla="*/ 119 w 300"/>
                <a:gd name="T61" fmla="*/ 53 h 299"/>
                <a:gd name="T62" fmla="*/ 119 w 300"/>
                <a:gd name="T63" fmla="*/ 75 h 299"/>
                <a:gd name="T64" fmla="*/ 77 w 300"/>
                <a:gd name="T65" fmla="*/ 128 h 299"/>
                <a:gd name="T66" fmla="*/ 131 w 300"/>
                <a:gd name="T67" fmla="*/ 181 h 299"/>
                <a:gd name="T68" fmla="*/ 131 w 300"/>
                <a:gd name="T69" fmla="*/ 181 h 299"/>
                <a:gd name="T70" fmla="*/ 208 w 300"/>
                <a:gd name="T71" fmla="*/ 170 h 299"/>
                <a:gd name="T72" fmla="*/ 225 w 300"/>
                <a:gd name="T73" fmla="*/ 166 h 299"/>
                <a:gd name="T74" fmla="*/ 258 w 300"/>
                <a:gd name="T75" fmla="*/ 191 h 299"/>
                <a:gd name="T76" fmla="*/ 258 w 300"/>
                <a:gd name="T77" fmla="*/ 203 h 299"/>
                <a:gd name="T78" fmla="*/ 183 w 300"/>
                <a:gd name="T79" fmla="*/ 203 h 299"/>
                <a:gd name="T80" fmla="*/ 173 w 300"/>
                <a:gd name="T81" fmla="*/ 213 h 299"/>
                <a:gd name="T82" fmla="*/ 173 w 300"/>
                <a:gd name="T83" fmla="*/ 288 h 299"/>
                <a:gd name="T84" fmla="*/ 183 w 300"/>
                <a:gd name="T85" fmla="*/ 299 h 299"/>
                <a:gd name="T86" fmla="*/ 194 w 300"/>
                <a:gd name="T87" fmla="*/ 288 h 299"/>
                <a:gd name="T88" fmla="*/ 194 w 300"/>
                <a:gd name="T89" fmla="*/ 224 h 299"/>
                <a:gd name="T90" fmla="*/ 269 w 300"/>
                <a:gd name="T91" fmla="*/ 224 h 299"/>
                <a:gd name="T92" fmla="*/ 279 w 300"/>
                <a:gd name="T93" fmla="*/ 213 h 299"/>
                <a:gd name="T94" fmla="*/ 279 w 300"/>
                <a:gd name="T95" fmla="*/ 185 h 299"/>
                <a:gd name="T96" fmla="*/ 275 w 300"/>
                <a:gd name="T97" fmla="*/ 177 h 299"/>
                <a:gd name="T98" fmla="*/ 252 w 300"/>
                <a:gd name="T99" fmla="*/ 160 h 299"/>
                <a:gd name="T100" fmla="*/ 292 w 300"/>
                <a:gd name="T101" fmla="*/ 150 h 299"/>
                <a:gd name="T102" fmla="*/ 300 w 300"/>
                <a:gd name="T103" fmla="*/ 140 h 299"/>
                <a:gd name="T104" fmla="*/ 293 w 300"/>
                <a:gd name="T105" fmla="*/ 129 h 299"/>
                <a:gd name="T106" fmla="*/ 203 w 300"/>
                <a:gd name="T107" fmla="*/ 150 h 299"/>
                <a:gd name="T108" fmla="*/ 130 w 300"/>
                <a:gd name="T109" fmla="*/ 161 h 299"/>
                <a:gd name="T110" fmla="*/ 98 w 300"/>
                <a:gd name="T111" fmla="*/ 128 h 299"/>
                <a:gd name="T112" fmla="*/ 130 w 300"/>
                <a:gd name="T113" fmla="*/ 96 h 299"/>
                <a:gd name="T114" fmla="*/ 164 w 300"/>
                <a:gd name="T115" fmla="*/ 103 h 299"/>
                <a:gd name="T116" fmla="*/ 255 w 300"/>
                <a:gd name="T117" fmla="*/ 137 h 299"/>
                <a:gd name="T118" fmla="*/ 203 w 300"/>
                <a:gd name="T11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299">
                  <a:moveTo>
                    <a:pt x="293" y="129"/>
                  </a:moveTo>
                  <a:cubicBezTo>
                    <a:pt x="171" y="83"/>
                    <a:pt x="171" y="83"/>
                    <a:pt x="171" y="83"/>
                  </a:cubicBezTo>
                  <a:cubicBezTo>
                    <a:pt x="171" y="82"/>
                    <a:pt x="157" y="77"/>
                    <a:pt x="141" y="75"/>
                  </a:cubicBezTo>
                  <a:cubicBezTo>
                    <a:pt x="141" y="53"/>
                    <a:pt x="141" y="53"/>
                    <a:pt x="141" y="53"/>
                  </a:cubicBezTo>
                  <a:cubicBezTo>
                    <a:pt x="141" y="35"/>
                    <a:pt x="128" y="0"/>
                    <a:pt x="87" y="0"/>
                  </a:cubicBezTo>
                  <a:cubicBezTo>
                    <a:pt x="53" y="0"/>
                    <a:pt x="39" y="25"/>
                    <a:pt x="35" y="43"/>
                  </a:cubicBezTo>
                  <a:cubicBezTo>
                    <a:pt x="25" y="45"/>
                    <a:pt x="17" y="49"/>
                    <a:pt x="11" y="56"/>
                  </a:cubicBezTo>
                  <a:cubicBezTo>
                    <a:pt x="0" y="68"/>
                    <a:pt x="2" y="85"/>
                    <a:pt x="2" y="87"/>
                  </a:cubicBezTo>
                  <a:cubicBezTo>
                    <a:pt x="3" y="92"/>
                    <a:pt x="7" y="96"/>
                    <a:pt x="13" y="96"/>
                  </a:cubicBezTo>
                  <a:cubicBezTo>
                    <a:pt x="34" y="96"/>
                    <a:pt x="34" y="96"/>
                    <a:pt x="34" y="96"/>
                  </a:cubicBezTo>
                  <a:cubicBezTo>
                    <a:pt x="34" y="160"/>
                    <a:pt x="34" y="160"/>
                    <a:pt x="34" y="160"/>
                  </a:cubicBezTo>
                  <a:cubicBezTo>
                    <a:pt x="34" y="164"/>
                    <a:pt x="32" y="192"/>
                    <a:pt x="51" y="213"/>
                  </a:cubicBezTo>
                  <a:cubicBezTo>
                    <a:pt x="64" y="227"/>
                    <a:pt x="84" y="235"/>
                    <a:pt x="109" y="235"/>
                  </a:cubicBezTo>
                  <a:cubicBezTo>
                    <a:pt x="130" y="235"/>
                    <a:pt x="130" y="235"/>
                    <a:pt x="130" y="235"/>
                  </a:cubicBezTo>
                  <a:cubicBezTo>
                    <a:pt x="130" y="288"/>
                    <a:pt x="130" y="288"/>
                    <a:pt x="130" y="288"/>
                  </a:cubicBezTo>
                  <a:cubicBezTo>
                    <a:pt x="130" y="294"/>
                    <a:pt x="135" y="299"/>
                    <a:pt x="141" y="299"/>
                  </a:cubicBezTo>
                  <a:cubicBezTo>
                    <a:pt x="147" y="299"/>
                    <a:pt x="151" y="294"/>
                    <a:pt x="151" y="288"/>
                  </a:cubicBezTo>
                  <a:cubicBezTo>
                    <a:pt x="151" y="224"/>
                    <a:pt x="151" y="224"/>
                    <a:pt x="151" y="224"/>
                  </a:cubicBezTo>
                  <a:cubicBezTo>
                    <a:pt x="151" y="218"/>
                    <a:pt x="147" y="213"/>
                    <a:pt x="141" y="213"/>
                  </a:cubicBezTo>
                  <a:cubicBezTo>
                    <a:pt x="109" y="213"/>
                    <a:pt x="109" y="213"/>
                    <a:pt x="109" y="213"/>
                  </a:cubicBezTo>
                  <a:cubicBezTo>
                    <a:pt x="90" y="213"/>
                    <a:pt x="76" y="208"/>
                    <a:pt x="67" y="199"/>
                  </a:cubicBezTo>
                  <a:cubicBezTo>
                    <a:pt x="53" y="184"/>
                    <a:pt x="55" y="161"/>
                    <a:pt x="55" y="161"/>
                  </a:cubicBezTo>
                  <a:cubicBezTo>
                    <a:pt x="55" y="161"/>
                    <a:pt x="55" y="160"/>
                    <a:pt x="55" y="160"/>
                  </a:cubicBezTo>
                  <a:cubicBezTo>
                    <a:pt x="55" y="85"/>
                    <a:pt x="55" y="85"/>
                    <a:pt x="55" y="85"/>
                  </a:cubicBezTo>
                  <a:cubicBezTo>
                    <a:pt x="55" y="79"/>
                    <a:pt x="51" y="75"/>
                    <a:pt x="45" y="75"/>
                  </a:cubicBezTo>
                  <a:cubicBezTo>
                    <a:pt x="24" y="75"/>
                    <a:pt x="24" y="75"/>
                    <a:pt x="24" y="75"/>
                  </a:cubicBezTo>
                  <a:cubicBezTo>
                    <a:pt x="25" y="73"/>
                    <a:pt x="26" y="71"/>
                    <a:pt x="27" y="70"/>
                  </a:cubicBezTo>
                  <a:cubicBezTo>
                    <a:pt x="31" y="66"/>
                    <a:pt x="36" y="64"/>
                    <a:pt x="45" y="64"/>
                  </a:cubicBezTo>
                  <a:cubicBezTo>
                    <a:pt x="50" y="64"/>
                    <a:pt x="55" y="59"/>
                    <a:pt x="55" y="54"/>
                  </a:cubicBezTo>
                  <a:cubicBezTo>
                    <a:pt x="55" y="50"/>
                    <a:pt x="57" y="21"/>
                    <a:pt x="87" y="21"/>
                  </a:cubicBezTo>
                  <a:cubicBezTo>
                    <a:pt x="117" y="21"/>
                    <a:pt x="119" y="50"/>
                    <a:pt x="119" y="53"/>
                  </a:cubicBezTo>
                  <a:cubicBezTo>
                    <a:pt x="119" y="75"/>
                    <a:pt x="119" y="75"/>
                    <a:pt x="119" y="75"/>
                  </a:cubicBezTo>
                  <a:cubicBezTo>
                    <a:pt x="92" y="79"/>
                    <a:pt x="77" y="98"/>
                    <a:pt x="77" y="128"/>
                  </a:cubicBezTo>
                  <a:cubicBezTo>
                    <a:pt x="77" y="162"/>
                    <a:pt x="96" y="181"/>
                    <a:pt x="131" y="181"/>
                  </a:cubicBezTo>
                  <a:cubicBezTo>
                    <a:pt x="131" y="181"/>
                    <a:pt x="131" y="181"/>
                    <a:pt x="131" y="181"/>
                  </a:cubicBezTo>
                  <a:cubicBezTo>
                    <a:pt x="132" y="181"/>
                    <a:pt x="169" y="178"/>
                    <a:pt x="208" y="170"/>
                  </a:cubicBezTo>
                  <a:cubicBezTo>
                    <a:pt x="213" y="169"/>
                    <a:pt x="219" y="168"/>
                    <a:pt x="225" y="166"/>
                  </a:cubicBezTo>
                  <a:cubicBezTo>
                    <a:pt x="258" y="191"/>
                    <a:pt x="258" y="191"/>
                    <a:pt x="258" y="191"/>
                  </a:cubicBezTo>
                  <a:cubicBezTo>
                    <a:pt x="258" y="203"/>
                    <a:pt x="258" y="203"/>
                    <a:pt x="258" y="203"/>
                  </a:cubicBezTo>
                  <a:cubicBezTo>
                    <a:pt x="183" y="203"/>
                    <a:pt x="183" y="203"/>
                    <a:pt x="183" y="203"/>
                  </a:cubicBezTo>
                  <a:cubicBezTo>
                    <a:pt x="177" y="203"/>
                    <a:pt x="173" y="207"/>
                    <a:pt x="173" y="213"/>
                  </a:cubicBezTo>
                  <a:cubicBezTo>
                    <a:pt x="173" y="288"/>
                    <a:pt x="173" y="288"/>
                    <a:pt x="173" y="288"/>
                  </a:cubicBezTo>
                  <a:cubicBezTo>
                    <a:pt x="173" y="294"/>
                    <a:pt x="177" y="299"/>
                    <a:pt x="183" y="299"/>
                  </a:cubicBezTo>
                  <a:cubicBezTo>
                    <a:pt x="189" y="299"/>
                    <a:pt x="194" y="294"/>
                    <a:pt x="194" y="288"/>
                  </a:cubicBezTo>
                  <a:cubicBezTo>
                    <a:pt x="194" y="224"/>
                    <a:pt x="194" y="224"/>
                    <a:pt x="194" y="224"/>
                  </a:cubicBezTo>
                  <a:cubicBezTo>
                    <a:pt x="269" y="224"/>
                    <a:pt x="269" y="224"/>
                    <a:pt x="269" y="224"/>
                  </a:cubicBezTo>
                  <a:cubicBezTo>
                    <a:pt x="275" y="224"/>
                    <a:pt x="279" y="219"/>
                    <a:pt x="279" y="213"/>
                  </a:cubicBezTo>
                  <a:cubicBezTo>
                    <a:pt x="279" y="185"/>
                    <a:pt x="279" y="185"/>
                    <a:pt x="279" y="185"/>
                  </a:cubicBezTo>
                  <a:cubicBezTo>
                    <a:pt x="279" y="182"/>
                    <a:pt x="278" y="179"/>
                    <a:pt x="275" y="177"/>
                  </a:cubicBezTo>
                  <a:cubicBezTo>
                    <a:pt x="252" y="160"/>
                    <a:pt x="252" y="160"/>
                    <a:pt x="252" y="160"/>
                  </a:cubicBezTo>
                  <a:cubicBezTo>
                    <a:pt x="274" y="154"/>
                    <a:pt x="292" y="150"/>
                    <a:pt x="292" y="150"/>
                  </a:cubicBezTo>
                  <a:cubicBezTo>
                    <a:pt x="297" y="148"/>
                    <a:pt x="300" y="144"/>
                    <a:pt x="300" y="140"/>
                  </a:cubicBezTo>
                  <a:cubicBezTo>
                    <a:pt x="300" y="135"/>
                    <a:pt x="297" y="131"/>
                    <a:pt x="293" y="129"/>
                  </a:cubicBezTo>
                  <a:close/>
                  <a:moveTo>
                    <a:pt x="203" y="150"/>
                  </a:moveTo>
                  <a:cubicBezTo>
                    <a:pt x="166" y="158"/>
                    <a:pt x="129" y="161"/>
                    <a:pt x="130" y="161"/>
                  </a:cubicBezTo>
                  <a:cubicBezTo>
                    <a:pt x="108" y="161"/>
                    <a:pt x="98" y="151"/>
                    <a:pt x="98" y="128"/>
                  </a:cubicBezTo>
                  <a:cubicBezTo>
                    <a:pt x="98" y="106"/>
                    <a:pt x="108" y="96"/>
                    <a:pt x="130" y="96"/>
                  </a:cubicBezTo>
                  <a:cubicBezTo>
                    <a:pt x="147" y="96"/>
                    <a:pt x="163" y="103"/>
                    <a:pt x="164" y="103"/>
                  </a:cubicBezTo>
                  <a:cubicBezTo>
                    <a:pt x="255" y="137"/>
                    <a:pt x="255" y="137"/>
                    <a:pt x="255" y="137"/>
                  </a:cubicBezTo>
                  <a:cubicBezTo>
                    <a:pt x="239" y="141"/>
                    <a:pt x="220" y="146"/>
                    <a:pt x="203"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9" name="Freeform 859"/>
          <p:cNvSpPr>
            <a:spLocks noChangeAspect="1" noEditPoints="1"/>
          </p:cNvSpPr>
          <p:nvPr/>
        </p:nvSpPr>
        <p:spPr bwMode="auto">
          <a:xfrm>
            <a:off x="1247540" y="2528098"/>
            <a:ext cx="367982" cy="367982"/>
          </a:xfrm>
          <a:custGeom>
            <a:avLst/>
            <a:gdLst>
              <a:gd name="T0" fmla="*/ 0 w 512"/>
              <a:gd name="T1" fmla="*/ 256 h 512"/>
              <a:gd name="T2" fmla="*/ 512 w 512"/>
              <a:gd name="T3" fmla="*/ 256 h 512"/>
              <a:gd name="T4" fmla="*/ 301 w 512"/>
              <a:gd name="T5" fmla="*/ 415 h 512"/>
              <a:gd name="T6" fmla="*/ 288 w 512"/>
              <a:gd name="T7" fmla="*/ 407 h 512"/>
              <a:gd name="T8" fmla="*/ 213 w 512"/>
              <a:gd name="T9" fmla="*/ 405 h 512"/>
              <a:gd name="T10" fmla="*/ 213 w 512"/>
              <a:gd name="T11" fmla="*/ 384 h 512"/>
              <a:gd name="T12" fmla="*/ 267 w 512"/>
              <a:gd name="T13" fmla="*/ 311 h 512"/>
              <a:gd name="T14" fmla="*/ 287 w 512"/>
              <a:gd name="T15" fmla="*/ 307 h 512"/>
              <a:gd name="T16" fmla="*/ 301 w 512"/>
              <a:gd name="T17" fmla="*/ 415 h 512"/>
              <a:gd name="T18" fmla="*/ 383 w 512"/>
              <a:gd name="T19" fmla="*/ 216 h 512"/>
              <a:gd name="T20" fmla="*/ 353 w 512"/>
              <a:gd name="T21" fmla="*/ 239 h 512"/>
              <a:gd name="T22" fmla="*/ 341 w 512"/>
              <a:gd name="T23" fmla="*/ 378 h 512"/>
              <a:gd name="T24" fmla="*/ 371 w 512"/>
              <a:gd name="T25" fmla="*/ 411 h 512"/>
              <a:gd name="T26" fmla="*/ 356 w 512"/>
              <a:gd name="T27" fmla="*/ 414 h 512"/>
              <a:gd name="T28" fmla="*/ 320 w 512"/>
              <a:gd name="T29" fmla="*/ 384 h 512"/>
              <a:gd name="T30" fmla="*/ 321 w 512"/>
              <a:gd name="T31" fmla="*/ 304 h 512"/>
              <a:gd name="T32" fmla="*/ 335 w 512"/>
              <a:gd name="T33" fmla="*/ 225 h 512"/>
              <a:gd name="T34" fmla="*/ 372 w 512"/>
              <a:gd name="T35" fmla="*/ 174 h 512"/>
              <a:gd name="T36" fmla="*/ 330 w 512"/>
              <a:gd name="T37" fmla="*/ 149 h 512"/>
              <a:gd name="T38" fmla="*/ 312 w 512"/>
              <a:gd name="T39" fmla="*/ 130 h 512"/>
              <a:gd name="T40" fmla="*/ 271 w 512"/>
              <a:gd name="T41" fmla="*/ 244 h 512"/>
              <a:gd name="T42" fmla="*/ 160 w 512"/>
              <a:gd name="T43" fmla="*/ 416 h 512"/>
              <a:gd name="T44" fmla="*/ 128 w 512"/>
              <a:gd name="T45" fmla="*/ 298 h 512"/>
              <a:gd name="T46" fmla="*/ 122 w 512"/>
              <a:gd name="T47" fmla="*/ 262 h 512"/>
              <a:gd name="T48" fmla="*/ 96 w 512"/>
              <a:gd name="T49" fmla="*/ 245 h 512"/>
              <a:gd name="T50" fmla="*/ 138 w 512"/>
              <a:gd name="T51" fmla="*/ 248 h 512"/>
              <a:gd name="T52" fmla="*/ 149 w 512"/>
              <a:gd name="T53" fmla="*/ 384 h 512"/>
              <a:gd name="T54" fmla="*/ 170 w 512"/>
              <a:gd name="T55" fmla="*/ 384 h 512"/>
              <a:gd name="T56" fmla="*/ 299 w 512"/>
              <a:gd name="T57" fmla="*/ 103 h 512"/>
              <a:gd name="T58" fmla="*/ 318 w 512"/>
              <a:gd name="T59" fmla="*/ 100 h 512"/>
              <a:gd name="T60" fmla="*/ 352 w 512"/>
              <a:gd name="T61" fmla="*/ 128 h 512"/>
              <a:gd name="T62" fmla="*/ 391 w 512"/>
              <a:gd name="T63"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415"/>
                </a:moveTo>
                <a:cubicBezTo>
                  <a:pt x="300" y="416"/>
                  <a:pt x="299" y="416"/>
                  <a:pt x="298" y="416"/>
                </a:cubicBezTo>
                <a:cubicBezTo>
                  <a:pt x="293" y="416"/>
                  <a:pt x="289" y="412"/>
                  <a:pt x="288" y="407"/>
                </a:cubicBezTo>
                <a:cubicBezTo>
                  <a:pt x="287" y="405"/>
                  <a:pt x="287" y="405"/>
                  <a:pt x="287" y="405"/>
                </a:cubicBezTo>
                <a:cubicBezTo>
                  <a:pt x="213" y="405"/>
                  <a:pt x="213" y="405"/>
                  <a:pt x="213" y="405"/>
                </a:cubicBezTo>
                <a:cubicBezTo>
                  <a:pt x="207" y="405"/>
                  <a:pt x="202" y="400"/>
                  <a:pt x="202" y="394"/>
                </a:cubicBezTo>
                <a:cubicBezTo>
                  <a:pt x="202" y="388"/>
                  <a:pt x="207" y="384"/>
                  <a:pt x="213" y="384"/>
                </a:cubicBezTo>
                <a:cubicBezTo>
                  <a:pt x="283" y="384"/>
                  <a:pt x="283" y="384"/>
                  <a:pt x="283" y="384"/>
                </a:cubicBezTo>
                <a:cubicBezTo>
                  <a:pt x="267" y="311"/>
                  <a:pt x="267" y="311"/>
                  <a:pt x="267" y="311"/>
                </a:cubicBezTo>
                <a:cubicBezTo>
                  <a:pt x="265" y="306"/>
                  <a:pt x="269" y="300"/>
                  <a:pt x="275" y="299"/>
                </a:cubicBezTo>
                <a:cubicBezTo>
                  <a:pt x="280" y="297"/>
                  <a:pt x="286" y="301"/>
                  <a:pt x="287" y="307"/>
                </a:cubicBezTo>
                <a:cubicBezTo>
                  <a:pt x="309" y="403"/>
                  <a:pt x="309" y="403"/>
                  <a:pt x="309" y="403"/>
                </a:cubicBezTo>
                <a:cubicBezTo>
                  <a:pt x="310" y="408"/>
                  <a:pt x="306" y="414"/>
                  <a:pt x="301" y="415"/>
                </a:cubicBezTo>
                <a:close/>
                <a:moveTo>
                  <a:pt x="394" y="173"/>
                </a:moveTo>
                <a:cubicBezTo>
                  <a:pt x="383" y="216"/>
                  <a:pt x="383" y="216"/>
                  <a:pt x="383" y="216"/>
                </a:cubicBezTo>
                <a:cubicBezTo>
                  <a:pt x="383" y="218"/>
                  <a:pt x="381" y="220"/>
                  <a:pt x="379" y="222"/>
                </a:cubicBezTo>
                <a:cubicBezTo>
                  <a:pt x="353" y="239"/>
                  <a:pt x="353" y="239"/>
                  <a:pt x="353" y="239"/>
                </a:cubicBezTo>
                <a:cubicBezTo>
                  <a:pt x="355" y="252"/>
                  <a:pt x="352" y="280"/>
                  <a:pt x="341" y="312"/>
                </a:cubicBezTo>
                <a:cubicBezTo>
                  <a:pt x="341" y="378"/>
                  <a:pt x="341" y="378"/>
                  <a:pt x="341" y="378"/>
                </a:cubicBezTo>
                <a:cubicBezTo>
                  <a:pt x="368" y="396"/>
                  <a:pt x="368" y="396"/>
                  <a:pt x="368" y="396"/>
                </a:cubicBezTo>
                <a:cubicBezTo>
                  <a:pt x="373" y="399"/>
                  <a:pt x="374" y="406"/>
                  <a:pt x="371" y="411"/>
                </a:cubicBezTo>
                <a:cubicBezTo>
                  <a:pt x="369" y="414"/>
                  <a:pt x="366" y="416"/>
                  <a:pt x="362" y="416"/>
                </a:cubicBezTo>
                <a:cubicBezTo>
                  <a:pt x="360" y="416"/>
                  <a:pt x="358" y="415"/>
                  <a:pt x="356" y="414"/>
                </a:cubicBezTo>
                <a:cubicBezTo>
                  <a:pt x="324" y="393"/>
                  <a:pt x="324" y="393"/>
                  <a:pt x="324" y="393"/>
                </a:cubicBezTo>
                <a:cubicBezTo>
                  <a:pt x="321" y="391"/>
                  <a:pt x="320" y="387"/>
                  <a:pt x="320" y="384"/>
                </a:cubicBezTo>
                <a:cubicBezTo>
                  <a:pt x="320" y="309"/>
                  <a:pt x="320" y="309"/>
                  <a:pt x="320" y="309"/>
                </a:cubicBezTo>
                <a:cubicBezTo>
                  <a:pt x="320" y="307"/>
                  <a:pt x="320" y="306"/>
                  <a:pt x="321" y="304"/>
                </a:cubicBezTo>
                <a:cubicBezTo>
                  <a:pt x="340" y="268"/>
                  <a:pt x="331" y="239"/>
                  <a:pt x="331" y="237"/>
                </a:cubicBezTo>
                <a:cubicBezTo>
                  <a:pt x="329" y="233"/>
                  <a:pt x="331" y="228"/>
                  <a:pt x="335" y="225"/>
                </a:cubicBezTo>
                <a:cubicBezTo>
                  <a:pt x="364" y="206"/>
                  <a:pt x="364" y="206"/>
                  <a:pt x="364" y="206"/>
                </a:cubicBezTo>
                <a:cubicBezTo>
                  <a:pt x="372" y="174"/>
                  <a:pt x="372" y="174"/>
                  <a:pt x="372" y="174"/>
                </a:cubicBezTo>
                <a:cubicBezTo>
                  <a:pt x="347" y="149"/>
                  <a:pt x="347" y="149"/>
                  <a:pt x="347" y="149"/>
                </a:cubicBezTo>
                <a:cubicBezTo>
                  <a:pt x="330" y="149"/>
                  <a:pt x="330" y="149"/>
                  <a:pt x="330" y="149"/>
                </a:cubicBezTo>
                <a:cubicBezTo>
                  <a:pt x="327" y="149"/>
                  <a:pt x="323" y="147"/>
                  <a:pt x="321" y="144"/>
                </a:cubicBezTo>
                <a:cubicBezTo>
                  <a:pt x="312" y="130"/>
                  <a:pt x="312" y="130"/>
                  <a:pt x="312" y="130"/>
                </a:cubicBezTo>
                <a:cubicBezTo>
                  <a:pt x="276" y="238"/>
                  <a:pt x="276" y="238"/>
                  <a:pt x="276" y="238"/>
                </a:cubicBezTo>
                <a:cubicBezTo>
                  <a:pt x="276" y="240"/>
                  <a:pt x="274" y="243"/>
                  <a:pt x="271" y="244"/>
                </a:cubicBezTo>
                <a:cubicBezTo>
                  <a:pt x="268" y="246"/>
                  <a:pt x="192" y="284"/>
                  <a:pt x="192" y="384"/>
                </a:cubicBezTo>
                <a:cubicBezTo>
                  <a:pt x="192" y="401"/>
                  <a:pt x="177" y="416"/>
                  <a:pt x="160" y="416"/>
                </a:cubicBezTo>
                <a:cubicBezTo>
                  <a:pt x="142" y="416"/>
                  <a:pt x="128" y="401"/>
                  <a:pt x="128" y="384"/>
                </a:cubicBezTo>
                <a:cubicBezTo>
                  <a:pt x="128" y="298"/>
                  <a:pt x="128" y="298"/>
                  <a:pt x="128" y="298"/>
                </a:cubicBezTo>
                <a:cubicBezTo>
                  <a:pt x="128" y="298"/>
                  <a:pt x="128" y="297"/>
                  <a:pt x="128" y="297"/>
                </a:cubicBezTo>
                <a:cubicBezTo>
                  <a:pt x="129" y="290"/>
                  <a:pt x="130" y="271"/>
                  <a:pt x="122" y="262"/>
                </a:cubicBezTo>
                <a:cubicBezTo>
                  <a:pt x="118" y="258"/>
                  <a:pt x="113" y="256"/>
                  <a:pt x="106" y="256"/>
                </a:cubicBezTo>
                <a:cubicBezTo>
                  <a:pt x="100" y="256"/>
                  <a:pt x="96" y="251"/>
                  <a:pt x="96" y="245"/>
                </a:cubicBezTo>
                <a:cubicBezTo>
                  <a:pt x="96" y="239"/>
                  <a:pt x="100" y="234"/>
                  <a:pt x="106" y="234"/>
                </a:cubicBezTo>
                <a:cubicBezTo>
                  <a:pt x="120" y="234"/>
                  <a:pt x="131" y="239"/>
                  <a:pt x="138" y="248"/>
                </a:cubicBezTo>
                <a:cubicBezTo>
                  <a:pt x="153" y="265"/>
                  <a:pt x="149" y="293"/>
                  <a:pt x="149" y="299"/>
                </a:cubicBezTo>
                <a:cubicBezTo>
                  <a:pt x="149" y="384"/>
                  <a:pt x="149" y="384"/>
                  <a:pt x="149" y="384"/>
                </a:cubicBezTo>
                <a:cubicBezTo>
                  <a:pt x="149" y="390"/>
                  <a:pt x="154" y="394"/>
                  <a:pt x="160" y="394"/>
                </a:cubicBezTo>
                <a:cubicBezTo>
                  <a:pt x="166" y="394"/>
                  <a:pt x="170" y="390"/>
                  <a:pt x="170" y="384"/>
                </a:cubicBezTo>
                <a:cubicBezTo>
                  <a:pt x="170" y="283"/>
                  <a:pt x="240" y="237"/>
                  <a:pt x="258" y="227"/>
                </a:cubicBezTo>
                <a:cubicBezTo>
                  <a:pt x="299" y="103"/>
                  <a:pt x="299" y="103"/>
                  <a:pt x="299" y="103"/>
                </a:cubicBezTo>
                <a:cubicBezTo>
                  <a:pt x="300" y="99"/>
                  <a:pt x="304" y="96"/>
                  <a:pt x="308" y="96"/>
                </a:cubicBezTo>
                <a:cubicBezTo>
                  <a:pt x="312" y="95"/>
                  <a:pt x="316" y="97"/>
                  <a:pt x="318" y="100"/>
                </a:cubicBezTo>
                <a:cubicBezTo>
                  <a:pt x="336" y="128"/>
                  <a:pt x="336" y="128"/>
                  <a:pt x="336" y="128"/>
                </a:cubicBezTo>
                <a:cubicBezTo>
                  <a:pt x="352" y="128"/>
                  <a:pt x="352" y="128"/>
                  <a:pt x="352" y="128"/>
                </a:cubicBezTo>
                <a:cubicBezTo>
                  <a:pt x="354" y="128"/>
                  <a:pt x="357" y="129"/>
                  <a:pt x="359" y="131"/>
                </a:cubicBezTo>
                <a:cubicBezTo>
                  <a:pt x="391" y="163"/>
                  <a:pt x="391" y="163"/>
                  <a:pt x="391" y="163"/>
                </a:cubicBezTo>
                <a:cubicBezTo>
                  <a:pt x="394" y="165"/>
                  <a:pt x="395" y="169"/>
                  <a:pt x="394" y="17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0" name="Group 862"/>
          <p:cNvGrpSpPr>
            <a:grpSpLocks noChangeAspect="1"/>
          </p:cNvGrpSpPr>
          <p:nvPr/>
        </p:nvGrpSpPr>
        <p:grpSpPr bwMode="auto">
          <a:xfrm>
            <a:off x="1667569" y="2528098"/>
            <a:ext cx="367982" cy="367982"/>
            <a:chOff x="4364" y="3872"/>
            <a:chExt cx="340" cy="340"/>
          </a:xfrm>
          <a:solidFill>
            <a:schemeClr val="accent4"/>
          </a:solidFill>
        </p:grpSpPr>
        <p:sp>
          <p:nvSpPr>
            <p:cNvPr id="331" name="Freeform 863"/>
            <p:cNvSpPr>
              <a:spLocks noEditPoints="1"/>
            </p:cNvSpPr>
            <p:nvPr/>
          </p:nvSpPr>
          <p:spPr bwMode="auto">
            <a:xfrm>
              <a:off x="4364" y="38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864"/>
            <p:cNvSpPr>
              <a:spLocks/>
            </p:cNvSpPr>
            <p:nvPr/>
          </p:nvSpPr>
          <p:spPr bwMode="auto">
            <a:xfrm>
              <a:off x="4428" y="3935"/>
              <a:ext cx="198" cy="213"/>
            </a:xfrm>
            <a:custGeom>
              <a:avLst/>
              <a:gdLst>
                <a:gd name="T0" fmla="*/ 295 w 299"/>
                <a:gd name="T1" fmla="*/ 68 h 321"/>
                <a:gd name="T2" fmla="*/ 263 w 299"/>
                <a:gd name="T3" fmla="*/ 36 h 321"/>
                <a:gd name="T4" fmla="*/ 256 w 299"/>
                <a:gd name="T5" fmla="*/ 33 h 321"/>
                <a:gd name="T6" fmla="*/ 240 w 299"/>
                <a:gd name="T7" fmla="*/ 33 h 321"/>
                <a:gd name="T8" fmla="*/ 222 w 299"/>
                <a:gd name="T9" fmla="*/ 5 h 321"/>
                <a:gd name="T10" fmla="*/ 212 w 299"/>
                <a:gd name="T11" fmla="*/ 1 h 321"/>
                <a:gd name="T12" fmla="*/ 203 w 299"/>
                <a:gd name="T13" fmla="*/ 8 h 321"/>
                <a:gd name="T14" fmla="*/ 162 w 299"/>
                <a:gd name="T15" fmla="*/ 132 h 321"/>
                <a:gd name="T16" fmla="*/ 74 w 299"/>
                <a:gd name="T17" fmla="*/ 289 h 321"/>
                <a:gd name="T18" fmla="*/ 64 w 299"/>
                <a:gd name="T19" fmla="*/ 299 h 321"/>
                <a:gd name="T20" fmla="*/ 53 w 299"/>
                <a:gd name="T21" fmla="*/ 289 h 321"/>
                <a:gd name="T22" fmla="*/ 53 w 299"/>
                <a:gd name="T23" fmla="*/ 204 h 321"/>
                <a:gd name="T24" fmla="*/ 42 w 299"/>
                <a:gd name="T25" fmla="*/ 153 h 321"/>
                <a:gd name="T26" fmla="*/ 10 w 299"/>
                <a:gd name="T27" fmla="*/ 139 h 321"/>
                <a:gd name="T28" fmla="*/ 0 w 299"/>
                <a:gd name="T29" fmla="*/ 150 h 321"/>
                <a:gd name="T30" fmla="*/ 10 w 299"/>
                <a:gd name="T31" fmla="*/ 161 h 321"/>
                <a:gd name="T32" fmla="*/ 26 w 299"/>
                <a:gd name="T33" fmla="*/ 167 h 321"/>
                <a:gd name="T34" fmla="*/ 32 w 299"/>
                <a:gd name="T35" fmla="*/ 202 h 321"/>
                <a:gd name="T36" fmla="*/ 32 w 299"/>
                <a:gd name="T37" fmla="*/ 203 h 321"/>
                <a:gd name="T38" fmla="*/ 32 w 299"/>
                <a:gd name="T39" fmla="*/ 289 h 321"/>
                <a:gd name="T40" fmla="*/ 64 w 299"/>
                <a:gd name="T41" fmla="*/ 321 h 321"/>
                <a:gd name="T42" fmla="*/ 96 w 299"/>
                <a:gd name="T43" fmla="*/ 289 h 321"/>
                <a:gd name="T44" fmla="*/ 175 w 299"/>
                <a:gd name="T45" fmla="*/ 149 h 321"/>
                <a:gd name="T46" fmla="*/ 180 w 299"/>
                <a:gd name="T47" fmla="*/ 143 h 321"/>
                <a:gd name="T48" fmla="*/ 216 w 299"/>
                <a:gd name="T49" fmla="*/ 35 h 321"/>
                <a:gd name="T50" fmla="*/ 225 w 299"/>
                <a:gd name="T51" fmla="*/ 49 h 321"/>
                <a:gd name="T52" fmla="*/ 234 w 299"/>
                <a:gd name="T53" fmla="*/ 54 h 321"/>
                <a:gd name="T54" fmla="*/ 251 w 299"/>
                <a:gd name="T55" fmla="*/ 54 h 321"/>
                <a:gd name="T56" fmla="*/ 276 w 299"/>
                <a:gd name="T57" fmla="*/ 79 h 321"/>
                <a:gd name="T58" fmla="*/ 268 w 299"/>
                <a:gd name="T59" fmla="*/ 111 h 321"/>
                <a:gd name="T60" fmla="*/ 239 w 299"/>
                <a:gd name="T61" fmla="*/ 130 h 321"/>
                <a:gd name="T62" fmla="*/ 235 w 299"/>
                <a:gd name="T63" fmla="*/ 142 h 321"/>
                <a:gd name="T64" fmla="*/ 225 w 299"/>
                <a:gd name="T65" fmla="*/ 209 h 321"/>
                <a:gd name="T66" fmla="*/ 224 w 299"/>
                <a:gd name="T67" fmla="*/ 214 h 321"/>
                <a:gd name="T68" fmla="*/ 224 w 299"/>
                <a:gd name="T69" fmla="*/ 289 h 321"/>
                <a:gd name="T70" fmla="*/ 228 w 299"/>
                <a:gd name="T71" fmla="*/ 298 h 321"/>
                <a:gd name="T72" fmla="*/ 260 w 299"/>
                <a:gd name="T73" fmla="*/ 319 h 321"/>
                <a:gd name="T74" fmla="*/ 266 w 299"/>
                <a:gd name="T75" fmla="*/ 321 h 321"/>
                <a:gd name="T76" fmla="*/ 275 w 299"/>
                <a:gd name="T77" fmla="*/ 316 h 321"/>
                <a:gd name="T78" fmla="*/ 272 w 299"/>
                <a:gd name="T79" fmla="*/ 301 h 321"/>
                <a:gd name="T80" fmla="*/ 245 w 299"/>
                <a:gd name="T81" fmla="*/ 283 h 321"/>
                <a:gd name="T82" fmla="*/ 245 w 299"/>
                <a:gd name="T83" fmla="*/ 217 h 321"/>
                <a:gd name="T84" fmla="*/ 257 w 299"/>
                <a:gd name="T85" fmla="*/ 144 h 321"/>
                <a:gd name="T86" fmla="*/ 283 w 299"/>
                <a:gd name="T87" fmla="*/ 127 h 321"/>
                <a:gd name="T88" fmla="*/ 287 w 299"/>
                <a:gd name="T89" fmla="*/ 121 h 321"/>
                <a:gd name="T90" fmla="*/ 298 w 299"/>
                <a:gd name="T91" fmla="*/ 78 h 321"/>
                <a:gd name="T92" fmla="*/ 295 w 299"/>
                <a:gd name="T93" fmla="*/ 6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9" h="321">
                  <a:moveTo>
                    <a:pt x="295" y="68"/>
                  </a:moveTo>
                  <a:cubicBezTo>
                    <a:pt x="263" y="36"/>
                    <a:pt x="263" y="36"/>
                    <a:pt x="263" y="36"/>
                  </a:cubicBezTo>
                  <a:cubicBezTo>
                    <a:pt x="261" y="34"/>
                    <a:pt x="258" y="33"/>
                    <a:pt x="256" y="33"/>
                  </a:cubicBezTo>
                  <a:cubicBezTo>
                    <a:pt x="240" y="33"/>
                    <a:pt x="240" y="33"/>
                    <a:pt x="240" y="33"/>
                  </a:cubicBezTo>
                  <a:cubicBezTo>
                    <a:pt x="222" y="5"/>
                    <a:pt x="222" y="5"/>
                    <a:pt x="222" y="5"/>
                  </a:cubicBezTo>
                  <a:cubicBezTo>
                    <a:pt x="220" y="2"/>
                    <a:pt x="216" y="0"/>
                    <a:pt x="212" y="1"/>
                  </a:cubicBezTo>
                  <a:cubicBezTo>
                    <a:pt x="208" y="1"/>
                    <a:pt x="204" y="4"/>
                    <a:pt x="203" y="8"/>
                  </a:cubicBezTo>
                  <a:cubicBezTo>
                    <a:pt x="162" y="132"/>
                    <a:pt x="162" y="132"/>
                    <a:pt x="162" y="132"/>
                  </a:cubicBezTo>
                  <a:cubicBezTo>
                    <a:pt x="144" y="142"/>
                    <a:pt x="74" y="188"/>
                    <a:pt x="74" y="289"/>
                  </a:cubicBezTo>
                  <a:cubicBezTo>
                    <a:pt x="74" y="295"/>
                    <a:pt x="70" y="299"/>
                    <a:pt x="64" y="299"/>
                  </a:cubicBezTo>
                  <a:cubicBezTo>
                    <a:pt x="58" y="299"/>
                    <a:pt x="53" y="295"/>
                    <a:pt x="53" y="289"/>
                  </a:cubicBezTo>
                  <a:cubicBezTo>
                    <a:pt x="53" y="204"/>
                    <a:pt x="53" y="204"/>
                    <a:pt x="53" y="204"/>
                  </a:cubicBezTo>
                  <a:cubicBezTo>
                    <a:pt x="53" y="198"/>
                    <a:pt x="57" y="170"/>
                    <a:pt x="42" y="153"/>
                  </a:cubicBezTo>
                  <a:cubicBezTo>
                    <a:pt x="35" y="144"/>
                    <a:pt x="24" y="139"/>
                    <a:pt x="10" y="139"/>
                  </a:cubicBezTo>
                  <a:cubicBezTo>
                    <a:pt x="4" y="139"/>
                    <a:pt x="0" y="144"/>
                    <a:pt x="0" y="150"/>
                  </a:cubicBezTo>
                  <a:cubicBezTo>
                    <a:pt x="0" y="156"/>
                    <a:pt x="4" y="161"/>
                    <a:pt x="10" y="161"/>
                  </a:cubicBezTo>
                  <a:cubicBezTo>
                    <a:pt x="17" y="161"/>
                    <a:pt x="22" y="163"/>
                    <a:pt x="26" y="167"/>
                  </a:cubicBezTo>
                  <a:cubicBezTo>
                    <a:pt x="34" y="176"/>
                    <a:pt x="33" y="195"/>
                    <a:pt x="32" y="202"/>
                  </a:cubicBezTo>
                  <a:cubicBezTo>
                    <a:pt x="32" y="202"/>
                    <a:pt x="32" y="203"/>
                    <a:pt x="32" y="203"/>
                  </a:cubicBezTo>
                  <a:cubicBezTo>
                    <a:pt x="32" y="289"/>
                    <a:pt x="32" y="289"/>
                    <a:pt x="32" y="289"/>
                  </a:cubicBezTo>
                  <a:cubicBezTo>
                    <a:pt x="32" y="306"/>
                    <a:pt x="46" y="321"/>
                    <a:pt x="64" y="321"/>
                  </a:cubicBezTo>
                  <a:cubicBezTo>
                    <a:pt x="81" y="321"/>
                    <a:pt x="96" y="306"/>
                    <a:pt x="96" y="289"/>
                  </a:cubicBezTo>
                  <a:cubicBezTo>
                    <a:pt x="96" y="189"/>
                    <a:pt x="172" y="151"/>
                    <a:pt x="175" y="149"/>
                  </a:cubicBezTo>
                  <a:cubicBezTo>
                    <a:pt x="178" y="148"/>
                    <a:pt x="180" y="145"/>
                    <a:pt x="180" y="143"/>
                  </a:cubicBezTo>
                  <a:cubicBezTo>
                    <a:pt x="216" y="35"/>
                    <a:pt x="216" y="35"/>
                    <a:pt x="216" y="35"/>
                  </a:cubicBezTo>
                  <a:cubicBezTo>
                    <a:pt x="225" y="49"/>
                    <a:pt x="225" y="49"/>
                    <a:pt x="225" y="49"/>
                  </a:cubicBezTo>
                  <a:cubicBezTo>
                    <a:pt x="227" y="52"/>
                    <a:pt x="231" y="54"/>
                    <a:pt x="234" y="54"/>
                  </a:cubicBezTo>
                  <a:cubicBezTo>
                    <a:pt x="251" y="54"/>
                    <a:pt x="251" y="54"/>
                    <a:pt x="251" y="54"/>
                  </a:cubicBezTo>
                  <a:cubicBezTo>
                    <a:pt x="276" y="79"/>
                    <a:pt x="276" y="79"/>
                    <a:pt x="276" y="79"/>
                  </a:cubicBezTo>
                  <a:cubicBezTo>
                    <a:pt x="268" y="111"/>
                    <a:pt x="268" y="111"/>
                    <a:pt x="268" y="111"/>
                  </a:cubicBezTo>
                  <a:cubicBezTo>
                    <a:pt x="239" y="130"/>
                    <a:pt x="239" y="130"/>
                    <a:pt x="239" y="130"/>
                  </a:cubicBezTo>
                  <a:cubicBezTo>
                    <a:pt x="235" y="133"/>
                    <a:pt x="233" y="138"/>
                    <a:pt x="235" y="142"/>
                  </a:cubicBezTo>
                  <a:cubicBezTo>
                    <a:pt x="235" y="144"/>
                    <a:pt x="244" y="173"/>
                    <a:pt x="225" y="209"/>
                  </a:cubicBezTo>
                  <a:cubicBezTo>
                    <a:pt x="224" y="211"/>
                    <a:pt x="224" y="212"/>
                    <a:pt x="224" y="214"/>
                  </a:cubicBezTo>
                  <a:cubicBezTo>
                    <a:pt x="224" y="289"/>
                    <a:pt x="224" y="289"/>
                    <a:pt x="224" y="289"/>
                  </a:cubicBezTo>
                  <a:cubicBezTo>
                    <a:pt x="224" y="292"/>
                    <a:pt x="225" y="296"/>
                    <a:pt x="228" y="298"/>
                  </a:cubicBezTo>
                  <a:cubicBezTo>
                    <a:pt x="260" y="319"/>
                    <a:pt x="260" y="319"/>
                    <a:pt x="260" y="319"/>
                  </a:cubicBezTo>
                  <a:cubicBezTo>
                    <a:pt x="262" y="320"/>
                    <a:pt x="264" y="321"/>
                    <a:pt x="266" y="321"/>
                  </a:cubicBezTo>
                  <a:cubicBezTo>
                    <a:pt x="270" y="321"/>
                    <a:pt x="273" y="319"/>
                    <a:pt x="275" y="316"/>
                  </a:cubicBezTo>
                  <a:cubicBezTo>
                    <a:pt x="278" y="311"/>
                    <a:pt x="277" y="304"/>
                    <a:pt x="272" y="301"/>
                  </a:cubicBezTo>
                  <a:cubicBezTo>
                    <a:pt x="245" y="283"/>
                    <a:pt x="245" y="283"/>
                    <a:pt x="245" y="283"/>
                  </a:cubicBezTo>
                  <a:cubicBezTo>
                    <a:pt x="245" y="217"/>
                    <a:pt x="245" y="217"/>
                    <a:pt x="245" y="217"/>
                  </a:cubicBezTo>
                  <a:cubicBezTo>
                    <a:pt x="256" y="185"/>
                    <a:pt x="259" y="157"/>
                    <a:pt x="257" y="144"/>
                  </a:cubicBezTo>
                  <a:cubicBezTo>
                    <a:pt x="283" y="127"/>
                    <a:pt x="283" y="127"/>
                    <a:pt x="283" y="127"/>
                  </a:cubicBezTo>
                  <a:cubicBezTo>
                    <a:pt x="285" y="125"/>
                    <a:pt x="287" y="123"/>
                    <a:pt x="287" y="121"/>
                  </a:cubicBezTo>
                  <a:cubicBezTo>
                    <a:pt x="298" y="78"/>
                    <a:pt x="298" y="78"/>
                    <a:pt x="298" y="78"/>
                  </a:cubicBezTo>
                  <a:cubicBezTo>
                    <a:pt x="299" y="74"/>
                    <a:pt x="298" y="70"/>
                    <a:pt x="295"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65"/>
            <p:cNvSpPr>
              <a:spLocks/>
            </p:cNvSpPr>
            <p:nvPr/>
          </p:nvSpPr>
          <p:spPr bwMode="auto">
            <a:xfrm>
              <a:off x="4498" y="4069"/>
              <a:ext cx="72" cy="79"/>
            </a:xfrm>
            <a:custGeom>
              <a:avLst/>
              <a:gdLst>
                <a:gd name="T0" fmla="*/ 85 w 108"/>
                <a:gd name="T1" fmla="*/ 10 h 119"/>
                <a:gd name="T2" fmla="*/ 73 w 108"/>
                <a:gd name="T3" fmla="*/ 2 h 119"/>
                <a:gd name="T4" fmla="*/ 65 w 108"/>
                <a:gd name="T5" fmla="*/ 14 h 119"/>
                <a:gd name="T6" fmla="*/ 81 w 108"/>
                <a:gd name="T7" fmla="*/ 87 h 119"/>
                <a:gd name="T8" fmla="*/ 11 w 108"/>
                <a:gd name="T9" fmla="*/ 87 h 119"/>
                <a:gd name="T10" fmla="*/ 0 w 108"/>
                <a:gd name="T11" fmla="*/ 97 h 119"/>
                <a:gd name="T12" fmla="*/ 11 w 108"/>
                <a:gd name="T13" fmla="*/ 108 h 119"/>
                <a:gd name="T14" fmla="*/ 85 w 108"/>
                <a:gd name="T15" fmla="*/ 108 h 119"/>
                <a:gd name="T16" fmla="*/ 86 w 108"/>
                <a:gd name="T17" fmla="*/ 110 h 119"/>
                <a:gd name="T18" fmla="*/ 96 w 108"/>
                <a:gd name="T19" fmla="*/ 119 h 119"/>
                <a:gd name="T20" fmla="*/ 99 w 108"/>
                <a:gd name="T21" fmla="*/ 118 h 119"/>
                <a:gd name="T22" fmla="*/ 107 w 108"/>
                <a:gd name="T23" fmla="*/ 106 h 119"/>
                <a:gd name="T24" fmla="*/ 85 w 108"/>
                <a:gd name="T25"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19">
                  <a:moveTo>
                    <a:pt x="85" y="10"/>
                  </a:moveTo>
                  <a:cubicBezTo>
                    <a:pt x="84" y="4"/>
                    <a:pt x="78" y="0"/>
                    <a:pt x="73" y="2"/>
                  </a:cubicBezTo>
                  <a:cubicBezTo>
                    <a:pt x="67" y="3"/>
                    <a:pt x="63" y="9"/>
                    <a:pt x="65" y="14"/>
                  </a:cubicBezTo>
                  <a:cubicBezTo>
                    <a:pt x="81" y="87"/>
                    <a:pt x="81" y="87"/>
                    <a:pt x="81" y="87"/>
                  </a:cubicBezTo>
                  <a:cubicBezTo>
                    <a:pt x="11" y="87"/>
                    <a:pt x="11" y="87"/>
                    <a:pt x="11" y="87"/>
                  </a:cubicBezTo>
                  <a:cubicBezTo>
                    <a:pt x="5" y="87"/>
                    <a:pt x="0" y="91"/>
                    <a:pt x="0" y="97"/>
                  </a:cubicBezTo>
                  <a:cubicBezTo>
                    <a:pt x="0" y="103"/>
                    <a:pt x="5" y="108"/>
                    <a:pt x="11" y="108"/>
                  </a:cubicBezTo>
                  <a:cubicBezTo>
                    <a:pt x="85" y="108"/>
                    <a:pt x="85" y="108"/>
                    <a:pt x="85" y="108"/>
                  </a:cubicBezTo>
                  <a:cubicBezTo>
                    <a:pt x="86" y="110"/>
                    <a:pt x="86" y="110"/>
                    <a:pt x="86" y="110"/>
                  </a:cubicBezTo>
                  <a:cubicBezTo>
                    <a:pt x="87" y="115"/>
                    <a:pt x="91" y="119"/>
                    <a:pt x="96" y="119"/>
                  </a:cubicBezTo>
                  <a:cubicBezTo>
                    <a:pt x="97" y="119"/>
                    <a:pt x="98" y="119"/>
                    <a:pt x="99" y="118"/>
                  </a:cubicBezTo>
                  <a:cubicBezTo>
                    <a:pt x="104" y="117"/>
                    <a:pt x="108" y="111"/>
                    <a:pt x="107" y="106"/>
                  </a:cubicBezTo>
                  <a:lnTo>
                    <a:pt x="85"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4" name="Freeform 366"/>
          <p:cNvSpPr>
            <a:spLocks noChangeAspect="1" noEditPoints="1"/>
          </p:cNvSpPr>
          <p:nvPr/>
        </p:nvSpPr>
        <p:spPr bwMode="auto">
          <a:xfrm>
            <a:off x="2087598" y="2528098"/>
            <a:ext cx="367631" cy="367631"/>
          </a:xfrm>
          <a:custGeom>
            <a:avLst/>
            <a:gdLst>
              <a:gd name="T0" fmla="*/ 188 w 512"/>
              <a:gd name="T1" fmla="*/ 256 h 512"/>
              <a:gd name="T2" fmla="*/ 151 w 512"/>
              <a:gd name="T3" fmla="*/ 235 h 512"/>
              <a:gd name="T4" fmla="*/ 149 w 512"/>
              <a:gd name="T5" fmla="*/ 235 h 512"/>
              <a:gd name="T6" fmla="*/ 134 w 512"/>
              <a:gd name="T7" fmla="*/ 235 h 512"/>
              <a:gd name="T8" fmla="*/ 123 w 512"/>
              <a:gd name="T9" fmla="*/ 219 h 512"/>
              <a:gd name="T10" fmla="*/ 174 w 512"/>
              <a:gd name="T11" fmla="*/ 202 h 512"/>
              <a:gd name="T12" fmla="*/ 181 w 512"/>
              <a:gd name="T13" fmla="*/ 196 h 512"/>
              <a:gd name="T14" fmla="*/ 185 w 512"/>
              <a:gd name="T15" fmla="*/ 184 h 512"/>
              <a:gd name="T16" fmla="*/ 222 w 512"/>
              <a:gd name="T17" fmla="*/ 235 h 512"/>
              <a:gd name="T18" fmla="*/ 188 w 512"/>
              <a:gd name="T19" fmla="*/ 256 h 512"/>
              <a:gd name="T20" fmla="*/ 381 w 512"/>
              <a:gd name="T21" fmla="*/ 216 h 512"/>
              <a:gd name="T22" fmla="*/ 346 w 512"/>
              <a:gd name="T23" fmla="*/ 244 h 512"/>
              <a:gd name="T24" fmla="*/ 341 w 512"/>
              <a:gd name="T25" fmla="*/ 246 h 512"/>
              <a:gd name="T26" fmla="*/ 241 w 512"/>
              <a:gd name="T27" fmla="*/ 246 h 512"/>
              <a:gd name="T28" fmla="*/ 194 w 512"/>
              <a:gd name="T29" fmla="*/ 277 h 512"/>
              <a:gd name="T30" fmla="*/ 203 w 512"/>
              <a:gd name="T31" fmla="*/ 363 h 512"/>
              <a:gd name="T32" fmla="*/ 205 w 512"/>
              <a:gd name="T33" fmla="*/ 374 h 512"/>
              <a:gd name="T34" fmla="*/ 224 w 512"/>
              <a:gd name="T35" fmla="*/ 307 h 512"/>
              <a:gd name="T36" fmla="*/ 237 w 512"/>
              <a:gd name="T37" fmla="*/ 299 h 512"/>
              <a:gd name="T38" fmla="*/ 327 w 512"/>
              <a:gd name="T39" fmla="*/ 300 h 512"/>
              <a:gd name="T40" fmla="*/ 340 w 512"/>
              <a:gd name="T41" fmla="*/ 305 h 512"/>
              <a:gd name="T42" fmla="*/ 369 w 512"/>
              <a:gd name="T43" fmla="*/ 372 h 512"/>
              <a:gd name="T44" fmla="*/ 370 w 512"/>
              <a:gd name="T45" fmla="*/ 371 h 512"/>
              <a:gd name="T46" fmla="*/ 373 w 512"/>
              <a:gd name="T47" fmla="*/ 363 h 512"/>
              <a:gd name="T48" fmla="*/ 363 w 512"/>
              <a:gd name="T49" fmla="*/ 268 h 512"/>
              <a:gd name="T50" fmla="*/ 365 w 512"/>
              <a:gd name="T51" fmla="*/ 260 h 512"/>
              <a:gd name="T52" fmla="*/ 381 w 512"/>
              <a:gd name="T53" fmla="*/ 216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84 w 512"/>
              <a:gd name="T65" fmla="*/ 270 h 512"/>
              <a:gd name="T66" fmla="*/ 393 w 512"/>
              <a:gd name="T67" fmla="*/ 177 h 512"/>
              <a:gd name="T68" fmla="*/ 381 w 512"/>
              <a:gd name="T69" fmla="*/ 171 h 512"/>
              <a:gd name="T70" fmla="*/ 373 w 512"/>
              <a:gd name="T71" fmla="*/ 182 h 512"/>
              <a:gd name="T72" fmla="*/ 338 w 512"/>
              <a:gd name="T73" fmla="*/ 224 h 512"/>
              <a:gd name="T74" fmla="*/ 240 w 512"/>
              <a:gd name="T75" fmla="*/ 224 h 512"/>
              <a:gd name="T76" fmla="*/ 190 w 512"/>
              <a:gd name="T77" fmla="*/ 154 h 512"/>
              <a:gd name="T78" fmla="*/ 180 w 512"/>
              <a:gd name="T79" fmla="*/ 150 h 512"/>
              <a:gd name="T80" fmla="*/ 171 w 512"/>
              <a:gd name="T81" fmla="*/ 157 h 512"/>
              <a:gd name="T82" fmla="*/ 162 w 512"/>
              <a:gd name="T83" fmla="*/ 184 h 512"/>
              <a:gd name="T84" fmla="*/ 103 w 512"/>
              <a:gd name="T85" fmla="*/ 204 h 512"/>
              <a:gd name="T86" fmla="*/ 97 w 512"/>
              <a:gd name="T87" fmla="*/ 210 h 512"/>
              <a:gd name="T88" fmla="*/ 98 w 512"/>
              <a:gd name="T89" fmla="*/ 220 h 512"/>
              <a:gd name="T90" fmla="*/ 119 w 512"/>
              <a:gd name="T91" fmla="*/ 252 h 512"/>
              <a:gd name="T92" fmla="*/ 128 w 512"/>
              <a:gd name="T93" fmla="*/ 256 h 512"/>
              <a:gd name="T94" fmla="*/ 150 w 512"/>
              <a:gd name="T95" fmla="*/ 256 h 512"/>
              <a:gd name="T96" fmla="*/ 171 w 512"/>
              <a:gd name="T97" fmla="*/ 269 h 512"/>
              <a:gd name="T98" fmla="*/ 171 w 512"/>
              <a:gd name="T99" fmla="*/ 269 h 512"/>
              <a:gd name="T100" fmla="*/ 181 w 512"/>
              <a:gd name="T101" fmla="*/ 363 h 512"/>
              <a:gd name="T102" fmla="*/ 193 w 512"/>
              <a:gd name="T103" fmla="*/ 391 h 512"/>
              <a:gd name="T104" fmla="*/ 208 w 512"/>
              <a:gd name="T105" fmla="*/ 396 h 512"/>
              <a:gd name="T106" fmla="*/ 217 w 512"/>
              <a:gd name="T107" fmla="*/ 394 h 512"/>
              <a:gd name="T108" fmla="*/ 224 w 512"/>
              <a:gd name="T109" fmla="*/ 387 h 512"/>
              <a:gd name="T110" fmla="*/ 242 w 512"/>
              <a:gd name="T111" fmla="*/ 322 h 512"/>
              <a:gd name="T112" fmla="*/ 325 w 512"/>
              <a:gd name="T113" fmla="*/ 322 h 512"/>
              <a:gd name="T114" fmla="*/ 353 w 512"/>
              <a:gd name="T115" fmla="*/ 389 h 512"/>
              <a:gd name="T116" fmla="*/ 363 w 512"/>
              <a:gd name="T117" fmla="*/ 395 h 512"/>
              <a:gd name="T118" fmla="*/ 386 w 512"/>
              <a:gd name="T119" fmla="*/ 386 h 512"/>
              <a:gd name="T120" fmla="*/ 395 w 512"/>
              <a:gd name="T121" fmla="*/ 362 h 512"/>
              <a:gd name="T122" fmla="*/ 384 w 512"/>
              <a:gd name="T123"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88" y="256"/>
                </a:moveTo>
                <a:cubicBezTo>
                  <a:pt x="183" y="246"/>
                  <a:pt x="172" y="235"/>
                  <a:pt x="151" y="235"/>
                </a:cubicBezTo>
                <a:cubicBezTo>
                  <a:pt x="150" y="235"/>
                  <a:pt x="150" y="235"/>
                  <a:pt x="149" y="235"/>
                </a:cubicBezTo>
                <a:cubicBezTo>
                  <a:pt x="134" y="235"/>
                  <a:pt x="134" y="235"/>
                  <a:pt x="134" y="235"/>
                </a:cubicBezTo>
                <a:cubicBezTo>
                  <a:pt x="123" y="219"/>
                  <a:pt x="123" y="219"/>
                  <a:pt x="123" y="219"/>
                </a:cubicBezTo>
                <a:cubicBezTo>
                  <a:pt x="174" y="202"/>
                  <a:pt x="174" y="202"/>
                  <a:pt x="174" y="202"/>
                </a:cubicBezTo>
                <a:cubicBezTo>
                  <a:pt x="177" y="201"/>
                  <a:pt x="180" y="199"/>
                  <a:pt x="181" y="196"/>
                </a:cubicBezTo>
                <a:cubicBezTo>
                  <a:pt x="185" y="184"/>
                  <a:pt x="185" y="184"/>
                  <a:pt x="185" y="184"/>
                </a:cubicBezTo>
                <a:cubicBezTo>
                  <a:pt x="222" y="235"/>
                  <a:pt x="222" y="235"/>
                  <a:pt x="222" y="235"/>
                </a:cubicBezTo>
                <a:cubicBezTo>
                  <a:pt x="217" y="242"/>
                  <a:pt x="206" y="254"/>
                  <a:pt x="188" y="256"/>
                </a:cubicBezTo>
                <a:close/>
                <a:moveTo>
                  <a:pt x="381" y="216"/>
                </a:moveTo>
                <a:cubicBezTo>
                  <a:pt x="368" y="232"/>
                  <a:pt x="350" y="243"/>
                  <a:pt x="346" y="244"/>
                </a:cubicBezTo>
                <a:cubicBezTo>
                  <a:pt x="345" y="245"/>
                  <a:pt x="343" y="246"/>
                  <a:pt x="341" y="246"/>
                </a:cubicBezTo>
                <a:cubicBezTo>
                  <a:pt x="241" y="246"/>
                  <a:pt x="241" y="246"/>
                  <a:pt x="241" y="246"/>
                </a:cubicBezTo>
                <a:cubicBezTo>
                  <a:pt x="234" y="255"/>
                  <a:pt x="219" y="273"/>
                  <a:pt x="194" y="277"/>
                </a:cubicBezTo>
                <a:cubicBezTo>
                  <a:pt x="197" y="298"/>
                  <a:pt x="203" y="341"/>
                  <a:pt x="203" y="363"/>
                </a:cubicBezTo>
                <a:cubicBezTo>
                  <a:pt x="203" y="369"/>
                  <a:pt x="204" y="373"/>
                  <a:pt x="205" y="374"/>
                </a:cubicBezTo>
                <a:cubicBezTo>
                  <a:pt x="224" y="307"/>
                  <a:pt x="224" y="307"/>
                  <a:pt x="224" y="307"/>
                </a:cubicBezTo>
                <a:cubicBezTo>
                  <a:pt x="226" y="301"/>
                  <a:pt x="232" y="298"/>
                  <a:pt x="237" y="299"/>
                </a:cubicBezTo>
                <a:cubicBezTo>
                  <a:pt x="287" y="313"/>
                  <a:pt x="327" y="300"/>
                  <a:pt x="327" y="300"/>
                </a:cubicBezTo>
                <a:cubicBezTo>
                  <a:pt x="332" y="298"/>
                  <a:pt x="338" y="300"/>
                  <a:pt x="340" y="305"/>
                </a:cubicBezTo>
                <a:cubicBezTo>
                  <a:pt x="369" y="372"/>
                  <a:pt x="369" y="372"/>
                  <a:pt x="369" y="372"/>
                </a:cubicBezTo>
                <a:cubicBezTo>
                  <a:pt x="370" y="372"/>
                  <a:pt x="370" y="371"/>
                  <a:pt x="370" y="371"/>
                </a:cubicBezTo>
                <a:cubicBezTo>
                  <a:pt x="373" y="369"/>
                  <a:pt x="373" y="365"/>
                  <a:pt x="373" y="363"/>
                </a:cubicBezTo>
                <a:cubicBezTo>
                  <a:pt x="363" y="268"/>
                  <a:pt x="363" y="268"/>
                  <a:pt x="363" y="268"/>
                </a:cubicBezTo>
                <a:cubicBezTo>
                  <a:pt x="362" y="265"/>
                  <a:pt x="363" y="263"/>
                  <a:pt x="365" y="260"/>
                </a:cubicBezTo>
                <a:cubicBezTo>
                  <a:pt x="377" y="245"/>
                  <a:pt x="381" y="229"/>
                  <a:pt x="381" y="21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70"/>
                </a:moveTo>
                <a:cubicBezTo>
                  <a:pt x="418" y="223"/>
                  <a:pt x="394" y="179"/>
                  <a:pt x="393" y="177"/>
                </a:cubicBezTo>
                <a:cubicBezTo>
                  <a:pt x="391" y="172"/>
                  <a:pt x="386" y="170"/>
                  <a:pt x="381" y="171"/>
                </a:cubicBezTo>
                <a:cubicBezTo>
                  <a:pt x="377" y="173"/>
                  <a:pt x="373" y="177"/>
                  <a:pt x="373" y="182"/>
                </a:cubicBezTo>
                <a:cubicBezTo>
                  <a:pt x="373" y="200"/>
                  <a:pt x="350" y="217"/>
                  <a:pt x="338" y="224"/>
                </a:cubicBezTo>
                <a:cubicBezTo>
                  <a:pt x="240" y="224"/>
                  <a:pt x="240" y="224"/>
                  <a:pt x="240" y="224"/>
                </a:cubicBezTo>
                <a:cubicBezTo>
                  <a:pt x="190" y="154"/>
                  <a:pt x="190" y="154"/>
                  <a:pt x="190" y="154"/>
                </a:cubicBezTo>
                <a:cubicBezTo>
                  <a:pt x="188" y="151"/>
                  <a:pt x="184" y="149"/>
                  <a:pt x="180" y="150"/>
                </a:cubicBezTo>
                <a:cubicBezTo>
                  <a:pt x="176" y="150"/>
                  <a:pt x="172" y="153"/>
                  <a:pt x="171" y="157"/>
                </a:cubicBezTo>
                <a:cubicBezTo>
                  <a:pt x="162" y="184"/>
                  <a:pt x="162" y="184"/>
                  <a:pt x="162" y="184"/>
                </a:cubicBezTo>
                <a:cubicBezTo>
                  <a:pt x="103" y="204"/>
                  <a:pt x="103" y="204"/>
                  <a:pt x="103" y="204"/>
                </a:cubicBezTo>
                <a:cubicBezTo>
                  <a:pt x="100" y="205"/>
                  <a:pt x="98" y="207"/>
                  <a:pt x="97" y="210"/>
                </a:cubicBezTo>
                <a:cubicBezTo>
                  <a:pt x="95" y="213"/>
                  <a:pt x="96" y="217"/>
                  <a:pt x="98" y="220"/>
                </a:cubicBezTo>
                <a:cubicBezTo>
                  <a:pt x="119" y="252"/>
                  <a:pt x="119" y="252"/>
                  <a:pt x="119" y="252"/>
                </a:cubicBezTo>
                <a:cubicBezTo>
                  <a:pt x="121" y="255"/>
                  <a:pt x="124" y="256"/>
                  <a:pt x="128" y="256"/>
                </a:cubicBezTo>
                <a:cubicBezTo>
                  <a:pt x="150" y="256"/>
                  <a:pt x="150" y="256"/>
                  <a:pt x="150" y="256"/>
                </a:cubicBezTo>
                <a:cubicBezTo>
                  <a:pt x="167" y="256"/>
                  <a:pt x="170" y="267"/>
                  <a:pt x="171" y="269"/>
                </a:cubicBezTo>
                <a:cubicBezTo>
                  <a:pt x="171" y="269"/>
                  <a:pt x="171" y="269"/>
                  <a:pt x="171" y="269"/>
                </a:cubicBezTo>
                <a:cubicBezTo>
                  <a:pt x="171" y="273"/>
                  <a:pt x="181" y="336"/>
                  <a:pt x="181" y="363"/>
                </a:cubicBezTo>
                <a:cubicBezTo>
                  <a:pt x="181" y="376"/>
                  <a:pt x="185" y="386"/>
                  <a:pt x="193" y="391"/>
                </a:cubicBezTo>
                <a:cubicBezTo>
                  <a:pt x="198" y="395"/>
                  <a:pt x="203" y="396"/>
                  <a:pt x="208" y="396"/>
                </a:cubicBezTo>
                <a:cubicBezTo>
                  <a:pt x="212" y="396"/>
                  <a:pt x="216" y="395"/>
                  <a:pt x="217" y="394"/>
                </a:cubicBezTo>
                <a:cubicBezTo>
                  <a:pt x="220" y="393"/>
                  <a:pt x="223" y="391"/>
                  <a:pt x="224" y="387"/>
                </a:cubicBezTo>
                <a:cubicBezTo>
                  <a:pt x="242" y="322"/>
                  <a:pt x="242" y="322"/>
                  <a:pt x="242" y="322"/>
                </a:cubicBezTo>
                <a:cubicBezTo>
                  <a:pt x="279" y="330"/>
                  <a:pt x="310" y="326"/>
                  <a:pt x="325" y="322"/>
                </a:cubicBezTo>
                <a:cubicBezTo>
                  <a:pt x="353" y="389"/>
                  <a:pt x="353" y="389"/>
                  <a:pt x="353" y="389"/>
                </a:cubicBezTo>
                <a:cubicBezTo>
                  <a:pt x="355" y="392"/>
                  <a:pt x="358" y="395"/>
                  <a:pt x="363" y="395"/>
                </a:cubicBezTo>
                <a:cubicBezTo>
                  <a:pt x="375" y="395"/>
                  <a:pt x="382" y="390"/>
                  <a:pt x="386" y="386"/>
                </a:cubicBezTo>
                <a:cubicBezTo>
                  <a:pt x="395" y="377"/>
                  <a:pt x="395" y="364"/>
                  <a:pt x="395" y="362"/>
                </a:cubicBezTo>
                <a:lnTo>
                  <a:pt x="384" y="2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5" name="Group 369"/>
          <p:cNvGrpSpPr>
            <a:grpSpLocks noChangeAspect="1"/>
          </p:cNvGrpSpPr>
          <p:nvPr/>
        </p:nvGrpSpPr>
        <p:grpSpPr bwMode="auto">
          <a:xfrm>
            <a:off x="2507276" y="2528098"/>
            <a:ext cx="367631" cy="367631"/>
            <a:chOff x="6624" y="1193"/>
            <a:chExt cx="340" cy="340"/>
          </a:xfrm>
          <a:solidFill>
            <a:schemeClr val="accent4"/>
          </a:solidFill>
        </p:grpSpPr>
        <p:sp>
          <p:nvSpPr>
            <p:cNvPr id="336" name="Freeform 370"/>
            <p:cNvSpPr>
              <a:spLocks noEditPoints="1"/>
            </p:cNvSpPr>
            <p:nvPr/>
          </p:nvSpPr>
          <p:spPr bwMode="auto">
            <a:xfrm>
              <a:off x="6624" y="11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371"/>
            <p:cNvSpPr>
              <a:spLocks noEditPoints="1"/>
            </p:cNvSpPr>
            <p:nvPr/>
          </p:nvSpPr>
          <p:spPr bwMode="auto">
            <a:xfrm>
              <a:off x="6687" y="1292"/>
              <a:ext cx="215" cy="164"/>
            </a:xfrm>
            <a:custGeom>
              <a:avLst/>
              <a:gdLst>
                <a:gd name="T0" fmla="*/ 113 w 323"/>
                <a:gd name="T1" fmla="*/ 247 h 247"/>
                <a:gd name="T2" fmla="*/ 98 w 323"/>
                <a:gd name="T3" fmla="*/ 242 h 247"/>
                <a:gd name="T4" fmla="*/ 86 w 323"/>
                <a:gd name="T5" fmla="*/ 214 h 247"/>
                <a:gd name="T6" fmla="*/ 76 w 323"/>
                <a:gd name="T7" fmla="*/ 120 h 247"/>
                <a:gd name="T8" fmla="*/ 76 w 323"/>
                <a:gd name="T9" fmla="*/ 120 h 247"/>
                <a:gd name="T10" fmla="*/ 55 w 323"/>
                <a:gd name="T11" fmla="*/ 107 h 247"/>
                <a:gd name="T12" fmla="*/ 33 w 323"/>
                <a:gd name="T13" fmla="*/ 107 h 247"/>
                <a:gd name="T14" fmla="*/ 24 w 323"/>
                <a:gd name="T15" fmla="*/ 103 h 247"/>
                <a:gd name="T16" fmla="*/ 3 w 323"/>
                <a:gd name="T17" fmla="*/ 71 h 247"/>
                <a:gd name="T18" fmla="*/ 2 w 323"/>
                <a:gd name="T19" fmla="*/ 61 h 247"/>
                <a:gd name="T20" fmla="*/ 8 w 323"/>
                <a:gd name="T21" fmla="*/ 55 h 247"/>
                <a:gd name="T22" fmla="*/ 67 w 323"/>
                <a:gd name="T23" fmla="*/ 35 h 247"/>
                <a:gd name="T24" fmla="*/ 76 w 323"/>
                <a:gd name="T25" fmla="*/ 8 h 247"/>
                <a:gd name="T26" fmla="*/ 85 w 323"/>
                <a:gd name="T27" fmla="*/ 1 h 247"/>
                <a:gd name="T28" fmla="*/ 95 w 323"/>
                <a:gd name="T29" fmla="*/ 5 h 247"/>
                <a:gd name="T30" fmla="*/ 145 w 323"/>
                <a:gd name="T31" fmla="*/ 75 h 247"/>
                <a:gd name="T32" fmla="*/ 243 w 323"/>
                <a:gd name="T33" fmla="*/ 75 h 247"/>
                <a:gd name="T34" fmla="*/ 278 w 323"/>
                <a:gd name="T35" fmla="*/ 33 h 247"/>
                <a:gd name="T36" fmla="*/ 286 w 323"/>
                <a:gd name="T37" fmla="*/ 22 h 247"/>
                <a:gd name="T38" fmla="*/ 298 w 323"/>
                <a:gd name="T39" fmla="*/ 28 h 247"/>
                <a:gd name="T40" fmla="*/ 289 w 323"/>
                <a:gd name="T41" fmla="*/ 121 h 247"/>
                <a:gd name="T42" fmla="*/ 300 w 323"/>
                <a:gd name="T43" fmla="*/ 213 h 247"/>
                <a:gd name="T44" fmla="*/ 291 w 323"/>
                <a:gd name="T45" fmla="*/ 237 h 247"/>
                <a:gd name="T46" fmla="*/ 268 w 323"/>
                <a:gd name="T47" fmla="*/ 246 h 247"/>
                <a:gd name="T48" fmla="*/ 258 w 323"/>
                <a:gd name="T49" fmla="*/ 240 h 247"/>
                <a:gd name="T50" fmla="*/ 230 w 323"/>
                <a:gd name="T51" fmla="*/ 173 h 247"/>
                <a:gd name="T52" fmla="*/ 147 w 323"/>
                <a:gd name="T53" fmla="*/ 173 h 247"/>
                <a:gd name="T54" fmla="*/ 129 w 323"/>
                <a:gd name="T55" fmla="*/ 238 h 247"/>
                <a:gd name="T56" fmla="*/ 122 w 323"/>
                <a:gd name="T57" fmla="*/ 245 h 247"/>
                <a:gd name="T58" fmla="*/ 113 w 323"/>
                <a:gd name="T59" fmla="*/ 247 h 247"/>
                <a:gd name="T60" fmla="*/ 99 w 323"/>
                <a:gd name="T61" fmla="*/ 128 h 247"/>
                <a:gd name="T62" fmla="*/ 108 w 323"/>
                <a:gd name="T63" fmla="*/ 214 h 247"/>
                <a:gd name="T64" fmla="*/ 110 w 323"/>
                <a:gd name="T65" fmla="*/ 225 h 247"/>
                <a:gd name="T66" fmla="*/ 129 w 323"/>
                <a:gd name="T67" fmla="*/ 158 h 247"/>
                <a:gd name="T68" fmla="*/ 142 w 323"/>
                <a:gd name="T69" fmla="*/ 150 h 247"/>
                <a:gd name="T70" fmla="*/ 232 w 323"/>
                <a:gd name="T71" fmla="*/ 151 h 247"/>
                <a:gd name="T72" fmla="*/ 245 w 323"/>
                <a:gd name="T73" fmla="*/ 156 h 247"/>
                <a:gd name="T74" fmla="*/ 274 w 323"/>
                <a:gd name="T75" fmla="*/ 223 h 247"/>
                <a:gd name="T76" fmla="*/ 275 w 323"/>
                <a:gd name="T77" fmla="*/ 222 h 247"/>
                <a:gd name="T78" fmla="*/ 278 w 323"/>
                <a:gd name="T79" fmla="*/ 214 h 247"/>
                <a:gd name="T80" fmla="*/ 268 w 323"/>
                <a:gd name="T81" fmla="*/ 119 h 247"/>
                <a:gd name="T82" fmla="*/ 270 w 323"/>
                <a:gd name="T83" fmla="*/ 111 h 247"/>
                <a:gd name="T84" fmla="*/ 286 w 323"/>
                <a:gd name="T85" fmla="*/ 67 h 247"/>
                <a:gd name="T86" fmla="*/ 251 w 323"/>
                <a:gd name="T87" fmla="*/ 95 h 247"/>
                <a:gd name="T88" fmla="*/ 246 w 323"/>
                <a:gd name="T89" fmla="*/ 97 h 247"/>
                <a:gd name="T90" fmla="*/ 146 w 323"/>
                <a:gd name="T91" fmla="*/ 97 h 247"/>
                <a:gd name="T92" fmla="*/ 99 w 323"/>
                <a:gd name="T93" fmla="*/ 128 h 247"/>
                <a:gd name="T94" fmla="*/ 56 w 323"/>
                <a:gd name="T95" fmla="*/ 86 h 247"/>
                <a:gd name="T96" fmla="*/ 93 w 323"/>
                <a:gd name="T97" fmla="*/ 107 h 247"/>
                <a:gd name="T98" fmla="*/ 127 w 323"/>
                <a:gd name="T99" fmla="*/ 86 h 247"/>
                <a:gd name="T100" fmla="*/ 90 w 323"/>
                <a:gd name="T101" fmla="*/ 35 h 247"/>
                <a:gd name="T102" fmla="*/ 86 w 323"/>
                <a:gd name="T103" fmla="*/ 47 h 247"/>
                <a:gd name="T104" fmla="*/ 79 w 323"/>
                <a:gd name="T105" fmla="*/ 53 h 247"/>
                <a:gd name="T106" fmla="*/ 28 w 323"/>
                <a:gd name="T107" fmla="*/ 70 h 247"/>
                <a:gd name="T108" fmla="*/ 39 w 323"/>
                <a:gd name="T109" fmla="*/ 86 h 247"/>
                <a:gd name="T110" fmla="*/ 54 w 323"/>
                <a:gd name="T111" fmla="*/ 86 h 247"/>
                <a:gd name="T112" fmla="*/ 56 w 323"/>
                <a:gd name="T113" fmla="*/ 8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 h="247">
                  <a:moveTo>
                    <a:pt x="113" y="247"/>
                  </a:moveTo>
                  <a:cubicBezTo>
                    <a:pt x="108" y="247"/>
                    <a:pt x="103" y="246"/>
                    <a:pt x="98" y="242"/>
                  </a:cubicBezTo>
                  <a:cubicBezTo>
                    <a:pt x="90" y="237"/>
                    <a:pt x="86" y="227"/>
                    <a:pt x="86" y="214"/>
                  </a:cubicBezTo>
                  <a:cubicBezTo>
                    <a:pt x="86" y="187"/>
                    <a:pt x="76" y="124"/>
                    <a:pt x="76" y="120"/>
                  </a:cubicBezTo>
                  <a:cubicBezTo>
                    <a:pt x="76" y="120"/>
                    <a:pt x="76" y="120"/>
                    <a:pt x="76" y="120"/>
                  </a:cubicBezTo>
                  <a:cubicBezTo>
                    <a:pt x="75" y="118"/>
                    <a:pt x="72" y="107"/>
                    <a:pt x="55" y="107"/>
                  </a:cubicBezTo>
                  <a:cubicBezTo>
                    <a:pt x="33" y="107"/>
                    <a:pt x="33" y="107"/>
                    <a:pt x="33" y="107"/>
                  </a:cubicBezTo>
                  <a:cubicBezTo>
                    <a:pt x="29" y="107"/>
                    <a:pt x="26" y="106"/>
                    <a:pt x="24" y="103"/>
                  </a:cubicBezTo>
                  <a:cubicBezTo>
                    <a:pt x="3" y="71"/>
                    <a:pt x="3" y="71"/>
                    <a:pt x="3" y="71"/>
                  </a:cubicBezTo>
                  <a:cubicBezTo>
                    <a:pt x="1" y="68"/>
                    <a:pt x="0" y="64"/>
                    <a:pt x="2" y="61"/>
                  </a:cubicBezTo>
                  <a:cubicBezTo>
                    <a:pt x="3" y="58"/>
                    <a:pt x="5" y="56"/>
                    <a:pt x="8" y="55"/>
                  </a:cubicBezTo>
                  <a:cubicBezTo>
                    <a:pt x="67" y="35"/>
                    <a:pt x="67" y="35"/>
                    <a:pt x="67" y="35"/>
                  </a:cubicBezTo>
                  <a:cubicBezTo>
                    <a:pt x="76" y="8"/>
                    <a:pt x="76" y="8"/>
                    <a:pt x="76" y="8"/>
                  </a:cubicBezTo>
                  <a:cubicBezTo>
                    <a:pt x="77" y="4"/>
                    <a:pt x="81" y="1"/>
                    <a:pt x="85" y="1"/>
                  </a:cubicBezTo>
                  <a:cubicBezTo>
                    <a:pt x="89" y="0"/>
                    <a:pt x="93" y="2"/>
                    <a:pt x="95" y="5"/>
                  </a:cubicBezTo>
                  <a:cubicBezTo>
                    <a:pt x="145" y="75"/>
                    <a:pt x="145" y="75"/>
                    <a:pt x="145" y="75"/>
                  </a:cubicBezTo>
                  <a:cubicBezTo>
                    <a:pt x="243" y="75"/>
                    <a:pt x="243" y="75"/>
                    <a:pt x="243" y="75"/>
                  </a:cubicBezTo>
                  <a:cubicBezTo>
                    <a:pt x="255" y="68"/>
                    <a:pt x="278" y="51"/>
                    <a:pt x="278" y="33"/>
                  </a:cubicBezTo>
                  <a:cubicBezTo>
                    <a:pt x="278" y="28"/>
                    <a:pt x="282" y="24"/>
                    <a:pt x="286" y="22"/>
                  </a:cubicBezTo>
                  <a:cubicBezTo>
                    <a:pt x="291" y="21"/>
                    <a:pt x="296" y="23"/>
                    <a:pt x="298" y="28"/>
                  </a:cubicBezTo>
                  <a:cubicBezTo>
                    <a:pt x="299" y="30"/>
                    <a:pt x="323" y="74"/>
                    <a:pt x="289" y="121"/>
                  </a:cubicBezTo>
                  <a:cubicBezTo>
                    <a:pt x="300" y="213"/>
                    <a:pt x="300" y="213"/>
                    <a:pt x="300" y="213"/>
                  </a:cubicBezTo>
                  <a:cubicBezTo>
                    <a:pt x="300" y="215"/>
                    <a:pt x="300" y="228"/>
                    <a:pt x="291" y="237"/>
                  </a:cubicBezTo>
                  <a:cubicBezTo>
                    <a:pt x="287" y="241"/>
                    <a:pt x="280" y="246"/>
                    <a:pt x="268" y="246"/>
                  </a:cubicBezTo>
                  <a:cubicBezTo>
                    <a:pt x="263" y="246"/>
                    <a:pt x="260" y="243"/>
                    <a:pt x="258" y="240"/>
                  </a:cubicBezTo>
                  <a:cubicBezTo>
                    <a:pt x="230" y="173"/>
                    <a:pt x="230" y="173"/>
                    <a:pt x="230" y="173"/>
                  </a:cubicBezTo>
                  <a:cubicBezTo>
                    <a:pt x="215" y="177"/>
                    <a:pt x="184" y="181"/>
                    <a:pt x="147" y="173"/>
                  </a:cubicBezTo>
                  <a:cubicBezTo>
                    <a:pt x="129" y="238"/>
                    <a:pt x="129" y="238"/>
                    <a:pt x="129" y="238"/>
                  </a:cubicBezTo>
                  <a:cubicBezTo>
                    <a:pt x="128" y="242"/>
                    <a:pt x="125" y="244"/>
                    <a:pt x="122" y="245"/>
                  </a:cubicBezTo>
                  <a:cubicBezTo>
                    <a:pt x="121" y="246"/>
                    <a:pt x="117" y="247"/>
                    <a:pt x="113" y="247"/>
                  </a:cubicBezTo>
                  <a:close/>
                  <a:moveTo>
                    <a:pt x="99" y="128"/>
                  </a:moveTo>
                  <a:cubicBezTo>
                    <a:pt x="102" y="149"/>
                    <a:pt x="108" y="192"/>
                    <a:pt x="108" y="214"/>
                  </a:cubicBezTo>
                  <a:cubicBezTo>
                    <a:pt x="108" y="220"/>
                    <a:pt x="109" y="224"/>
                    <a:pt x="110" y="225"/>
                  </a:cubicBezTo>
                  <a:cubicBezTo>
                    <a:pt x="129" y="158"/>
                    <a:pt x="129" y="158"/>
                    <a:pt x="129" y="158"/>
                  </a:cubicBezTo>
                  <a:cubicBezTo>
                    <a:pt x="131" y="152"/>
                    <a:pt x="137" y="149"/>
                    <a:pt x="142" y="150"/>
                  </a:cubicBezTo>
                  <a:cubicBezTo>
                    <a:pt x="192" y="164"/>
                    <a:pt x="232" y="151"/>
                    <a:pt x="232" y="151"/>
                  </a:cubicBezTo>
                  <a:cubicBezTo>
                    <a:pt x="237" y="149"/>
                    <a:pt x="243" y="151"/>
                    <a:pt x="245" y="156"/>
                  </a:cubicBezTo>
                  <a:cubicBezTo>
                    <a:pt x="274" y="223"/>
                    <a:pt x="274" y="223"/>
                    <a:pt x="274" y="223"/>
                  </a:cubicBezTo>
                  <a:cubicBezTo>
                    <a:pt x="275" y="223"/>
                    <a:pt x="275" y="222"/>
                    <a:pt x="275" y="222"/>
                  </a:cubicBezTo>
                  <a:cubicBezTo>
                    <a:pt x="278" y="220"/>
                    <a:pt x="278" y="216"/>
                    <a:pt x="278" y="214"/>
                  </a:cubicBezTo>
                  <a:cubicBezTo>
                    <a:pt x="268" y="119"/>
                    <a:pt x="268" y="119"/>
                    <a:pt x="268" y="119"/>
                  </a:cubicBezTo>
                  <a:cubicBezTo>
                    <a:pt x="267" y="116"/>
                    <a:pt x="268" y="114"/>
                    <a:pt x="270" y="111"/>
                  </a:cubicBezTo>
                  <a:cubicBezTo>
                    <a:pt x="282" y="96"/>
                    <a:pt x="286" y="80"/>
                    <a:pt x="286" y="67"/>
                  </a:cubicBezTo>
                  <a:cubicBezTo>
                    <a:pt x="273" y="83"/>
                    <a:pt x="255" y="94"/>
                    <a:pt x="251" y="95"/>
                  </a:cubicBezTo>
                  <a:cubicBezTo>
                    <a:pt x="250" y="96"/>
                    <a:pt x="248" y="97"/>
                    <a:pt x="246" y="97"/>
                  </a:cubicBezTo>
                  <a:cubicBezTo>
                    <a:pt x="146" y="97"/>
                    <a:pt x="146" y="97"/>
                    <a:pt x="146" y="97"/>
                  </a:cubicBezTo>
                  <a:cubicBezTo>
                    <a:pt x="139" y="106"/>
                    <a:pt x="124" y="124"/>
                    <a:pt x="99" y="128"/>
                  </a:cubicBezTo>
                  <a:close/>
                  <a:moveTo>
                    <a:pt x="56" y="86"/>
                  </a:moveTo>
                  <a:cubicBezTo>
                    <a:pt x="77" y="86"/>
                    <a:pt x="88" y="97"/>
                    <a:pt x="93" y="107"/>
                  </a:cubicBezTo>
                  <a:cubicBezTo>
                    <a:pt x="111" y="105"/>
                    <a:pt x="122" y="93"/>
                    <a:pt x="127" y="86"/>
                  </a:cubicBezTo>
                  <a:cubicBezTo>
                    <a:pt x="90" y="35"/>
                    <a:pt x="90" y="35"/>
                    <a:pt x="90" y="35"/>
                  </a:cubicBezTo>
                  <a:cubicBezTo>
                    <a:pt x="86" y="47"/>
                    <a:pt x="86" y="47"/>
                    <a:pt x="86" y="47"/>
                  </a:cubicBezTo>
                  <a:cubicBezTo>
                    <a:pt x="85" y="50"/>
                    <a:pt x="82" y="52"/>
                    <a:pt x="79" y="53"/>
                  </a:cubicBezTo>
                  <a:cubicBezTo>
                    <a:pt x="28" y="70"/>
                    <a:pt x="28" y="70"/>
                    <a:pt x="28" y="70"/>
                  </a:cubicBezTo>
                  <a:cubicBezTo>
                    <a:pt x="39" y="86"/>
                    <a:pt x="39" y="86"/>
                    <a:pt x="39" y="86"/>
                  </a:cubicBezTo>
                  <a:cubicBezTo>
                    <a:pt x="54" y="86"/>
                    <a:pt x="54" y="86"/>
                    <a:pt x="54" y="86"/>
                  </a:cubicBezTo>
                  <a:cubicBezTo>
                    <a:pt x="55" y="86"/>
                    <a:pt x="55" y="86"/>
                    <a:pt x="56"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Freeform 131"/>
          <p:cNvSpPr>
            <a:spLocks noChangeAspect="1" noEditPoints="1"/>
          </p:cNvSpPr>
          <p:nvPr/>
        </p:nvSpPr>
        <p:spPr bwMode="auto">
          <a:xfrm>
            <a:off x="2926954" y="2528098"/>
            <a:ext cx="369021" cy="369021"/>
          </a:xfrm>
          <a:custGeom>
            <a:avLst/>
            <a:gdLst>
              <a:gd name="T0" fmla="*/ 224 w 512"/>
              <a:gd name="T1" fmla="*/ 394 h 512"/>
              <a:gd name="T2" fmla="*/ 181 w 512"/>
              <a:gd name="T3" fmla="*/ 278 h 512"/>
              <a:gd name="T4" fmla="*/ 224 w 512"/>
              <a:gd name="T5" fmla="*/ 312 h 512"/>
              <a:gd name="T6" fmla="*/ 256 w 512"/>
              <a:gd name="T7" fmla="*/ 309 h 512"/>
              <a:gd name="T8" fmla="*/ 330 w 512"/>
              <a:gd name="T9" fmla="*/ 394 h 512"/>
              <a:gd name="T10" fmla="*/ 245 w 512"/>
              <a:gd name="T11" fmla="*/ 308 h 512"/>
              <a:gd name="T12" fmla="*/ 288 w 512"/>
              <a:gd name="T13" fmla="*/ 352 h 512"/>
              <a:gd name="T14" fmla="*/ 309 w 512"/>
              <a:gd name="T15" fmla="*/ 352 h 512"/>
              <a:gd name="T16" fmla="*/ 298 w 512"/>
              <a:gd name="T17" fmla="*/ 320 h 512"/>
              <a:gd name="T18" fmla="*/ 288 w 512"/>
              <a:gd name="T19" fmla="*/ 352 h 512"/>
              <a:gd name="T20" fmla="*/ 183 w 512"/>
              <a:gd name="T21" fmla="*/ 124 h 512"/>
              <a:gd name="T22" fmla="*/ 171 w 512"/>
              <a:gd name="T23" fmla="*/ 138 h 512"/>
              <a:gd name="T24" fmla="*/ 304 w 512"/>
              <a:gd name="T25" fmla="*/ 144 h 512"/>
              <a:gd name="T26" fmla="*/ 256 w 512"/>
              <a:gd name="T27" fmla="*/ 117 h 512"/>
              <a:gd name="T28" fmla="*/ 208 w 512"/>
              <a:gd name="T29" fmla="*/ 144 h 512"/>
              <a:gd name="T30" fmla="*/ 341 w 512"/>
              <a:gd name="T31" fmla="*/ 138 h 512"/>
              <a:gd name="T32" fmla="*/ 346 w 512"/>
              <a:gd name="T33" fmla="*/ 120 h 512"/>
              <a:gd name="T34" fmla="*/ 341 w 512"/>
              <a:gd name="T35" fmla="*/ 138 h 512"/>
              <a:gd name="T36" fmla="*/ 256 w 512"/>
              <a:gd name="T37" fmla="*/ 288 h 512"/>
              <a:gd name="T38" fmla="*/ 208 w 512"/>
              <a:gd name="T39" fmla="*/ 165 h 512"/>
              <a:gd name="T40" fmla="*/ 236 w 512"/>
              <a:gd name="T41" fmla="*/ 227 h 512"/>
              <a:gd name="T42" fmla="*/ 236 w 512"/>
              <a:gd name="T43" fmla="*/ 246 h 512"/>
              <a:gd name="T44" fmla="*/ 256 w 512"/>
              <a:gd name="T45" fmla="*/ 261 h 512"/>
              <a:gd name="T46" fmla="*/ 275 w 512"/>
              <a:gd name="T47" fmla="*/ 246 h 512"/>
              <a:gd name="T48" fmla="*/ 276 w 512"/>
              <a:gd name="T49" fmla="*/ 227 h 512"/>
              <a:gd name="T50" fmla="*/ 304 w 512"/>
              <a:gd name="T51" fmla="*/ 165 h 512"/>
              <a:gd name="T52" fmla="*/ 224 w 512"/>
              <a:gd name="T53" fmla="*/ 208 h 512"/>
              <a:gd name="T54" fmla="*/ 191 w 512"/>
              <a:gd name="T55" fmla="*/ 208 h 512"/>
              <a:gd name="T56" fmla="*/ 224 w 512"/>
              <a:gd name="T57" fmla="*/ 208 h 512"/>
              <a:gd name="T58" fmla="*/ 304 w 512"/>
              <a:gd name="T59" fmla="*/ 192 h 512"/>
              <a:gd name="T60" fmla="*/ 304 w 512"/>
              <a:gd name="T61" fmla="*/ 225 h 512"/>
              <a:gd name="T62" fmla="*/ 512 w 512"/>
              <a:gd name="T63" fmla="*/ 256 h 512"/>
              <a:gd name="T64" fmla="*/ 0 w 512"/>
              <a:gd name="T65" fmla="*/ 256 h 512"/>
              <a:gd name="T66" fmla="*/ 512 w 512"/>
              <a:gd name="T67" fmla="*/ 256 h 512"/>
              <a:gd name="T68" fmla="*/ 360 w 512"/>
              <a:gd name="T69" fmla="*/ 96 h 512"/>
              <a:gd name="T70" fmla="*/ 304 w 512"/>
              <a:gd name="T71" fmla="*/ 108 h 512"/>
              <a:gd name="T72" fmla="*/ 207 w 512"/>
              <a:gd name="T73" fmla="*/ 108 h 512"/>
              <a:gd name="T74" fmla="*/ 151 w 512"/>
              <a:gd name="T75" fmla="*/ 96 h 512"/>
              <a:gd name="T76" fmla="*/ 139 w 512"/>
              <a:gd name="T77" fmla="*/ 109 h 512"/>
              <a:gd name="T78" fmla="*/ 149 w 512"/>
              <a:gd name="T79" fmla="*/ 202 h 512"/>
              <a:gd name="T80" fmla="*/ 160 w 512"/>
              <a:gd name="T81" fmla="*/ 352 h 512"/>
              <a:gd name="T82" fmla="*/ 341 w 512"/>
              <a:gd name="T83" fmla="*/ 416 h 512"/>
              <a:gd name="T84" fmla="*/ 352 w 512"/>
              <a:gd name="T85" fmla="*/ 249 h 512"/>
              <a:gd name="T86" fmla="*/ 355 w 512"/>
              <a:gd name="T87" fmla="*/ 163 h 512"/>
              <a:gd name="T88" fmla="*/ 373 w 512"/>
              <a:gd name="T89" fmla="*/ 1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64" y="394"/>
                </a:moveTo>
                <a:cubicBezTo>
                  <a:pt x="224" y="394"/>
                  <a:pt x="224" y="394"/>
                  <a:pt x="224" y="394"/>
                </a:cubicBezTo>
                <a:cubicBezTo>
                  <a:pt x="200" y="394"/>
                  <a:pt x="181" y="375"/>
                  <a:pt x="181" y="352"/>
                </a:cubicBezTo>
                <a:cubicBezTo>
                  <a:pt x="181" y="278"/>
                  <a:pt x="181" y="278"/>
                  <a:pt x="181" y="278"/>
                </a:cubicBezTo>
                <a:cubicBezTo>
                  <a:pt x="193" y="290"/>
                  <a:pt x="207" y="299"/>
                  <a:pt x="224" y="304"/>
                </a:cubicBezTo>
                <a:cubicBezTo>
                  <a:pt x="224" y="312"/>
                  <a:pt x="224" y="312"/>
                  <a:pt x="224" y="312"/>
                </a:cubicBezTo>
                <a:cubicBezTo>
                  <a:pt x="224" y="347"/>
                  <a:pt x="239" y="376"/>
                  <a:pt x="264" y="394"/>
                </a:cubicBezTo>
                <a:close/>
                <a:moveTo>
                  <a:pt x="256" y="309"/>
                </a:moveTo>
                <a:cubicBezTo>
                  <a:pt x="285" y="309"/>
                  <a:pt x="311" y="297"/>
                  <a:pt x="330" y="278"/>
                </a:cubicBezTo>
                <a:cubicBezTo>
                  <a:pt x="330" y="394"/>
                  <a:pt x="330" y="394"/>
                  <a:pt x="330" y="394"/>
                </a:cubicBezTo>
                <a:cubicBezTo>
                  <a:pt x="279" y="393"/>
                  <a:pt x="245" y="360"/>
                  <a:pt x="245" y="312"/>
                </a:cubicBezTo>
                <a:cubicBezTo>
                  <a:pt x="245" y="308"/>
                  <a:pt x="245" y="308"/>
                  <a:pt x="245" y="308"/>
                </a:cubicBezTo>
                <a:cubicBezTo>
                  <a:pt x="249" y="309"/>
                  <a:pt x="252" y="309"/>
                  <a:pt x="256" y="309"/>
                </a:cubicBezTo>
                <a:close/>
                <a:moveTo>
                  <a:pt x="288" y="352"/>
                </a:moveTo>
                <a:cubicBezTo>
                  <a:pt x="288" y="358"/>
                  <a:pt x="292" y="362"/>
                  <a:pt x="298" y="362"/>
                </a:cubicBezTo>
                <a:cubicBezTo>
                  <a:pt x="304" y="362"/>
                  <a:pt x="309" y="358"/>
                  <a:pt x="309" y="352"/>
                </a:cubicBezTo>
                <a:cubicBezTo>
                  <a:pt x="309" y="330"/>
                  <a:pt x="309" y="330"/>
                  <a:pt x="309" y="330"/>
                </a:cubicBezTo>
                <a:cubicBezTo>
                  <a:pt x="309" y="324"/>
                  <a:pt x="304" y="320"/>
                  <a:pt x="298" y="320"/>
                </a:cubicBezTo>
                <a:cubicBezTo>
                  <a:pt x="292" y="320"/>
                  <a:pt x="288" y="324"/>
                  <a:pt x="288" y="330"/>
                </a:cubicBezTo>
                <a:lnTo>
                  <a:pt x="288" y="352"/>
                </a:lnTo>
                <a:close/>
                <a:moveTo>
                  <a:pt x="171" y="138"/>
                </a:moveTo>
                <a:cubicBezTo>
                  <a:pt x="175" y="133"/>
                  <a:pt x="179" y="128"/>
                  <a:pt x="183" y="124"/>
                </a:cubicBezTo>
                <a:cubicBezTo>
                  <a:pt x="165" y="120"/>
                  <a:pt x="165" y="120"/>
                  <a:pt x="165" y="120"/>
                </a:cubicBezTo>
                <a:cubicBezTo>
                  <a:pt x="171" y="138"/>
                  <a:pt x="171" y="138"/>
                  <a:pt x="171" y="138"/>
                </a:cubicBezTo>
                <a:close/>
                <a:moveTo>
                  <a:pt x="256" y="169"/>
                </a:moveTo>
                <a:cubicBezTo>
                  <a:pt x="266" y="154"/>
                  <a:pt x="284" y="144"/>
                  <a:pt x="304" y="144"/>
                </a:cubicBezTo>
                <a:cubicBezTo>
                  <a:pt x="309" y="144"/>
                  <a:pt x="314" y="144"/>
                  <a:pt x="320" y="146"/>
                </a:cubicBezTo>
                <a:cubicBezTo>
                  <a:pt x="304" y="128"/>
                  <a:pt x="281" y="117"/>
                  <a:pt x="256" y="117"/>
                </a:cubicBezTo>
                <a:cubicBezTo>
                  <a:pt x="230" y="117"/>
                  <a:pt x="207" y="128"/>
                  <a:pt x="192" y="146"/>
                </a:cubicBezTo>
                <a:cubicBezTo>
                  <a:pt x="197" y="144"/>
                  <a:pt x="202" y="144"/>
                  <a:pt x="208" y="144"/>
                </a:cubicBezTo>
                <a:cubicBezTo>
                  <a:pt x="228" y="144"/>
                  <a:pt x="245" y="154"/>
                  <a:pt x="256" y="169"/>
                </a:cubicBezTo>
                <a:close/>
                <a:moveTo>
                  <a:pt x="341" y="138"/>
                </a:moveTo>
                <a:cubicBezTo>
                  <a:pt x="341" y="138"/>
                  <a:pt x="341" y="138"/>
                  <a:pt x="341" y="138"/>
                </a:cubicBezTo>
                <a:cubicBezTo>
                  <a:pt x="346" y="120"/>
                  <a:pt x="346" y="120"/>
                  <a:pt x="346" y="120"/>
                </a:cubicBezTo>
                <a:cubicBezTo>
                  <a:pt x="328" y="124"/>
                  <a:pt x="328" y="124"/>
                  <a:pt x="328" y="124"/>
                </a:cubicBezTo>
                <a:cubicBezTo>
                  <a:pt x="333" y="128"/>
                  <a:pt x="337" y="133"/>
                  <a:pt x="341" y="138"/>
                </a:cubicBezTo>
                <a:close/>
                <a:moveTo>
                  <a:pt x="341" y="202"/>
                </a:moveTo>
                <a:cubicBezTo>
                  <a:pt x="341" y="249"/>
                  <a:pt x="303" y="288"/>
                  <a:pt x="256" y="288"/>
                </a:cubicBezTo>
                <a:cubicBezTo>
                  <a:pt x="209" y="288"/>
                  <a:pt x="170" y="249"/>
                  <a:pt x="170" y="202"/>
                </a:cubicBezTo>
                <a:cubicBezTo>
                  <a:pt x="170" y="182"/>
                  <a:pt x="187" y="165"/>
                  <a:pt x="208" y="165"/>
                </a:cubicBezTo>
                <a:cubicBezTo>
                  <a:pt x="228" y="165"/>
                  <a:pt x="245" y="182"/>
                  <a:pt x="245" y="202"/>
                </a:cubicBezTo>
                <a:cubicBezTo>
                  <a:pt x="245" y="211"/>
                  <a:pt x="242" y="220"/>
                  <a:pt x="236" y="227"/>
                </a:cubicBezTo>
                <a:cubicBezTo>
                  <a:pt x="233" y="230"/>
                  <a:pt x="233" y="233"/>
                  <a:pt x="233" y="236"/>
                </a:cubicBezTo>
                <a:cubicBezTo>
                  <a:pt x="233" y="240"/>
                  <a:pt x="233" y="243"/>
                  <a:pt x="236" y="246"/>
                </a:cubicBezTo>
                <a:cubicBezTo>
                  <a:pt x="248" y="258"/>
                  <a:pt x="248" y="258"/>
                  <a:pt x="248" y="258"/>
                </a:cubicBezTo>
                <a:cubicBezTo>
                  <a:pt x="250" y="260"/>
                  <a:pt x="253" y="261"/>
                  <a:pt x="256" y="261"/>
                </a:cubicBezTo>
                <a:cubicBezTo>
                  <a:pt x="258" y="261"/>
                  <a:pt x="261" y="260"/>
                  <a:pt x="263" y="258"/>
                </a:cubicBezTo>
                <a:cubicBezTo>
                  <a:pt x="275" y="246"/>
                  <a:pt x="275" y="246"/>
                  <a:pt x="275" y="246"/>
                </a:cubicBezTo>
                <a:cubicBezTo>
                  <a:pt x="278" y="243"/>
                  <a:pt x="279" y="240"/>
                  <a:pt x="278" y="236"/>
                </a:cubicBezTo>
                <a:cubicBezTo>
                  <a:pt x="279" y="233"/>
                  <a:pt x="278" y="230"/>
                  <a:pt x="276" y="227"/>
                </a:cubicBezTo>
                <a:cubicBezTo>
                  <a:pt x="270" y="220"/>
                  <a:pt x="266" y="211"/>
                  <a:pt x="266" y="202"/>
                </a:cubicBezTo>
                <a:cubicBezTo>
                  <a:pt x="266" y="182"/>
                  <a:pt x="283" y="165"/>
                  <a:pt x="304" y="165"/>
                </a:cubicBezTo>
                <a:cubicBezTo>
                  <a:pt x="324" y="165"/>
                  <a:pt x="341" y="182"/>
                  <a:pt x="341" y="202"/>
                </a:cubicBezTo>
                <a:close/>
                <a:moveTo>
                  <a:pt x="224" y="208"/>
                </a:moveTo>
                <a:cubicBezTo>
                  <a:pt x="224" y="199"/>
                  <a:pt x="217" y="192"/>
                  <a:pt x="208" y="192"/>
                </a:cubicBezTo>
                <a:cubicBezTo>
                  <a:pt x="198" y="192"/>
                  <a:pt x="191" y="199"/>
                  <a:pt x="191" y="208"/>
                </a:cubicBezTo>
                <a:cubicBezTo>
                  <a:pt x="191" y="218"/>
                  <a:pt x="198" y="225"/>
                  <a:pt x="208" y="225"/>
                </a:cubicBezTo>
                <a:cubicBezTo>
                  <a:pt x="217" y="225"/>
                  <a:pt x="224" y="218"/>
                  <a:pt x="224" y="208"/>
                </a:cubicBezTo>
                <a:close/>
                <a:moveTo>
                  <a:pt x="320" y="208"/>
                </a:moveTo>
                <a:cubicBezTo>
                  <a:pt x="320" y="199"/>
                  <a:pt x="313" y="192"/>
                  <a:pt x="304" y="192"/>
                </a:cubicBezTo>
                <a:cubicBezTo>
                  <a:pt x="294" y="192"/>
                  <a:pt x="287" y="199"/>
                  <a:pt x="287" y="208"/>
                </a:cubicBezTo>
                <a:cubicBezTo>
                  <a:pt x="287" y="218"/>
                  <a:pt x="294" y="225"/>
                  <a:pt x="304" y="225"/>
                </a:cubicBezTo>
                <a:cubicBezTo>
                  <a:pt x="313" y="225"/>
                  <a:pt x="320" y="218"/>
                  <a:pt x="320" y="20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4"/>
                </a:moveTo>
                <a:cubicBezTo>
                  <a:pt x="372" y="98"/>
                  <a:pt x="366" y="95"/>
                  <a:pt x="360" y="96"/>
                </a:cubicBezTo>
                <a:cubicBezTo>
                  <a:pt x="307" y="107"/>
                  <a:pt x="307" y="107"/>
                  <a:pt x="307" y="107"/>
                </a:cubicBezTo>
                <a:cubicBezTo>
                  <a:pt x="306" y="107"/>
                  <a:pt x="305" y="107"/>
                  <a:pt x="304" y="108"/>
                </a:cubicBezTo>
                <a:cubicBezTo>
                  <a:pt x="290" y="100"/>
                  <a:pt x="273" y="96"/>
                  <a:pt x="256" y="96"/>
                </a:cubicBezTo>
                <a:cubicBezTo>
                  <a:pt x="238" y="96"/>
                  <a:pt x="222" y="100"/>
                  <a:pt x="207" y="108"/>
                </a:cubicBezTo>
                <a:cubicBezTo>
                  <a:pt x="206" y="107"/>
                  <a:pt x="205" y="107"/>
                  <a:pt x="204" y="107"/>
                </a:cubicBezTo>
                <a:cubicBezTo>
                  <a:pt x="151" y="96"/>
                  <a:pt x="151" y="96"/>
                  <a:pt x="151" y="96"/>
                </a:cubicBezTo>
                <a:cubicBezTo>
                  <a:pt x="145" y="95"/>
                  <a:pt x="140" y="98"/>
                  <a:pt x="139" y="104"/>
                </a:cubicBezTo>
                <a:cubicBezTo>
                  <a:pt x="138" y="106"/>
                  <a:pt x="138" y="107"/>
                  <a:pt x="139" y="109"/>
                </a:cubicBezTo>
                <a:cubicBezTo>
                  <a:pt x="157" y="163"/>
                  <a:pt x="157" y="163"/>
                  <a:pt x="157" y="163"/>
                </a:cubicBezTo>
                <a:cubicBezTo>
                  <a:pt x="152" y="175"/>
                  <a:pt x="149" y="188"/>
                  <a:pt x="149" y="202"/>
                </a:cubicBezTo>
                <a:cubicBezTo>
                  <a:pt x="149" y="219"/>
                  <a:pt x="153" y="235"/>
                  <a:pt x="160" y="249"/>
                </a:cubicBezTo>
                <a:cubicBezTo>
                  <a:pt x="160" y="352"/>
                  <a:pt x="160" y="352"/>
                  <a:pt x="160" y="352"/>
                </a:cubicBezTo>
                <a:cubicBezTo>
                  <a:pt x="160" y="387"/>
                  <a:pt x="188" y="416"/>
                  <a:pt x="224" y="416"/>
                </a:cubicBezTo>
                <a:cubicBezTo>
                  <a:pt x="341" y="416"/>
                  <a:pt x="341" y="416"/>
                  <a:pt x="341" y="416"/>
                </a:cubicBezTo>
                <a:cubicBezTo>
                  <a:pt x="347" y="416"/>
                  <a:pt x="352" y="411"/>
                  <a:pt x="352" y="405"/>
                </a:cubicBezTo>
                <a:cubicBezTo>
                  <a:pt x="352" y="249"/>
                  <a:pt x="352" y="249"/>
                  <a:pt x="352" y="249"/>
                </a:cubicBezTo>
                <a:cubicBezTo>
                  <a:pt x="358" y="235"/>
                  <a:pt x="362" y="219"/>
                  <a:pt x="362" y="202"/>
                </a:cubicBezTo>
                <a:cubicBezTo>
                  <a:pt x="362" y="188"/>
                  <a:pt x="360" y="175"/>
                  <a:pt x="355" y="163"/>
                </a:cubicBezTo>
                <a:cubicBezTo>
                  <a:pt x="372" y="109"/>
                  <a:pt x="372" y="109"/>
                  <a:pt x="372" y="109"/>
                </a:cubicBezTo>
                <a:cubicBezTo>
                  <a:pt x="373" y="108"/>
                  <a:pt x="373" y="106"/>
                  <a:pt x="373" y="10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9" name="Group 134"/>
          <p:cNvGrpSpPr>
            <a:grpSpLocks noChangeAspect="1"/>
          </p:cNvGrpSpPr>
          <p:nvPr/>
        </p:nvGrpSpPr>
        <p:grpSpPr bwMode="auto">
          <a:xfrm>
            <a:off x="3348022" y="2528098"/>
            <a:ext cx="369021" cy="369021"/>
            <a:chOff x="2696" y="379"/>
            <a:chExt cx="340" cy="340"/>
          </a:xfrm>
          <a:solidFill>
            <a:schemeClr val="accent2"/>
          </a:solidFill>
        </p:grpSpPr>
        <p:sp>
          <p:nvSpPr>
            <p:cNvPr id="340" name="Freeform 135"/>
            <p:cNvSpPr>
              <a:spLocks noEditPoints="1"/>
            </p:cNvSpPr>
            <p:nvPr/>
          </p:nvSpPr>
          <p:spPr bwMode="auto">
            <a:xfrm>
              <a:off x="2696" y="3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Freeform 136"/>
            <p:cNvSpPr>
              <a:spLocks noEditPoints="1"/>
            </p:cNvSpPr>
            <p:nvPr/>
          </p:nvSpPr>
          <p:spPr bwMode="auto">
            <a:xfrm>
              <a:off x="2788" y="442"/>
              <a:ext cx="156" cy="213"/>
            </a:xfrm>
            <a:custGeom>
              <a:avLst/>
              <a:gdLst>
                <a:gd name="T0" fmla="*/ 150 w 235"/>
                <a:gd name="T1" fmla="*/ 235 h 321"/>
                <a:gd name="T2" fmla="*/ 171 w 235"/>
                <a:gd name="T3" fmla="*/ 235 h 321"/>
                <a:gd name="T4" fmla="*/ 160 w 235"/>
                <a:gd name="T5" fmla="*/ 267 h 321"/>
                <a:gd name="T6" fmla="*/ 234 w 235"/>
                <a:gd name="T7" fmla="*/ 14 h 321"/>
                <a:gd name="T8" fmla="*/ 224 w 235"/>
                <a:gd name="T9" fmla="*/ 107 h 321"/>
                <a:gd name="T10" fmla="*/ 214 w 235"/>
                <a:gd name="T11" fmla="*/ 310 h 321"/>
                <a:gd name="T12" fmla="*/ 86 w 235"/>
                <a:gd name="T13" fmla="*/ 321 h 321"/>
                <a:gd name="T14" fmla="*/ 22 w 235"/>
                <a:gd name="T15" fmla="*/ 154 h 321"/>
                <a:gd name="T16" fmla="*/ 19 w 235"/>
                <a:gd name="T17" fmla="*/ 68 h 321"/>
                <a:gd name="T18" fmla="*/ 1 w 235"/>
                <a:gd name="T19" fmla="*/ 14 h 321"/>
                <a:gd name="T20" fmla="*/ 13 w 235"/>
                <a:gd name="T21" fmla="*/ 1 h 321"/>
                <a:gd name="T22" fmla="*/ 69 w 235"/>
                <a:gd name="T23" fmla="*/ 13 h 321"/>
                <a:gd name="T24" fmla="*/ 166 w 235"/>
                <a:gd name="T25" fmla="*/ 13 h 321"/>
                <a:gd name="T26" fmla="*/ 222 w 235"/>
                <a:gd name="T27" fmla="*/ 1 h 321"/>
                <a:gd name="T28" fmla="*/ 234 w 235"/>
                <a:gd name="T29" fmla="*/ 14 h 321"/>
                <a:gd name="T30" fmla="*/ 70 w 235"/>
                <a:gd name="T31" fmla="*/ 49 h 321"/>
                <a:gd name="T32" fmla="*/ 166 w 235"/>
                <a:gd name="T33" fmla="*/ 49 h 321"/>
                <a:gd name="T34" fmla="*/ 118 w 235"/>
                <a:gd name="T35" fmla="*/ 22 h 321"/>
                <a:gd name="T36" fmla="*/ 27 w 235"/>
                <a:gd name="T37" fmla="*/ 25 h 321"/>
                <a:gd name="T38" fmla="*/ 33 w 235"/>
                <a:gd name="T39" fmla="*/ 43 h 321"/>
                <a:gd name="T40" fmla="*/ 27 w 235"/>
                <a:gd name="T41" fmla="*/ 25 h 321"/>
                <a:gd name="T42" fmla="*/ 86 w 235"/>
                <a:gd name="T43" fmla="*/ 217 h 321"/>
                <a:gd name="T44" fmla="*/ 43 w 235"/>
                <a:gd name="T45" fmla="*/ 183 h 321"/>
                <a:gd name="T46" fmla="*/ 86 w 235"/>
                <a:gd name="T47" fmla="*/ 299 h 321"/>
                <a:gd name="T48" fmla="*/ 192 w 235"/>
                <a:gd name="T49" fmla="*/ 183 h 321"/>
                <a:gd name="T50" fmla="*/ 107 w 235"/>
                <a:gd name="T51" fmla="*/ 213 h 321"/>
                <a:gd name="T52" fmla="*/ 192 w 235"/>
                <a:gd name="T53" fmla="*/ 299 h 321"/>
                <a:gd name="T54" fmla="*/ 203 w 235"/>
                <a:gd name="T55" fmla="*/ 107 h 321"/>
                <a:gd name="T56" fmla="*/ 128 w 235"/>
                <a:gd name="T57" fmla="*/ 107 h 321"/>
                <a:gd name="T58" fmla="*/ 140 w 235"/>
                <a:gd name="T59" fmla="*/ 141 h 321"/>
                <a:gd name="T60" fmla="*/ 125 w 235"/>
                <a:gd name="T61" fmla="*/ 163 h 321"/>
                <a:gd name="T62" fmla="*/ 110 w 235"/>
                <a:gd name="T63" fmla="*/ 163 h 321"/>
                <a:gd name="T64" fmla="*/ 95 w 235"/>
                <a:gd name="T65" fmla="*/ 141 h 321"/>
                <a:gd name="T66" fmla="*/ 107 w 235"/>
                <a:gd name="T67" fmla="*/ 107 h 321"/>
                <a:gd name="T68" fmla="*/ 32 w 235"/>
                <a:gd name="T69" fmla="*/ 107 h 321"/>
                <a:gd name="T70" fmla="*/ 203 w 235"/>
                <a:gd name="T71" fmla="*/ 107 h 321"/>
                <a:gd name="T72" fmla="*/ 190 w 235"/>
                <a:gd name="T73" fmla="*/ 29 h 321"/>
                <a:gd name="T74" fmla="*/ 203 w 235"/>
                <a:gd name="T75" fmla="*/ 43 h 321"/>
                <a:gd name="T76" fmla="*/ 182 w 235"/>
                <a:gd name="T77" fmla="*/ 113 h 321"/>
                <a:gd name="T78" fmla="*/ 149 w 235"/>
                <a:gd name="T79" fmla="*/ 113 h 321"/>
                <a:gd name="T80" fmla="*/ 182 w 235"/>
                <a:gd name="T81" fmla="*/ 113 h 321"/>
                <a:gd name="T82" fmla="*/ 70 w 235"/>
                <a:gd name="T83" fmla="*/ 130 h 321"/>
                <a:gd name="T84" fmla="*/ 70 w 235"/>
                <a:gd name="T85" fmla="*/ 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21">
                  <a:moveTo>
                    <a:pt x="150" y="257"/>
                  </a:moveTo>
                  <a:cubicBezTo>
                    <a:pt x="150" y="235"/>
                    <a:pt x="150" y="235"/>
                    <a:pt x="150" y="235"/>
                  </a:cubicBezTo>
                  <a:cubicBezTo>
                    <a:pt x="150" y="229"/>
                    <a:pt x="154" y="225"/>
                    <a:pt x="160" y="225"/>
                  </a:cubicBezTo>
                  <a:cubicBezTo>
                    <a:pt x="166" y="225"/>
                    <a:pt x="171" y="229"/>
                    <a:pt x="171" y="235"/>
                  </a:cubicBezTo>
                  <a:cubicBezTo>
                    <a:pt x="171" y="257"/>
                    <a:pt x="171" y="257"/>
                    <a:pt x="171" y="257"/>
                  </a:cubicBezTo>
                  <a:cubicBezTo>
                    <a:pt x="171" y="263"/>
                    <a:pt x="166" y="267"/>
                    <a:pt x="160" y="267"/>
                  </a:cubicBezTo>
                  <a:cubicBezTo>
                    <a:pt x="154" y="267"/>
                    <a:pt x="150" y="263"/>
                    <a:pt x="150" y="257"/>
                  </a:cubicBezTo>
                  <a:close/>
                  <a:moveTo>
                    <a:pt x="234" y="14"/>
                  </a:moveTo>
                  <a:cubicBezTo>
                    <a:pt x="217" y="68"/>
                    <a:pt x="217" y="68"/>
                    <a:pt x="217" y="68"/>
                  </a:cubicBezTo>
                  <a:cubicBezTo>
                    <a:pt x="222" y="80"/>
                    <a:pt x="224" y="93"/>
                    <a:pt x="224" y="107"/>
                  </a:cubicBezTo>
                  <a:cubicBezTo>
                    <a:pt x="224" y="124"/>
                    <a:pt x="220" y="140"/>
                    <a:pt x="214" y="154"/>
                  </a:cubicBezTo>
                  <a:cubicBezTo>
                    <a:pt x="214" y="310"/>
                    <a:pt x="214" y="310"/>
                    <a:pt x="214" y="310"/>
                  </a:cubicBezTo>
                  <a:cubicBezTo>
                    <a:pt x="214" y="316"/>
                    <a:pt x="209" y="321"/>
                    <a:pt x="203" y="321"/>
                  </a:cubicBezTo>
                  <a:cubicBezTo>
                    <a:pt x="86" y="321"/>
                    <a:pt x="86" y="321"/>
                    <a:pt x="86" y="321"/>
                  </a:cubicBezTo>
                  <a:cubicBezTo>
                    <a:pt x="50" y="321"/>
                    <a:pt x="22" y="292"/>
                    <a:pt x="22" y="257"/>
                  </a:cubicBezTo>
                  <a:cubicBezTo>
                    <a:pt x="22" y="154"/>
                    <a:pt x="22" y="154"/>
                    <a:pt x="22" y="154"/>
                  </a:cubicBezTo>
                  <a:cubicBezTo>
                    <a:pt x="15" y="140"/>
                    <a:pt x="11" y="124"/>
                    <a:pt x="11" y="107"/>
                  </a:cubicBezTo>
                  <a:cubicBezTo>
                    <a:pt x="11" y="93"/>
                    <a:pt x="14" y="80"/>
                    <a:pt x="19" y="68"/>
                  </a:cubicBezTo>
                  <a:cubicBezTo>
                    <a:pt x="1" y="14"/>
                    <a:pt x="1" y="14"/>
                    <a:pt x="1" y="14"/>
                  </a:cubicBezTo>
                  <a:cubicBezTo>
                    <a:pt x="1" y="14"/>
                    <a:pt x="1" y="14"/>
                    <a:pt x="1" y="14"/>
                  </a:cubicBezTo>
                  <a:cubicBezTo>
                    <a:pt x="0" y="12"/>
                    <a:pt x="0" y="11"/>
                    <a:pt x="1" y="9"/>
                  </a:cubicBezTo>
                  <a:cubicBezTo>
                    <a:pt x="2" y="3"/>
                    <a:pt x="7" y="0"/>
                    <a:pt x="13" y="1"/>
                  </a:cubicBezTo>
                  <a:cubicBezTo>
                    <a:pt x="66" y="12"/>
                    <a:pt x="66" y="12"/>
                    <a:pt x="66" y="12"/>
                  </a:cubicBezTo>
                  <a:cubicBezTo>
                    <a:pt x="67" y="12"/>
                    <a:pt x="68" y="12"/>
                    <a:pt x="69" y="13"/>
                  </a:cubicBezTo>
                  <a:cubicBezTo>
                    <a:pt x="84" y="5"/>
                    <a:pt x="100" y="1"/>
                    <a:pt x="118" y="1"/>
                  </a:cubicBezTo>
                  <a:cubicBezTo>
                    <a:pt x="135" y="1"/>
                    <a:pt x="152" y="5"/>
                    <a:pt x="166" y="13"/>
                  </a:cubicBezTo>
                  <a:cubicBezTo>
                    <a:pt x="167" y="12"/>
                    <a:pt x="168" y="12"/>
                    <a:pt x="169" y="12"/>
                  </a:cubicBezTo>
                  <a:cubicBezTo>
                    <a:pt x="222" y="1"/>
                    <a:pt x="222" y="1"/>
                    <a:pt x="222" y="1"/>
                  </a:cubicBezTo>
                  <a:cubicBezTo>
                    <a:pt x="228" y="0"/>
                    <a:pt x="234" y="3"/>
                    <a:pt x="235" y="9"/>
                  </a:cubicBezTo>
                  <a:cubicBezTo>
                    <a:pt x="235" y="11"/>
                    <a:pt x="235" y="13"/>
                    <a:pt x="234" y="14"/>
                  </a:cubicBezTo>
                  <a:close/>
                  <a:moveTo>
                    <a:pt x="54" y="51"/>
                  </a:moveTo>
                  <a:cubicBezTo>
                    <a:pt x="59" y="49"/>
                    <a:pt x="64" y="49"/>
                    <a:pt x="70" y="49"/>
                  </a:cubicBezTo>
                  <a:cubicBezTo>
                    <a:pt x="90" y="49"/>
                    <a:pt x="107" y="59"/>
                    <a:pt x="118" y="74"/>
                  </a:cubicBezTo>
                  <a:cubicBezTo>
                    <a:pt x="128" y="59"/>
                    <a:pt x="146" y="49"/>
                    <a:pt x="166" y="49"/>
                  </a:cubicBezTo>
                  <a:cubicBezTo>
                    <a:pt x="171" y="49"/>
                    <a:pt x="176" y="49"/>
                    <a:pt x="182" y="51"/>
                  </a:cubicBezTo>
                  <a:cubicBezTo>
                    <a:pt x="166" y="33"/>
                    <a:pt x="143" y="22"/>
                    <a:pt x="118" y="22"/>
                  </a:cubicBezTo>
                  <a:cubicBezTo>
                    <a:pt x="92" y="22"/>
                    <a:pt x="69" y="33"/>
                    <a:pt x="54" y="51"/>
                  </a:cubicBezTo>
                  <a:close/>
                  <a:moveTo>
                    <a:pt x="27" y="25"/>
                  </a:moveTo>
                  <a:cubicBezTo>
                    <a:pt x="33" y="43"/>
                    <a:pt x="33" y="43"/>
                    <a:pt x="33" y="43"/>
                  </a:cubicBezTo>
                  <a:cubicBezTo>
                    <a:pt x="33" y="43"/>
                    <a:pt x="33" y="43"/>
                    <a:pt x="33" y="43"/>
                  </a:cubicBezTo>
                  <a:cubicBezTo>
                    <a:pt x="37" y="38"/>
                    <a:pt x="41" y="33"/>
                    <a:pt x="45" y="29"/>
                  </a:cubicBezTo>
                  <a:lnTo>
                    <a:pt x="27" y="25"/>
                  </a:lnTo>
                  <a:close/>
                  <a:moveTo>
                    <a:pt x="126" y="299"/>
                  </a:moveTo>
                  <a:cubicBezTo>
                    <a:pt x="101" y="281"/>
                    <a:pt x="86" y="252"/>
                    <a:pt x="86" y="217"/>
                  </a:cubicBezTo>
                  <a:cubicBezTo>
                    <a:pt x="86" y="209"/>
                    <a:pt x="86" y="209"/>
                    <a:pt x="86" y="209"/>
                  </a:cubicBezTo>
                  <a:cubicBezTo>
                    <a:pt x="69" y="204"/>
                    <a:pt x="55" y="195"/>
                    <a:pt x="43" y="183"/>
                  </a:cubicBezTo>
                  <a:cubicBezTo>
                    <a:pt x="43" y="257"/>
                    <a:pt x="43" y="257"/>
                    <a:pt x="43" y="257"/>
                  </a:cubicBezTo>
                  <a:cubicBezTo>
                    <a:pt x="43" y="280"/>
                    <a:pt x="62" y="299"/>
                    <a:pt x="86" y="299"/>
                  </a:cubicBezTo>
                  <a:lnTo>
                    <a:pt x="126" y="299"/>
                  </a:lnTo>
                  <a:close/>
                  <a:moveTo>
                    <a:pt x="192" y="183"/>
                  </a:moveTo>
                  <a:cubicBezTo>
                    <a:pt x="173" y="202"/>
                    <a:pt x="147" y="214"/>
                    <a:pt x="118" y="214"/>
                  </a:cubicBezTo>
                  <a:cubicBezTo>
                    <a:pt x="114" y="214"/>
                    <a:pt x="111" y="214"/>
                    <a:pt x="107" y="213"/>
                  </a:cubicBezTo>
                  <a:cubicBezTo>
                    <a:pt x="107" y="217"/>
                    <a:pt x="107" y="217"/>
                    <a:pt x="107" y="217"/>
                  </a:cubicBezTo>
                  <a:cubicBezTo>
                    <a:pt x="107" y="265"/>
                    <a:pt x="141" y="298"/>
                    <a:pt x="192" y="299"/>
                  </a:cubicBezTo>
                  <a:lnTo>
                    <a:pt x="192" y="183"/>
                  </a:lnTo>
                  <a:close/>
                  <a:moveTo>
                    <a:pt x="203" y="107"/>
                  </a:moveTo>
                  <a:cubicBezTo>
                    <a:pt x="203" y="87"/>
                    <a:pt x="186" y="70"/>
                    <a:pt x="166" y="70"/>
                  </a:cubicBezTo>
                  <a:cubicBezTo>
                    <a:pt x="145" y="70"/>
                    <a:pt x="128" y="87"/>
                    <a:pt x="128" y="107"/>
                  </a:cubicBezTo>
                  <a:cubicBezTo>
                    <a:pt x="128" y="116"/>
                    <a:pt x="132" y="125"/>
                    <a:pt x="138" y="132"/>
                  </a:cubicBezTo>
                  <a:cubicBezTo>
                    <a:pt x="140" y="135"/>
                    <a:pt x="141" y="138"/>
                    <a:pt x="140" y="141"/>
                  </a:cubicBezTo>
                  <a:cubicBezTo>
                    <a:pt x="141" y="145"/>
                    <a:pt x="140" y="148"/>
                    <a:pt x="137" y="151"/>
                  </a:cubicBezTo>
                  <a:cubicBezTo>
                    <a:pt x="125" y="163"/>
                    <a:pt x="125" y="163"/>
                    <a:pt x="125" y="163"/>
                  </a:cubicBezTo>
                  <a:cubicBezTo>
                    <a:pt x="123" y="165"/>
                    <a:pt x="120" y="166"/>
                    <a:pt x="118" y="166"/>
                  </a:cubicBezTo>
                  <a:cubicBezTo>
                    <a:pt x="115" y="166"/>
                    <a:pt x="112" y="165"/>
                    <a:pt x="110" y="163"/>
                  </a:cubicBezTo>
                  <a:cubicBezTo>
                    <a:pt x="98" y="151"/>
                    <a:pt x="98" y="151"/>
                    <a:pt x="98" y="151"/>
                  </a:cubicBezTo>
                  <a:cubicBezTo>
                    <a:pt x="95" y="148"/>
                    <a:pt x="95" y="145"/>
                    <a:pt x="95" y="141"/>
                  </a:cubicBezTo>
                  <a:cubicBezTo>
                    <a:pt x="95" y="138"/>
                    <a:pt x="95" y="135"/>
                    <a:pt x="98" y="132"/>
                  </a:cubicBezTo>
                  <a:cubicBezTo>
                    <a:pt x="104" y="125"/>
                    <a:pt x="107" y="116"/>
                    <a:pt x="107" y="107"/>
                  </a:cubicBezTo>
                  <a:cubicBezTo>
                    <a:pt x="107" y="87"/>
                    <a:pt x="90" y="70"/>
                    <a:pt x="70" y="70"/>
                  </a:cubicBezTo>
                  <a:cubicBezTo>
                    <a:pt x="49" y="70"/>
                    <a:pt x="32" y="87"/>
                    <a:pt x="32" y="107"/>
                  </a:cubicBezTo>
                  <a:cubicBezTo>
                    <a:pt x="32" y="154"/>
                    <a:pt x="71" y="193"/>
                    <a:pt x="118" y="193"/>
                  </a:cubicBezTo>
                  <a:cubicBezTo>
                    <a:pt x="165" y="193"/>
                    <a:pt x="203" y="154"/>
                    <a:pt x="203" y="107"/>
                  </a:cubicBezTo>
                  <a:close/>
                  <a:moveTo>
                    <a:pt x="208" y="25"/>
                  </a:moveTo>
                  <a:cubicBezTo>
                    <a:pt x="190" y="29"/>
                    <a:pt x="190" y="29"/>
                    <a:pt x="190" y="29"/>
                  </a:cubicBezTo>
                  <a:cubicBezTo>
                    <a:pt x="195" y="33"/>
                    <a:pt x="199" y="38"/>
                    <a:pt x="203" y="43"/>
                  </a:cubicBezTo>
                  <a:cubicBezTo>
                    <a:pt x="203" y="43"/>
                    <a:pt x="203" y="43"/>
                    <a:pt x="203" y="43"/>
                  </a:cubicBezTo>
                  <a:lnTo>
                    <a:pt x="208" y="25"/>
                  </a:lnTo>
                  <a:close/>
                  <a:moveTo>
                    <a:pt x="182" y="113"/>
                  </a:moveTo>
                  <a:cubicBezTo>
                    <a:pt x="182" y="123"/>
                    <a:pt x="175" y="130"/>
                    <a:pt x="166" y="130"/>
                  </a:cubicBezTo>
                  <a:cubicBezTo>
                    <a:pt x="156" y="130"/>
                    <a:pt x="149" y="123"/>
                    <a:pt x="149" y="113"/>
                  </a:cubicBezTo>
                  <a:cubicBezTo>
                    <a:pt x="149" y="104"/>
                    <a:pt x="156" y="97"/>
                    <a:pt x="166" y="97"/>
                  </a:cubicBezTo>
                  <a:cubicBezTo>
                    <a:pt x="175" y="97"/>
                    <a:pt x="182" y="104"/>
                    <a:pt x="182" y="113"/>
                  </a:cubicBezTo>
                  <a:close/>
                  <a:moveTo>
                    <a:pt x="86" y="113"/>
                  </a:moveTo>
                  <a:cubicBezTo>
                    <a:pt x="86" y="123"/>
                    <a:pt x="79" y="130"/>
                    <a:pt x="70" y="130"/>
                  </a:cubicBezTo>
                  <a:cubicBezTo>
                    <a:pt x="60" y="130"/>
                    <a:pt x="53" y="123"/>
                    <a:pt x="53" y="113"/>
                  </a:cubicBezTo>
                  <a:cubicBezTo>
                    <a:pt x="53" y="104"/>
                    <a:pt x="60" y="97"/>
                    <a:pt x="70" y="97"/>
                  </a:cubicBezTo>
                  <a:cubicBezTo>
                    <a:pt x="79" y="97"/>
                    <a:pt x="86" y="104"/>
                    <a:pt x="86" y="1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2" name="Freeform 714"/>
          <p:cNvSpPr>
            <a:spLocks noChangeAspect="1" noEditPoints="1"/>
          </p:cNvSpPr>
          <p:nvPr/>
        </p:nvSpPr>
        <p:spPr bwMode="auto">
          <a:xfrm>
            <a:off x="3769090" y="2528098"/>
            <a:ext cx="367982" cy="367982"/>
          </a:xfrm>
          <a:custGeom>
            <a:avLst/>
            <a:gdLst>
              <a:gd name="T0" fmla="*/ 188 w 512"/>
              <a:gd name="T1" fmla="*/ 226 h 512"/>
              <a:gd name="T2" fmla="*/ 245 w 512"/>
              <a:gd name="T3" fmla="*/ 226 h 512"/>
              <a:gd name="T4" fmla="*/ 245 w 512"/>
              <a:gd name="T5" fmla="*/ 359 h 512"/>
              <a:gd name="T6" fmla="*/ 181 w 512"/>
              <a:gd name="T7" fmla="*/ 269 h 512"/>
              <a:gd name="T8" fmla="*/ 188 w 512"/>
              <a:gd name="T9" fmla="*/ 226 h 512"/>
              <a:gd name="T10" fmla="*/ 256 w 512"/>
              <a:gd name="T11" fmla="*/ 130 h 512"/>
              <a:gd name="T12" fmla="*/ 215 w 512"/>
              <a:gd name="T13" fmla="*/ 162 h 512"/>
              <a:gd name="T14" fmla="*/ 296 w 512"/>
              <a:gd name="T15" fmla="*/ 162 h 512"/>
              <a:gd name="T16" fmla="*/ 256 w 512"/>
              <a:gd name="T17" fmla="*/ 130 h 512"/>
              <a:gd name="T18" fmla="*/ 266 w 512"/>
              <a:gd name="T19" fmla="*/ 226 h 512"/>
              <a:gd name="T20" fmla="*/ 266 w 512"/>
              <a:gd name="T21" fmla="*/ 359 h 512"/>
              <a:gd name="T22" fmla="*/ 330 w 512"/>
              <a:gd name="T23" fmla="*/ 269 h 512"/>
              <a:gd name="T24" fmla="*/ 324 w 512"/>
              <a:gd name="T25" fmla="*/ 226 h 512"/>
              <a:gd name="T26" fmla="*/ 266 w 512"/>
              <a:gd name="T27" fmla="*/ 22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192 w 512"/>
              <a:gd name="T39" fmla="*/ 173 h 512"/>
              <a:gd name="T40" fmla="*/ 202 w 512"/>
              <a:gd name="T41" fmla="*/ 184 h 512"/>
              <a:gd name="T42" fmla="*/ 309 w 512"/>
              <a:gd name="T43" fmla="*/ 184 h 512"/>
              <a:gd name="T44" fmla="*/ 320 w 512"/>
              <a:gd name="T45" fmla="*/ 173 h 512"/>
              <a:gd name="T46" fmla="*/ 256 w 512"/>
              <a:gd name="T47" fmla="*/ 109 h 512"/>
              <a:gd name="T48" fmla="*/ 192 w 512"/>
              <a:gd name="T49" fmla="*/ 173 h 512"/>
              <a:gd name="T50" fmla="*/ 384 w 512"/>
              <a:gd name="T51" fmla="*/ 280 h 512"/>
              <a:gd name="T52" fmla="*/ 373 w 512"/>
              <a:gd name="T53" fmla="*/ 269 h 512"/>
              <a:gd name="T54" fmla="*/ 352 w 512"/>
              <a:gd name="T55" fmla="*/ 269 h 512"/>
              <a:gd name="T56" fmla="*/ 343 w 512"/>
              <a:gd name="T57" fmla="*/ 218 h 512"/>
              <a:gd name="T58" fmla="*/ 365 w 512"/>
              <a:gd name="T59" fmla="*/ 197 h 512"/>
              <a:gd name="T60" fmla="*/ 365 w 512"/>
              <a:gd name="T61" fmla="*/ 181 h 512"/>
              <a:gd name="T62" fmla="*/ 349 w 512"/>
              <a:gd name="T63" fmla="*/ 181 h 512"/>
              <a:gd name="T64" fmla="*/ 326 w 512"/>
              <a:gd name="T65" fmla="*/ 205 h 512"/>
              <a:gd name="T66" fmla="*/ 185 w 512"/>
              <a:gd name="T67" fmla="*/ 205 h 512"/>
              <a:gd name="T68" fmla="*/ 162 w 512"/>
              <a:gd name="T69" fmla="*/ 181 h 512"/>
              <a:gd name="T70" fmla="*/ 147 w 512"/>
              <a:gd name="T71" fmla="*/ 181 h 512"/>
              <a:gd name="T72" fmla="*/ 147 w 512"/>
              <a:gd name="T73" fmla="*/ 197 h 512"/>
              <a:gd name="T74" fmla="*/ 168 w 512"/>
              <a:gd name="T75" fmla="*/ 218 h 512"/>
              <a:gd name="T76" fmla="*/ 160 w 512"/>
              <a:gd name="T77" fmla="*/ 269 h 512"/>
              <a:gd name="T78" fmla="*/ 138 w 512"/>
              <a:gd name="T79" fmla="*/ 269 h 512"/>
              <a:gd name="T80" fmla="*/ 128 w 512"/>
              <a:gd name="T81" fmla="*/ 280 h 512"/>
              <a:gd name="T82" fmla="*/ 138 w 512"/>
              <a:gd name="T83" fmla="*/ 290 h 512"/>
              <a:gd name="T84" fmla="*/ 161 w 512"/>
              <a:gd name="T85" fmla="*/ 290 h 512"/>
              <a:gd name="T86" fmla="*/ 175 w 512"/>
              <a:gd name="T87" fmla="*/ 329 h 512"/>
              <a:gd name="T88" fmla="*/ 152 w 512"/>
              <a:gd name="T89" fmla="*/ 352 h 512"/>
              <a:gd name="T90" fmla="*/ 152 w 512"/>
              <a:gd name="T91" fmla="*/ 367 h 512"/>
              <a:gd name="T92" fmla="*/ 160 w 512"/>
              <a:gd name="T93" fmla="*/ 370 h 512"/>
              <a:gd name="T94" fmla="*/ 167 w 512"/>
              <a:gd name="T95" fmla="*/ 367 h 512"/>
              <a:gd name="T96" fmla="*/ 187 w 512"/>
              <a:gd name="T97" fmla="*/ 347 h 512"/>
              <a:gd name="T98" fmla="*/ 256 w 512"/>
              <a:gd name="T99" fmla="*/ 381 h 512"/>
              <a:gd name="T100" fmla="*/ 324 w 512"/>
              <a:gd name="T101" fmla="*/ 347 h 512"/>
              <a:gd name="T102" fmla="*/ 344 w 512"/>
              <a:gd name="T103" fmla="*/ 367 h 512"/>
              <a:gd name="T104" fmla="*/ 352 w 512"/>
              <a:gd name="T105" fmla="*/ 370 h 512"/>
              <a:gd name="T106" fmla="*/ 359 w 512"/>
              <a:gd name="T107" fmla="*/ 367 h 512"/>
              <a:gd name="T108" fmla="*/ 359 w 512"/>
              <a:gd name="T109" fmla="*/ 352 h 512"/>
              <a:gd name="T110" fmla="*/ 336 w 512"/>
              <a:gd name="T111" fmla="*/ 329 h 512"/>
              <a:gd name="T112" fmla="*/ 350 w 512"/>
              <a:gd name="T113" fmla="*/ 290 h 512"/>
              <a:gd name="T114" fmla="*/ 373 w 512"/>
              <a:gd name="T115" fmla="*/ 290 h 512"/>
              <a:gd name="T116" fmla="*/ 384 w 512"/>
              <a:gd name="T117"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8" y="226"/>
                </a:moveTo>
                <a:cubicBezTo>
                  <a:pt x="245" y="226"/>
                  <a:pt x="245" y="226"/>
                  <a:pt x="245" y="226"/>
                </a:cubicBezTo>
                <a:cubicBezTo>
                  <a:pt x="245" y="359"/>
                  <a:pt x="245" y="359"/>
                  <a:pt x="245" y="359"/>
                </a:cubicBezTo>
                <a:cubicBezTo>
                  <a:pt x="209" y="352"/>
                  <a:pt x="181" y="315"/>
                  <a:pt x="181" y="269"/>
                </a:cubicBezTo>
                <a:cubicBezTo>
                  <a:pt x="181" y="255"/>
                  <a:pt x="184" y="238"/>
                  <a:pt x="188" y="226"/>
                </a:cubicBezTo>
                <a:close/>
                <a:moveTo>
                  <a:pt x="256" y="130"/>
                </a:moveTo>
                <a:cubicBezTo>
                  <a:pt x="237" y="130"/>
                  <a:pt x="221" y="148"/>
                  <a:pt x="215" y="162"/>
                </a:cubicBezTo>
                <a:cubicBezTo>
                  <a:pt x="296" y="162"/>
                  <a:pt x="296" y="162"/>
                  <a:pt x="296" y="162"/>
                </a:cubicBezTo>
                <a:cubicBezTo>
                  <a:pt x="290" y="148"/>
                  <a:pt x="275" y="130"/>
                  <a:pt x="256" y="130"/>
                </a:cubicBezTo>
                <a:close/>
                <a:moveTo>
                  <a:pt x="266" y="226"/>
                </a:moveTo>
                <a:cubicBezTo>
                  <a:pt x="266" y="359"/>
                  <a:pt x="266" y="359"/>
                  <a:pt x="266" y="359"/>
                </a:cubicBezTo>
                <a:cubicBezTo>
                  <a:pt x="302" y="352"/>
                  <a:pt x="330" y="315"/>
                  <a:pt x="330" y="269"/>
                </a:cubicBezTo>
                <a:cubicBezTo>
                  <a:pt x="330" y="255"/>
                  <a:pt x="328" y="238"/>
                  <a:pt x="324" y="226"/>
                </a:cubicBezTo>
                <a:lnTo>
                  <a:pt x="266" y="22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73"/>
                </a:moveTo>
                <a:cubicBezTo>
                  <a:pt x="192" y="179"/>
                  <a:pt x="196" y="184"/>
                  <a:pt x="202" y="184"/>
                </a:cubicBezTo>
                <a:cubicBezTo>
                  <a:pt x="309" y="184"/>
                  <a:pt x="309" y="184"/>
                  <a:pt x="309" y="184"/>
                </a:cubicBezTo>
                <a:cubicBezTo>
                  <a:pt x="315" y="184"/>
                  <a:pt x="320" y="179"/>
                  <a:pt x="320" y="173"/>
                </a:cubicBezTo>
                <a:cubicBezTo>
                  <a:pt x="320" y="148"/>
                  <a:pt x="292" y="109"/>
                  <a:pt x="256" y="109"/>
                </a:cubicBezTo>
                <a:cubicBezTo>
                  <a:pt x="219" y="109"/>
                  <a:pt x="192" y="148"/>
                  <a:pt x="192" y="173"/>
                </a:cubicBezTo>
                <a:close/>
                <a:moveTo>
                  <a:pt x="384" y="280"/>
                </a:moveTo>
                <a:cubicBezTo>
                  <a:pt x="384" y="274"/>
                  <a:pt x="379" y="269"/>
                  <a:pt x="373" y="269"/>
                </a:cubicBezTo>
                <a:cubicBezTo>
                  <a:pt x="352" y="269"/>
                  <a:pt x="352" y="269"/>
                  <a:pt x="352" y="269"/>
                </a:cubicBezTo>
                <a:cubicBezTo>
                  <a:pt x="352" y="252"/>
                  <a:pt x="348" y="232"/>
                  <a:pt x="343" y="218"/>
                </a:cubicBezTo>
                <a:cubicBezTo>
                  <a:pt x="365" y="197"/>
                  <a:pt x="365" y="197"/>
                  <a:pt x="365" y="197"/>
                </a:cubicBezTo>
                <a:cubicBezTo>
                  <a:pt x="369" y="192"/>
                  <a:pt x="369" y="186"/>
                  <a:pt x="365" y="181"/>
                </a:cubicBezTo>
                <a:cubicBezTo>
                  <a:pt x="360" y="177"/>
                  <a:pt x="354" y="177"/>
                  <a:pt x="349" y="181"/>
                </a:cubicBezTo>
                <a:cubicBezTo>
                  <a:pt x="326" y="205"/>
                  <a:pt x="326" y="205"/>
                  <a:pt x="326" y="205"/>
                </a:cubicBezTo>
                <a:cubicBezTo>
                  <a:pt x="185" y="205"/>
                  <a:pt x="185" y="205"/>
                  <a:pt x="185" y="205"/>
                </a:cubicBezTo>
                <a:cubicBezTo>
                  <a:pt x="162" y="181"/>
                  <a:pt x="162" y="181"/>
                  <a:pt x="162" y="181"/>
                </a:cubicBezTo>
                <a:cubicBezTo>
                  <a:pt x="158" y="177"/>
                  <a:pt x="151" y="177"/>
                  <a:pt x="147" y="181"/>
                </a:cubicBezTo>
                <a:cubicBezTo>
                  <a:pt x="143" y="186"/>
                  <a:pt x="143" y="192"/>
                  <a:pt x="147" y="197"/>
                </a:cubicBezTo>
                <a:cubicBezTo>
                  <a:pt x="168" y="218"/>
                  <a:pt x="168" y="218"/>
                  <a:pt x="168" y="218"/>
                </a:cubicBezTo>
                <a:cubicBezTo>
                  <a:pt x="163" y="232"/>
                  <a:pt x="160" y="252"/>
                  <a:pt x="160" y="269"/>
                </a:cubicBezTo>
                <a:cubicBezTo>
                  <a:pt x="138" y="269"/>
                  <a:pt x="138" y="269"/>
                  <a:pt x="138" y="269"/>
                </a:cubicBezTo>
                <a:cubicBezTo>
                  <a:pt x="132" y="269"/>
                  <a:pt x="128" y="274"/>
                  <a:pt x="128" y="280"/>
                </a:cubicBezTo>
                <a:cubicBezTo>
                  <a:pt x="128" y="286"/>
                  <a:pt x="132" y="290"/>
                  <a:pt x="138" y="290"/>
                </a:cubicBezTo>
                <a:cubicBezTo>
                  <a:pt x="161" y="290"/>
                  <a:pt x="161" y="290"/>
                  <a:pt x="161" y="290"/>
                </a:cubicBezTo>
                <a:cubicBezTo>
                  <a:pt x="164" y="304"/>
                  <a:pt x="168" y="318"/>
                  <a:pt x="175" y="329"/>
                </a:cubicBezTo>
                <a:cubicBezTo>
                  <a:pt x="152" y="352"/>
                  <a:pt x="152" y="352"/>
                  <a:pt x="152" y="352"/>
                </a:cubicBezTo>
                <a:cubicBezTo>
                  <a:pt x="148" y="356"/>
                  <a:pt x="148" y="363"/>
                  <a:pt x="152" y="367"/>
                </a:cubicBezTo>
                <a:cubicBezTo>
                  <a:pt x="154" y="369"/>
                  <a:pt x="157" y="370"/>
                  <a:pt x="160" y="370"/>
                </a:cubicBezTo>
                <a:cubicBezTo>
                  <a:pt x="162" y="370"/>
                  <a:pt x="165" y="369"/>
                  <a:pt x="167" y="367"/>
                </a:cubicBezTo>
                <a:cubicBezTo>
                  <a:pt x="187" y="347"/>
                  <a:pt x="187" y="347"/>
                  <a:pt x="187" y="347"/>
                </a:cubicBezTo>
                <a:cubicBezTo>
                  <a:pt x="205" y="368"/>
                  <a:pt x="229" y="381"/>
                  <a:pt x="256" y="381"/>
                </a:cubicBezTo>
                <a:cubicBezTo>
                  <a:pt x="282" y="381"/>
                  <a:pt x="307" y="368"/>
                  <a:pt x="324" y="347"/>
                </a:cubicBezTo>
                <a:cubicBezTo>
                  <a:pt x="344" y="367"/>
                  <a:pt x="344" y="367"/>
                  <a:pt x="344" y="367"/>
                </a:cubicBezTo>
                <a:cubicBezTo>
                  <a:pt x="346" y="369"/>
                  <a:pt x="349" y="370"/>
                  <a:pt x="352" y="370"/>
                </a:cubicBezTo>
                <a:cubicBezTo>
                  <a:pt x="354" y="370"/>
                  <a:pt x="357" y="369"/>
                  <a:pt x="359" y="367"/>
                </a:cubicBezTo>
                <a:cubicBezTo>
                  <a:pt x="363" y="363"/>
                  <a:pt x="363" y="356"/>
                  <a:pt x="359" y="352"/>
                </a:cubicBezTo>
                <a:cubicBezTo>
                  <a:pt x="336" y="329"/>
                  <a:pt x="336" y="329"/>
                  <a:pt x="336" y="329"/>
                </a:cubicBezTo>
                <a:cubicBezTo>
                  <a:pt x="343" y="318"/>
                  <a:pt x="348" y="304"/>
                  <a:pt x="350" y="290"/>
                </a:cubicBezTo>
                <a:cubicBezTo>
                  <a:pt x="373" y="290"/>
                  <a:pt x="373" y="290"/>
                  <a:pt x="373" y="290"/>
                </a:cubicBezTo>
                <a:cubicBezTo>
                  <a:pt x="379" y="290"/>
                  <a:pt x="384" y="286"/>
                  <a:pt x="384" y="28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3" name="Group 717"/>
          <p:cNvGrpSpPr>
            <a:grpSpLocks noChangeAspect="1"/>
          </p:cNvGrpSpPr>
          <p:nvPr/>
        </p:nvGrpSpPr>
        <p:grpSpPr bwMode="auto">
          <a:xfrm>
            <a:off x="4189119" y="2528098"/>
            <a:ext cx="367982" cy="367982"/>
            <a:chOff x="5021" y="3113"/>
            <a:chExt cx="340" cy="340"/>
          </a:xfrm>
          <a:solidFill>
            <a:schemeClr val="accent2"/>
          </a:solidFill>
        </p:grpSpPr>
        <p:sp>
          <p:nvSpPr>
            <p:cNvPr id="344" name="Freeform 718"/>
            <p:cNvSpPr>
              <a:spLocks noEditPoints="1"/>
            </p:cNvSpPr>
            <p:nvPr/>
          </p:nvSpPr>
          <p:spPr bwMode="auto">
            <a:xfrm>
              <a:off x="5021" y="31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719"/>
            <p:cNvSpPr>
              <a:spLocks noEditPoints="1"/>
            </p:cNvSpPr>
            <p:nvPr/>
          </p:nvSpPr>
          <p:spPr bwMode="auto">
            <a:xfrm>
              <a:off x="5106" y="3185"/>
              <a:ext cx="170" cy="181"/>
            </a:xfrm>
            <a:custGeom>
              <a:avLst/>
              <a:gdLst>
                <a:gd name="T0" fmla="*/ 74 w 256"/>
                <a:gd name="T1" fmla="*/ 75 h 272"/>
                <a:gd name="T2" fmla="*/ 181 w 256"/>
                <a:gd name="T3" fmla="*/ 75 h 272"/>
                <a:gd name="T4" fmla="*/ 192 w 256"/>
                <a:gd name="T5" fmla="*/ 64 h 272"/>
                <a:gd name="T6" fmla="*/ 128 w 256"/>
                <a:gd name="T7" fmla="*/ 0 h 272"/>
                <a:gd name="T8" fmla="*/ 64 w 256"/>
                <a:gd name="T9" fmla="*/ 64 h 272"/>
                <a:gd name="T10" fmla="*/ 74 w 256"/>
                <a:gd name="T11" fmla="*/ 75 h 272"/>
                <a:gd name="T12" fmla="*/ 128 w 256"/>
                <a:gd name="T13" fmla="*/ 21 h 272"/>
                <a:gd name="T14" fmla="*/ 168 w 256"/>
                <a:gd name="T15" fmla="*/ 53 h 272"/>
                <a:gd name="T16" fmla="*/ 87 w 256"/>
                <a:gd name="T17" fmla="*/ 53 h 272"/>
                <a:gd name="T18" fmla="*/ 128 w 256"/>
                <a:gd name="T19" fmla="*/ 21 h 272"/>
                <a:gd name="T20" fmla="*/ 245 w 256"/>
                <a:gd name="T21" fmla="*/ 160 h 272"/>
                <a:gd name="T22" fmla="*/ 224 w 256"/>
                <a:gd name="T23" fmla="*/ 160 h 272"/>
                <a:gd name="T24" fmla="*/ 215 w 256"/>
                <a:gd name="T25" fmla="*/ 109 h 272"/>
                <a:gd name="T26" fmla="*/ 237 w 256"/>
                <a:gd name="T27" fmla="*/ 88 h 272"/>
                <a:gd name="T28" fmla="*/ 237 w 256"/>
                <a:gd name="T29" fmla="*/ 72 h 272"/>
                <a:gd name="T30" fmla="*/ 221 w 256"/>
                <a:gd name="T31" fmla="*/ 72 h 272"/>
                <a:gd name="T32" fmla="*/ 198 w 256"/>
                <a:gd name="T33" fmla="*/ 96 h 272"/>
                <a:gd name="T34" fmla="*/ 57 w 256"/>
                <a:gd name="T35" fmla="*/ 96 h 272"/>
                <a:gd name="T36" fmla="*/ 34 w 256"/>
                <a:gd name="T37" fmla="*/ 72 h 272"/>
                <a:gd name="T38" fmla="*/ 19 w 256"/>
                <a:gd name="T39" fmla="*/ 72 h 272"/>
                <a:gd name="T40" fmla="*/ 19 w 256"/>
                <a:gd name="T41" fmla="*/ 88 h 272"/>
                <a:gd name="T42" fmla="*/ 40 w 256"/>
                <a:gd name="T43" fmla="*/ 109 h 272"/>
                <a:gd name="T44" fmla="*/ 32 w 256"/>
                <a:gd name="T45" fmla="*/ 160 h 272"/>
                <a:gd name="T46" fmla="*/ 10 w 256"/>
                <a:gd name="T47" fmla="*/ 160 h 272"/>
                <a:gd name="T48" fmla="*/ 0 w 256"/>
                <a:gd name="T49" fmla="*/ 171 h 272"/>
                <a:gd name="T50" fmla="*/ 10 w 256"/>
                <a:gd name="T51" fmla="*/ 181 h 272"/>
                <a:gd name="T52" fmla="*/ 33 w 256"/>
                <a:gd name="T53" fmla="*/ 181 h 272"/>
                <a:gd name="T54" fmla="*/ 47 w 256"/>
                <a:gd name="T55" fmla="*/ 220 h 272"/>
                <a:gd name="T56" fmla="*/ 24 w 256"/>
                <a:gd name="T57" fmla="*/ 243 h 272"/>
                <a:gd name="T58" fmla="*/ 24 w 256"/>
                <a:gd name="T59" fmla="*/ 258 h 272"/>
                <a:gd name="T60" fmla="*/ 32 w 256"/>
                <a:gd name="T61" fmla="*/ 261 h 272"/>
                <a:gd name="T62" fmla="*/ 39 w 256"/>
                <a:gd name="T63" fmla="*/ 258 h 272"/>
                <a:gd name="T64" fmla="*/ 59 w 256"/>
                <a:gd name="T65" fmla="*/ 238 h 272"/>
                <a:gd name="T66" fmla="*/ 128 w 256"/>
                <a:gd name="T67" fmla="*/ 272 h 272"/>
                <a:gd name="T68" fmla="*/ 196 w 256"/>
                <a:gd name="T69" fmla="*/ 238 h 272"/>
                <a:gd name="T70" fmla="*/ 216 w 256"/>
                <a:gd name="T71" fmla="*/ 258 h 272"/>
                <a:gd name="T72" fmla="*/ 224 w 256"/>
                <a:gd name="T73" fmla="*/ 261 h 272"/>
                <a:gd name="T74" fmla="*/ 231 w 256"/>
                <a:gd name="T75" fmla="*/ 258 h 272"/>
                <a:gd name="T76" fmla="*/ 231 w 256"/>
                <a:gd name="T77" fmla="*/ 243 h 272"/>
                <a:gd name="T78" fmla="*/ 208 w 256"/>
                <a:gd name="T79" fmla="*/ 220 h 272"/>
                <a:gd name="T80" fmla="*/ 222 w 256"/>
                <a:gd name="T81" fmla="*/ 181 h 272"/>
                <a:gd name="T82" fmla="*/ 245 w 256"/>
                <a:gd name="T83" fmla="*/ 181 h 272"/>
                <a:gd name="T84" fmla="*/ 256 w 256"/>
                <a:gd name="T85" fmla="*/ 171 h 272"/>
                <a:gd name="T86" fmla="*/ 245 w 256"/>
                <a:gd name="T87" fmla="*/ 160 h 272"/>
                <a:gd name="T88" fmla="*/ 53 w 256"/>
                <a:gd name="T89" fmla="*/ 160 h 272"/>
                <a:gd name="T90" fmla="*/ 60 w 256"/>
                <a:gd name="T91" fmla="*/ 117 h 272"/>
                <a:gd name="T92" fmla="*/ 117 w 256"/>
                <a:gd name="T93" fmla="*/ 117 h 272"/>
                <a:gd name="T94" fmla="*/ 117 w 256"/>
                <a:gd name="T95" fmla="*/ 250 h 272"/>
                <a:gd name="T96" fmla="*/ 53 w 256"/>
                <a:gd name="T97" fmla="*/ 160 h 272"/>
                <a:gd name="T98" fmla="*/ 138 w 256"/>
                <a:gd name="T99" fmla="*/ 250 h 272"/>
                <a:gd name="T100" fmla="*/ 138 w 256"/>
                <a:gd name="T101" fmla="*/ 117 h 272"/>
                <a:gd name="T102" fmla="*/ 196 w 256"/>
                <a:gd name="T103" fmla="*/ 117 h 272"/>
                <a:gd name="T104" fmla="*/ 202 w 256"/>
                <a:gd name="T105" fmla="*/ 160 h 272"/>
                <a:gd name="T106" fmla="*/ 138 w 256"/>
                <a:gd name="T107" fmla="*/ 25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72">
                  <a:moveTo>
                    <a:pt x="74" y="75"/>
                  </a:moveTo>
                  <a:cubicBezTo>
                    <a:pt x="181" y="75"/>
                    <a:pt x="181" y="75"/>
                    <a:pt x="181" y="75"/>
                  </a:cubicBezTo>
                  <a:cubicBezTo>
                    <a:pt x="187" y="75"/>
                    <a:pt x="192" y="70"/>
                    <a:pt x="192" y="64"/>
                  </a:cubicBezTo>
                  <a:cubicBezTo>
                    <a:pt x="192" y="39"/>
                    <a:pt x="164" y="0"/>
                    <a:pt x="128" y="0"/>
                  </a:cubicBezTo>
                  <a:cubicBezTo>
                    <a:pt x="91" y="0"/>
                    <a:pt x="64" y="39"/>
                    <a:pt x="64" y="64"/>
                  </a:cubicBezTo>
                  <a:cubicBezTo>
                    <a:pt x="64" y="70"/>
                    <a:pt x="68" y="75"/>
                    <a:pt x="74" y="75"/>
                  </a:cubicBezTo>
                  <a:close/>
                  <a:moveTo>
                    <a:pt x="128" y="21"/>
                  </a:moveTo>
                  <a:cubicBezTo>
                    <a:pt x="147" y="21"/>
                    <a:pt x="162" y="39"/>
                    <a:pt x="168" y="53"/>
                  </a:cubicBezTo>
                  <a:cubicBezTo>
                    <a:pt x="87" y="53"/>
                    <a:pt x="87" y="53"/>
                    <a:pt x="87" y="53"/>
                  </a:cubicBezTo>
                  <a:cubicBezTo>
                    <a:pt x="93" y="39"/>
                    <a:pt x="109" y="21"/>
                    <a:pt x="128" y="21"/>
                  </a:cubicBezTo>
                  <a:close/>
                  <a:moveTo>
                    <a:pt x="245" y="160"/>
                  </a:moveTo>
                  <a:cubicBezTo>
                    <a:pt x="224" y="160"/>
                    <a:pt x="224" y="160"/>
                    <a:pt x="224" y="160"/>
                  </a:cubicBezTo>
                  <a:cubicBezTo>
                    <a:pt x="224" y="143"/>
                    <a:pt x="220" y="123"/>
                    <a:pt x="215" y="109"/>
                  </a:cubicBezTo>
                  <a:cubicBezTo>
                    <a:pt x="237" y="88"/>
                    <a:pt x="237" y="88"/>
                    <a:pt x="237" y="88"/>
                  </a:cubicBezTo>
                  <a:cubicBezTo>
                    <a:pt x="241" y="83"/>
                    <a:pt x="241" y="77"/>
                    <a:pt x="237" y="72"/>
                  </a:cubicBezTo>
                  <a:cubicBezTo>
                    <a:pt x="232" y="68"/>
                    <a:pt x="226" y="68"/>
                    <a:pt x="221" y="72"/>
                  </a:cubicBezTo>
                  <a:cubicBezTo>
                    <a:pt x="198" y="96"/>
                    <a:pt x="198" y="96"/>
                    <a:pt x="198" y="96"/>
                  </a:cubicBezTo>
                  <a:cubicBezTo>
                    <a:pt x="57" y="96"/>
                    <a:pt x="57" y="96"/>
                    <a:pt x="57" y="96"/>
                  </a:cubicBezTo>
                  <a:cubicBezTo>
                    <a:pt x="34" y="72"/>
                    <a:pt x="34" y="72"/>
                    <a:pt x="34" y="72"/>
                  </a:cubicBezTo>
                  <a:cubicBezTo>
                    <a:pt x="30" y="68"/>
                    <a:pt x="23" y="68"/>
                    <a:pt x="19" y="72"/>
                  </a:cubicBezTo>
                  <a:cubicBezTo>
                    <a:pt x="15" y="77"/>
                    <a:pt x="15" y="83"/>
                    <a:pt x="19" y="88"/>
                  </a:cubicBezTo>
                  <a:cubicBezTo>
                    <a:pt x="40" y="109"/>
                    <a:pt x="40" y="109"/>
                    <a:pt x="40" y="109"/>
                  </a:cubicBezTo>
                  <a:cubicBezTo>
                    <a:pt x="35" y="123"/>
                    <a:pt x="32" y="143"/>
                    <a:pt x="32" y="160"/>
                  </a:cubicBezTo>
                  <a:cubicBezTo>
                    <a:pt x="10" y="160"/>
                    <a:pt x="10" y="160"/>
                    <a:pt x="10" y="160"/>
                  </a:cubicBezTo>
                  <a:cubicBezTo>
                    <a:pt x="4" y="160"/>
                    <a:pt x="0" y="165"/>
                    <a:pt x="0" y="171"/>
                  </a:cubicBezTo>
                  <a:cubicBezTo>
                    <a:pt x="0" y="177"/>
                    <a:pt x="4" y="181"/>
                    <a:pt x="10" y="181"/>
                  </a:cubicBezTo>
                  <a:cubicBezTo>
                    <a:pt x="33" y="181"/>
                    <a:pt x="33" y="181"/>
                    <a:pt x="33" y="181"/>
                  </a:cubicBezTo>
                  <a:cubicBezTo>
                    <a:pt x="36" y="195"/>
                    <a:pt x="40" y="209"/>
                    <a:pt x="47" y="220"/>
                  </a:cubicBezTo>
                  <a:cubicBezTo>
                    <a:pt x="24" y="243"/>
                    <a:pt x="24" y="243"/>
                    <a:pt x="24" y="243"/>
                  </a:cubicBezTo>
                  <a:cubicBezTo>
                    <a:pt x="20" y="247"/>
                    <a:pt x="20" y="254"/>
                    <a:pt x="24" y="258"/>
                  </a:cubicBezTo>
                  <a:cubicBezTo>
                    <a:pt x="26" y="260"/>
                    <a:pt x="29" y="261"/>
                    <a:pt x="32" y="261"/>
                  </a:cubicBezTo>
                  <a:cubicBezTo>
                    <a:pt x="34" y="261"/>
                    <a:pt x="37" y="260"/>
                    <a:pt x="39" y="258"/>
                  </a:cubicBezTo>
                  <a:cubicBezTo>
                    <a:pt x="59" y="238"/>
                    <a:pt x="59" y="238"/>
                    <a:pt x="59" y="238"/>
                  </a:cubicBezTo>
                  <a:cubicBezTo>
                    <a:pt x="77" y="259"/>
                    <a:pt x="101" y="272"/>
                    <a:pt x="128" y="272"/>
                  </a:cubicBezTo>
                  <a:cubicBezTo>
                    <a:pt x="154" y="272"/>
                    <a:pt x="179" y="259"/>
                    <a:pt x="196" y="238"/>
                  </a:cubicBezTo>
                  <a:cubicBezTo>
                    <a:pt x="216" y="258"/>
                    <a:pt x="216" y="258"/>
                    <a:pt x="216" y="258"/>
                  </a:cubicBezTo>
                  <a:cubicBezTo>
                    <a:pt x="218" y="260"/>
                    <a:pt x="221" y="261"/>
                    <a:pt x="224" y="261"/>
                  </a:cubicBezTo>
                  <a:cubicBezTo>
                    <a:pt x="226" y="261"/>
                    <a:pt x="229" y="260"/>
                    <a:pt x="231" y="258"/>
                  </a:cubicBezTo>
                  <a:cubicBezTo>
                    <a:pt x="235" y="254"/>
                    <a:pt x="235" y="247"/>
                    <a:pt x="231" y="243"/>
                  </a:cubicBezTo>
                  <a:cubicBezTo>
                    <a:pt x="208" y="220"/>
                    <a:pt x="208" y="220"/>
                    <a:pt x="208" y="220"/>
                  </a:cubicBezTo>
                  <a:cubicBezTo>
                    <a:pt x="215" y="209"/>
                    <a:pt x="220" y="195"/>
                    <a:pt x="222" y="181"/>
                  </a:cubicBezTo>
                  <a:cubicBezTo>
                    <a:pt x="245" y="181"/>
                    <a:pt x="245" y="181"/>
                    <a:pt x="245" y="181"/>
                  </a:cubicBezTo>
                  <a:cubicBezTo>
                    <a:pt x="251" y="181"/>
                    <a:pt x="256" y="177"/>
                    <a:pt x="256" y="171"/>
                  </a:cubicBezTo>
                  <a:cubicBezTo>
                    <a:pt x="256" y="165"/>
                    <a:pt x="251" y="160"/>
                    <a:pt x="245" y="160"/>
                  </a:cubicBezTo>
                  <a:close/>
                  <a:moveTo>
                    <a:pt x="53" y="160"/>
                  </a:moveTo>
                  <a:cubicBezTo>
                    <a:pt x="53" y="146"/>
                    <a:pt x="56" y="129"/>
                    <a:pt x="60" y="117"/>
                  </a:cubicBezTo>
                  <a:cubicBezTo>
                    <a:pt x="117" y="117"/>
                    <a:pt x="117" y="117"/>
                    <a:pt x="117" y="117"/>
                  </a:cubicBezTo>
                  <a:cubicBezTo>
                    <a:pt x="117" y="250"/>
                    <a:pt x="117" y="250"/>
                    <a:pt x="117" y="250"/>
                  </a:cubicBezTo>
                  <a:cubicBezTo>
                    <a:pt x="81" y="243"/>
                    <a:pt x="53" y="206"/>
                    <a:pt x="53" y="160"/>
                  </a:cubicBezTo>
                  <a:close/>
                  <a:moveTo>
                    <a:pt x="138" y="250"/>
                  </a:moveTo>
                  <a:cubicBezTo>
                    <a:pt x="138" y="117"/>
                    <a:pt x="138" y="117"/>
                    <a:pt x="138" y="117"/>
                  </a:cubicBezTo>
                  <a:cubicBezTo>
                    <a:pt x="196" y="117"/>
                    <a:pt x="196" y="117"/>
                    <a:pt x="196" y="117"/>
                  </a:cubicBezTo>
                  <a:cubicBezTo>
                    <a:pt x="200" y="129"/>
                    <a:pt x="202" y="146"/>
                    <a:pt x="202" y="160"/>
                  </a:cubicBezTo>
                  <a:cubicBezTo>
                    <a:pt x="202" y="206"/>
                    <a:pt x="174" y="243"/>
                    <a:pt x="138" y="2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6" name="Freeform 496"/>
          <p:cNvSpPr>
            <a:spLocks noChangeAspect="1" noEditPoints="1"/>
          </p:cNvSpPr>
          <p:nvPr/>
        </p:nvSpPr>
        <p:spPr bwMode="auto">
          <a:xfrm>
            <a:off x="4609148" y="2528098"/>
            <a:ext cx="367041" cy="36812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7" name="Group 499"/>
          <p:cNvGrpSpPr>
            <a:grpSpLocks noChangeAspect="1"/>
          </p:cNvGrpSpPr>
          <p:nvPr/>
        </p:nvGrpSpPr>
        <p:grpSpPr bwMode="auto">
          <a:xfrm>
            <a:off x="5028236" y="2528098"/>
            <a:ext cx="367041" cy="368120"/>
            <a:chOff x="3166" y="2259"/>
            <a:chExt cx="340" cy="341"/>
          </a:xfrm>
          <a:solidFill>
            <a:schemeClr val="accent6"/>
          </a:solidFill>
        </p:grpSpPr>
        <p:sp>
          <p:nvSpPr>
            <p:cNvPr id="348" name="Freeform 500"/>
            <p:cNvSpPr>
              <a:spLocks noEditPoints="1"/>
            </p:cNvSpPr>
            <p:nvPr/>
          </p:nvSpPr>
          <p:spPr bwMode="auto">
            <a:xfrm>
              <a:off x="3166" y="225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501"/>
            <p:cNvSpPr>
              <a:spLocks noEditPoints="1"/>
            </p:cNvSpPr>
            <p:nvPr/>
          </p:nvSpPr>
          <p:spPr bwMode="auto">
            <a:xfrm>
              <a:off x="3259" y="2349"/>
              <a:ext cx="161" cy="160"/>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0" name="Group 349"/>
          <p:cNvGrpSpPr>
            <a:grpSpLocks noChangeAspect="1"/>
          </p:cNvGrpSpPr>
          <p:nvPr/>
        </p:nvGrpSpPr>
        <p:grpSpPr bwMode="auto">
          <a:xfrm>
            <a:off x="5447324" y="2528098"/>
            <a:ext cx="367982" cy="367983"/>
            <a:chOff x="3731" y="3177"/>
            <a:chExt cx="340" cy="340"/>
          </a:xfrm>
          <a:solidFill>
            <a:schemeClr val="accent1"/>
          </a:solidFill>
        </p:grpSpPr>
        <p:sp>
          <p:nvSpPr>
            <p:cNvPr id="351" name="Freeform 570"/>
            <p:cNvSpPr>
              <a:spLocks noEditPoints="1"/>
            </p:cNvSpPr>
            <p:nvPr/>
          </p:nvSpPr>
          <p:spPr bwMode="auto">
            <a:xfrm>
              <a:off x="3731" y="317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9 w 512"/>
                <a:gd name="T11" fmla="*/ 361 h 512"/>
                <a:gd name="T12" fmla="*/ 373 w 512"/>
                <a:gd name="T13" fmla="*/ 372 h 512"/>
                <a:gd name="T14" fmla="*/ 372 w 512"/>
                <a:gd name="T15" fmla="*/ 372 h 512"/>
                <a:gd name="T16" fmla="*/ 372 w 512"/>
                <a:gd name="T17" fmla="*/ 373 h 512"/>
                <a:gd name="T18" fmla="*/ 361 w 512"/>
                <a:gd name="T19" fmla="*/ 399 h 512"/>
                <a:gd name="T20" fmla="*/ 335 w 512"/>
                <a:gd name="T21" fmla="*/ 410 h 512"/>
                <a:gd name="T22" fmla="*/ 308 w 512"/>
                <a:gd name="T23" fmla="*/ 399 h 512"/>
                <a:gd name="T24" fmla="*/ 298 w 512"/>
                <a:gd name="T25" fmla="*/ 373 h 512"/>
                <a:gd name="T26" fmla="*/ 302 w 512"/>
                <a:gd name="T27" fmla="*/ 355 h 512"/>
                <a:gd name="T28" fmla="*/ 157 w 512"/>
                <a:gd name="T29" fmla="*/ 209 h 512"/>
                <a:gd name="T30" fmla="*/ 112 w 512"/>
                <a:gd name="T31" fmla="*/ 203 h 512"/>
                <a:gd name="T32" fmla="*/ 101 w 512"/>
                <a:gd name="T33" fmla="*/ 176 h 512"/>
                <a:gd name="T34" fmla="*/ 112 w 512"/>
                <a:gd name="T35" fmla="*/ 150 h 512"/>
                <a:gd name="T36" fmla="*/ 139 w 512"/>
                <a:gd name="T37" fmla="*/ 140 h 512"/>
                <a:gd name="T38" fmla="*/ 139 w 512"/>
                <a:gd name="T39" fmla="*/ 139 h 512"/>
                <a:gd name="T40" fmla="*/ 150 w 512"/>
                <a:gd name="T41" fmla="*/ 112 h 512"/>
                <a:gd name="T42" fmla="*/ 203 w 512"/>
                <a:gd name="T43" fmla="*/ 112 h 512"/>
                <a:gd name="T44" fmla="*/ 214 w 512"/>
                <a:gd name="T45" fmla="*/ 139 h 512"/>
                <a:gd name="T46" fmla="*/ 209 w 512"/>
                <a:gd name="T47" fmla="*/ 157 h 512"/>
                <a:gd name="T48" fmla="*/ 355 w 512"/>
                <a:gd name="T49" fmla="*/ 302 h 512"/>
                <a:gd name="T50" fmla="*/ 399 w 512"/>
                <a:gd name="T51" fmla="*/ 308 h 512"/>
                <a:gd name="T52" fmla="*/ 410 w 512"/>
                <a:gd name="T53" fmla="*/ 335 h 512"/>
                <a:gd name="T54" fmla="*/ 399 w 512"/>
                <a:gd name="T55"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9" y="361"/>
                  </a:moveTo>
                  <a:cubicBezTo>
                    <a:pt x="392" y="368"/>
                    <a:pt x="383" y="372"/>
                    <a:pt x="373" y="372"/>
                  </a:cubicBezTo>
                  <a:cubicBezTo>
                    <a:pt x="372" y="372"/>
                    <a:pt x="372" y="372"/>
                    <a:pt x="372" y="372"/>
                  </a:cubicBezTo>
                  <a:cubicBezTo>
                    <a:pt x="372" y="372"/>
                    <a:pt x="372" y="372"/>
                    <a:pt x="372" y="373"/>
                  </a:cubicBezTo>
                  <a:cubicBezTo>
                    <a:pt x="372" y="383"/>
                    <a:pt x="368" y="392"/>
                    <a:pt x="361" y="399"/>
                  </a:cubicBezTo>
                  <a:cubicBezTo>
                    <a:pt x="354" y="406"/>
                    <a:pt x="345" y="410"/>
                    <a:pt x="335" y="410"/>
                  </a:cubicBezTo>
                  <a:cubicBezTo>
                    <a:pt x="325" y="410"/>
                    <a:pt x="316" y="406"/>
                    <a:pt x="308" y="399"/>
                  </a:cubicBezTo>
                  <a:cubicBezTo>
                    <a:pt x="301" y="392"/>
                    <a:pt x="298" y="383"/>
                    <a:pt x="298" y="373"/>
                  </a:cubicBezTo>
                  <a:cubicBezTo>
                    <a:pt x="298" y="366"/>
                    <a:pt x="299" y="360"/>
                    <a:pt x="302" y="355"/>
                  </a:cubicBezTo>
                  <a:cubicBezTo>
                    <a:pt x="157" y="209"/>
                    <a:pt x="157" y="209"/>
                    <a:pt x="157" y="209"/>
                  </a:cubicBezTo>
                  <a:cubicBezTo>
                    <a:pt x="143" y="217"/>
                    <a:pt x="124" y="214"/>
                    <a:pt x="112" y="203"/>
                  </a:cubicBezTo>
                  <a:cubicBezTo>
                    <a:pt x="105" y="196"/>
                    <a:pt x="101" y="186"/>
                    <a:pt x="101" y="176"/>
                  </a:cubicBezTo>
                  <a:cubicBezTo>
                    <a:pt x="101" y="166"/>
                    <a:pt x="105" y="157"/>
                    <a:pt x="112" y="150"/>
                  </a:cubicBezTo>
                  <a:cubicBezTo>
                    <a:pt x="120" y="143"/>
                    <a:pt x="129" y="139"/>
                    <a:pt x="139" y="140"/>
                  </a:cubicBezTo>
                  <a:cubicBezTo>
                    <a:pt x="139" y="139"/>
                    <a:pt x="139" y="139"/>
                    <a:pt x="139" y="139"/>
                  </a:cubicBezTo>
                  <a:cubicBezTo>
                    <a:pt x="139" y="129"/>
                    <a:pt x="143" y="119"/>
                    <a:pt x="150" y="112"/>
                  </a:cubicBezTo>
                  <a:cubicBezTo>
                    <a:pt x="164" y="98"/>
                    <a:pt x="189" y="98"/>
                    <a:pt x="203" y="112"/>
                  </a:cubicBezTo>
                  <a:cubicBezTo>
                    <a:pt x="210" y="119"/>
                    <a:pt x="214" y="129"/>
                    <a:pt x="214" y="139"/>
                  </a:cubicBezTo>
                  <a:cubicBezTo>
                    <a:pt x="214" y="145"/>
                    <a:pt x="212" y="151"/>
                    <a:pt x="209" y="157"/>
                  </a:cubicBezTo>
                  <a:cubicBezTo>
                    <a:pt x="355" y="302"/>
                    <a:pt x="355" y="302"/>
                    <a:pt x="355" y="302"/>
                  </a:cubicBezTo>
                  <a:cubicBezTo>
                    <a:pt x="369" y="294"/>
                    <a:pt x="387" y="297"/>
                    <a:pt x="399" y="308"/>
                  </a:cubicBezTo>
                  <a:cubicBezTo>
                    <a:pt x="406" y="316"/>
                    <a:pt x="410" y="325"/>
                    <a:pt x="410" y="335"/>
                  </a:cubicBezTo>
                  <a:cubicBezTo>
                    <a:pt x="410" y="345"/>
                    <a:pt x="406" y="354"/>
                    <a:pt x="399" y="3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2" name="Freeform 571"/>
            <p:cNvSpPr>
              <a:spLocks/>
            </p:cNvSpPr>
            <p:nvPr/>
          </p:nvSpPr>
          <p:spPr bwMode="auto">
            <a:xfrm>
              <a:off x="3813" y="3257"/>
              <a:ext cx="176" cy="179"/>
            </a:xfrm>
            <a:custGeom>
              <a:avLst/>
              <a:gdLst>
                <a:gd name="T0" fmla="*/ 238 w 266"/>
                <a:gd name="T1" fmla="*/ 203 h 269"/>
                <a:gd name="T2" fmla="*/ 223 w 266"/>
                <a:gd name="T3" fmla="*/ 203 h 269"/>
                <a:gd name="T4" fmla="*/ 65 w 266"/>
                <a:gd name="T5" fmla="*/ 44 h 269"/>
                <a:gd name="T6" fmla="*/ 65 w 266"/>
                <a:gd name="T7" fmla="*/ 29 h 269"/>
                <a:gd name="T8" fmla="*/ 69 w 266"/>
                <a:gd name="T9" fmla="*/ 18 h 269"/>
                <a:gd name="T10" fmla="*/ 65 w 266"/>
                <a:gd name="T11" fmla="*/ 6 h 269"/>
                <a:gd name="T12" fmla="*/ 42 w 266"/>
                <a:gd name="T13" fmla="*/ 6 h 269"/>
                <a:gd name="T14" fmla="*/ 37 w 266"/>
                <a:gd name="T15" fmla="*/ 18 h 269"/>
                <a:gd name="T16" fmla="*/ 42 w 266"/>
                <a:gd name="T17" fmla="*/ 29 h 269"/>
                <a:gd name="T18" fmla="*/ 42 w 266"/>
                <a:gd name="T19" fmla="*/ 44 h 269"/>
                <a:gd name="T20" fmla="*/ 27 w 266"/>
                <a:gd name="T21" fmla="*/ 44 h 269"/>
                <a:gd name="T22" fmla="*/ 4 w 266"/>
                <a:gd name="T23" fmla="*/ 44 h 269"/>
                <a:gd name="T24" fmla="*/ 0 w 266"/>
                <a:gd name="T25" fmla="*/ 55 h 269"/>
                <a:gd name="T26" fmla="*/ 4 w 266"/>
                <a:gd name="T27" fmla="*/ 67 h 269"/>
                <a:gd name="T28" fmla="*/ 27 w 266"/>
                <a:gd name="T29" fmla="*/ 67 h 269"/>
                <a:gd name="T30" fmla="*/ 42 w 266"/>
                <a:gd name="T31" fmla="*/ 67 h 269"/>
                <a:gd name="T32" fmla="*/ 201 w 266"/>
                <a:gd name="T33" fmla="*/ 225 h 269"/>
                <a:gd name="T34" fmla="*/ 201 w 266"/>
                <a:gd name="T35" fmla="*/ 240 h 269"/>
                <a:gd name="T36" fmla="*/ 196 w 266"/>
                <a:gd name="T37" fmla="*/ 252 h 269"/>
                <a:gd name="T38" fmla="*/ 201 w 266"/>
                <a:gd name="T39" fmla="*/ 263 h 269"/>
                <a:gd name="T40" fmla="*/ 223 w 266"/>
                <a:gd name="T41" fmla="*/ 263 h 269"/>
                <a:gd name="T42" fmla="*/ 228 w 266"/>
                <a:gd name="T43" fmla="*/ 252 h 269"/>
                <a:gd name="T44" fmla="*/ 223 w 266"/>
                <a:gd name="T45" fmla="*/ 240 h 269"/>
                <a:gd name="T46" fmla="*/ 223 w 266"/>
                <a:gd name="T47" fmla="*/ 225 h 269"/>
                <a:gd name="T48" fmla="*/ 238 w 266"/>
                <a:gd name="T49" fmla="*/ 225 h 269"/>
                <a:gd name="T50" fmla="*/ 261 w 266"/>
                <a:gd name="T51" fmla="*/ 225 h 269"/>
                <a:gd name="T52" fmla="*/ 266 w 266"/>
                <a:gd name="T53" fmla="*/ 214 h 269"/>
                <a:gd name="T54" fmla="*/ 261 w 266"/>
                <a:gd name="T55" fmla="*/ 203 h 269"/>
                <a:gd name="T56" fmla="*/ 238 w 266"/>
                <a:gd name="T57" fmla="*/ 20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6" h="269">
                  <a:moveTo>
                    <a:pt x="238" y="203"/>
                  </a:moveTo>
                  <a:cubicBezTo>
                    <a:pt x="234" y="207"/>
                    <a:pt x="227" y="207"/>
                    <a:pt x="223" y="203"/>
                  </a:cubicBezTo>
                  <a:cubicBezTo>
                    <a:pt x="65" y="44"/>
                    <a:pt x="65" y="44"/>
                    <a:pt x="65" y="44"/>
                  </a:cubicBezTo>
                  <a:cubicBezTo>
                    <a:pt x="61" y="40"/>
                    <a:pt x="61" y="33"/>
                    <a:pt x="65" y="29"/>
                  </a:cubicBezTo>
                  <a:cubicBezTo>
                    <a:pt x="68" y="26"/>
                    <a:pt x="69" y="22"/>
                    <a:pt x="69" y="18"/>
                  </a:cubicBezTo>
                  <a:cubicBezTo>
                    <a:pt x="69" y="13"/>
                    <a:pt x="68" y="9"/>
                    <a:pt x="65" y="6"/>
                  </a:cubicBezTo>
                  <a:cubicBezTo>
                    <a:pt x="59" y="0"/>
                    <a:pt x="48" y="0"/>
                    <a:pt x="42" y="6"/>
                  </a:cubicBezTo>
                  <a:cubicBezTo>
                    <a:pt x="39" y="9"/>
                    <a:pt x="37" y="13"/>
                    <a:pt x="37" y="18"/>
                  </a:cubicBezTo>
                  <a:cubicBezTo>
                    <a:pt x="37" y="22"/>
                    <a:pt x="39" y="26"/>
                    <a:pt x="42" y="29"/>
                  </a:cubicBezTo>
                  <a:cubicBezTo>
                    <a:pt x="46" y="33"/>
                    <a:pt x="46" y="40"/>
                    <a:pt x="42" y="44"/>
                  </a:cubicBezTo>
                  <a:cubicBezTo>
                    <a:pt x="38" y="48"/>
                    <a:pt x="31" y="48"/>
                    <a:pt x="27" y="44"/>
                  </a:cubicBezTo>
                  <a:cubicBezTo>
                    <a:pt x="21" y="38"/>
                    <a:pt x="10" y="38"/>
                    <a:pt x="4" y="44"/>
                  </a:cubicBezTo>
                  <a:cubicBezTo>
                    <a:pt x="1" y="47"/>
                    <a:pt x="0" y="51"/>
                    <a:pt x="0" y="55"/>
                  </a:cubicBezTo>
                  <a:cubicBezTo>
                    <a:pt x="0" y="60"/>
                    <a:pt x="1" y="64"/>
                    <a:pt x="4" y="67"/>
                  </a:cubicBezTo>
                  <a:cubicBezTo>
                    <a:pt x="10" y="73"/>
                    <a:pt x="21" y="73"/>
                    <a:pt x="27" y="67"/>
                  </a:cubicBezTo>
                  <a:cubicBezTo>
                    <a:pt x="31" y="63"/>
                    <a:pt x="38" y="63"/>
                    <a:pt x="42" y="67"/>
                  </a:cubicBezTo>
                  <a:cubicBezTo>
                    <a:pt x="201" y="225"/>
                    <a:pt x="201" y="225"/>
                    <a:pt x="201" y="225"/>
                  </a:cubicBezTo>
                  <a:cubicBezTo>
                    <a:pt x="205" y="229"/>
                    <a:pt x="205" y="236"/>
                    <a:pt x="201" y="240"/>
                  </a:cubicBezTo>
                  <a:cubicBezTo>
                    <a:pt x="198" y="243"/>
                    <a:pt x="196" y="247"/>
                    <a:pt x="196" y="252"/>
                  </a:cubicBezTo>
                  <a:cubicBezTo>
                    <a:pt x="196" y="256"/>
                    <a:pt x="198" y="260"/>
                    <a:pt x="201" y="263"/>
                  </a:cubicBezTo>
                  <a:cubicBezTo>
                    <a:pt x="207" y="269"/>
                    <a:pt x="217" y="269"/>
                    <a:pt x="223" y="263"/>
                  </a:cubicBezTo>
                  <a:cubicBezTo>
                    <a:pt x="226" y="260"/>
                    <a:pt x="228" y="256"/>
                    <a:pt x="228" y="252"/>
                  </a:cubicBezTo>
                  <a:cubicBezTo>
                    <a:pt x="228" y="247"/>
                    <a:pt x="226" y="243"/>
                    <a:pt x="223" y="240"/>
                  </a:cubicBezTo>
                  <a:cubicBezTo>
                    <a:pt x="219" y="236"/>
                    <a:pt x="219" y="229"/>
                    <a:pt x="223" y="225"/>
                  </a:cubicBezTo>
                  <a:cubicBezTo>
                    <a:pt x="227" y="221"/>
                    <a:pt x="234" y="221"/>
                    <a:pt x="238" y="225"/>
                  </a:cubicBezTo>
                  <a:cubicBezTo>
                    <a:pt x="244" y="231"/>
                    <a:pt x="255" y="231"/>
                    <a:pt x="261" y="225"/>
                  </a:cubicBezTo>
                  <a:cubicBezTo>
                    <a:pt x="264" y="222"/>
                    <a:pt x="266" y="218"/>
                    <a:pt x="266" y="214"/>
                  </a:cubicBezTo>
                  <a:cubicBezTo>
                    <a:pt x="266" y="210"/>
                    <a:pt x="264" y="206"/>
                    <a:pt x="261" y="203"/>
                  </a:cubicBezTo>
                  <a:cubicBezTo>
                    <a:pt x="255" y="197"/>
                    <a:pt x="244" y="197"/>
                    <a:pt x="238"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3" name="Group 574"/>
          <p:cNvGrpSpPr>
            <a:grpSpLocks noChangeAspect="1"/>
          </p:cNvGrpSpPr>
          <p:nvPr/>
        </p:nvGrpSpPr>
        <p:grpSpPr bwMode="auto">
          <a:xfrm>
            <a:off x="5867353" y="2528098"/>
            <a:ext cx="367982" cy="367982"/>
            <a:chOff x="2538" y="2688"/>
            <a:chExt cx="340" cy="340"/>
          </a:xfrm>
          <a:solidFill>
            <a:schemeClr val="accent1"/>
          </a:solidFill>
        </p:grpSpPr>
        <p:sp>
          <p:nvSpPr>
            <p:cNvPr id="354" name="Freeform 353"/>
            <p:cNvSpPr>
              <a:spLocks noEditPoints="1"/>
            </p:cNvSpPr>
            <p:nvPr/>
          </p:nvSpPr>
          <p:spPr bwMode="auto">
            <a:xfrm>
              <a:off x="2538" y="26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354"/>
            <p:cNvSpPr>
              <a:spLocks noEditPoints="1"/>
            </p:cNvSpPr>
            <p:nvPr/>
          </p:nvSpPr>
          <p:spPr bwMode="auto">
            <a:xfrm>
              <a:off x="2605" y="2753"/>
              <a:ext cx="205" cy="207"/>
            </a:xfrm>
            <a:custGeom>
              <a:avLst/>
              <a:gdLst>
                <a:gd name="T0" fmla="*/ 298 w 309"/>
                <a:gd name="T1" fmla="*/ 210 h 312"/>
                <a:gd name="T2" fmla="*/ 254 w 309"/>
                <a:gd name="T3" fmla="*/ 204 h 312"/>
                <a:gd name="T4" fmla="*/ 108 w 309"/>
                <a:gd name="T5" fmla="*/ 59 h 312"/>
                <a:gd name="T6" fmla="*/ 113 w 309"/>
                <a:gd name="T7" fmla="*/ 41 h 312"/>
                <a:gd name="T8" fmla="*/ 102 w 309"/>
                <a:gd name="T9" fmla="*/ 14 h 312"/>
                <a:gd name="T10" fmla="*/ 49 w 309"/>
                <a:gd name="T11" fmla="*/ 14 h 312"/>
                <a:gd name="T12" fmla="*/ 38 w 309"/>
                <a:gd name="T13" fmla="*/ 41 h 312"/>
                <a:gd name="T14" fmla="*/ 38 w 309"/>
                <a:gd name="T15" fmla="*/ 42 h 312"/>
                <a:gd name="T16" fmla="*/ 11 w 309"/>
                <a:gd name="T17" fmla="*/ 52 h 312"/>
                <a:gd name="T18" fmla="*/ 0 w 309"/>
                <a:gd name="T19" fmla="*/ 78 h 312"/>
                <a:gd name="T20" fmla="*/ 11 w 309"/>
                <a:gd name="T21" fmla="*/ 105 h 312"/>
                <a:gd name="T22" fmla="*/ 56 w 309"/>
                <a:gd name="T23" fmla="*/ 111 h 312"/>
                <a:gd name="T24" fmla="*/ 201 w 309"/>
                <a:gd name="T25" fmla="*/ 257 h 312"/>
                <a:gd name="T26" fmla="*/ 197 w 309"/>
                <a:gd name="T27" fmla="*/ 275 h 312"/>
                <a:gd name="T28" fmla="*/ 207 w 309"/>
                <a:gd name="T29" fmla="*/ 301 h 312"/>
                <a:gd name="T30" fmla="*/ 234 w 309"/>
                <a:gd name="T31" fmla="*/ 312 h 312"/>
                <a:gd name="T32" fmla="*/ 260 w 309"/>
                <a:gd name="T33" fmla="*/ 301 h 312"/>
                <a:gd name="T34" fmla="*/ 271 w 309"/>
                <a:gd name="T35" fmla="*/ 275 h 312"/>
                <a:gd name="T36" fmla="*/ 271 w 309"/>
                <a:gd name="T37" fmla="*/ 274 h 312"/>
                <a:gd name="T38" fmla="*/ 272 w 309"/>
                <a:gd name="T39" fmla="*/ 274 h 312"/>
                <a:gd name="T40" fmla="*/ 298 w 309"/>
                <a:gd name="T41" fmla="*/ 263 h 312"/>
                <a:gd name="T42" fmla="*/ 309 w 309"/>
                <a:gd name="T43" fmla="*/ 237 h 312"/>
                <a:gd name="T44" fmla="*/ 298 w 309"/>
                <a:gd name="T45" fmla="*/ 210 h 312"/>
                <a:gd name="T46" fmla="*/ 283 w 309"/>
                <a:gd name="T47" fmla="*/ 248 h 312"/>
                <a:gd name="T48" fmla="*/ 260 w 309"/>
                <a:gd name="T49" fmla="*/ 248 h 312"/>
                <a:gd name="T50" fmla="*/ 245 w 309"/>
                <a:gd name="T51" fmla="*/ 248 h 312"/>
                <a:gd name="T52" fmla="*/ 245 w 309"/>
                <a:gd name="T53" fmla="*/ 263 h 312"/>
                <a:gd name="T54" fmla="*/ 250 w 309"/>
                <a:gd name="T55" fmla="*/ 275 h 312"/>
                <a:gd name="T56" fmla="*/ 245 w 309"/>
                <a:gd name="T57" fmla="*/ 286 h 312"/>
                <a:gd name="T58" fmla="*/ 223 w 309"/>
                <a:gd name="T59" fmla="*/ 286 h 312"/>
                <a:gd name="T60" fmla="*/ 218 w 309"/>
                <a:gd name="T61" fmla="*/ 275 h 312"/>
                <a:gd name="T62" fmla="*/ 223 w 309"/>
                <a:gd name="T63" fmla="*/ 263 h 312"/>
                <a:gd name="T64" fmla="*/ 223 w 309"/>
                <a:gd name="T65" fmla="*/ 248 h 312"/>
                <a:gd name="T66" fmla="*/ 64 w 309"/>
                <a:gd name="T67" fmla="*/ 90 h 312"/>
                <a:gd name="T68" fmla="*/ 49 w 309"/>
                <a:gd name="T69" fmla="*/ 90 h 312"/>
                <a:gd name="T70" fmla="*/ 26 w 309"/>
                <a:gd name="T71" fmla="*/ 90 h 312"/>
                <a:gd name="T72" fmla="*/ 22 w 309"/>
                <a:gd name="T73" fmla="*/ 78 h 312"/>
                <a:gd name="T74" fmla="*/ 26 w 309"/>
                <a:gd name="T75" fmla="*/ 67 h 312"/>
                <a:gd name="T76" fmla="*/ 49 w 309"/>
                <a:gd name="T77" fmla="*/ 67 h 312"/>
                <a:gd name="T78" fmla="*/ 64 w 309"/>
                <a:gd name="T79" fmla="*/ 67 h 312"/>
                <a:gd name="T80" fmla="*/ 64 w 309"/>
                <a:gd name="T81" fmla="*/ 52 h 312"/>
                <a:gd name="T82" fmla="*/ 59 w 309"/>
                <a:gd name="T83" fmla="*/ 41 h 312"/>
                <a:gd name="T84" fmla="*/ 64 w 309"/>
                <a:gd name="T85" fmla="*/ 29 h 312"/>
                <a:gd name="T86" fmla="*/ 87 w 309"/>
                <a:gd name="T87" fmla="*/ 29 h 312"/>
                <a:gd name="T88" fmla="*/ 91 w 309"/>
                <a:gd name="T89" fmla="*/ 41 h 312"/>
                <a:gd name="T90" fmla="*/ 87 w 309"/>
                <a:gd name="T91" fmla="*/ 52 h 312"/>
                <a:gd name="T92" fmla="*/ 87 w 309"/>
                <a:gd name="T93" fmla="*/ 67 h 312"/>
                <a:gd name="T94" fmla="*/ 245 w 309"/>
                <a:gd name="T95" fmla="*/ 226 h 312"/>
                <a:gd name="T96" fmla="*/ 260 w 309"/>
                <a:gd name="T97" fmla="*/ 226 h 312"/>
                <a:gd name="T98" fmla="*/ 283 w 309"/>
                <a:gd name="T99" fmla="*/ 226 h 312"/>
                <a:gd name="T100" fmla="*/ 288 w 309"/>
                <a:gd name="T101" fmla="*/ 237 h 312"/>
                <a:gd name="T102" fmla="*/ 283 w 309"/>
                <a:gd name="T103" fmla="*/ 24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9" h="312">
                  <a:moveTo>
                    <a:pt x="298" y="210"/>
                  </a:moveTo>
                  <a:cubicBezTo>
                    <a:pt x="286" y="199"/>
                    <a:pt x="268" y="196"/>
                    <a:pt x="254" y="204"/>
                  </a:cubicBezTo>
                  <a:cubicBezTo>
                    <a:pt x="108" y="59"/>
                    <a:pt x="108" y="59"/>
                    <a:pt x="108" y="59"/>
                  </a:cubicBezTo>
                  <a:cubicBezTo>
                    <a:pt x="111" y="53"/>
                    <a:pt x="113" y="47"/>
                    <a:pt x="113" y="41"/>
                  </a:cubicBezTo>
                  <a:cubicBezTo>
                    <a:pt x="113" y="31"/>
                    <a:pt x="109" y="21"/>
                    <a:pt x="102" y="14"/>
                  </a:cubicBezTo>
                  <a:cubicBezTo>
                    <a:pt x="88" y="0"/>
                    <a:pt x="63" y="0"/>
                    <a:pt x="49" y="14"/>
                  </a:cubicBezTo>
                  <a:cubicBezTo>
                    <a:pt x="42" y="21"/>
                    <a:pt x="38" y="31"/>
                    <a:pt x="38" y="41"/>
                  </a:cubicBezTo>
                  <a:cubicBezTo>
                    <a:pt x="38" y="41"/>
                    <a:pt x="38" y="41"/>
                    <a:pt x="38" y="42"/>
                  </a:cubicBezTo>
                  <a:cubicBezTo>
                    <a:pt x="28" y="41"/>
                    <a:pt x="19" y="45"/>
                    <a:pt x="11" y="52"/>
                  </a:cubicBezTo>
                  <a:cubicBezTo>
                    <a:pt x="4" y="59"/>
                    <a:pt x="0" y="68"/>
                    <a:pt x="0" y="78"/>
                  </a:cubicBezTo>
                  <a:cubicBezTo>
                    <a:pt x="0" y="88"/>
                    <a:pt x="4" y="98"/>
                    <a:pt x="11" y="105"/>
                  </a:cubicBezTo>
                  <a:cubicBezTo>
                    <a:pt x="23" y="116"/>
                    <a:pt x="42" y="119"/>
                    <a:pt x="56" y="111"/>
                  </a:cubicBezTo>
                  <a:cubicBezTo>
                    <a:pt x="201" y="257"/>
                    <a:pt x="201" y="257"/>
                    <a:pt x="201" y="257"/>
                  </a:cubicBezTo>
                  <a:cubicBezTo>
                    <a:pt x="198" y="262"/>
                    <a:pt x="197" y="268"/>
                    <a:pt x="197" y="275"/>
                  </a:cubicBezTo>
                  <a:cubicBezTo>
                    <a:pt x="197" y="285"/>
                    <a:pt x="200" y="294"/>
                    <a:pt x="207" y="301"/>
                  </a:cubicBezTo>
                  <a:cubicBezTo>
                    <a:pt x="215" y="308"/>
                    <a:pt x="224" y="312"/>
                    <a:pt x="234" y="312"/>
                  </a:cubicBezTo>
                  <a:cubicBezTo>
                    <a:pt x="244" y="312"/>
                    <a:pt x="253" y="308"/>
                    <a:pt x="260" y="301"/>
                  </a:cubicBezTo>
                  <a:cubicBezTo>
                    <a:pt x="267" y="294"/>
                    <a:pt x="271" y="285"/>
                    <a:pt x="271" y="275"/>
                  </a:cubicBezTo>
                  <a:cubicBezTo>
                    <a:pt x="271" y="274"/>
                    <a:pt x="271" y="274"/>
                    <a:pt x="271" y="274"/>
                  </a:cubicBezTo>
                  <a:cubicBezTo>
                    <a:pt x="271" y="274"/>
                    <a:pt x="271" y="274"/>
                    <a:pt x="272" y="274"/>
                  </a:cubicBezTo>
                  <a:cubicBezTo>
                    <a:pt x="282" y="274"/>
                    <a:pt x="291" y="270"/>
                    <a:pt x="298" y="263"/>
                  </a:cubicBezTo>
                  <a:cubicBezTo>
                    <a:pt x="305" y="256"/>
                    <a:pt x="309" y="247"/>
                    <a:pt x="309" y="237"/>
                  </a:cubicBezTo>
                  <a:cubicBezTo>
                    <a:pt x="309" y="227"/>
                    <a:pt x="305" y="218"/>
                    <a:pt x="298" y="210"/>
                  </a:cubicBezTo>
                  <a:close/>
                  <a:moveTo>
                    <a:pt x="283" y="248"/>
                  </a:moveTo>
                  <a:cubicBezTo>
                    <a:pt x="277" y="254"/>
                    <a:pt x="266" y="254"/>
                    <a:pt x="260" y="248"/>
                  </a:cubicBezTo>
                  <a:cubicBezTo>
                    <a:pt x="256" y="244"/>
                    <a:pt x="249" y="244"/>
                    <a:pt x="245" y="248"/>
                  </a:cubicBezTo>
                  <a:cubicBezTo>
                    <a:pt x="241" y="252"/>
                    <a:pt x="241" y="259"/>
                    <a:pt x="245" y="263"/>
                  </a:cubicBezTo>
                  <a:cubicBezTo>
                    <a:pt x="248" y="266"/>
                    <a:pt x="250" y="270"/>
                    <a:pt x="250" y="275"/>
                  </a:cubicBezTo>
                  <a:cubicBezTo>
                    <a:pt x="250" y="279"/>
                    <a:pt x="248" y="283"/>
                    <a:pt x="245" y="286"/>
                  </a:cubicBezTo>
                  <a:cubicBezTo>
                    <a:pt x="239" y="292"/>
                    <a:pt x="229" y="292"/>
                    <a:pt x="223" y="286"/>
                  </a:cubicBezTo>
                  <a:cubicBezTo>
                    <a:pt x="220" y="283"/>
                    <a:pt x="218" y="279"/>
                    <a:pt x="218" y="275"/>
                  </a:cubicBezTo>
                  <a:cubicBezTo>
                    <a:pt x="218" y="270"/>
                    <a:pt x="220" y="266"/>
                    <a:pt x="223" y="263"/>
                  </a:cubicBezTo>
                  <a:cubicBezTo>
                    <a:pt x="227" y="259"/>
                    <a:pt x="227" y="252"/>
                    <a:pt x="223" y="248"/>
                  </a:cubicBezTo>
                  <a:cubicBezTo>
                    <a:pt x="64" y="90"/>
                    <a:pt x="64" y="90"/>
                    <a:pt x="64" y="90"/>
                  </a:cubicBezTo>
                  <a:cubicBezTo>
                    <a:pt x="60" y="86"/>
                    <a:pt x="53" y="86"/>
                    <a:pt x="49" y="90"/>
                  </a:cubicBezTo>
                  <a:cubicBezTo>
                    <a:pt x="43" y="96"/>
                    <a:pt x="32" y="96"/>
                    <a:pt x="26" y="90"/>
                  </a:cubicBezTo>
                  <a:cubicBezTo>
                    <a:pt x="23" y="87"/>
                    <a:pt x="22" y="83"/>
                    <a:pt x="22" y="78"/>
                  </a:cubicBezTo>
                  <a:cubicBezTo>
                    <a:pt x="22" y="74"/>
                    <a:pt x="23" y="70"/>
                    <a:pt x="26" y="67"/>
                  </a:cubicBezTo>
                  <a:cubicBezTo>
                    <a:pt x="32" y="61"/>
                    <a:pt x="43" y="61"/>
                    <a:pt x="49" y="67"/>
                  </a:cubicBezTo>
                  <a:cubicBezTo>
                    <a:pt x="53" y="71"/>
                    <a:pt x="60" y="71"/>
                    <a:pt x="64" y="67"/>
                  </a:cubicBezTo>
                  <a:cubicBezTo>
                    <a:pt x="68" y="63"/>
                    <a:pt x="68" y="56"/>
                    <a:pt x="64" y="52"/>
                  </a:cubicBezTo>
                  <a:cubicBezTo>
                    <a:pt x="61" y="49"/>
                    <a:pt x="59" y="45"/>
                    <a:pt x="59" y="41"/>
                  </a:cubicBezTo>
                  <a:cubicBezTo>
                    <a:pt x="59" y="36"/>
                    <a:pt x="61" y="32"/>
                    <a:pt x="64" y="29"/>
                  </a:cubicBezTo>
                  <a:cubicBezTo>
                    <a:pt x="70" y="23"/>
                    <a:pt x="81" y="23"/>
                    <a:pt x="87" y="29"/>
                  </a:cubicBezTo>
                  <a:cubicBezTo>
                    <a:pt x="90" y="32"/>
                    <a:pt x="91" y="36"/>
                    <a:pt x="91" y="41"/>
                  </a:cubicBezTo>
                  <a:cubicBezTo>
                    <a:pt x="91" y="45"/>
                    <a:pt x="90" y="49"/>
                    <a:pt x="87" y="52"/>
                  </a:cubicBezTo>
                  <a:cubicBezTo>
                    <a:pt x="83" y="56"/>
                    <a:pt x="83" y="63"/>
                    <a:pt x="87" y="67"/>
                  </a:cubicBezTo>
                  <a:cubicBezTo>
                    <a:pt x="245" y="226"/>
                    <a:pt x="245" y="226"/>
                    <a:pt x="245" y="226"/>
                  </a:cubicBezTo>
                  <a:cubicBezTo>
                    <a:pt x="249" y="230"/>
                    <a:pt x="256" y="230"/>
                    <a:pt x="260" y="226"/>
                  </a:cubicBezTo>
                  <a:cubicBezTo>
                    <a:pt x="266" y="220"/>
                    <a:pt x="277" y="220"/>
                    <a:pt x="283" y="226"/>
                  </a:cubicBezTo>
                  <a:cubicBezTo>
                    <a:pt x="286" y="229"/>
                    <a:pt x="288" y="233"/>
                    <a:pt x="288" y="237"/>
                  </a:cubicBezTo>
                  <a:cubicBezTo>
                    <a:pt x="288" y="241"/>
                    <a:pt x="286" y="245"/>
                    <a:pt x="283"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6" name="Freeform 547"/>
          <p:cNvSpPr>
            <a:spLocks noChangeAspect="1" noEditPoints="1"/>
          </p:cNvSpPr>
          <p:nvPr/>
        </p:nvSpPr>
        <p:spPr bwMode="auto">
          <a:xfrm>
            <a:off x="6287382" y="2528098"/>
            <a:ext cx="367041" cy="368120"/>
          </a:xfrm>
          <a:custGeom>
            <a:avLst/>
            <a:gdLst>
              <a:gd name="T0" fmla="*/ 282 w 512"/>
              <a:gd name="T1" fmla="*/ 215 h 512"/>
              <a:gd name="T2" fmla="*/ 221 w 512"/>
              <a:gd name="T3" fmla="*/ 275 h 512"/>
              <a:gd name="T4" fmla="*/ 233 w 512"/>
              <a:gd name="T5" fmla="*/ 192 h 512"/>
              <a:gd name="T6" fmla="*/ 278 w 512"/>
              <a:gd name="T7" fmla="*/ 192 h 512"/>
              <a:gd name="T8" fmla="*/ 282 w 512"/>
              <a:gd name="T9" fmla="*/ 215 h 512"/>
              <a:gd name="T10" fmla="*/ 277 w 512"/>
              <a:gd name="T11" fmla="*/ 133 h 512"/>
              <a:gd name="T12" fmla="*/ 256 w 512"/>
              <a:gd name="T13" fmla="*/ 119 h 512"/>
              <a:gd name="T14" fmla="*/ 234 w 512"/>
              <a:gd name="T15" fmla="*/ 133 h 512"/>
              <a:gd name="T16" fmla="*/ 234 w 512"/>
              <a:gd name="T17" fmla="*/ 170 h 512"/>
              <a:gd name="T18" fmla="*/ 277 w 512"/>
              <a:gd name="T19" fmla="*/ 170 h 512"/>
              <a:gd name="T20" fmla="*/ 277 w 512"/>
              <a:gd name="T21" fmla="*/ 133 h 512"/>
              <a:gd name="T22" fmla="*/ 285 w 512"/>
              <a:gd name="T23" fmla="*/ 241 h 512"/>
              <a:gd name="T24" fmla="*/ 216 w 512"/>
              <a:gd name="T25" fmla="*/ 310 h 512"/>
              <a:gd name="T26" fmla="*/ 204 w 512"/>
              <a:gd name="T27" fmla="*/ 394 h 512"/>
              <a:gd name="T28" fmla="*/ 209 w 512"/>
              <a:gd name="T29" fmla="*/ 394 h 512"/>
              <a:gd name="T30" fmla="*/ 295 w 512"/>
              <a:gd name="T31" fmla="*/ 308 h 512"/>
              <a:gd name="T32" fmla="*/ 285 w 512"/>
              <a:gd name="T33" fmla="*/ 241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405 h 512"/>
              <a:gd name="T46" fmla="*/ 362 w 512"/>
              <a:gd name="T47" fmla="*/ 394 h 512"/>
              <a:gd name="T48" fmla="*/ 329 w 512"/>
              <a:gd name="T49" fmla="*/ 394 h 512"/>
              <a:gd name="T50" fmla="*/ 300 w 512"/>
              <a:gd name="T51" fmla="*/ 192 h 512"/>
              <a:gd name="T52" fmla="*/ 330 w 512"/>
              <a:gd name="T53" fmla="*/ 192 h 512"/>
              <a:gd name="T54" fmla="*/ 341 w 512"/>
              <a:gd name="T55" fmla="*/ 181 h 512"/>
              <a:gd name="T56" fmla="*/ 341 w 512"/>
              <a:gd name="T57" fmla="*/ 160 h 512"/>
              <a:gd name="T58" fmla="*/ 330 w 512"/>
              <a:gd name="T59" fmla="*/ 149 h 512"/>
              <a:gd name="T60" fmla="*/ 320 w 512"/>
              <a:gd name="T61" fmla="*/ 160 h 512"/>
              <a:gd name="T62" fmla="*/ 320 w 512"/>
              <a:gd name="T63" fmla="*/ 170 h 512"/>
              <a:gd name="T64" fmla="*/ 298 w 512"/>
              <a:gd name="T65" fmla="*/ 170 h 512"/>
              <a:gd name="T66" fmla="*/ 298 w 512"/>
              <a:gd name="T67" fmla="*/ 128 h 512"/>
              <a:gd name="T68" fmla="*/ 294 w 512"/>
              <a:gd name="T69" fmla="*/ 119 h 512"/>
              <a:gd name="T70" fmla="*/ 262 w 512"/>
              <a:gd name="T71" fmla="*/ 97 h 512"/>
              <a:gd name="T72" fmla="*/ 250 w 512"/>
              <a:gd name="T73" fmla="*/ 97 h 512"/>
              <a:gd name="T74" fmla="*/ 218 w 512"/>
              <a:gd name="T75" fmla="*/ 119 h 512"/>
              <a:gd name="T76" fmla="*/ 213 w 512"/>
              <a:gd name="T77" fmla="*/ 128 h 512"/>
              <a:gd name="T78" fmla="*/ 213 w 512"/>
              <a:gd name="T79" fmla="*/ 170 h 512"/>
              <a:gd name="T80" fmla="*/ 192 w 512"/>
              <a:gd name="T81" fmla="*/ 170 h 512"/>
              <a:gd name="T82" fmla="*/ 192 w 512"/>
              <a:gd name="T83" fmla="*/ 160 h 512"/>
              <a:gd name="T84" fmla="*/ 181 w 512"/>
              <a:gd name="T85" fmla="*/ 149 h 512"/>
              <a:gd name="T86" fmla="*/ 170 w 512"/>
              <a:gd name="T87" fmla="*/ 160 h 512"/>
              <a:gd name="T88" fmla="*/ 170 w 512"/>
              <a:gd name="T89" fmla="*/ 181 h 512"/>
              <a:gd name="T90" fmla="*/ 181 w 512"/>
              <a:gd name="T91" fmla="*/ 192 h 512"/>
              <a:gd name="T92" fmla="*/ 211 w 512"/>
              <a:gd name="T93" fmla="*/ 192 h 512"/>
              <a:gd name="T94" fmla="*/ 182 w 512"/>
              <a:gd name="T95" fmla="*/ 394 h 512"/>
              <a:gd name="T96" fmla="*/ 149 w 512"/>
              <a:gd name="T97" fmla="*/ 394 h 512"/>
              <a:gd name="T98" fmla="*/ 138 w 512"/>
              <a:gd name="T99" fmla="*/ 405 h 512"/>
              <a:gd name="T100" fmla="*/ 149 w 512"/>
              <a:gd name="T101" fmla="*/ 416 h 512"/>
              <a:gd name="T102" fmla="*/ 362 w 512"/>
              <a:gd name="T103" fmla="*/ 416 h 512"/>
              <a:gd name="T104" fmla="*/ 373 w 512"/>
              <a:gd name="T105" fmla="*/ 405 h 512"/>
              <a:gd name="T106" fmla="*/ 239 w 512"/>
              <a:gd name="T107" fmla="*/ 394 h 512"/>
              <a:gd name="T108" fmla="*/ 307 w 512"/>
              <a:gd name="T109" fmla="*/ 394 h 512"/>
              <a:gd name="T110" fmla="*/ 299 w 512"/>
              <a:gd name="T111" fmla="*/ 334 h 512"/>
              <a:gd name="T112" fmla="*/ 239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82" y="215"/>
                </a:moveTo>
                <a:cubicBezTo>
                  <a:pt x="221" y="275"/>
                  <a:pt x="221" y="275"/>
                  <a:pt x="221" y="275"/>
                </a:cubicBezTo>
                <a:cubicBezTo>
                  <a:pt x="233" y="192"/>
                  <a:pt x="233" y="192"/>
                  <a:pt x="233" y="192"/>
                </a:cubicBezTo>
                <a:cubicBezTo>
                  <a:pt x="278" y="192"/>
                  <a:pt x="278" y="192"/>
                  <a:pt x="278" y="192"/>
                </a:cubicBezTo>
                <a:lnTo>
                  <a:pt x="282" y="215"/>
                </a:lnTo>
                <a:close/>
                <a:moveTo>
                  <a:pt x="277" y="133"/>
                </a:moveTo>
                <a:cubicBezTo>
                  <a:pt x="256" y="119"/>
                  <a:pt x="256" y="119"/>
                  <a:pt x="256" y="119"/>
                </a:cubicBezTo>
                <a:cubicBezTo>
                  <a:pt x="234" y="133"/>
                  <a:pt x="234" y="133"/>
                  <a:pt x="234" y="133"/>
                </a:cubicBezTo>
                <a:cubicBezTo>
                  <a:pt x="234" y="170"/>
                  <a:pt x="234" y="170"/>
                  <a:pt x="234" y="170"/>
                </a:cubicBezTo>
                <a:cubicBezTo>
                  <a:pt x="277" y="170"/>
                  <a:pt x="277" y="170"/>
                  <a:pt x="277" y="170"/>
                </a:cubicBezTo>
                <a:lnTo>
                  <a:pt x="277" y="133"/>
                </a:lnTo>
                <a:close/>
                <a:moveTo>
                  <a:pt x="285" y="241"/>
                </a:moveTo>
                <a:cubicBezTo>
                  <a:pt x="216" y="310"/>
                  <a:pt x="216" y="310"/>
                  <a:pt x="216" y="310"/>
                </a:cubicBezTo>
                <a:cubicBezTo>
                  <a:pt x="204" y="394"/>
                  <a:pt x="204" y="394"/>
                  <a:pt x="204" y="394"/>
                </a:cubicBezTo>
                <a:cubicBezTo>
                  <a:pt x="209" y="394"/>
                  <a:pt x="209" y="394"/>
                  <a:pt x="209" y="394"/>
                </a:cubicBezTo>
                <a:cubicBezTo>
                  <a:pt x="295" y="308"/>
                  <a:pt x="295" y="308"/>
                  <a:pt x="295" y="308"/>
                </a:cubicBezTo>
                <a:lnTo>
                  <a:pt x="285" y="2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405"/>
                </a:moveTo>
                <a:cubicBezTo>
                  <a:pt x="373" y="399"/>
                  <a:pt x="368" y="394"/>
                  <a:pt x="362" y="394"/>
                </a:cubicBezTo>
                <a:cubicBezTo>
                  <a:pt x="329" y="394"/>
                  <a:pt x="329" y="394"/>
                  <a:pt x="329" y="394"/>
                </a:cubicBezTo>
                <a:cubicBezTo>
                  <a:pt x="300" y="192"/>
                  <a:pt x="300" y="192"/>
                  <a:pt x="300" y="192"/>
                </a:cubicBezTo>
                <a:cubicBezTo>
                  <a:pt x="330" y="192"/>
                  <a:pt x="330" y="192"/>
                  <a:pt x="330" y="192"/>
                </a:cubicBezTo>
                <a:cubicBezTo>
                  <a:pt x="336" y="192"/>
                  <a:pt x="341" y="187"/>
                  <a:pt x="341" y="181"/>
                </a:cubicBezTo>
                <a:cubicBezTo>
                  <a:pt x="341" y="160"/>
                  <a:pt x="341" y="160"/>
                  <a:pt x="341" y="160"/>
                </a:cubicBezTo>
                <a:cubicBezTo>
                  <a:pt x="341" y="154"/>
                  <a:pt x="336" y="149"/>
                  <a:pt x="330" y="149"/>
                </a:cubicBezTo>
                <a:cubicBezTo>
                  <a:pt x="324" y="149"/>
                  <a:pt x="320" y="154"/>
                  <a:pt x="320" y="160"/>
                </a:cubicBezTo>
                <a:cubicBezTo>
                  <a:pt x="320" y="170"/>
                  <a:pt x="320" y="170"/>
                  <a:pt x="320" y="170"/>
                </a:cubicBezTo>
                <a:cubicBezTo>
                  <a:pt x="298" y="170"/>
                  <a:pt x="298" y="170"/>
                  <a:pt x="298" y="170"/>
                </a:cubicBezTo>
                <a:cubicBezTo>
                  <a:pt x="298" y="128"/>
                  <a:pt x="298" y="128"/>
                  <a:pt x="298" y="128"/>
                </a:cubicBezTo>
                <a:cubicBezTo>
                  <a:pt x="298" y="124"/>
                  <a:pt x="297" y="121"/>
                  <a:pt x="294" y="119"/>
                </a:cubicBezTo>
                <a:cubicBezTo>
                  <a:pt x="262" y="97"/>
                  <a:pt x="262" y="97"/>
                  <a:pt x="262" y="97"/>
                </a:cubicBezTo>
                <a:cubicBezTo>
                  <a:pt x="258" y="95"/>
                  <a:pt x="253" y="95"/>
                  <a:pt x="250" y="97"/>
                </a:cubicBezTo>
                <a:cubicBezTo>
                  <a:pt x="218" y="119"/>
                  <a:pt x="218" y="119"/>
                  <a:pt x="218" y="119"/>
                </a:cubicBezTo>
                <a:cubicBezTo>
                  <a:pt x="215" y="121"/>
                  <a:pt x="213" y="124"/>
                  <a:pt x="213" y="128"/>
                </a:cubicBezTo>
                <a:cubicBezTo>
                  <a:pt x="213" y="170"/>
                  <a:pt x="213" y="170"/>
                  <a:pt x="213" y="170"/>
                </a:cubicBezTo>
                <a:cubicBezTo>
                  <a:pt x="192" y="170"/>
                  <a:pt x="192" y="170"/>
                  <a:pt x="192" y="170"/>
                </a:cubicBezTo>
                <a:cubicBezTo>
                  <a:pt x="192" y="160"/>
                  <a:pt x="192" y="160"/>
                  <a:pt x="192" y="160"/>
                </a:cubicBezTo>
                <a:cubicBezTo>
                  <a:pt x="192" y="154"/>
                  <a:pt x="187" y="149"/>
                  <a:pt x="181" y="149"/>
                </a:cubicBezTo>
                <a:cubicBezTo>
                  <a:pt x="175" y="149"/>
                  <a:pt x="170" y="154"/>
                  <a:pt x="170" y="160"/>
                </a:cubicBezTo>
                <a:cubicBezTo>
                  <a:pt x="170" y="181"/>
                  <a:pt x="170" y="181"/>
                  <a:pt x="170" y="181"/>
                </a:cubicBezTo>
                <a:cubicBezTo>
                  <a:pt x="170" y="187"/>
                  <a:pt x="175" y="192"/>
                  <a:pt x="181" y="192"/>
                </a:cubicBezTo>
                <a:cubicBezTo>
                  <a:pt x="211" y="192"/>
                  <a:pt x="211" y="192"/>
                  <a:pt x="211" y="192"/>
                </a:cubicBezTo>
                <a:cubicBezTo>
                  <a:pt x="182" y="394"/>
                  <a:pt x="182" y="394"/>
                  <a:pt x="182" y="394"/>
                </a:cubicBezTo>
                <a:cubicBezTo>
                  <a:pt x="149" y="394"/>
                  <a:pt x="149" y="394"/>
                  <a:pt x="149" y="394"/>
                </a:cubicBezTo>
                <a:cubicBezTo>
                  <a:pt x="143" y="394"/>
                  <a:pt x="138" y="399"/>
                  <a:pt x="138" y="405"/>
                </a:cubicBezTo>
                <a:cubicBezTo>
                  <a:pt x="138" y="411"/>
                  <a:pt x="143" y="416"/>
                  <a:pt x="149" y="416"/>
                </a:cubicBezTo>
                <a:cubicBezTo>
                  <a:pt x="362" y="416"/>
                  <a:pt x="362" y="416"/>
                  <a:pt x="362" y="416"/>
                </a:cubicBezTo>
                <a:cubicBezTo>
                  <a:pt x="368" y="416"/>
                  <a:pt x="373" y="411"/>
                  <a:pt x="373" y="405"/>
                </a:cubicBezTo>
                <a:close/>
                <a:moveTo>
                  <a:pt x="239" y="394"/>
                </a:moveTo>
                <a:cubicBezTo>
                  <a:pt x="307" y="394"/>
                  <a:pt x="307" y="394"/>
                  <a:pt x="307" y="394"/>
                </a:cubicBezTo>
                <a:cubicBezTo>
                  <a:pt x="299" y="334"/>
                  <a:pt x="299" y="334"/>
                  <a:pt x="299" y="334"/>
                </a:cubicBezTo>
                <a:lnTo>
                  <a:pt x="239" y="39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7" name="Group 550"/>
          <p:cNvGrpSpPr>
            <a:grpSpLocks noChangeAspect="1"/>
          </p:cNvGrpSpPr>
          <p:nvPr/>
        </p:nvGrpSpPr>
        <p:grpSpPr bwMode="auto">
          <a:xfrm>
            <a:off x="6706470" y="2528098"/>
            <a:ext cx="367041" cy="367041"/>
            <a:chOff x="5990" y="2438"/>
            <a:chExt cx="340" cy="340"/>
          </a:xfrm>
          <a:solidFill>
            <a:schemeClr val="accent6"/>
          </a:solidFill>
        </p:grpSpPr>
        <p:sp>
          <p:nvSpPr>
            <p:cNvPr id="358" name="Freeform 551"/>
            <p:cNvSpPr>
              <a:spLocks noEditPoints="1"/>
            </p:cNvSpPr>
            <p:nvPr/>
          </p:nvSpPr>
          <p:spPr bwMode="auto">
            <a:xfrm>
              <a:off x="5990" y="243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552"/>
            <p:cNvSpPr>
              <a:spLocks noEditPoints="1"/>
            </p:cNvSpPr>
            <p:nvPr/>
          </p:nvSpPr>
          <p:spPr bwMode="auto">
            <a:xfrm>
              <a:off x="6082" y="2501"/>
              <a:ext cx="156" cy="213"/>
            </a:xfrm>
            <a:custGeom>
              <a:avLst/>
              <a:gdLst>
                <a:gd name="T0" fmla="*/ 224 w 235"/>
                <a:gd name="T1" fmla="*/ 299 h 321"/>
                <a:gd name="T2" fmla="*/ 191 w 235"/>
                <a:gd name="T3" fmla="*/ 299 h 321"/>
                <a:gd name="T4" fmla="*/ 162 w 235"/>
                <a:gd name="T5" fmla="*/ 97 h 321"/>
                <a:gd name="T6" fmla="*/ 192 w 235"/>
                <a:gd name="T7" fmla="*/ 97 h 321"/>
                <a:gd name="T8" fmla="*/ 203 w 235"/>
                <a:gd name="T9" fmla="*/ 86 h 321"/>
                <a:gd name="T10" fmla="*/ 203 w 235"/>
                <a:gd name="T11" fmla="*/ 65 h 321"/>
                <a:gd name="T12" fmla="*/ 192 w 235"/>
                <a:gd name="T13" fmla="*/ 54 h 321"/>
                <a:gd name="T14" fmla="*/ 182 w 235"/>
                <a:gd name="T15" fmla="*/ 65 h 321"/>
                <a:gd name="T16" fmla="*/ 182 w 235"/>
                <a:gd name="T17" fmla="*/ 75 h 321"/>
                <a:gd name="T18" fmla="*/ 160 w 235"/>
                <a:gd name="T19" fmla="*/ 75 h 321"/>
                <a:gd name="T20" fmla="*/ 160 w 235"/>
                <a:gd name="T21" fmla="*/ 33 h 321"/>
                <a:gd name="T22" fmla="*/ 156 w 235"/>
                <a:gd name="T23" fmla="*/ 24 h 321"/>
                <a:gd name="T24" fmla="*/ 124 w 235"/>
                <a:gd name="T25" fmla="*/ 2 h 321"/>
                <a:gd name="T26" fmla="*/ 112 w 235"/>
                <a:gd name="T27" fmla="*/ 2 h 321"/>
                <a:gd name="T28" fmla="*/ 80 w 235"/>
                <a:gd name="T29" fmla="*/ 24 h 321"/>
                <a:gd name="T30" fmla="*/ 75 w 235"/>
                <a:gd name="T31" fmla="*/ 33 h 321"/>
                <a:gd name="T32" fmla="*/ 75 w 235"/>
                <a:gd name="T33" fmla="*/ 75 h 321"/>
                <a:gd name="T34" fmla="*/ 54 w 235"/>
                <a:gd name="T35" fmla="*/ 75 h 321"/>
                <a:gd name="T36" fmla="*/ 54 w 235"/>
                <a:gd name="T37" fmla="*/ 65 h 321"/>
                <a:gd name="T38" fmla="*/ 43 w 235"/>
                <a:gd name="T39" fmla="*/ 54 h 321"/>
                <a:gd name="T40" fmla="*/ 32 w 235"/>
                <a:gd name="T41" fmla="*/ 65 h 321"/>
                <a:gd name="T42" fmla="*/ 32 w 235"/>
                <a:gd name="T43" fmla="*/ 86 h 321"/>
                <a:gd name="T44" fmla="*/ 43 w 235"/>
                <a:gd name="T45" fmla="*/ 97 h 321"/>
                <a:gd name="T46" fmla="*/ 73 w 235"/>
                <a:gd name="T47" fmla="*/ 97 h 321"/>
                <a:gd name="T48" fmla="*/ 44 w 235"/>
                <a:gd name="T49" fmla="*/ 299 h 321"/>
                <a:gd name="T50" fmla="*/ 11 w 235"/>
                <a:gd name="T51" fmla="*/ 299 h 321"/>
                <a:gd name="T52" fmla="*/ 0 w 235"/>
                <a:gd name="T53" fmla="*/ 310 h 321"/>
                <a:gd name="T54" fmla="*/ 11 w 235"/>
                <a:gd name="T55" fmla="*/ 321 h 321"/>
                <a:gd name="T56" fmla="*/ 224 w 235"/>
                <a:gd name="T57" fmla="*/ 321 h 321"/>
                <a:gd name="T58" fmla="*/ 235 w 235"/>
                <a:gd name="T59" fmla="*/ 310 h 321"/>
                <a:gd name="T60" fmla="*/ 224 w 235"/>
                <a:gd name="T61" fmla="*/ 299 h 321"/>
                <a:gd name="T62" fmla="*/ 140 w 235"/>
                <a:gd name="T63" fmla="*/ 97 h 321"/>
                <a:gd name="T64" fmla="*/ 144 w 235"/>
                <a:gd name="T65" fmla="*/ 120 h 321"/>
                <a:gd name="T66" fmla="*/ 83 w 235"/>
                <a:gd name="T67" fmla="*/ 180 h 321"/>
                <a:gd name="T68" fmla="*/ 95 w 235"/>
                <a:gd name="T69" fmla="*/ 97 h 321"/>
                <a:gd name="T70" fmla="*/ 140 w 235"/>
                <a:gd name="T71" fmla="*/ 97 h 321"/>
                <a:gd name="T72" fmla="*/ 169 w 235"/>
                <a:gd name="T73" fmla="*/ 299 h 321"/>
                <a:gd name="T74" fmla="*/ 101 w 235"/>
                <a:gd name="T75" fmla="*/ 299 h 321"/>
                <a:gd name="T76" fmla="*/ 161 w 235"/>
                <a:gd name="T77" fmla="*/ 239 h 321"/>
                <a:gd name="T78" fmla="*/ 169 w 235"/>
                <a:gd name="T79" fmla="*/ 299 h 321"/>
                <a:gd name="T80" fmla="*/ 96 w 235"/>
                <a:gd name="T81" fmla="*/ 38 h 321"/>
                <a:gd name="T82" fmla="*/ 118 w 235"/>
                <a:gd name="T83" fmla="*/ 24 h 321"/>
                <a:gd name="T84" fmla="*/ 139 w 235"/>
                <a:gd name="T85" fmla="*/ 38 h 321"/>
                <a:gd name="T86" fmla="*/ 139 w 235"/>
                <a:gd name="T87" fmla="*/ 75 h 321"/>
                <a:gd name="T88" fmla="*/ 96 w 235"/>
                <a:gd name="T89" fmla="*/ 75 h 321"/>
                <a:gd name="T90" fmla="*/ 96 w 235"/>
                <a:gd name="T91" fmla="*/ 38 h 321"/>
                <a:gd name="T92" fmla="*/ 78 w 235"/>
                <a:gd name="T93" fmla="*/ 215 h 321"/>
                <a:gd name="T94" fmla="*/ 147 w 235"/>
                <a:gd name="T95" fmla="*/ 146 h 321"/>
                <a:gd name="T96" fmla="*/ 157 w 235"/>
                <a:gd name="T97" fmla="*/ 213 h 321"/>
                <a:gd name="T98" fmla="*/ 71 w 235"/>
                <a:gd name="T99" fmla="*/ 299 h 321"/>
                <a:gd name="T100" fmla="*/ 66 w 235"/>
                <a:gd name="T101" fmla="*/ 299 h 321"/>
                <a:gd name="T102" fmla="*/ 78 w 235"/>
                <a:gd name="T103" fmla="*/ 21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1">
                  <a:moveTo>
                    <a:pt x="224" y="299"/>
                  </a:moveTo>
                  <a:cubicBezTo>
                    <a:pt x="191" y="299"/>
                    <a:pt x="191" y="299"/>
                    <a:pt x="191" y="299"/>
                  </a:cubicBezTo>
                  <a:cubicBezTo>
                    <a:pt x="162" y="97"/>
                    <a:pt x="162" y="97"/>
                    <a:pt x="162" y="97"/>
                  </a:cubicBezTo>
                  <a:cubicBezTo>
                    <a:pt x="192" y="97"/>
                    <a:pt x="192" y="97"/>
                    <a:pt x="192" y="97"/>
                  </a:cubicBezTo>
                  <a:cubicBezTo>
                    <a:pt x="198" y="97"/>
                    <a:pt x="203" y="92"/>
                    <a:pt x="203" y="86"/>
                  </a:cubicBezTo>
                  <a:cubicBezTo>
                    <a:pt x="203" y="65"/>
                    <a:pt x="203" y="65"/>
                    <a:pt x="203" y="65"/>
                  </a:cubicBezTo>
                  <a:cubicBezTo>
                    <a:pt x="203" y="59"/>
                    <a:pt x="198" y="54"/>
                    <a:pt x="192" y="54"/>
                  </a:cubicBezTo>
                  <a:cubicBezTo>
                    <a:pt x="186" y="54"/>
                    <a:pt x="182" y="59"/>
                    <a:pt x="182" y="65"/>
                  </a:cubicBezTo>
                  <a:cubicBezTo>
                    <a:pt x="182" y="75"/>
                    <a:pt x="182" y="75"/>
                    <a:pt x="182" y="75"/>
                  </a:cubicBezTo>
                  <a:cubicBezTo>
                    <a:pt x="160" y="75"/>
                    <a:pt x="160" y="75"/>
                    <a:pt x="160" y="75"/>
                  </a:cubicBezTo>
                  <a:cubicBezTo>
                    <a:pt x="160" y="33"/>
                    <a:pt x="160" y="33"/>
                    <a:pt x="160" y="33"/>
                  </a:cubicBezTo>
                  <a:cubicBezTo>
                    <a:pt x="160" y="29"/>
                    <a:pt x="159" y="26"/>
                    <a:pt x="156" y="24"/>
                  </a:cubicBezTo>
                  <a:cubicBezTo>
                    <a:pt x="124" y="2"/>
                    <a:pt x="124" y="2"/>
                    <a:pt x="124" y="2"/>
                  </a:cubicBezTo>
                  <a:cubicBezTo>
                    <a:pt x="120" y="0"/>
                    <a:pt x="115" y="0"/>
                    <a:pt x="112" y="2"/>
                  </a:cubicBezTo>
                  <a:cubicBezTo>
                    <a:pt x="80" y="24"/>
                    <a:pt x="80" y="24"/>
                    <a:pt x="80" y="24"/>
                  </a:cubicBezTo>
                  <a:cubicBezTo>
                    <a:pt x="77" y="26"/>
                    <a:pt x="75" y="29"/>
                    <a:pt x="75" y="33"/>
                  </a:cubicBezTo>
                  <a:cubicBezTo>
                    <a:pt x="75" y="75"/>
                    <a:pt x="75" y="75"/>
                    <a:pt x="75" y="75"/>
                  </a:cubicBezTo>
                  <a:cubicBezTo>
                    <a:pt x="54" y="75"/>
                    <a:pt x="54" y="75"/>
                    <a:pt x="54" y="75"/>
                  </a:cubicBezTo>
                  <a:cubicBezTo>
                    <a:pt x="54" y="65"/>
                    <a:pt x="54" y="65"/>
                    <a:pt x="54" y="65"/>
                  </a:cubicBezTo>
                  <a:cubicBezTo>
                    <a:pt x="54" y="59"/>
                    <a:pt x="49" y="54"/>
                    <a:pt x="43" y="54"/>
                  </a:cubicBezTo>
                  <a:cubicBezTo>
                    <a:pt x="37" y="54"/>
                    <a:pt x="32" y="59"/>
                    <a:pt x="32" y="65"/>
                  </a:cubicBezTo>
                  <a:cubicBezTo>
                    <a:pt x="32" y="86"/>
                    <a:pt x="32" y="86"/>
                    <a:pt x="32" y="86"/>
                  </a:cubicBezTo>
                  <a:cubicBezTo>
                    <a:pt x="32" y="92"/>
                    <a:pt x="37" y="97"/>
                    <a:pt x="43" y="97"/>
                  </a:cubicBezTo>
                  <a:cubicBezTo>
                    <a:pt x="73" y="97"/>
                    <a:pt x="73" y="97"/>
                    <a:pt x="73" y="97"/>
                  </a:cubicBezTo>
                  <a:cubicBezTo>
                    <a:pt x="44" y="299"/>
                    <a:pt x="44" y="299"/>
                    <a:pt x="44" y="299"/>
                  </a:cubicBezTo>
                  <a:cubicBezTo>
                    <a:pt x="11" y="299"/>
                    <a:pt x="11" y="299"/>
                    <a:pt x="11" y="299"/>
                  </a:cubicBezTo>
                  <a:cubicBezTo>
                    <a:pt x="5" y="299"/>
                    <a:pt x="0" y="304"/>
                    <a:pt x="0" y="310"/>
                  </a:cubicBezTo>
                  <a:cubicBezTo>
                    <a:pt x="0" y="316"/>
                    <a:pt x="5" y="321"/>
                    <a:pt x="11" y="321"/>
                  </a:cubicBezTo>
                  <a:cubicBezTo>
                    <a:pt x="224" y="321"/>
                    <a:pt x="224" y="321"/>
                    <a:pt x="224" y="321"/>
                  </a:cubicBezTo>
                  <a:cubicBezTo>
                    <a:pt x="230" y="321"/>
                    <a:pt x="235" y="316"/>
                    <a:pt x="235" y="310"/>
                  </a:cubicBezTo>
                  <a:cubicBezTo>
                    <a:pt x="235" y="304"/>
                    <a:pt x="230" y="299"/>
                    <a:pt x="224" y="299"/>
                  </a:cubicBezTo>
                  <a:close/>
                  <a:moveTo>
                    <a:pt x="140" y="97"/>
                  </a:moveTo>
                  <a:cubicBezTo>
                    <a:pt x="144" y="120"/>
                    <a:pt x="144" y="120"/>
                    <a:pt x="144" y="120"/>
                  </a:cubicBezTo>
                  <a:cubicBezTo>
                    <a:pt x="83" y="180"/>
                    <a:pt x="83" y="180"/>
                    <a:pt x="83" y="180"/>
                  </a:cubicBezTo>
                  <a:cubicBezTo>
                    <a:pt x="95" y="97"/>
                    <a:pt x="95" y="97"/>
                    <a:pt x="95" y="97"/>
                  </a:cubicBezTo>
                  <a:lnTo>
                    <a:pt x="140" y="97"/>
                  </a:lnTo>
                  <a:close/>
                  <a:moveTo>
                    <a:pt x="169" y="299"/>
                  </a:moveTo>
                  <a:cubicBezTo>
                    <a:pt x="101" y="299"/>
                    <a:pt x="101" y="299"/>
                    <a:pt x="101" y="299"/>
                  </a:cubicBezTo>
                  <a:cubicBezTo>
                    <a:pt x="161" y="239"/>
                    <a:pt x="161" y="239"/>
                    <a:pt x="161" y="239"/>
                  </a:cubicBezTo>
                  <a:lnTo>
                    <a:pt x="169" y="299"/>
                  </a:lnTo>
                  <a:close/>
                  <a:moveTo>
                    <a:pt x="96" y="38"/>
                  </a:moveTo>
                  <a:cubicBezTo>
                    <a:pt x="118" y="24"/>
                    <a:pt x="118" y="24"/>
                    <a:pt x="118" y="24"/>
                  </a:cubicBezTo>
                  <a:cubicBezTo>
                    <a:pt x="139" y="38"/>
                    <a:pt x="139" y="38"/>
                    <a:pt x="139" y="38"/>
                  </a:cubicBezTo>
                  <a:cubicBezTo>
                    <a:pt x="139" y="75"/>
                    <a:pt x="139" y="75"/>
                    <a:pt x="139" y="75"/>
                  </a:cubicBezTo>
                  <a:cubicBezTo>
                    <a:pt x="96" y="75"/>
                    <a:pt x="96" y="75"/>
                    <a:pt x="96" y="75"/>
                  </a:cubicBezTo>
                  <a:lnTo>
                    <a:pt x="96" y="38"/>
                  </a:lnTo>
                  <a:close/>
                  <a:moveTo>
                    <a:pt x="78" y="215"/>
                  </a:moveTo>
                  <a:cubicBezTo>
                    <a:pt x="147" y="146"/>
                    <a:pt x="147" y="146"/>
                    <a:pt x="147" y="146"/>
                  </a:cubicBezTo>
                  <a:cubicBezTo>
                    <a:pt x="157" y="213"/>
                    <a:pt x="157" y="213"/>
                    <a:pt x="157" y="213"/>
                  </a:cubicBezTo>
                  <a:cubicBezTo>
                    <a:pt x="71" y="299"/>
                    <a:pt x="71" y="299"/>
                    <a:pt x="71" y="299"/>
                  </a:cubicBezTo>
                  <a:cubicBezTo>
                    <a:pt x="66" y="299"/>
                    <a:pt x="66" y="299"/>
                    <a:pt x="66" y="299"/>
                  </a:cubicBezTo>
                  <a:lnTo>
                    <a:pt x="78" y="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0" name="Freeform 556"/>
          <p:cNvSpPr>
            <a:spLocks noChangeAspect="1" noEditPoints="1"/>
          </p:cNvSpPr>
          <p:nvPr/>
        </p:nvSpPr>
        <p:spPr bwMode="auto">
          <a:xfrm>
            <a:off x="423938" y="3358107"/>
            <a:ext cx="367041" cy="368120"/>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1" name="Group 559"/>
          <p:cNvGrpSpPr>
            <a:grpSpLocks noChangeAspect="1"/>
          </p:cNvGrpSpPr>
          <p:nvPr/>
        </p:nvGrpSpPr>
        <p:grpSpPr bwMode="auto">
          <a:xfrm>
            <a:off x="838027" y="3358107"/>
            <a:ext cx="367041" cy="367041"/>
            <a:chOff x="6726" y="2883"/>
            <a:chExt cx="340" cy="340"/>
          </a:xfrm>
          <a:solidFill>
            <a:schemeClr val="accent6"/>
          </a:solidFill>
        </p:grpSpPr>
        <p:sp>
          <p:nvSpPr>
            <p:cNvPr id="362" name="Freeform 560"/>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561"/>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4" name="Freeform 565"/>
          <p:cNvSpPr>
            <a:spLocks noChangeAspect="1" noEditPoints="1"/>
          </p:cNvSpPr>
          <p:nvPr/>
        </p:nvSpPr>
        <p:spPr bwMode="auto">
          <a:xfrm>
            <a:off x="1252116" y="3358107"/>
            <a:ext cx="403745" cy="367041"/>
          </a:xfrm>
          <a:custGeom>
            <a:avLst/>
            <a:gdLst>
              <a:gd name="T0" fmla="*/ 419 w 562"/>
              <a:gd name="T1" fmla="*/ 234 h 512"/>
              <a:gd name="T2" fmla="*/ 387 w 562"/>
              <a:gd name="T3" fmla="*/ 266 h 512"/>
              <a:gd name="T4" fmla="*/ 192 w 562"/>
              <a:gd name="T5" fmla="*/ 266 h 512"/>
              <a:gd name="T6" fmla="*/ 142 w 562"/>
              <a:gd name="T7" fmla="*/ 217 h 512"/>
              <a:gd name="T8" fmla="*/ 192 w 562"/>
              <a:gd name="T9" fmla="*/ 167 h 512"/>
              <a:gd name="T10" fmla="*/ 216 w 562"/>
              <a:gd name="T11" fmla="*/ 175 h 512"/>
              <a:gd name="T12" fmla="*/ 226 w 562"/>
              <a:gd name="T13" fmla="*/ 176 h 512"/>
              <a:gd name="T14" fmla="*/ 232 w 562"/>
              <a:gd name="T15" fmla="*/ 169 h 512"/>
              <a:gd name="T16" fmla="*/ 297 w 562"/>
              <a:gd name="T17" fmla="*/ 117 h 512"/>
              <a:gd name="T18" fmla="*/ 362 w 562"/>
              <a:gd name="T19" fmla="*/ 182 h 512"/>
              <a:gd name="T20" fmla="*/ 361 w 562"/>
              <a:gd name="T21" fmla="*/ 190 h 512"/>
              <a:gd name="T22" fmla="*/ 360 w 562"/>
              <a:gd name="T23" fmla="*/ 195 h 512"/>
              <a:gd name="T24" fmla="*/ 365 w 562"/>
              <a:gd name="T25" fmla="*/ 206 h 512"/>
              <a:gd name="T26" fmla="*/ 378 w 562"/>
              <a:gd name="T27" fmla="*/ 205 h 512"/>
              <a:gd name="T28" fmla="*/ 380 w 562"/>
              <a:gd name="T29" fmla="*/ 203 h 512"/>
              <a:gd name="T30" fmla="*/ 387 w 562"/>
              <a:gd name="T31" fmla="*/ 202 h 512"/>
              <a:gd name="T32" fmla="*/ 419 w 562"/>
              <a:gd name="T33" fmla="*/ 234 h 512"/>
              <a:gd name="T34" fmla="*/ 462 w 562"/>
              <a:gd name="T35" fmla="*/ 437 h 512"/>
              <a:gd name="T36" fmla="*/ 281 w 562"/>
              <a:gd name="T37" fmla="*/ 512 h 512"/>
              <a:gd name="T38" fmla="*/ 100 w 562"/>
              <a:gd name="T39" fmla="*/ 437 h 512"/>
              <a:gd name="T40" fmla="*/ 100 w 562"/>
              <a:gd name="T41" fmla="*/ 75 h 512"/>
              <a:gd name="T42" fmla="*/ 281 w 562"/>
              <a:gd name="T43" fmla="*/ 0 h 512"/>
              <a:gd name="T44" fmla="*/ 462 w 562"/>
              <a:gd name="T45" fmla="*/ 75 h 512"/>
              <a:gd name="T46" fmla="*/ 462 w 562"/>
              <a:gd name="T47" fmla="*/ 437 h 512"/>
              <a:gd name="T48" fmla="*/ 300 w 562"/>
              <a:gd name="T49" fmla="*/ 357 h 512"/>
              <a:gd name="T50" fmla="*/ 291 w 562"/>
              <a:gd name="T51" fmla="*/ 352 h 512"/>
              <a:gd name="T52" fmla="*/ 277 w 562"/>
              <a:gd name="T53" fmla="*/ 352 h 512"/>
              <a:gd name="T54" fmla="*/ 290 w 562"/>
              <a:gd name="T55" fmla="*/ 324 h 512"/>
              <a:gd name="T56" fmla="*/ 285 w 562"/>
              <a:gd name="T57" fmla="*/ 310 h 512"/>
              <a:gd name="T58" fmla="*/ 271 w 562"/>
              <a:gd name="T59" fmla="*/ 315 h 512"/>
              <a:gd name="T60" fmla="*/ 250 w 562"/>
              <a:gd name="T61" fmla="*/ 358 h 512"/>
              <a:gd name="T62" fmla="*/ 250 w 562"/>
              <a:gd name="T63" fmla="*/ 368 h 512"/>
              <a:gd name="T64" fmla="*/ 259 w 562"/>
              <a:gd name="T65" fmla="*/ 373 h 512"/>
              <a:gd name="T66" fmla="*/ 274 w 562"/>
              <a:gd name="T67" fmla="*/ 373 h 512"/>
              <a:gd name="T68" fmla="*/ 260 w 562"/>
              <a:gd name="T69" fmla="*/ 400 h 512"/>
              <a:gd name="T70" fmla="*/ 265 w 562"/>
              <a:gd name="T71" fmla="*/ 415 h 512"/>
              <a:gd name="T72" fmla="*/ 270 w 562"/>
              <a:gd name="T73" fmla="*/ 416 h 512"/>
              <a:gd name="T74" fmla="*/ 280 w 562"/>
              <a:gd name="T75" fmla="*/ 410 h 512"/>
              <a:gd name="T76" fmla="*/ 301 w 562"/>
              <a:gd name="T77" fmla="*/ 367 h 512"/>
              <a:gd name="T78" fmla="*/ 300 w 562"/>
              <a:gd name="T79" fmla="*/ 357 h 512"/>
              <a:gd name="T80" fmla="*/ 441 w 562"/>
              <a:gd name="T81" fmla="*/ 234 h 512"/>
              <a:gd name="T82" fmla="*/ 387 w 562"/>
              <a:gd name="T83" fmla="*/ 181 h 512"/>
              <a:gd name="T84" fmla="*/ 383 w 562"/>
              <a:gd name="T85" fmla="*/ 181 h 512"/>
              <a:gd name="T86" fmla="*/ 297 w 562"/>
              <a:gd name="T87" fmla="*/ 96 h 512"/>
              <a:gd name="T88" fmla="*/ 215 w 562"/>
              <a:gd name="T89" fmla="*/ 151 h 512"/>
              <a:gd name="T90" fmla="*/ 192 w 562"/>
              <a:gd name="T91" fmla="*/ 146 h 512"/>
              <a:gd name="T92" fmla="*/ 121 w 562"/>
              <a:gd name="T93" fmla="*/ 217 h 512"/>
              <a:gd name="T94" fmla="*/ 192 w 562"/>
              <a:gd name="T95" fmla="*/ 288 h 512"/>
              <a:gd name="T96" fmla="*/ 387 w 562"/>
              <a:gd name="T97" fmla="*/ 288 h 512"/>
              <a:gd name="T98" fmla="*/ 441 w 562"/>
              <a:gd name="T99"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 h="512">
                <a:moveTo>
                  <a:pt x="419" y="234"/>
                </a:moveTo>
                <a:cubicBezTo>
                  <a:pt x="419" y="252"/>
                  <a:pt x="405" y="266"/>
                  <a:pt x="387" y="266"/>
                </a:cubicBezTo>
                <a:cubicBezTo>
                  <a:pt x="192" y="266"/>
                  <a:pt x="192" y="266"/>
                  <a:pt x="192" y="266"/>
                </a:cubicBezTo>
                <a:cubicBezTo>
                  <a:pt x="164" y="266"/>
                  <a:pt x="142" y="244"/>
                  <a:pt x="142" y="217"/>
                </a:cubicBezTo>
                <a:cubicBezTo>
                  <a:pt x="142" y="189"/>
                  <a:pt x="164" y="167"/>
                  <a:pt x="192" y="167"/>
                </a:cubicBezTo>
                <a:cubicBezTo>
                  <a:pt x="201" y="167"/>
                  <a:pt x="208" y="170"/>
                  <a:pt x="216" y="175"/>
                </a:cubicBezTo>
                <a:cubicBezTo>
                  <a:pt x="219" y="177"/>
                  <a:pt x="222" y="178"/>
                  <a:pt x="226" y="176"/>
                </a:cubicBezTo>
                <a:cubicBezTo>
                  <a:pt x="229" y="175"/>
                  <a:pt x="231" y="172"/>
                  <a:pt x="232" y="169"/>
                </a:cubicBezTo>
                <a:cubicBezTo>
                  <a:pt x="238" y="139"/>
                  <a:pt x="266" y="117"/>
                  <a:pt x="297" y="117"/>
                </a:cubicBezTo>
                <a:cubicBezTo>
                  <a:pt x="333" y="117"/>
                  <a:pt x="362" y="146"/>
                  <a:pt x="362" y="182"/>
                </a:cubicBezTo>
                <a:cubicBezTo>
                  <a:pt x="362" y="185"/>
                  <a:pt x="361" y="187"/>
                  <a:pt x="361" y="190"/>
                </a:cubicBezTo>
                <a:cubicBezTo>
                  <a:pt x="361" y="192"/>
                  <a:pt x="361" y="193"/>
                  <a:pt x="360" y="195"/>
                </a:cubicBezTo>
                <a:cubicBezTo>
                  <a:pt x="359" y="199"/>
                  <a:pt x="361" y="204"/>
                  <a:pt x="365" y="206"/>
                </a:cubicBezTo>
                <a:cubicBezTo>
                  <a:pt x="369" y="208"/>
                  <a:pt x="374" y="208"/>
                  <a:pt x="378" y="205"/>
                </a:cubicBezTo>
                <a:cubicBezTo>
                  <a:pt x="378" y="204"/>
                  <a:pt x="379" y="204"/>
                  <a:pt x="380" y="203"/>
                </a:cubicBezTo>
                <a:cubicBezTo>
                  <a:pt x="383" y="203"/>
                  <a:pt x="385" y="202"/>
                  <a:pt x="387" y="202"/>
                </a:cubicBezTo>
                <a:cubicBezTo>
                  <a:pt x="405" y="202"/>
                  <a:pt x="419" y="217"/>
                  <a:pt x="419"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300" y="357"/>
                </a:moveTo>
                <a:cubicBezTo>
                  <a:pt x="298" y="354"/>
                  <a:pt x="295" y="352"/>
                  <a:pt x="291" y="352"/>
                </a:cubicBezTo>
                <a:cubicBezTo>
                  <a:pt x="277" y="352"/>
                  <a:pt x="277" y="352"/>
                  <a:pt x="277" y="352"/>
                </a:cubicBezTo>
                <a:cubicBezTo>
                  <a:pt x="290" y="324"/>
                  <a:pt x="290" y="324"/>
                  <a:pt x="290" y="324"/>
                </a:cubicBezTo>
                <a:cubicBezTo>
                  <a:pt x="293" y="319"/>
                  <a:pt x="291" y="313"/>
                  <a:pt x="285" y="310"/>
                </a:cubicBezTo>
                <a:cubicBezTo>
                  <a:pt x="280" y="308"/>
                  <a:pt x="274" y="310"/>
                  <a:pt x="271" y="315"/>
                </a:cubicBezTo>
                <a:cubicBezTo>
                  <a:pt x="250" y="358"/>
                  <a:pt x="250" y="358"/>
                  <a:pt x="250" y="358"/>
                </a:cubicBezTo>
                <a:cubicBezTo>
                  <a:pt x="248" y="361"/>
                  <a:pt x="248" y="365"/>
                  <a:pt x="250" y="368"/>
                </a:cubicBezTo>
                <a:cubicBezTo>
                  <a:pt x="252" y="371"/>
                  <a:pt x="256" y="373"/>
                  <a:pt x="259" y="373"/>
                </a:cubicBezTo>
                <a:cubicBezTo>
                  <a:pt x="274" y="373"/>
                  <a:pt x="274" y="373"/>
                  <a:pt x="274" y="373"/>
                </a:cubicBezTo>
                <a:cubicBezTo>
                  <a:pt x="260" y="400"/>
                  <a:pt x="260" y="400"/>
                  <a:pt x="260" y="400"/>
                </a:cubicBezTo>
                <a:cubicBezTo>
                  <a:pt x="258" y="406"/>
                  <a:pt x="260" y="412"/>
                  <a:pt x="265" y="415"/>
                </a:cubicBezTo>
                <a:cubicBezTo>
                  <a:pt x="267" y="415"/>
                  <a:pt x="268" y="416"/>
                  <a:pt x="270" y="416"/>
                </a:cubicBezTo>
                <a:cubicBezTo>
                  <a:pt x="274" y="416"/>
                  <a:pt x="278" y="414"/>
                  <a:pt x="280" y="410"/>
                </a:cubicBezTo>
                <a:cubicBezTo>
                  <a:pt x="301" y="367"/>
                  <a:pt x="301" y="367"/>
                  <a:pt x="301" y="367"/>
                </a:cubicBezTo>
                <a:cubicBezTo>
                  <a:pt x="303" y="364"/>
                  <a:pt x="302" y="360"/>
                  <a:pt x="300" y="357"/>
                </a:cubicBezTo>
                <a:close/>
                <a:moveTo>
                  <a:pt x="441" y="234"/>
                </a:moveTo>
                <a:cubicBezTo>
                  <a:pt x="441" y="205"/>
                  <a:pt x="417" y="181"/>
                  <a:pt x="387" y="181"/>
                </a:cubicBezTo>
                <a:cubicBezTo>
                  <a:pt x="386" y="181"/>
                  <a:pt x="384" y="181"/>
                  <a:pt x="383" y="181"/>
                </a:cubicBezTo>
                <a:cubicBezTo>
                  <a:pt x="383" y="134"/>
                  <a:pt x="344" y="96"/>
                  <a:pt x="297" y="96"/>
                </a:cubicBezTo>
                <a:cubicBezTo>
                  <a:pt x="260" y="96"/>
                  <a:pt x="228" y="118"/>
                  <a:pt x="215" y="151"/>
                </a:cubicBezTo>
                <a:cubicBezTo>
                  <a:pt x="208" y="148"/>
                  <a:pt x="201" y="146"/>
                  <a:pt x="192" y="146"/>
                </a:cubicBezTo>
                <a:cubicBezTo>
                  <a:pt x="152" y="146"/>
                  <a:pt x="121" y="178"/>
                  <a:pt x="121" y="217"/>
                </a:cubicBezTo>
                <a:cubicBezTo>
                  <a:pt x="121" y="256"/>
                  <a:pt x="152" y="288"/>
                  <a:pt x="192" y="288"/>
                </a:cubicBezTo>
                <a:cubicBezTo>
                  <a:pt x="387" y="288"/>
                  <a:pt x="387" y="288"/>
                  <a:pt x="387" y="288"/>
                </a:cubicBezTo>
                <a:cubicBezTo>
                  <a:pt x="417" y="288"/>
                  <a:pt x="441" y="264"/>
                  <a:pt x="441" y="23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5" name="Group 568"/>
          <p:cNvGrpSpPr>
            <a:grpSpLocks noChangeAspect="1"/>
          </p:cNvGrpSpPr>
          <p:nvPr/>
        </p:nvGrpSpPr>
        <p:grpSpPr bwMode="auto">
          <a:xfrm>
            <a:off x="1702909" y="3358107"/>
            <a:ext cx="404825" cy="367041"/>
            <a:chOff x="6616" y="2941"/>
            <a:chExt cx="375" cy="340"/>
          </a:xfrm>
          <a:solidFill>
            <a:schemeClr val="accent6"/>
          </a:solidFill>
        </p:grpSpPr>
        <p:sp>
          <p:nvSpPr>
            <p:cNvPr id="366" name="Freeform 36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36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36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9" name="Group 422"/>
          <p:cNvGrpSpPr>
            <a:grpSpLocks noChangeAspect="1"/>
          </p:cNvGrpSpPr>
          <p:nvPr/>
        </p:nvGrpSpPr>
        <p:grpSpPr bwMode="auto">
          <a:xfrm>
            <a:off x="2154782" y="3358107"/>
            <a:ext cx="367631" cy="367631"/>
            <a:chOff x="3131" y="1617"/>
            <a:chExt cx="340" cy="340"/>
          </a:xfrm>
          <a:solidFill>
            <a:schemeClr val="accent5"/>
          </a:solidFill>
        </p:grpSpPr>
        <p:sp>
          <p:nvSpPr>
            <p:cNvPr id="370" name="Freeform 423"/>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424"/>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2" name="Group 427"/>
          <p:cNvGrpSpPr>
            <a:grpSpLocks noChangeAspect="1"/>
          </p:cNvGrpSpPr>
          <p:nvPr/>
        </p:nvGrpSpPr>
        <p:grpSpPr bwMode="auto">
          <a:xfrm>
            <a:off x="2569461" y="3358107"/>
            <a:ext cx="367631" cy="367631"/>
            <a:chOff x="3492" y="1636"/>
            <a:chExt cx="340" cy="340"/>
          </a:xfrm>
          <a:solidFill>
            <a:schemeClr val="accent5"/>
          </a:solidFill>
        </p:grpSpPr>
        <p:sp>
          <p:nvSpPr>
            <p:cNvPr id="373" name="Freeform 428"/>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429"/>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7" name="Group 620"/>
          <p:cNvGrpSpPr>
            <a:grpSpLocks noChangeAspect="1"/>
          </p:cNvGrpSpPr>
          <p:nvPr/>
        </p:nvGrpSpPr>
        <p:grpSpPr bwMode="auto">
          <a:xfrm>
            <a:off x="3400864" y="3358107"/>
            <a:ext cx="369676" cy="369676"/>
            <a:chOff x="5828" y="2247"/>
            <a:chExt cx="340" cy="340"/>
          </a:xfrm>
          <a:solidFill>
            <a:schemeClr val="accent1"/>
          </a:solidFill>
        </p:grpSpPr>
        <p:sp>
          <p:nvSpPr>
            <p:cNvPr id="248" name="Freeform 621"/>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622"/>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0" name="Freeform 626"/>
          <p:cNvSpPr>
            <a:spLocks noChangeAspect="1" noEditPoints="1"/>
          </p:cNvSpPr>
          <p:nvPr/>
        </p:nvSpPr>
        <p:spPr bwMode="auto">
          <a:xfrm>
            <a:off x="2984140" y="3358107"/>
            <a:ext cx="369676" cy="369676"/>
          </a:xfrm>
          <a:custGeom>
            <a:avLst/>
            <a:gdLst>
              <a:gd name="T0" fmla="*/ 381 w 512"/>
              <a:gd name="T1" fmla="*/ 227 h 512"/>
              <a:gd name="T2" fmla="*/ 319 w 512"/>
              <a:gd name="T3" fmla="*/ 230 h 512"/>
              <a:gd name="T4" fmla="*/ 287 w 512"/>
              <a:gd name="T5" fmla="*/ 142 h 512"/>
              <a:gd name="T6" fmla="*/ 381 w 512"/>
              <a:gd name="T7" fmla="*/ 227 h 512"/>
              <a:gd name="T8" fmla="*/ 256 w 512"/>
              <a:gd name="T9" fmla="*/ 140 h 512"/>
              <a:gd name="T10" fmla="*/ 214 w 512"/>
              <a:gd name="T11" fmla="*/ 225 h 512"/>
              <a:gd name="T12" fmla="*/ 259 w 512"/>
              <a:gd name="T13" fmla="*/ 213 h 512"/>
              <a:gd name="T14" fmla="*/ 297 w 512"/>
              <a:gd name="T15" fmla="*/ 223 h 512"/>
              <a:gd name="T16" fmla="*/ 256 w 512"/>
              <a:gd name="T17" fmla="*/ 14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05 w 512"/>
              <a:gd name="T29" fmla="*/ 244 h 512"/>
              <a:gd name="T30" fmla="*/ 266 w 512"/>
              <a:gd name="T31" fmla="*/ 117 h 512"/>
              <a:gd name="T32" fmla="*/ 266 w 512"/>
              <a:gd name="T33" fmla="*/ 106 h 512"/>
              <a:gd name="T34" fmla="*/ 256 w 512"/>
              <a:gd name="T35" fmla="*/ 96 h 512"/>
              <a:gd name="T36" fmla="*/ 245 w 512"/>
              <a:gd name="T37" fmla="*/ 106 h 512"/>
              <a:gd name="T38" fmla="*/ 245 w 512"/>
              <a:gd name="T39" fmla="*/ 117 h 512"/>
              <a:gd name="T40" fmla="*/ 106 w 512"/>
              <a:gd name="T41" fmla="*/ 244 h 512"/>
              <a:gd name="T42" fmla="*/ 111 w 512"/>
              <a:gd name="T43" fmla="*/ 254 h 512"/>
              <a:gd name="T44" fmla="*/ 122 w 512"/>
              <a:gd name="T45" fmla="*/ 255 h 512"/>
              <a:gd name="T46" fmla="*/ 197 w 512"/>
              <a:gd name="T47" fmla="*/ 254 h 512"/>
              <a:gd name="T48" fmla="*/ 209 w 512"/>
              <a:gd name="T49" fmla="*/ 254 h 512"/>
              <a:gd name="T50" fmla="*/ 245 w 512"/>
              <a:gd name="T51" fmla="*/ 236 h 512"/>
              <a:gd name="T52" fmla="*/ 245 w 512"/>
              <a:gd name="T53" fmla="*/ 384 h 512"/>
              <a:gd name="T54" fmla="*/ 234 w 512"/>
              <a:gd name="T55" fmla="*/ 394 h 512"/>
              <a:gd name="T56" fmla="*/ 224 w 512"/>
              <a:gd name="T57" fmla="*/ 384 h 512"/>
              <a:gd name="T58" fmla="*/ 213 w 512"/>
              <a:gd name="T59" fmla="*/ 373 h 512"/>
              <a:gd name="T60" fmla="*/ 202 w 512"/>
              <a:gd name="T61" fmla="*/ 384 h 512"/>
              <a:gd name="T62" fmla="*/ 234 w 512"/>
              <a:gd name="T63" fmla="*/ 416 h 512"/>
              <a:gd name="T64" fmla="*/ 266 w 512"/>
              <a:gd name="T65" fmla="*/ 384 h 512"/>
              <a:gd name="T66" fmla="*/ 266 w 512"/>
              <a:gd name="T67" fmla="*/ 235 h 512"/>
              <a:gd name="T68" fmla="*/ 301 w 512"/>
              <a:gd name="T69" fmla="*/ 252 h 512"/>
              <a:gd name="T70" fmla="*/ 309 w 512"/>
              <a:gd name="T71" fmla="*/ 256 h 512"/>
              <a:gd name="T72" fmla="*/ 313 w 512"/>
              <a:gd name="T73" fmla="*/ 255 h 512"/>
              <a:gd name="T74" fmla="*/ 388 w 512"/>
              <a:gd name="T75" fmla="*/ 253 h 512"/>
              <a:gd name="T76" fmla="*/ 399 w 512"/>
              <a:gd name="T77" fmla="*/ 254 h 512"/>
              <a:gd name="T78" fmla="*/ 405 w 512"/>
              <a:gd name="T79" fmla="*/ 244 h 512"/>
              <a:gd name="T80" fmla="*/ 131 w 512"/>
              <a:gd name="T81" fmla="*/ 228 h 512"/>
              <a:gd name="T82" fmla="*/ 192 w 512"/>
              <a:gd name="T83" fmla="*/ 228 h 512"/>
              <a:gd name="T84" fmla="*/ 224 w 512"/>
              <a:gd name="T85" fmla="*/ 142 h 512"/>
              <a:gd name="T86" fmla="*/ 131 w 512"/>
              <a:gd name="T87" fmla="*/ 2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81" y="227"/>
                </a:moveTo>
                <a:cubicBezTo>
                  <a:pt x="367" y="223"/>
                  <a:pt x="346" y="221"/>
                  <a:pt x="319" y="230"/>
                </a:cubicBezTo>
                <a:cubicBezTo>
                  <a:pt x="316" y="187"/>
                  <a:pt x="301" y="159"/>
                  <a:pt x="287" y="142"/>
                </a:cubicBezTo>
                <a:cubicBezTo>
                  <a:pt x="333" y="153"/>
                  <a:pt x="369" y="186"/>
                  <a:pt x="381" y="227"/>
                </a:cubicBezTo>
                <a:close/>
                <a:moveTo>
                  <a:pt x="256" y="140"/>
                </a:moveTo>
                <a:cubicBezTo>
                  <a:pt x="245" y="149"/>
                  <a:pt x="219" y="173"/>
                  <a:pt x="214" y="225"/>
                </a:cubicBezTo>
                <a:cubicBezTo>
                  <a:pt x="231" y="216"/>
                  <a:pt x="246" y="213"/>
                  <a:pt x="259" y="213"/>
                </a:cubicBezTo>
                <a:cubicBezTo>
                  <a:pt x="275" y="213"/>
                  <a:pt x="287" y="218"/>
                  <a:pt x="297" y="223"/>
                </a:cubicBezTo>
                <a:cubicBezTo>
                  <a:pt x="291" y="173"/>
                  <a:pt x="266" y="149"/>
                  <a:pt x="256" y="1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44"/>
                </a:moveTo>
                <a:cubicBezTo>
                  <a:pt x="400" y="176"/>
                  <a:pt x="340" y="122"/>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72" y="122"/>
                  <a:pt x="112" y="176"/>
                  <a:pt x="106" y="244"/>
                </a:cubicBezTo>
                <a:cubicBezTo>
                  <a:pt x="106" y="248"/>
                  <a:pt x="108" y="252"/>
                  <a:pt x="111" y="254"/>
                </a:cubicBezTo>
                <a:cubicBezTo>
                  <a:pt x="114" y="256"/>
                  <a:pt x="118" y="256"/>
                  <a:pt x="122" y="255"/>
                </a:cubicBezTo>
                <a:cubicBezTo>
                  <a:pt x="122" y="254"/>
                  <a:pt x="164" y="234"/>
                  <a:pt x="197" y="254"/>
                </a:cubicBezTo>
                <a:cubicBezTo>
                  <a:pt x="200" y="256"/>
                  <a:pt x="205" y="256"/>
                  <a:pt x="209" y="254"/>
                </a:cubicBezTo>
                <a:cubicBezTo>
                  <a:pt x="222" y="244"/>
                  <a:pt x="234" y="239"/>
                  <a:pt x="245" y="236"/>
                </a:cubicBezTo>
                <a:cubicBezTo>
                  <a:pt x="245" y="384"/>
                  <a:pt x="245" y="384"/>
                  <a:pt x="245" y="384"/>
                </a:cubicBezTo>
                <a:cubicBezTo>
                  <a:pt x="245" y="390"/>
                  <a:pt x="240" y="394"/>
                  <a:pt x="234" y="394"/>
                </a:cubicBezTo>
                <a:cubicBezTo>
                  <a:pt x="228" y="394"/>
                  <a:pt x="224" y="390"/>
                  <a:pt x="224" y="384"/>
                </a:cubicBezTo>
                <a:cubicBezTo>
                  <a:pt x="224" y="378"/>
                  <a:pt x="219" y="373"/>
                  <a:pt x="213" y="373"/>
                </a:cubicBezTo>
                <a:cubicBezTo>
                  <a:pt x="207" y="373"/>
                  <a:pt x="202" y="378"/>
                  <a:pt x="202" y="384"/>
                </a:cubicBezTo>
                <a:cubicBezTo>
                  <a:pt x="202" y="401"/>
                  <a:pt x="217" y="416"/>
                  <a:pt x="234" y="416"/>
                </a:cubicBezTo>
                <a:cubicBezTo>
                  <a:pt x="252" y="416"/>
                  <a:pt x="266" y="401"/>
                  <a:pt x="266" y="384"/>
                </a:cubicBezTo>
                <a:cubicBezTo>
                  <a:pt x="266" y="235"/>
                  <a:pt x="266" y="235"/>
                  <a:pt x="266" y="235"/>
                </a:cubicBezTo>
                <a:cubicBezTo>
                  <a:pt x="288" y="237"/>
                  <a:pt x="300" y="251"/>
                  <a:pt x="301" y="252"/>
                </a:cubicBezTo>
                <a:cubicBezTo>
                  <a:pt x="303" y="254"/>
                  <a:pt x="306" y="256"/>
                  <a:pt x="309" y="256"/>
                </a:cubicBezTo>
                <a:cubicBezTo>
                  <a:pt x="310" y="256"/>
                  <a:pt x="312" y="255"/>
                  <a:pt x="313" y="255"/>
                </a:cubicBezTo>
                <a:cubicBezTo>
                  <a:pt x="361" y="234"/>
                  <a:pt x="387" y="253"/>
                  <a:pt x="388" y="253"/>
                </a:cubicBezTo>
                <a:cubicBezTo>
                  <a:pt x="391" y="256"/>
                  <a:pt x="396" y="256"/>
                  <a:pt x="399" y="254"/>
                </a:cubicBezTo>
                <a:cubicBezTo>
                  <a:pt x="403" y="252"/>
                  <a:pt x="405" y="248"/>
                  <a:pt x="405" y="244"/>
                </a:cubicBezTo>
                <a:close/>
                <a:moveTo>
                  <a:pt x="131" y="228"/>
                </a:moveTo>
                <a:cubicBezTo>
                  <a:pt x="146" y="224"/>
                  <a:pt x="169" y="220"/>
                  <a:pt x="192" y="228"/>
                </a:cubicBezTo>
                <a:cubicBezTo>
                  <a:pt x="195" y="187"/>
                  <a:pt x="210" y="159"/>
                  <a:pt x="224" y="142"/>
                </a:cubicBezTo>
                <a:cubicBezTo>
                  <a:pt x="178" y="153"/>
                  <a:pt x="141" y="187"/>
                  <a:pt x="131" y="22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1" name="Group 565"/>
          <p:cNvGrpSpPr>
            <a:grpSpLocks noChangeAspect="1"/>
          </p:cNvGrpSpPr>
          <p:nvPr/>
        </p:nvGrpSpPr>
        <p:grpSpPr bwMode="auto">
          <a:xfrm>
            <a:off x="4234312" y="3358107"/>
            <a:ext cx="369676" cy="369676"/>
            <a:chOff x="2724" y="1961"/>
            <a:chExt cx="340" cy="340"/>
          </a:xfrm>
          <a:solidFill>
            <a:schemeClr val="accent6"/>
          </a:solidFill>
        </p:grpSpPr>
        <p:sp>
          <p:nvSpPr>
            <p:cNvPr id="252" name="Freeform 566"/>
            <p:cNvSpPr>
              <a:spLocks noEditPoints="1"/>
            </p:cNvSpPr>
            <p:nvPr/>
          </p:nvSpPr>
          <p:spPr bwMode="auto">
            <a:xfrm>
              <a:off x="2724" y="19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Freeform 567"/>
            <p:cNvSpPr>
              <a:spLocks noEditPoints="1"/>
            </p:cNvSpPr>
            <p:nvPr/>
          </p:nvSpPr>
          <p:spPr bwMode="auto">
            <a:xfrm>
              <a:off x="2802" y="2039"/>
              <a:ext cx="184" cy="198"/>
            </a:xfrm>
            <a:custGeom>
              <a:avLst/>
              <a:gdLst>
                <a:gd name="T0" fmla="*/ 229 w 278"/>
                <a:gd name="T1" fmla="*/ 219 h 299"/>
                <a:gd name="T2" fmla="*/ 228 w 278"/>
                <a:gd name="T3" fmla="*/ 139 h 299"/>
                <a:gd name="T4" fmla="*/ 277 w 278"/>
                <a:gd name="T5" fmla="*/ 84 h 299"/>
                <a:gd name="T6" fmla="*/ 250 w 278"/>
                <a:gd name="T7" fmla="*/ 65 h 299"/>
                <a:gd name="T8" fmla="*/ 198 w 278"/>
                <a:gd name="T9" fmla="*/ 86 h 299"/>
                <a:gd name="T10" fmla="*/ 181 w 278"/>
                <a:gd name="T11" fmla="*/ 76 h 299"/>
                <a:gd name="T12" fmla="*/ 181 w 278"/>
                <a:gd name="T13" fmla="*/ 53 h 299"/>
                <a:gd name="T14" fmla="*/ 128 w 278"/>
                <a:gd name="T15" fmla="*/ 0 h 299"/>
                <a:gd name="T16" fmla="*/ 96 w 278"/>
                <a:gd name="T17" fmla="*/ 75 h 299"/>
                <a:gd name="T18" fmla="*/ 81 w 278"/>
                <a:gd name="T19" fmla="*/ 88 h 299"/>
                <a:gd name="T20" fmla="*/ 37 w 278"/>
                <a:gd name="T21" fmla="*/ 65 h 299"/>
                <a:gd name="T22" fmla="*/ 6 w 278"/>
                <a:gd name="T23" fmla="*/ 76 h 299"/>
                <a:gd name="T24" fmla="*/ 3 w 278"/>
                <a:gd name="T25" fmla="*/ 93 h 299"/>
                <a:gd name="T26" fmla="*/ 43 w 278"/>
                <a:gd name="T27" fmla="*/ 181 h 299"/>
                <a:gd name="T28" fmla="*/ 4 w 278"/>
                <a:gd name="T29" fmla="*/ 259 h 299"/>
                <a:gd name="T30" fmla="*/ 4 w 278"/>
                <a:gd name="T31" fmla="*/ 275 h 299"/>
                <a:gd name="T32" fmla="*/ 32 w 278"/>
                <a:gd name="T33" fmla="*/ 293 h 299"/>
                <a:gd name="T34" fmla="*/ 78 w 278"/>
                <a:gd name="T35" fmla="*/ 272 h 299"/>
                <a:gd name="T36" fmla="*/ 200 w 278"/>
                <a:gd name="T37" fmla="*/ 272 h 299"/>
                <a:gd name="T38" fmla="*/ 245 w 278"/>
                <a:gd name="T39" fmla="*/ 293 h 299"/>
                <a:gd name="T40" fmla="*/ 273 w 278"/>
                <a:gd name="T41" fmla="*/ 275 h 299"/>
                <a:gd name="T42" fmla="*/ 274 w 278"/>
                <a:gd name="T43" fmla="*/ 259 h 299"/>
                <a:gd name="T44" fmla="*/ 187 w 278"/>
                <a:gd name="T45" fmla="*/ 192 h 299"/>
                <a:gd name="T46" fmla="*/ 196 w 278"/>
                <a:gd name="T47" fmla="*/ 243 h 299"/>
                <a:gd name="T48" fmla="*/ 139 w 278"/>
                <a:gd name="T49" fmla="*/ 85 h 299"/>
                <a:gd name="T50" fmla="*/ 155 w 278"/>
                <a:gd name="T51" fmla="*/ 139 h 299"/>
                <a:gd name="T52" fmla="*/ 96 w 278"/>
                <a:gd name="T53" fmla="*/ 103 h 299"/>
                <a:gd name="T54" fmla="*/ 213 w 278"/>
                <a:gd name="T55" fmla="*/ 171 h 299"/>
                <a:gd name="T56" fmla="*/ 173 w 278"/>
                <a:gd name="T57" fmla="*/ 150 h 299"/>
                <a:gd name="T58" fmla="*/ 213 w 278"/>
                <a:gd name="T59" fmla="*/ 171 h 299"/>
                <a:gd name="T60" fmla="*/ 90 w 278"/>
                <a:gd name="T61" fmla="*/ 171 h 299"/>
                <a:gd name="T62" fmla="*/ 82 w 278"/>
                <a:gd name="T63" fmla="*/ 120 h 299"/>
                <a:gd name="T64" fmla="*/ 82 w 278"/>
                <a:gd name="T65" fmla="*/ 243 h 299"/>
                <a:gd name="T66" fmla="*/ 90 w 278"/>
                <a:gd name="T67" fmla="*/ 192 h 299"/>
                <a:gd name="T68" fmla="*/ 82 w 278"/>
                <a:gd name="T69" fmla="*/ 243 h 299"/>
                <a:gd name="T70" fmla="*/ 109 w 278"/>
                <a:gd name="T71" fmla="*/ 181 h 299"/>
                <a:gd name="T72" fmla="*/ 154 w 278"/>
                <a:gd name="T73" fmla="*/ 160 h 299"/>
                <a:gd name="T74" fmla="*/ 154 w 278"/>
                <a:gd name="T75" fmla="*/ 203 h 299"/>
                <a:gd name="T76" fmla="*/ 245 w 278"/>
                <a:gd name="T77" fmla="*/ 87 h 299"/>
                <a:gd name="T78" fmla="*/ 219 w 278"/>
                <a:gd name="T79" fmla="*/ 118 h 299"/>
                <a:gd name="T80" fmla="*/ 245 w 278"/>
                <a:gd name="T81" fmla="*/ 87 h 299"/>
                <a:gd name="T82" fmla="*/ 129 w 278"/>
                <a:gd name="T83" fmla="*/ 21 h 299"/>
                <a:gd name="T84" fmla="*/ 160 w 278"/>
                <a:gd name="T85" fmla="*/ 53 h 299"/>
                <a:gd name="T86" fmla="*/ 139 w 278"/>
                <a:gd name="T87" fmla="*/ 64 h 299"/>
                <a:gd name="T88" fmla="*/ 117 w 278"/>
                <a:gd name="T89" fmla="*/ 53 h 299"/>
                <a:gd name="T90" fmla="*/ 32 w 278"/>
                <a:gd name="T91" fmla="*/ 87 h 299"/>
                <a:gd name="T92" fmla="*/ 58 w 278"/>
                <a:gd name="T93" fmla="*/ 118 h 299"/>
                <a:gd name="T94" fmla="*/ 33 w 278"/>
                <a:gd name="T95" fmla="*/ 270 h 299"/>
                <a:gd name="T96" fmla="*/ 56 w 278"/>
                <a:gd name="T97" fmla="*/ 241 h 299"/>
                <a:gd name="T98" fmla="*/ 33 w 278"/>
                <a:gd name="T99" fmla="*/ 270 h 299"/>
                <a:gd name="T100" fmla="*/ 123 w 278"/>
                <a:gd name="T101" fmla="*/ 224 h 299"/>
                <a:gd name="T102" fmla="*/ 182 w 278"/>
                <a:gd name="T103" fmla="*/ 260 h 299"/>
                <a:gd name="T104" fmla="*/ 96 w 278"/>
                <a:gd name="T105" fmla="*/ 260 h 299"/>
                <a:gd name="T106" fmla="*/ 213 w 278"/>
                <a:gd name="T107" fmla="*/ 255 h 299"/>
                <a:gd name="T108" fmla="*/ 250 w 278"/>
                <a:gd name="T109"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99">
                  <a:moveTo>
                    <a:pt x="274" y="259"/>
                  </a:moveTo>
                  <a:cubicBezTo>
                    <a:pt x="229" y="219"/>
                    <a:pt x="229" y="219"/>
                    <a:pt x="229" y="219"/>
                  </a:cubicBezTo>
                  <a:cubicBezTo>
                    <a:pt x="233" y="207"/>
                    <a:pt x="235" y="195"/>
                    <a:pt x="235" y="181"/>
                  </a:cubicBezTo>
                  <a:cubicBezTo>
                    <a:pt x="235" y="166"/>
                    <a:pt x="232" y="152"/>
                    <a:pt x="228" y="139"/>
                  </a:cubicBezTo>
                  <a:cubicBezTo>
                    <a:pt x="274" y="93"/>
                    <a:pt x="274" y="93"/>
                    <a:pt x="274" y="93"/>
                  </a:cubicBezTo>
                  <a:cubicBezTo>
                    <a:pt x="277" y="90"/>
                    <a:pt x="278" y="87"/>
                    <a:pt x="277" y="84"/>
                  </a:cubicBezTo>
                  <a:cubicBezTo>
                    <a:pt x="277" y="80"/>
                    <a:pt x="275" y="77"/>
                    <a:pt x="271" y="76"/>
                  </a:cubicBezTo>
                  <a:cubicBezTo>
                    <a:pt x="250" y="65"/>
                    <a:pt x="250" y="65"/>
                    <a:pt x="250" y="65"/>
                  </a:cubicBezTo>
                  <a:cubicBezTo>
                    <a:pt x="247" y="64"/>
                    <a:pt x="244" y="64"/>
                    <a:pt x="241" y="65"/>
                  </a:cubicBezTo>
                  <a:cubicBezTo>
                    <a:pt x="198" y="86"/>
                    <a:pt x="198" y="86"/>
                    <a:pt x="198" y="86"/>
                  </a:cubicBezTo>
                  <a:cubicBezTo>
                    <a:pt x="197" y="87"/>
                    <a:pt x="197" y="87"/>
                    <a:pt x="196" y="88"/>
                  </a:cubicBezTo>
                  <a:cubicBezTo>
                    <a:pt x="192" y="83"/>
                    <a:pt x="186" y="79"/>
                    <a:pt x="181" y="76"/>
                  </a:cubicBezTo>
                  <a:cubicBezTo>
                    <a:pt x="181" y="76"/>
                    <a:pt x="181" y="75"/>
                    <a:pt x="181" y="75"/>
                  </a:cubicBezTo>
                  <a:cubicBezTo>
                    <a:pt x="181" y="53"/>
                    <a:pt x="181" y="53"/>
                    <a:pt x="181" y="53"/>
                  </a:cubicBezTo>
                  <a:cubicBezTo>
                    <a:pt x="181" y="41"/>
                    <a:pt x="171" y="0"/>
                    <a:pt x="149" y="0"/>
                  </a:cubicBezTo>
                  <a:cubicBezTo>
                    <a:pt x="128" y="0"/>
                    <a:pt x="128" y="0"/>
                    <a:pt x="128" y="0"/>
                  </a:cubicBezTo>
                  <a:cubicBezTo>
                    <a:pt x="106" y="0"/>
                    <a:pt x="96" y="41"/>
                    <a:pt x="96" y="53"/>
                  </a:cubicBezTo>
                  <a:cubicBezTo>
                    <a:pt x="96" y="75"/>
                    <a:pt x="96" y="75"/>
                    <a:pt x="96" y="75"/>
                  </a:cubicBezTo>
                  <a:cubicBezTo>
                    <a:pt x="96" y="75"/>
                    <a:pt x="96" y="76"/>
                    <a:pt x="96" y="76"/>
                  </a:cubicBezTo>
                  <a:cubicBezTo>
                    <a:pt x="91" y="79"/>
                    <a:pt x="86" y="83"/>
                    <a:pt x="81" y="88"/>
                  </a:cubicBezTo>
                  <a:cubicBezTo>
                    <a:pt x="81" y="87"/>
                    <a:pt x="80" y="87"/>
                    <a:pt x="79" y="86"/>
                  </a:cubicBezTo>
                  <a:cubicBezTo>
                    <a:pt x="37" y="65"/>
                    <a:pt x="37" y="65"/>
                    <a:pt x="37" y="65"/>
                  </a:cubicBezTo>
                  <a:cubicBezTo>
                    <a:pt x="34" y="64"/>
                    <a:pt x="30" y="64"/>
                    <a:pt x="27" y="65"/>
                  </a:cubicBezTo>
                  <a:cubicBezTo>
                    <a:pt x="6" y="76"/>
                    <a:pt x="6" y="76"/>
                    <a:pt x="6" y="76"/>
                  </a:cubicBezTo>
                  <a:cubicBezTo>
                    <a:pt x="3" y="77"/>
                    <a:pt x="1" y="80"/>
                    <a:pt x="0" y="84"/>
                  </a:cubicBezTo>
                  <a:cubicBezTo>
                    <a:pt x="0" y="87"/>
                    <a:pt x="1" y="90"/>
                    <a:pt x="3" y="93"/>
                  </a:cubicBezTo>
                  <a:cubicBezTo>
                    <a:pt x="49" y="139"/>
                    <a:pt x="49" y="139"/>
                    <a:pt x="49" y="139"/>
                  </a:cubicBezTo>
                  <a:cubicBezTo>
                    <a:pt x="45" y="152"/>
                    <a:pt x="43" y="166"/>
                    <a:pt x="43" y="181"/>
                  </a:cubicBezTo>
                  <a:cubicBezTo>
                    <a:pt x="43" y="195"/>
                    <a:pt x="45" y="207"/>
                    <a:pt x="48" y="219"/>
                  </a:cubicBezTo>
                  <a:cubicBezTo>
                    <a:pt x="4" y="259"/>
                    <a:pt x="4" y="259"/>
                    <a:pt x="4" y="259"/>
                  </a:cubicBezTo>
                  <a:cubicBezTo>
                    <a:pt x="1" y="261"/>
                    <a:pt x="0" y="264"/>
                    <a:pt x="0" y="267"/>
                  </a:cubicBezTo>
                  <a:cubicBezTo>
                    <a:pt x="0" y="270"/>
                    <a:pt x="2" y="273"/>
                    <a:pt x="4" y="275"/>
                  </a:cubicBezTo>
                  <a:cubicBezTo>
                    <a:pt x="26" y="291"/>
                    <a:pt x="26" y="291"/>
                    <a:pt x="26" y="291"/>
                  </a:cubicBezTo>
                  <a:cubicBezTo>
                    <a:pt x="27" y="293"/>
                    <a:pt x="30" y="293"/>
                    <a:pt x="32" y="293"/>
                  </a:cubicBezTo>
                  <a:cubicBezTo>
                    <a:pt x="34" y="293"/>
                    <a:pt x="35" y="293"/>
                    <a:pt x="37" y="292"/>
                  </a:cubicBezTo>
                  <a:cubicBezTo>
                    <a:pt x="78" y="272"/>
                    <a:pt x="78" y="272"/>
                    <a:pt x="78" y="272"/>
                  </a:cubicBezTo>
                  <a:cubicBezTo>
                    <a:pt x="94" y="289"/>
                    <a:pt x="115" y="299"/>
                    <a:pt x="139" y="299"/>
                  </a:cubicBezTo>
                  <a:cubicBezTo>
                    <a:pt x="162" y="299"/>
                    <a:pt x="183" y="289"/>
                    <a:pt x="200" y="272"/>
                  </a:cubicBezTo>
                  <a:cubicBezTo>
                    <a:pt x="241" y="292"/>
                    <a:pt x="241" y="292"/>
                    <a:pt x="241" y="292"/>
                  </a:cubicBezTo>
                  <a:cubicBezTo>
                    <a:pt x="242" y="293"/>
                    <a:pt x="244" y="293"/>
                    <a:pt x="245" y="293"/>
                  </a:cubicBezTo>
                  <a:cubicBezTo>
                    <a:pt x="248" y="293"/>
                    <a:pt x="250" y="293"/>
                    <a:pt x="252" y="291"/>
                  </a:cubicBezTo>
                  <a:cubicBezTo>
                    <a:pt x="273" y="275"/>
                    <a:pt x="273" y="275"/>
                    <a:pt x="273" y="275"/>
                  </a:cubicBezTo>
                  <a:cubicBezTo>
                    <a:pt x="276" y="273"/>
                    <a:pt x="277" y="270"/>
                    <a:pt x="277" y="267"/>
                  </a:cubicBezTo>
                  <a:cubicBezTo>
                    <a:pt x="277" y="264"/>
                    <a:pt x="276" y="261"/>
                    <a:pt x="274" y="259"/>
                  </a:cubicBezTo>
                  <a:close/>
                  <a:moveTo>
                    <a:pt x="173" y="213"/>
                  </a:moveTo>
                  <a:cubicBezTo>
                    <a:pt x="187" y="192"/>
                    <a:pt x="187" y="192"/>
                    <a:pt x="187" y="192"/>
                  </a:cubicBezTo>
                  <a:cubicBezTo>
                    <a:pt x="213" y="192"/>
                    <a:pt x="213" y="192"/>
                    <a:pt x="213" y="192"/>
                  </a:cubicBezTo>
                  <a:cubicBezTo>
                    <a:pt x="211" y="211"/>
                    <a:pt x="205" y="229"/>
                    <a:pt x="196" y="243"/>
                  </a:cubicBezTo>
                  <a:lnTo>
                    <a:pt x="173" y="213"/>
                  </a:lnTo>
                  <a:close/>
                  <a:moveTo>
                    <a:pt x="139" y="85"/>
                  </a:moveTo>
                  <a:cubicBezTo>
                    <a:pt x="155" y="85"/>
                    <a:pt x="169" y="92"/>
                    <a:pt x="182" y="103"/>
                  </a:cubicBezTo>
                  <a:cubicBezTo>
                    <a:pt x="155" y="139"/>
                    <a:pt x="155" y="139"/>
                    <a:pt x="155" y="139"/>
                  </a:cubicBezTo>
                  <a:cubicBezTo>
                    <a:pt x="123" y="139"/>
                    <a:pt x="123" y="139"/>
                    <a:pt x="123" y="139"/>
                  </a:cubicBezTo>
                  <a:cubicBezTo>
                    <a:pt x="96" y="103"/>
                    <a:pt x="96" y="103"/>
                    <a:pt x="96" y="103"/>
                  </a:cubicBezTo>
                  <a:cubicBezTo>
                    <a:pt x="108" y="92"/>
                    <a:pt x="123" y="85"/>
                    <a:pt x="139" y="85"/>
                  </a:cubicBezTo>
                  <a:close/>
                  <a:moveTo>
                    <a:pt x="213" y="171"/>
                  </a:moveTo>
                  <a:cubicBezTo>
                    <a:pt x="187" y="171"/>
                    <a:pt x="187" y="171"/>
                    <a:pt x="187" y="171"/>
                  </a:cubicBezTo>
                  <a:cubicBezTo>
                    <a:pt x="173" y="150"/>
                    <a:pt x="173" y="150"/>
                    <a:pt x="173" y="150"/>
                  </a:cubicBezTo>
                  <a:cubicBezTo>
                    <a:pt x="196" y="120"/>
                    <a:pt x="196" y="120"/>
                    <a:pt x="196" y="120"/>
                  </a:cubicBezTo>
                  <a:cubicBezTo>
                    <a:pt x="205" y="134"/>
                    <a:pt x="211" y="151"/>
                    <a:pt x="213" y="171"/>
                  </a:cubicBezTo>
                  <a:close/>
                  <a:moveTo>
                    <a:pt x="104" y="150"/>
                  </a:moveTo>
                  <a:cubicBezTo>
                    <a:pt x="90" y="171"/>
                    <a:pt x="90" y="171"/>
                    <a:pt x="90" y="171"/>
                  </a:cubicBezTo>
                  <a:cubicBezTo>
                    <a:pt x="64" y="171"/>
                    <a:pt x="64" y="171"/>
                    <a:pt x="64" y="171"/>
                  </a:cubicBezTo>
                  <a:cubicBezTo>
                    <a:pt x="66" y="151"/>
                    <a:pt x="72" y="134"/>
                    <a:pt x="82" y="120"/>
                  </a:cubicBezTo>
                  <a:lnTo>
                    <a:pt x="104" y="150"/>
                  </a:lnTo>
                  <a:close/>
                  <a:moveTo>
                    <a:pt x="82" y="243"/>
                  </a:moveTo>
                  <a:cubicBezTo>
                    <a:pt x="72" y="229"/>
                    <a:pt x="66" y="211"/>
                    <a:pt x="64" y="192"/>
                  </a:cubicBezTo>
                  <a:cubicBezTo>
                    <a:pt x="90" y="192"/>
                    <a:pt x="90" y="192"/>
                    <a:pt x="90" y="192"/>
                  </a:cubicBezTo>
                  <a:cubicBezTo>
                    <a:pt x="104" y="213"/>
                    <a:pt x="104" y="213"/>
                    <a:pt x="104" y="213"/>
                  </a:cubicBezTo>
                  <a:lnTo>
                    <a:pt x="82" y="243"/>
                  </a:lnTo>
                  <a:close/>
                  <a:moveTo>
                    <a:pt x="123" y="203"/>
                  </a:moveTo>
                  <a:cubicBezTo>
                    <a:pt x="109" y="181"/>
                    <a:pt x="109" y="181"/>
                    <a:pt x="109" y="181"/>
                  </a:cubicBezTo>
                  <a:cubicBezTo>
                    <a:pt x="123" y="160"/>
                    <a:pt x="123" y="160"/>
                    <a:pt x="123" y="160"/>
                  </a:cubicBezTo>
                  <a:cubicBezTo>
                    <a:pt x="154" y="160"/>
                    <a:pt x="154" y="160"/>
                    <a:pt x="154" y="160"/>
                  </a:cubicBezTo>
                  <a:cubicBezTo>
                    <a:pt x="169" y="181"/>
                    <a:pt x="169" y="181"/>
                    <a:pt x="169" y="181"/>
                  </a:cubicBezTo>
                  <a:cubicBezTo>
                    <a:pt x="154" y="203"/>
                    <a:pt x="154" y="203"/>
                    <a:pt x="154" y="203"/>
                  </a:cubicBezTo>
                  <a:lnTo>
                    <a:pt x="123" y="203"/>
                  </a:lnTo>
                  <a:close/>
                  <a:moveTo>
                    <a:pt x="245" y="87"/>
                  </a:moveTo>
                  <a:cubicBezTo>
                    <a:pt x="249" y="88"/>
                    <a:pt x="249" y="88"/>
                    <a:pt x="249" y="88"/>
                  </a:cubicBezTo>
                  <a:cubicBezTo>
                    <a:pt x="219" y="118"/>
                    <a:pt x="219" y="118"/>
                    <a:pt x="219" y="118"/>
                  </a:cubicBezTo>
                  <a:cubicBezTo>
                    <a:pt x="217" y="113"/>
                    <a:pt x="214" y="108"/>
                    <a:pt x="211" y="104"/>
                  </a:cubicBezTo>
                  <a:lnTo>
                    <a:pt x="245" y="87"/>
                  </a:lnTo>
                  <a:close/>
                  <a:moveTo>
                    <a:pt x="117" y="53"/>
                  </a:moveTo>
                  <a:cubicBezTo>
                    <a:pt x="117" y="44"/>
                    <a:pt x="124" y="25"/>
                    <a:pt x="129" y="21"/>
                  </a:cubicBezTo>
                  <a:cubicBezTo>
                    <a:pt x="148" y="21"/>
                    <a:pt x="148" y="21"/>
                    <a:pt x="148" y="21"/>
                  </a:cubicBezTo>
                  <a:cubicBezTo>
                    <a:pt x="153" y="25"/>
                    <a:pt x="160" y="44"/>
                    <a:pt x="160" y="53"/>
                  </a:cubicBezTo>
                  <a:cubicBezTo>
                    <a:pt x="160" y="67"/>
                    <a:pt x="160" y="67"/>
                    <a:pt x="160" y="67"/>
                  </a:cubicBezTo>
                  <a:cubicBezTo>
                    <a:pt x="153" y="65"/>
                    <a:pt x="146" y="64"/>
                    <a:pt x="139" y="64"/>
                  </a:cubicBezTo>
                  <a:cubicBezTo>
                    <a:pt x="131" y="64"/>
                    <a:pt x="124" y="65"/>
                    <a:pt x="117" y="67"/>
                  </a:cubicBezTo>
                  <a:lnTo>
                    <a:pt x="117" y="53"/>
                  </a:lnTo>
                  <a:close/>
                  <a:moveTo>
                    <a:pt x="29" y="88"/>
                  </a:moveTo>
                  <a:cubicBezTo>
                    <a:pt x="32" y="87"/>
                    <a:pt x="32" y="87"/>
                    <a:pt x="32" y="87"/>
                  </a:cubicBezTo>
                  <a:cubicBezTo>
                    <a:pt x="67" y="104"/>
                    <a:pt x="67" y="104"/>
                    <a:pt x="67" y="104"/>
                  </a:cubicBezTo>
                  <a:cubicBezTo>
                    <a:pt x="64" y="108"/>
                    <a:pt x="61" y="113"/>
                    <a:pt x="58" y="118"/>
                  </a:cubicBezTo>
                  <a:lnTo>
                    <a:pt x="29" y="88"/>
                  </a:lnTo>
                  <a:close/>
                  <a:moveTo>
                    <a:pt x="33" y="270"/>
                  </a:moveTo>
                  <a:cubicBezTo>
                    <a:pt x="28" y="266"/>
                    <a:pt x="28" y="266"/>
                    <a:pt x="28" y="266"/>
                  </a:cubicBezTo>
                  <a:cubicBezTo>
                    <a:pt x="56" y="241"/>
                    <a:pt x="56" y="241"/>
                    <a:pt x="56" y="241"/>
                  </a:cubicBezTo>
                  <a:cubicBezTo>
                    <a:pt x="58" y="246"/>
                    <a:pt x="61" y="250"/>
                    <a:pt x="64" y="255"/>
                  </a:cubicBezTo>
                  <a:lnTo>
                    <a:pt x="33" y="270"/>
                  </a:lnTo>
                  <a:close/>
                  <a:moveTo>
                    <a:pt x="96" y="260"/>
                  </a:moveTo>
                  <a:cubicBezTo>
                    <a:pt x="123" y="224"/>
                    <a:pt x="123" y="224"/>
                    <a:pt x="123" y="224"/>
                  </a:cubicBezTo>
                  <a:cubicBezTo>
                    <a:pt x="155" y="224"/>
                    <a:pt x="155" y="224"/>
                    <a:pt x="155" y="224"/>
                  </a:cubicBezTo>
                  <a:cubicBezTo>
                    <a:pt x="182" y="260"/>
                    <a:pt x="182" y="260"/>
                    <a:pt x="182" y="260"/>
                  </a:cubicBezTo>
                  <a:cubicBezTo>
                    <a:pt x="169" y="271"/>
                    <a:pt x="155" y="277"/>
                    <a:pt x="139" y="277"/>
                  </a:cubicBezTo>
                  <a:cubicBezTo>
                    <a:pt x="123" y="277"/>
                    <a:pt x="108" y="271"/>
                    <a:pt x="96" y="260"/>
                  </a:cubicBezTo>
                  <a:close/>
                  <a:moveTo>
                    <a:pt x="244" y="270"/>
                  </a:moveTo>
                  <a:cubicBezTo>
                    <a:pt x="213" y="255"/>
                    <a:pt x="213" y="255"/>
                    <a:pt x="213" y="255"/>
                  </a:cubicBezTo>
                  <a:cubicBezTo>
                    <a:pt x="216" y="250"/>
                    <a:pt x="219" y="246"/>
                    <a:pt x="221" y="241"/>
                  </a:cubicBezTo>
                  <a:cubicBezTo>
                    <a:pt x="250" y="266"/>
                    <a:pt x="250" y="266"/>
                    <a:pt x="250" y="266"/>
                  </a:cubicBezTo>
                  <a:lnTo>
                    <a:pt x="244" y="2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4" name="Freeform 571"/>
          <p:cNvSpPr>
            <a:spLocks noChangeAspect="1" noEditPoints="1"/>
          </p:cNvSpPr>
          <p:nvPr/>
        </p:nvSpPr>
        <p:spPr bwMode="auto">
          <a:xfrm>
            <a:off x="3817588" y="3358107"/>
            <a:ext cx="369676" cy="369676"/>
          </a:xfrm>
          <a:custGeom>
            <a:avLst/>
            <a:gdLst>
              <a:gd name="T0" fmla="*/ 181 w 512"/>
              <a:gd name="T1" fmla="*/ 372 h 512"/>
              <a:gd name="T2" fmla="*/ 145 w 512"/>
              <a:gd name="T3" fmla="*/ 383 h 512"/>
              <a:gd name="T4" fmla="*/ 184 w 512"/>
              <a:gd name="T5" fmla="*/ 221 h 512"/>
              <a:gd name="T6" fmla="*/ 146 w 512"/>
              <a:gd name="T7" fmla="*/ 205 h 512"/>
              <a:gd name="T8" fmla="*/ 184 w 512"/>
              <a:gd name="T9" fmla="*/ 221 h 512"/>
              <a:gd name="T10" fmla="*/ 226 w 512"/>
              <a:gd name="T11" fmla="*/ 298 h 512"/>
              <a:gd name="T12" fmla="*/ 271 w 512"/>
              <a:gd name="T13" fmla="*/ 320 h 512"/>
              <a:gd name="T14" fmla="*/ 271 w 512"/>
              <a:gd name="T15" fmla="*/ 277 h 512"/>
              <a:gd name="T16" fmla="*/ 207 w 512"/>
              <a:gd name="T17" fmla="*/ 288 h 512"/>
              <a:gd name="T18" fmla="*/ 199 w 512"/>
              <a:gd name="T19" fmla="*/ 237 h 512"/>
              <a:gd name="T20" fmla="*/ 207 w 512"/>
              <a:gd name="T21" fmla="*/ 288 h 512"/>
              <a:gd name="T22" fmla="*/ 299 w 512"/>
              <a:gd name="T23" fmla="*/ 220 h 512"/>
              <a:gd name="T24" fmla="*/ 213 w 512"/>
              <a:gd name="T25" fmla="*/ 220 h 512"/>
              <a:gd name="T26" fmla="*/ 272 w 512"/>
              <a:gd name="T27" fmla="*/ 256 h 512"/>
              <a:gd name="T28" fmla="*/ 362 w 512"/>
              <a:gd name="T29" fmla="*/ 204 h 512"/>
              <a:gd name="T30" fmla="*/ 336 w 512"/>
              <a:gd name="T31" fmla="*/ 235 h 512"/>
              <a:gd name="T32" fmla="*/ 277 w 512"/>
              <a:gd name="T33" fmla="*/ 184 h 512"/>
              <a:gd name="T34" fmla="*/ 265 w 512"/>
              <a:gd name="T35" fmla="*/ 138 h 512"/>
              <a:gd name="T36" fmla="*/ 234 w 512"/>
              <a:gd name="T37" fmla="*/ 170 h 512"/>
              <a:gd name="T38" fmla="*/ 256 w 512"/>
              <a:gd name="T39" fmla="*/ 181 h 512"/>
              <a:gd name="T40" fmla="*/ 330 w 512"/>
              <a:gd name="T41" fmla="*/ 372 h 512"/>
              <a:gd name="T42" fmla="*/ 367 w 512"/>
              <a:gd name="T43" fmla="*/ 383 h 512"/>
              <a:gd name="T44" fmla="*/ 330 w 512"/>
              <a:gd name="T45" fmla="*/ 372 h 512"/>
              <a:gd name="T46" fmla="*/ 256 w 512"/>
              <a:gd name="T47" fmla="*/ 512 h 512"/>
              <a:gd name="T48" fmla="*/ 256 w 512"/>
              <a:gd name="T49" fmla="*/ 0 h 512"/>
              <a:gd name="T50" fmla="*/ 394 w 512"/>
              <a:gd name="T51" fmla="*/ 384 h 512"/>
              <a:gd name="T52" fmla="*/ 346 w 512"/>
              <a:gd name="T53" fmla="*/ 336 h 512"/>
              <a:gd name="T54" fmla="*/ 345 w 512"/>
              <a:gd name="T55" fmla="*/ 256 h 512"/>
              <a:gd name="T56" fmla="*/ 394 w 512"/>
              <a:gd name="T57" fmla="*/ 201 h 512"/>
              <a:gd name="T58" fmla="*/ 367 w 512"/>
              <a:gd name="T59" fmla="*/ 182 h 512"/>
              <a:gd name="T60" fmla="*/ 315 w 512"/>
              <a:gd name="T61" fmla="*/ 203 h 512"/>
              <a:gd name="T62" fmla="*/ 298 w 512"/>
              <a:gd name="T63" fmla="*/ 193 h 512"/>
              <a:gd name="T64" fmla="*/ 298 w 512"/>
              <a:gd name="T65" fmla="*/ 170 h 512"/>
              <a:gd name="T66" fmla="*/ 245 w 512"/>
              <a:gd name="T67" fmla="*/ 117 h 512"/>
              <a:gd name="T68" fmla="*/ 213 w 512"/>
              <a:gd name="T69" fmla="*/ 192 h 512"/>
              <a:gd name="T70" fmla="*/ 198 w 512"/>
              <a:gd name="T71" fmla="*/ 205 h 512"/>
              <a:gd name="T72" fmla="*/ 154 w 512"/>
              <a:gd name="T73" fmla="*/ 182 h 512"/>
              <a:gd name="T74" fmla="*/ 123 w 512"/>
              <a:gd name="T75" fmla="*/ 193 h 512"/>
              <a:gd name="T76" fmla="*/ 120 w 512"/>
              <a:gd name="T77" fmla="*/ 210 h 512"/>
              <a:gd name="T78" fmla="*/ 160 w 512"/>
              <a:gd name="T79" fmla="*/ 298 h 512"/>
              <a:gd name="T80" fmla="*/ 121 w 512"/>
              <a:gd name="T81" fmla="*/ 376 h 512"/>
              <a:gd name="T82" fmla="*/ 121 w 512"/>
              <a:gd name="T83" fmla="*/ 392 h 512"/>
              <a:gd name="T84" fmla="*/ 149 w 512"/>
              <a:gd name="T85" fmla="*/ 410 h 512"/>
              <a:gd name="T86" fmla="*/ 195 w 512"/>
              <a:gd name="T87" fmla="*/ 389 h 512"/>
              <a:gd name="T88" fmla="*/ 317 w 512"/>
              <a:gd name="T89" fmla="*/ 389 h 512"/>
              <a:gd name="T90" fmla="*/ 362 w 512"/>
              <a:gd name="T91" fmla="*/ 410 h 512"/>
              <a:gd name="T92" fmla="*/ 390 w 512"/>
              <a:gd name="T93" fmla="*/ 392 h 512"/>
              <a:gd name="T94" fmla="*/ 290 w 512"/>
              <a:gd name="T95" fmla="*/ 267 h 512"/>
              <a:gd name="T96" fmla="*/ 330 w 512"/>
              <a:gd name="T97" fmla="*/ 288 h 512"/>
              <a:gd name="T98" fmla="*/ 290 w 512"/>
              <a:gd name="T99" fmla="*/ 267 h 512"/>
              <a:gd name="T100" fmla="*/ 181 w 512"/>
              <a:gd name="T101" fmla="*/ 309 h 512"/>
              <a:gd name="T102" fmla="*/ 221 w 512"/>
              <a:gd name="T103" fmla="*/ 330 h 512"/>
              <a:gd name="T104" fmla="*/ 240 w 512"/>
              <a:gd name="T105" fmla="*/ 341 h 512"/>
              <a:gd name="T106" fmla="*/ 256 w 512"/>
              <a:gd name="T107" fmla="*/ 394 h 512"/>
              <a:gd name="T108" fmla="*/ 272 w 512"/>
              <a:gd name="T109" fmla="*/ 341 h 512"/>
              <a:gd name="T110" fmla="*/ 290 w 512"/>
              <a:gd name="T111" fmla="*/ 330 h 512"/>
              <a:gd name="T112" fmla="*/ 330 w 512"/>
              <a:gd name="T113" fmla="*/ 309 h 512"/>
              <a:gd name="T114" fmla="*/ 290 w 512"/>
              <a:gd name="T11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73" y="358"/>
                </a:moveTo>
                <a:cubicBezTo>
                  <a:pt x="175" y="363"/>
                  <a:pt x="178" y="367"/>
                  <a:pt x="181" y="372"/>
                </a:cubicBezTo>
                <a:cubicBezTo>
                  <a:pt x="150" y="387"/>
                  <a:pt x="150" y="387"/>
                  <a:pt x="150" y="387"/>
                </a:cubicBezTo>
                <a:cubicBezTo>
                  <a:pt x="145" y="383"/>
                  <a:pt x="145" y="383"/>
                  <a:pt x="145" y="383"/>
                </a:cubicBezTo>
                <a:lnTo>
                  <a:pt x="173" y="358"/>
                </a:lnTo>
                <a:close/>
                <a:moveTo>
                  <a:pt x="184" y="221"/>
                </a:moveTo>
                <a:cubicBezTo>
                  <a:pt x="149" y="204"/>
                  <a:pt x="149" y="204"/>
                  <a:pt x="149" y="204"/>
                </a:cubicBezTo>
                <a:cubicBezTo>
                  <a:pt x="146" y="205"/>
                  <a:pt x="146" y="205"/>
                  <a:pt x="146" y="205"/>
                </a:cubicBezTo>
                <a:cubicBezTo>
                  <a:pt x="175" y="235"/>
                  <a:pt x="175" y="235"/>
                  <a:pt x="175" y="235"/>
                </a:cubicBezTo>
                <a:cubicBezTo>
                  <a:pt x="178" y="230"/>
                  <a:pt x="181" y="225"/>
                  <a:pt x="184" y="221"/>
                </a:cubicBezTo>
                <a:close/>
                <a:moveTo>
                  <a:pt x="240" y="277"/>
                </a:moveTo>
                <a:cubicBezTo>
                  <a:pt x="226" y="298"/>
                  <a:pt x="226" y="298"/>
                  <a:pt x="226" y="298"/>
                </a:cubicBezTo>
                <a:cubicBezTo>
                  <a:pt x="240" y="320"/>
                  <a:pt x="240" y="320"/>
                  <a:pt x="240" y="320"/>
                </a:cubicBezTo>
                <a:cubicBezTo>
                  <a:pt x="271" y="320"/>
                  <a:pt x="271" y="320"/>
                  <a:pt x="271" y="320"/>
                </a:cubicBezTo>
                <a:cubicBezTo>
                  <a:pt x="286" y="298"/>
                  <a:pt x="286" y="298"/>
                  <a:pt x="286" y="298"/>
                </a:cubicBezTo>
                <a:cubicBezTo>
                  <a:pt x="271" y="277"/>
                  <a:pt x="271" y="277"/>
                  <a:pt x="271" y="277"/>
                </a:cubicBezTo>
                <a:lnTo>
                  <a:pt x="240" y="277"/>
                </a:lnTo>
                <a:close/>
                <a:moveTo>
                  <a:pt x="207" y="288"/>
                </a:moveTo>
                <a:cubicBezTo>
                  <a:pt x="221" y="267"/>
                  <a:pt x="221" y="267"/>
                  <a:pt x="221" y="267"/>
                </a:cubicBezTo>
                <a:cubicBezTo>
                  <a:pt x="199" y="237"/>
                  <a:pt x="199" y="237"/>
                  <a:pt x="199" y="237"/>
                </a:cubicBezTo>
                <a:cubicBezTo>
                  <a:pt x="189" y="251"/>
                  <a:pt x="183" y="268"/>
                  <a:pt x="181" y="288"/>
                </a:cubicBezTo>
                <a:lnTo>
                  <a:pt x="207" y="288"/>
                </a:lnTo>
                <a:close/>
                <a:moveTo>
                  <a:pt x="272" y="256"/>
                </a:moveTo>
                <a:cubicBezTo>
                  <a:pt x="299" y="220"/>
                  <a:pt x="299" y="220"/>
                  <a:pt x="299" y="220"/>
                </a:cubicBezTo>
                <a:cubicBezTo>
                  <a:pt x="286" y="209"/>
                  <a:pt x="272" y="202"/>
                  <a:pt x="256" y="202"/>
                </a:cubicBezTo>
                <a:cubicBezTo>
                  <a:pt x="240" y="202"/>
                  <a:pt x="225" y="209"/>
                  <a:pt x="213" y="220"/>
                </a:cubicBezTo>
                <a:cubicBezTo>
                  <a:pt x="240" y="256"/>
                  <a:pt x="240" y="256"/>
                  <a:pt x="240" y="256"/>
                </a:cubicBezTo>
                <a:lnTo>
                  <a:pt x="272" y="256"/>
                </a:lnTo>
                <a:close/>
                <a:moveTo>
                  <a:pt x="366" y="205"/>
                </a:moveTo>
                <a:cubicBezTo>
                  <a:pt x="362" y="204"/>
                  <a:pt x="362" y="204"/>
                  <a:pt x="362" y="204"/>
                </a:cubicBezTo>
                <a:cubicBezTo>
                  <a:pt x="328" y="221"/>
                  <a:pt x="328" y="221"/>
                  <a:pt x="328" y="221"/>
                </a:cubicBezTo>
                <a:cubicBezTo>
                  <a:pt x="331" y="225"/>
                  <a:pt x="334" y="230"/>
                  <a:pt x="336" y="235"/>
                </a:cubicBezTo>
                <a:lnTo>
                  <a:pt x="366" y="205"/>
                </a:lnTo>
                <a:close/>
                <a:moveTo>
                  <a:pt x="277" y="184"/>
                </a:moveTo>
                <a:cubicBezTo>
                  <a:pt x="277" y="170"/>
                  <a:pt x="277" y="170"/>
                  <a:pt x="277" y="170"/>
                </a:cubicBezTo>
                <a:cubicBezTo>
                  <a:pt x="277" y="161"/>
                  <a:pt x="270" y="142"/>
                  <a:pt x="265" y="138"/>
                </a:cubicBezTo>
                <a:cubicBezTo>
                  <a:pt x="246" y="138"/>
                  <a:pt x="246" y="138"/>
                  <a:pt x="246" y="138"/>
                </a:cubicBezTo>
                <a:cubicBezTo>
                  <a:pt x="241" y="142"/>
                  <a:pt x="234" y="161"/>
                  <a:pt x="234" y="170"/>
                </a:cubicBezTo>
                <a:cubicBezTo>
                  <a:pt x="234" y="184"/>
                  <a:pt x="234" y="184"/>
                  <a:pt x="234" y="184"/>
                </a:cubicBezTo>
                <a:cubicBezTo>
                  <a:pt x="241" y="182"/>
                  <a:pt x="248" y="181"/>
                  <a:pt x="256" y="181"/>
                </a:cubicBezTo>
                <a:cubicBezTo>
                  <a:pt x="263" y="181"/>
                  <a:pt x="270" y="182"/>
                  <a:pt x="277" y="184"/>
                </a:cubicBezTo>
                <a:close/>
                <a:moveTo>
                  <a:pt x="330" y="372"/>
                </a:moveTo>
                <a:cubicBezTo>
                  <a:pt x="361" y="387"/>
                  <a:pt x="361" y="387"/>
                  <a:pt x="361" y="387"/>
                </a:cubicBezTo>
                <a:cubicBezTo>
                  <a:pt x="367" y="383"/>
                  <a:pt x="367" y="383"/>
                  <a:pt x="367" y="383"/>
                </a:cubicBezTo>
                <a:cubicBezTo>
                  <a:pt x="338" y="358"/>
                  <a:pt x="338" y="358"/>
                  <a:pt x="338" y="358"/>
                </a:cubicBezTo>
                <a:cubicBezTo>
                  <a:pt x="336" y="363"/>
                  <a:pt x="333" y="367"/>
                  <a:pt x="330" y="3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81"/>
                  <a:pt x="393" y="378"/>
                  <a:pt x="391" y="376"/>
                </a:cubicBezTo>
                <a:cubicBezTo>
                  <a:pt x="346" y="336"/>
                  <a:pt x="346" y="336"/>
                  <a:pt x="346" y="336"/>
                </a:cubicBezTo>
                <a:cubicBezTo>
                  <a:pt x="350" y="324"/>
                  <a:pt x="352" y="312"/>
                  <a:pt x="352" y="298"/>
                </a:cubicBezTo>
                <a:cubicBezTo>
                  <a:pt x="352" y="283"/>
                  <a:pt x="349" y="269"/>
                  <a:pt x="345" y="256"/>
                </a:cubicBezTo>
                <a:cubicBezTo>
                  <a:pt x="391" y="210"/>
                  <a:pt x="391" y="210"/>
                  <a:pt x="391" y="210"/>
                </a:cubicBezTo>
                <a:cubicBezTo>
                  <a:pt x="394" y="207"/>
                  <a:pt x="395" y="204"/>
                  <a:pt x="394" y="201"/>
                </a:cubicBezTo>
                <a:cubicBezTo>
                  <a:pt x="394" y="197"/>
                  <a:pt x="392" y="194"/>
                  <a:pt x="388" y="193"/>
                </a:cubicBezTo>
                <a:cubicBezTo>
                  <a:pt x="367" y="182"/>
                  <a:pt x="367" y="182"/>
                  <a:pt x="367" y="182"/>
                </a:cubicBezTo>
                <a:cubicBezTo>
                  <a:pt x="364" y="181"/>
                  <a:pt x="361" y="181"/>
                  <a:pt x="358" y="182"/>
                </a:cubicBezTo>
                <a:cubicBezTo>
                  <a:pt x="315" y="203"/>
                  <a:pt x="315" y="203"/>
                  <a:pt x="315" y="203"/>
                </a:cubicBezTo>
                <a:cubicBezTo>
                  <a:pt x="314" y="204"/>
                  <a:pt x="314" y="204"/>
                  <a:pt x="313" y="205"/>
                </a:cubicBezTo>
                <a:cubicBezTo>
                  <a:pt x="309" y="200"/>
                  <a:pt x="303" y="196"/>
                  <a:pt x="298" y="193"/>
                </a:cubicBezTo>
                <a:cubicBezTo>
                  <a:pt x="298" y="193"/>
                  <a:pt x="298" y="192"/>
                  <a:pt x="298" y="192"/>
                </a:cubicBezTo>
                <a:cubicBezTo>
                  <a:pt x="298" y="170"/>
                  <a:pt x="298" y="170"/>
                  <a:pt x="298" y="170"/>
                </a:cubicBezTo>
                <a:cubicBezTo>
                  <a:pt x="298" y="158"/>
                  <a:pt x="288" y="117"/>
                  <a:pt x="266" y="117"/>
                </a:cubicBezTo>
                <a:cubicBezTo>
                  <a:pt x="245" y="117"/>
                  <a:pt x="245" y="117"/>
                  <a:pt x="245" y="117"/>
                </a:cubicBezTo>
                <a:cubicBezTo>
                  <a:pt x="223" y="117"/>
                  <a:pt x="213" y="158"/>
                  <a:pt x="213" y="170"/>
                </a:cubicBezTo>
                <a:cubicBezTo>
                  <a:pt x="213" y="192"/>
                  <a:pt x="213" y="192"/>
                  <a:pt x="213" y="192"/>
                </a:cubicBezTo>
                <a:cubicBezTo>
                  <a:pt x="213" y="192"/>
                  <a:pt x="213" y="193"/>
                  <a:pt x="213" y="193"/>
                </a:cubicBezTo>
                <a:cubicBezTo>
                  <a:pt x="208" y="196"/>
                  <a:pt x="203" y="200"/>
                  <a:pt x="198" y="205"/>
                </a:cubicBezTo>
                <a:cubicBezTo>
                  <a:pt x="198" y="204"/>
                  <a:pt x="197" y="204"/>
                  <a:pt x="196" y="203"/>
                </a:cubicBezTo>
                <a:cubicBezTo>
                  <a:pt x="154" y="182"/>
                  <a:pt x="154" y="182"/>
                  <a:pt x="154" y="182"/>
                </a:cubicBezTo>
                <a:cubicBezTo>
                  <a:pt x="151" y="181"/>
                  <a:pt x="147" y="181"/>
                  <a:pt x="144" y="182"/>
                </a:cubicBezTo>
                <a:cubicBezTo>
                  <a:pt x="123" y="193"/>
                  <a:pt x="123" y="193"/>
                  <a:pt x="123" y="193"/>
                </a:cubicBezTo>
                <a:cubicBezTo>
                  <a:pt x="120" y="194"/>
                  <a:pt x="118" y="197"/>
                  <a:pt x="117" y="201"/>
                </a:cubicBezTo>
                <a:cubicBezTo>
                  <a:pt x="117" y="204"/>
                  <a:pt x="118" y="207"/>
                  <a:pt x="120" y="210"/>
                </a:cubicBezTo>
                <a:cubicBezTo>
                  <a:pt x="166" y="256"/>
                  <a:pt x="166" y="256"/>
                  <a:pt x="166" y="256"/>
                </a:cubicBezTo>
                <a:cubicBezTo>
                  <a:pt x="162" y="269"/>
                  <a:pt x="160" y="283"/>
                  <a:pt x="160" y="298"/>
                </a:cubicBezTo>
                <a:cubicBezTo>
                  <a:pt x="160" y="312"/>
                  <a:pt x="162" y="324"/>
                  <a:pt x="165" y="336"/>
                </a:cubicBezTo>
                <a:cubicBezTo>
                  <a:pt x="121" y="376"/>
                  <a:pt x="121" y="376"/>
                  <a:pt x="121" y="376"/>
                </a:cubicBezTo>
                <a:cubicBezTo>
                  <a:pt x="118" y="378"/>
                  <a:pt x="117" y="381"/>
                  <a:pt x="117" y="384"/>
                </a:cubicBezTo>
                <a:cubicBezTo>
                  <a:pt x="117" y="387"/>
                  <a:pt x="119" y="390"/>
                  <a:pt x="121" y="392"/>
                </a:cubicBezTo>
                <a:cubicBezTo>
                  <a:pt x="143" y="408"/>
                  <a:pt x="143" y="408"/>
                  <a:pt x="143" y="408"/>
                </a:cubicBezTo>
                <a:cubicBezTo>
                  <a:pt x="144" y="410"/>
                  <a:pt x="147" y="410"/>
                  <a:pt x="149" y="410"/>
                </a:cubicBezTo>
                <a:cubicBezTo>
                  <a:pt x="151" y="410"/>
                  <a:pt x="152" y="410"/>
                  <a:pt x="154" y="409"/>
                </a:cubicBezTo>
                <a:cubicBezTo>
                  <a:pt x="195" y="389"/>
                  <a:pt x="195" y="389"/>
                  <a:pt x="195" y="389"/>
                </a:cubicBezTo>
                <a:cubicBezTo>
                  <a:pt x="211" y="406"/>
                  <a:pt x="232" y="416"/>
                  <a:pt x="256" y="416"/>
                </a:cubicBezTo>
                <a:cubicBezTo>
                  <a:pt x="279" y="416"/>
                  <a:pt x="300" y="406"/>
                  <a:pt x="317" y="389"/>
                </a:cubicBezTo>
                <a:cubicBezTo>
                  <a:pt x="358" y="409"/>
                  <a:pt x="358" y="409"/>
                  <a:pt x="358" y="409"/>
                </a:cubicBezTo>
                <a:cubicBezTo>
                  <a:pt x="359" y="410"/>
                  <a:pt x="361" y="410"/>
                  <a:pt x="362" y="410"/>
                </a:cubicBezTo>
                <a:cubicBezTo>
                  <a:pt x="365" y="410"/>
                  <a:pt x="367" y="410"/>
                  <a:pt x="369" y="408"/>
                </a:cubicBezTo>
                <a:cubicBezTo>
                  <a:pt x="390" y="392"/>
                  <a:pt x="390" y="392"/>
                  <a:pt x="390" y="392"/>
                </a:cubicBezTo>
                <a:cubicBezTo>
                  <a:pt x="393" y="390"/>
                  <a:pt x="394" y="387"/>
                  <a:pt x="394" y="384"/>
                </a:cubicBezTo>
                <a:close/>
                <a:moveTo>
                  <a:pt x="290" y="267"/>
                </a:moveTo>
                <a:cubicBezTo>
                  <a:pt x="304" y="288"/>
                  <a:pt x="304" y="288"/>
                  <a:pt x="304" y="288"/>
                </a:cubicBezTo>
                <a:cubicBezTo>
                  <a:pt x="330" y="288"/>
                  <a:pt x="330" y="288"/>
                  <a:pt x="330" y="288"/>
                </a:cubicBezTo>
                <a:cubicBezTo>
                  <a:pt x="328" y="268"/>
                  <a:pt x="322" y="251"/>
                  <a:pt x="313" y="237"/>
                </a:cubicBezTo>
                <a:lnTo>
                  <a:pt x="290" y="267"/>
                </a:lnTo>
                <a:close/>
                <a:moveTo>
                  <a:pt x="207" y="309"/>
                </a:moveTo>
                <a:cubicBezTo>
                  <a:pt x="181" y="309"/>
                  <a:pt x="181" y="309"/>
                  <a:pt x="181" y="309"/>
                </a:cubicBezTo>
                <a:cubicBezTo>
                  <a:pt x="183" y="328"/>
                  <a:pt x="189" y="346"/>
                  <a:pt x="199" y="360"/>
                </a:cubicBezTo>
                <a:cubicBezTo>
                  <a:pt x="221" y="330"/>
                  <a:pt x="221" y="330"/>
                  <a:pt x="221" y="330"/>
                </a:cubicBezTo>
                <a:lnTo>
                  <a:pt x="207" y="309"/>
                </a:lnTo>
                <a:close/>
                <a:moveTo>
                  <a:pt x="240" y="341"/>
                </a:moveTo>
                <a:cubicBezTo>
                  <a:pt x="213" y="377"/>
                  <a:pt x="213" y="377"/>
                  <a:pt x="213" y="377"/>
                </a:cubicBezTo>
                <a:cubicBezTo>
                  <a:pt x="225" y="388"/>
                  <a:pt x="240" y="394"/>
                  <a:pt x="256" y="394"/>
                </a:cubicBezTo>
                <a:cubicBezTo>
                  <a:pt x="272" y="394"/>
                  <a:pt x="286" y="388"/>
                  <a:pt x="299" y="377"/>
                </a:cubicBezTo>
                <a:cubicBezTo>
                  <a:pt x="272" y="341"/>
                  <a:pt x="272" y="341"/>
                  <a:pt x="272" y="341"/>
                </a:cubicBezTo>
                <a:lnTo>
                  <a:pt x="240" y="341"/>
                </a:lnTo>
                <a:close/>
                <a:moveTo>
                  <a:pt x="290" y="330"/>
                </a:moveTo>
                <a:cubicBezTo>
                  <a:pt x="313" y="360"/>
                  <a:pt x="313" y="360"/>
                  <a:pt x="313" y="360"/>
                </a:cubicBezTo>
                <a:cubicBezTo>
                  <a:pt x="322" y="346"/>
                  <a:pt x="328" y="328"/>
                  <a:pt x="330" y="309"/>
                </a:cubicBezTo>
                <a:cubicBezTo>
                  <a:pt x="304" y="309"/>
                  <a:pt x="304" y="309"/>
                  <a:pt x="304" y="309"/>
                </a:cubicBezTo>
                <a:lnTo>
                  <a:pt x="290" y="33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5" name="Group 691"/>
          <p:cNvGrpSpPr>
            <a:grpSpLocks noChangeAspect="1"/>
          </p:cNvGrpSpPr>
          <p:nvPr/>
        </p:nvGrpSpPr>
        <p:grpSpPr bwMode="auto">
          <a:xfrm>
            <a:off x="5067760" y="3358107"/>
            <a:ext cx="369676" cy="369676"/>
            <a:chOff x="387" y="2314"/>
            <a:chExt cx="340" cy="340"/>
          </a:xfrm>
          <a:solidFill>
            <a:schemeClr val="accent1"/>
          </a:solidFill>
        </p:grpSpPr>
        <p:sp>
          <p:nvSpPr>
            <p:cNvPr id="275" name="Freeform 274"/>
            <p:cNvSpPr>
              <a:spLocks noEditPoints="1"/>
            </p:cNvSpPr>
            <p:nvPr/>
          </p:nvSpPr>
          <p:spPr bwMode="auto">
            <a:xfrm>
              <a:off x="387"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275"/>
            <p:cNvSpPr>
              <a:spLocks noEditPoints="1"/>
            </p:cNvSpPr>
            <p:nvPr/>
          </p:nvSpPr>
          <p:spPr bwMode="auto">
            <a:xfrm>
              <a:off x="461" y="2378"/>
              <a:ext cx="188" cy="212"/>
            </a:xfrm>
            <a:custGeom>
              <a:avLst/>
              <a:gdLst>
                <a:gd name="T0" fmla="*/ 257 w 282"/>
                <a:gd name="T1" fmla="*/ 116 h 320"/>
                <a:gd name="T2" fmla="*/ 261 w 282"/>
                <a:gd name="T3" fmla="*/ 96 h 320"/>
                <a:gd name="T4" fmla="*/ 213 w 282"/>
                <a:gd name="T5" fmla="*/ 43 h 320"/>
                <a:gd name="T6" fmla="*/ 143 w 282"/>
                <a:gd name="T7" fmla="*/ 0 h 320"/>
                <a:gd name="T8" fmla="*/ 69 w 282"/>
                <a:gd name="T9" fmla="*/ 55 h 320"/>
                <a:gd name="T10" fmla="*/ 26 w 282"/>
                <a:gd name="T11" fmla="*/ 112 h 320"/>
                <a:gd name="T12" fmla="*/ 30 w 282"/>
                <a:gd name="T13" fmla="*/ 133 h 320"/>
                <a:gd name="T14" fmla="*/ 0 w 282"/>
                <a:gd name="T15" fmla="*/ 181 h 320"/>
                <a:gd name="T16" fmla="*/ 53 w 282"/>
                <a:gd name="T17" fmla="*/ 234 h 320"/>
                <a:gd name="T18" fmla="*/ 91 w 282"/>
                <a:gd name="T19" fmla="*/ 218 h 320"/>
                <a:gd name="T20" fmla="*/ 112 w 282"/>
                <a:gd name="T21" fmla="*/ 230 h 320"/>
                <a:gd name="T22" fmla="*/ 112 w 282"/>
                <a:gd name="T23" fmla="*/ 309 h 320"/>
                <a:gd name="T24" fmla="*/ 122 w 282"/>
                <a:gd name="T25" fmla="*/ 320 h 320"/>
                <a:gd name="T26" fmla="*/ 165 w 282"/>
                <a:gd name="T27" fmla="*/ 320 h 320"/>
                <a:gd name="T28" fmla="*/ 176 w 282"/>
                <a:gd name="T29" fmla="*/ 309 h 320"/>
                <a:gd name="T30" fmla="*/ 176 w 282"/>
                <a:gd name="T31" fmla="*/ 221 h 320"/>
                <a:gd name="T32" fmla="*/ 216 w 282"/>
                <a:gd name="T33" fmla="*/ 234 h 320"/>
                <a:gd name="T34" fmla="*/ 282 w 282"/>
                <a:gd name="T35" fmla="*/ 168 h 320"/>
                <a:gd name="T36" fmla="*/ 257 w 282"/>
                <a:gd name="T37" fmla="*/ 116 h 320"/>
                <a:gd name="T38" fmla="*/ 133 w 282"/>
                <a:gd name="T39" fmla="*/ 298 h 320"/>
                <a:gd name="T40" fmla="*/ 133 w 282"/>
                <a:gd name="T41" fmla="*/ 234 h 320"/>
                <a:gd name="T42" fmla="*/ 154 w 282"/>
                <a:gd name="T43" fmla="*/ 231 h 320"/>
                <a:gd name="T44" fmla="*/ 154 w 282"/>
                <a:gd name="T45" fmla="*/ 298 h 320"/>
                <a:gd name="T46" fmla="*/ 133 w 282"/>
                <a:gd name="T47" fmla="*/ 298 h 320"/>
                <a:gd name="T48" fmla="*/ 216 w 282"/>
                <a:gd name="T49" fmla="*/ 213 h 320"/>
                <a:gd name="T50" fmla="*/ 182 w 282"/>
                <a:gd name="T51" fmla="*/ 197 h 320"/>
                <a:gd name="T52" fmla="*/ 174 w 282"/>
                <a:gd name="T53" fmla="*/ 194 h 320"/>
                <a:gd name="T54" fmla="*/ 174 w 282"/>
                <a:gd name="T55" fmla="*/ 194 h 320"/>
                <a:gd name="T56" fmla="*/ 166 w 282"/>
                <a:gd name="T57" fmla="*/ 198 h 320"/>
                <a:gd name="T58" fmla="*/ 133 w 282"/>
                <a:gd name="T59" fmla="*/ 213 h 320"/>
                <a:gd name="T60" fmla="*/ 99 w 282"/>
                <a:gd name="T61" fmla="*/ 195 h 320"/>
                <a:gd name="T62" fmla="*/ 89 w 282"/>
                <a:gd name="T63" fmla="*/ 191 h 320"/>
                <a:gd name="T64" fmla="*/ 81 w 282"/>
                <a:gd name="T65" fmla="*/ 197 h 320"/>
                <a:gd name="T66" fmla="*/ 53 w 282"/>
                <a:gd name="T67" fmla="*/ 213 h 320"/>
                <a:gd name="T68" fmla="*/ 21 w 282"/>
                <a:gd name="T69" fmla="*/ 181 h 320"/>
                <a:gd name="T70" fmla="*/ 47 w 282"/>
                <a:gd name="T71" fmla="*/ 150 h 320"/>
                <a:gd name="T72" fmla="*/ 56 w 282"/>
                <a:gd name="T73" fmla="*/ 143 h 320"/>
                <a:gd name="T74" fmla="*/ 54 w 282"/>
                <a:gd name="T75" fmla="*/ 133 h 320"/>
                <a:gd name="T76" fmla="*/ 48 w 282"/>
                <a:gd name="T77" fmla="*/ 112 h 320"/>
                <a:gd name="T78" fmla="*/ 79 w 282"/>
                <a:gd name="T79" fmla="*/ 75 h 320"/>
                <a:gd name="T80" fmla="*/ 88 w 282"/>
                <a:gd name="T81" fmla="*/ 66 h 320"/>
                <a:gd name="T82" fmla="*/ 143 w 282"/>
                <a:gd name="T83" fmla="*/ 21 h 320"/>
                <a:gd name="T84" fmla="*/ 196 w 282"/>
                <a:gd name="T85" fmla="*/ 57 h 320"/>
                <a:gd name="T86" fmla="*/ 206 w 282"/>
                <a:gd name="T87" fmla="*/ 64 h 320"/>
                <a:gd name="T88" fmla="*/ 208 w 282"/>
                <a:gd name="T89" fmla="*/ 64 h 320"/>
                <a:gd name="T90" fmla="*/ 240 w 282"/>
                <a:gd name="T91" fmla="*/ 96 h 320"/>
                <a:gd name="T92" fmla="*/ 234 w 282"/>
                <a:gd name="T93" fmla="*/ 113 h 320"/>
                <a:gd name="T94" fmla="*/ 233 w 282"/>
                <a:gd name="T95" fmla="*/ 122 h 320"/>
                <a:gd name="T96" fmla="*/ 238 w 282"/>
                <a:gd name="T97" fmla="*/ 128 h 320"/>
                <a:gd name="T98" fmla="*/ 261 w 282"/>
                <a:gd name="T99" fmla="*/ 168 h 320"/>
                <a:gd name="T100" fmla="*/ 216 w 282"/>
                <a:gd name="T10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320">
                  <a:moveTo>
                    <a:pt x="257" y="116"/>
                  </a:moveTo>
                  <a:cubicBezTo>
                    <a:pt x="260" y="109"/>
                    <a:pt x="261" y="103"/>
                    <a:pt x="261" y="96"/>
                  </a:cubicBezTo>
                  <a:cubicBezTo>
                    <a:pt x="261" y="68"/>
                    <a:pt x="240" y="45"/>
                    <a:pt x="213" y="43"/>
                  </a:cubicBezTo>
                  <a:cubicBezTo>
                    <a:pt x="200" y="17"/>
                    <a:pt x="173" y="0"/>
                    <a:pt x="143" y="0"/>
                  </a:cubicBezTo>
                  <a:cubicBezTo>
                    <a:pt x="109" y="0"/>
                    <a:pt x="79" y="23"/>
                    <a:pt x="69" y="55"/>
                  </a:cubicBezTo>
                  <a:cubicBezTo>
                    <a:pt x="44" y="62"/>
                    <a:pt x="26" y="85"/>
                    <a:pt x="26" y="112"/>
                  </a:cubicBezTo>
                  <a:cubicBezTo>
                    <a:pt x="26" y="119"/>
                    <a:pt x="28" y="126"/>
                    <a:pt x="30" y="133"/>
                  </a:cubicBezTo>
                  <a:cubicBezTo>
                    <a:pt x="12" y="141"/>
                    <a:pt x="0" y="160"/>
                    <a:pt x="0" y="181"/>
                  </a:cubicBezTo>
                  <a:cubicBezTo>
                    <a:pt x="0" y="210"/>
                    <a:pt x="24" y="234"/>
                    <a:pt x="53" y="234"/>
                  </a:cubicBezTo>
                  <a:cubicBezTo>
                    <a:pt x="67" y="234"/>
                    <a:pt x="81" y="228"/>
                    <a:pt x="91" y="218"/>
                  </a:cubicBezTo>
                  <a:cubicBezTo>
                    <a:pt x="97" y="224"/>
                    <a:pt x="104" y="228"/>
                    <a:pt x="112" y="230"/>
                  </a:cubicBezTo>
                  <a:cubicBezTo>
                    <a:pt x="112" y="309"/>
                    <a:pt x="112" y="309"/>
                    <a:pt x="112" y="309"/>
                  </a:cubicBezTo>
                  <a:cubicBezTo>
                    <a:pt x="112" y="315"/>
                    <a:pt x="116" y="320"/>
                    <a:pt x="122" y="320"/>
                  </a:cubicBezTo>
                  <a:cubicBezTo>
                    <a:pt x="165" y="320"/>
                    <a:pt x="165" y="320"/>
                    <a:pt x="165" y="320"/>
                  </a:cubicBezTo>
                  <a:cubicBezTo>
                    <a:pt x="171" y="320"/>
                    <a:pt x="176" y="315"/>
                    <a:pt x="176" y="309"/>
                  </a:cubicBezTo>
                  <a:cubicBezTo>
                    <a:pt x="176" y="221"/>
                    <a:pt x="176" y="221"/>
                    <a:pt x="176" y="221"/>
                  </a:cubicBezTo>
                  <a:cubicBezTo>
                    <a:pt x="187" y="229"/>
                    <a:pt x="201" y="234"/>
                    <a:pt x="216" y="234"/>
                  </a:cubicBezTo>
                  <a:cubicBezTo>
                    <a:pt x="252" y="234"/>
                    <a:pt x="282" y="204"/>
                    <a:pt x="282" y="168"/>
                  </a:cubicBezTo>
                  <a:cubicBezTo>
                    <a:pt x="282" y="147"/>
                    <a:pt x="273" y="128"/>
                    <a:pt x="257" y="116"/>
                  </a:cubicBezTo>
                  <a:close/>
                  <a:moveTo>
                    <a:pt x="133" y="298"/>
                  </a:moveTo>
                  <a:cubicBezTo>
                    <a:pt x="133" y="234"/>
                    <a:pt x="133" y="234"/>
                    <a:pt x="133" y="234"/>
                  </a:cubicBezTo>
                  <a:cubicBezTo>
                    <a:pt x="140" y="234"/>
                    <a:pt x="148" y="233"/>
                    <a:pt x="154" y="231"/>
                  </a:cubicBezTo>
                  <a:cubicBezTo>
                    <a:pt x="154" y="298"/>
                    <a:pt x="154" y="298"/>
                    <a:pt x="154" y="298"/>
                  </a:cubicBezTo>
                  <a:lnTo>
                    <a:pt x="133" y="298"/>
                  </a:lnTo>
                  <a:close/>
                  <a:moveTo>
                    <a:pt x="216" y="213"/>
                  </a:moveTo>
                  <a:cubicBezTo>
                    <a:pt x="203" y="213"/>
                    <a:pt x="191" y="207"/>
                    <a:pt x="182" y="197"/>
                  </a:cubicBezTo>
                  <a:cubicBezTo>
                    <a:pt x="180" y="195"/>
                    <a:pt x="177" y="194"/>
                    <a:pt x="174" y="194"/>
                  </a:cubicBezTo>
                  <a:cubicBezTo>
                    <a:pt x="174" y="194"/>
                    <a:pt x="174" y="194"/>
                    <a:pt x="174" y="194"/>
                  </a:cubicBezTo>
                  <a:cubicBezTo>
                    <a:pt x="170" y="194"/>
                    <a:pt x="168" y="195"/>
                    <a:pt x="166" y="198"/>
                  </a:cubicBezTo>
                  <a:cubicBezTo>
                    <a:pt x="157" y="207"/>
                    <a:pt x="145" y="213"/>
                    <a:pt x="133" y="213"/>
                  </a:cubicBezTo>
                  <a:cubicBezTo>
                    <a:pt x="119" y="213"/>
                    <a:pt x="107" y="207"/>
                    <a:pt x="99" y="195"/>
                  </a:cubicBezTo>
                  <a:cubicBezTo>
                    <a:pt x="97" y="193"/>
                    <a:pt x="93" y="191"/>
                    <a:pt x="89" y="191"/>
                  </a:cubicBezTo>
                  <a:cubicBezTo>
                    <a:pt x="86" y="191"/>
                    <a:pt x="83" y="193"/>
                    <a:pt x="81" y="197"/>
                  </a:cubicBezTo>
                  <a:cubicBezTo>
                    <a:pt x="75" y="207"/>
                    <a:pt x="64" y="213"/>
                    <a:pt x="53" y="213"/>
                  </a:cubicBezTo>
                  <a:cubicBezTo>
                    <a:pt x="35" y="213"/>
                    <a:pt x="21" y="199"/>
                    <a:pt x="21" y="181"/>
                  </a:cubicBezTo>
                  <a:cubicBezTo>
                    <a:pt x="21" y="165"/>
                    <a:pt x="32" y="152"/>
                    <a:pt x="47" y="150"/>
                  </a:cubicBezTo>
                  <a:cubicBezTo>
                    <a:pt x="51" y="149"/>
                    <a:pt x="54" y="147"/>
                    <a:pt x="56" y="143"/>
                  </a:cubicBezTo>
                  <a:cubicBezTo>
                    <a:pt x="57" y="140"/>
                    <a:pt x="56" y="136"/>
                    <a:pt x="54" y="133"/>
                  </a:cubicBezTo>
                  <a:cubicBezTo>
                    <a:pt x="50" y="127"/>
                    <a:pt x="48" y="119"/>
                    <a:pt x="48" y="112"/>
                  </a:cubicBezTo>
                  <a:cubicBezTo>
                    <a:pt x="48" y="93"/>
                    <a:pt x="61" y="78"/>
                    <a:pt x="79" y="75"/>
                  </a:cubicBezTo>
                  <a:cubicBezTo>
                    <a:pt x="84" y="74"/>
                    <a:pt x="88" y="71"/>
                    <a:pt x="88" y="66"/>
                  </a:cubicBezTo>
                  <a:cubicBezTo>
                    <a:pt x="93" y="40"/>
                    <a:pt x="117" y="21"/>
                    <a:pt x="143" y="21"/>
                  </a:cubicBezTo>
                  <a:cubicBezTo>
                    <a:pt x="166" y="21"/>
                    <a:pt x="187" y="35"/>
                    <a:pt x="196" y="57"/>
                  </a:cubicBezTo>
                  <a:cubicBezTo>
                    <a:pt x="197" y="61"/>
                    <a:pt x="201" y="64"/>
                    <a:pt x="206" y="64"/>
                  </a:cubicBezTo>
                  <a:cubicBezTo>
                    <a:pt x="206" y="64"/>
                    <a:pt x="207" y="64"/>
                    <a:pt x="208" y="64"/>
                  </a:cubicBezTo>
                  <a:cubicBezTo>
                    <a:pt x="225" y="64"/>
                    <a:pt x="240" y="78"/>
                    <a:pt x="240" y="96"/>
                  </a:cubicBezTo>
                  <a:cubicBezTo>
                    <a:pt x="240" y="102"/>
                    <a:pt x="238" y="108"/>
                    <a:pt x="234" y="113"/>
                  </a:cubicBezTo>
                  <a:cubicBezTo>
                    <a:pt x="233" y="116"/>
                    <a:pt x="232" y="119"/>
                    <a:pt x="233" y="122"/>
                  </a:cubicBezTo>
                  <a:cubicBezTo>
                    <a:pt x="234" y="125"/>
                    <a:pt x="235" y="127"/>
                    <a:pt x="238" y="128"/>
                  </a:cubicBezTo>
                  <a:cubicBezTo>
                    <a:pt x="252" y="137"/>
                    <a:pt x="261" y="152"/>
                    <a:pt x="261" y="168"/>
                  </a:cubicBezTo>
                  <a:cubicBezTo>
                    <a:pt x="261" y="193"/>
                    <a:pt x="241" y="213"/>
                    <a:pt x="216"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697"/>
          <p:cNvSpPr>
            <a:spLocks noChangeAspect="1" noEditPoints="1"/>
          </p:cNvSpPr>
          <p:nvPr/>
        </p:nvSpPr>
        <p:spPr bwMode="auto">
          <a:xfrm>
            <a:off x="4651036" y="3358107"/>
            <a:ext cx="369676" cy="369676"/>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8" name="Freeform 231"/>
          <p:cNvSpPr>
            <a:spLocks noChangeAspect="1" noEditPoints="1"/>
          </p:cNvSpPr>
          <p:nvPr/>
        </p:nvSpPr>
        <p:spPr bwMode="auto">
          <a:xfrm>
            <a:off x="7968013" y="1697038"/>
            <a:ext cx="369021" cy="369021"/>
          </a:xfrm>
          <a:custGeom>
            <a:avLst/>
            <a:gdLst>
              <a:gd name="T0" fmla="*/ 307 w 512"/>
              <a:gd name="T1" fmla="*/ 373 h 512"/>
              <a:gd name="T2" fmla="*/ 256 w 512"/>
              <a:gd name="T3" fmla="*/ 336 h 512"/>
              <a:gd name="T4" fmla="*/ 204 w 512"/>
              <a:gd name="T5" fmla="*/ 373 h 512"/>
              <a:gd name="T6" fmla="*/ 256 w 512"/>
              <a:gd name="T7" fmla="*/ 266 h 512"/>
              <a:gd name="T8" fmla="*/ 211 w 512"/>
              <a:gd name="T9" fmla="*/ 202 h 512"/>
              <a:gd name="T10" fmla="*/ 218 w 512"/>
              <a:gd name="T11" fmla="*/ 202 h 512"/>
              <a:gd name="T12" fmla="*/ 207 w 512"/>
              <a:gd name="T13" fmla="*/ 148 h 512"/>
              <a:gd name="T14" fmla="*/ 195 w 512"/>
              <a:gd name="T15" fmla="*/ 154 h 512"/>
              <a:gd name="T16" fmla="*/ 211 w 512"/>
              <a:gd name="T17" fmla="*/ 202 h 512"/>
              <a:gd name="T18" fmla="*/ 292 w 512"/>
              <a:gd name="T19" fmla="*/ 202 h 512"/>
              <a:gd name="T20" fmla="*/ 317 w 512"/>
              <a:gd name="T21" fmla="*/ 177 h 512"/>
              <a:gd name="T22" fmla="*/ 306 w 512"/>
              <a:gd name="T23" fmla="*/ 149 h 512"/>
              <a:gd name="T24" fmla="*/ 288 w 512"/>
              <a:gd name="T25" fmla="*/ 173 h 512"/>
              <a:gd name="T26" fmla="*/ 151 w 512"/>
              <a:gd name="T27" fmla="*/ 229 h 512"/>
              <a:gd name="T28" fmla="*/ 131 w 512"/>
              <a:gd name="T29" fmla="*/ 223 h 512"/>
              <a:gd name="T30" fmla="*/ 138 w 512"/>
              <a:gd name="T31" fmla="*/ 242 h 512"/>
              <a:gd name="T32" fmla="*/ 162 w 512"/>
              <a:gd name="T33" fmla="*/ 247 h 512"/>
              <a:gd name="T34" fmla="*/ 358 w 512"/>
              <a:gd name="T35" fmla="*/ 229 h 512"/>
              <a:gd name="T36" fmla="*/ 350 w 512"/>
              <a:gd name="T37" fmla="*/ 248 h 512"/>
              <a:gd name="T38" fmla="*/ 380 w 512"/>
              <a:gd name="T39" fmla="*/ 229 h 512"/>
              <a:gd name="T40" fmla="*/ 358 w 512"/>
              <a:gd name="T41" fmla="*/ 229 h 512"/>
              <a:gd name="T42" fmla="*/ 256 w 512"/>
              <a:gd name="T43" fmla="*/ 512 h 512"/>
              <a:gd name="T44" fmla="*/ 256 w 512"/>
              <a:gd name="T45" fmla="*/ 0 h 512"/>
              <a:gd name="T46" fmla="*/ 284 w 512"/>
              <a:gd name="T47" fmla="*/ 222 h 512"/>
              <a:gd name="T48" fmla="*/ 309 w 512"/>
              <a:gd name="T49" fmla="*/ 221 h 512"/>
              <a:gd name="T50" fmla="*/ 334 w 512"/>
              <a:gd name="T51" fmla="*/ 143 h 512"/>
              <a:gd name="T52" fmla="*/ 267 w 512"/>
              <a:gd name="T53" fmla="*/ 167 h 512"/>
              <a:gd name="T54" fmla="*/ 173 w 512"/>
              <a:gd name="T55" fmla="*/ 182 h 512"/>
              <a:gd name="T56" fmla="*/ 216 w 512"/>
              <a:gd name="T57" fmla="*/ 224 h 512"/>
              <a:gd name="T58" fmla="*/ 243 w 512"/>
              <a:gd name="T59" fmla="*/ 167 h 512"/>
              <a:gd name="T60" fmla="*/ 177 w 512"/>
              <a:gd name="T61" fmla="*/ 143 h 512"/>
              <a:gd name="T62" fmla="*/ 156 w 512"/>
              <a:gd name="T63" fmla="*/ 270 h 512"/>
              <a:gd name="T64" fmla="*/ 181 w 512"/>
              <a:gd name="T65" fmla="*/ 257 h 512"/>
              <a:gd name="T66" fmla="*/ 164 w 512"/>
              <a:gd name="T67" fmla="*/ 212 h 512"/>
              <a:gd name="T68" fmla="*/ 108 w 512"/>
              <a:gd name="T69" fmla="*/ 231 h 512"/>
              <a:gd name="T70" fmla="*/ 156 w 512"/>
              <a:gd name="T71" fmla="*/ 270 h 512"/>
              <a:gd name="T72" fmla="*/ 256 w 512"/>
              <a:gd name="T73" fmla="*/ 245 h 512"/>
              <a:gd name="T74" fmla="*/ 201 w 512"/>
              <a:gd name="T75" fmla="*/ 394 h 512"/>
              <a:gd name="T76" fmla="*/ 245 w 512"/>
              <a:gd name="T77" fmla="*/ 369 h 512"/>
              <a:gd name="T78" fmla="*/ 266 w 512"/>
              <a:gd name="T79" fmla="*/ 369 h 512"/>
              <a:gd name="T80" fmla="*/ 348 w 512"/>
              <a:gd name="T81" fmla="*/ 333 h 512"/>
              <a:gd name="T82" fmla="*/ 395 w 512"/>
              <a:gd name="T83" fmla="*/ 209 h 512"/>
              <a:gd name="T84" fmla="*/ 329 w 512"/>
              <a:gd name="T85" fmla="*/ 257 h 512"/>
              <a:gd name="T86" fmla="*/ 346 w 512"/>
              <a:gd name="T87" fmla="*/ 269 h 512"/>
              <a:gd name="T88" fmla="*/ 385 w 512"/>
              <a:gd name="T89" fmla="*/ 2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27" y="333"/>
                </a:moveTo>
                <a:cubicBezTo>
                  <a:pt x="327" y="370"/>
                  <a:pt x="312" y="372"/>
                  <a:pt x="307" y="373"/>
                </a:cubicBezTo>
                <a:cubicBezTo>
                  <a:pt x="297" y="375"/>
                  <a:pt x="292" y="370"/>
                  <a:pt x="284" y="357"/>
                </a:cubicBezTo>
                <a:cubicBezTo>
                  <a:pt x="278" y="348"/>
                  <a:pt x="270" y="336"/>
                  <a:pt x="256" y="336"/>
                </a:cubicBezTo>
                <a:cubicBezTo>
                  <a:pt x="241" y="336"/>
                  <a:pt x="234" y="348"/>
                  <a:pt x="227" y="357"/>
                </a:cubicBezTo>
                <a:cubicBezTo>
                  <a:pt x="219" y="370"/>
                  <a:pt x="214" y="375"/>
                  <a:pt x="204" y="373"/>
                </a:cubicBezTo>
                <a:cubicBezTo>
                  <a:pt x="199" y="372"/>
                  <a:pt x="184" y="370"/>
                  <a:pt x="184" y="333"/>
                </a:cubicBezTo>
                <a:cubicBezTo>
                  <a:pt x="184" y="314"/>
                  <a:pt x="213" y="266"/>
                  <a:pt x="256" y="266"/>
                </a:cubicBezTo>
                <a:cubicBezTo>
                  <a:pt x="299" y="266"/>
                  <a:pt x="327" y="314"/>
                  <a:pt x="327" y="333"/>
                </a:cubicBezTo>
                <a:close/>
                <a:moveTo>
                  <a:pt x="211" y="202"/>
                </a:moveTo>
                <a:cubicBezTo>
                  <a:pt x="215" y="204"/>
                  <a:pt x="217" y="203"/>
                  <a:pt x="218" y="202"/>
                </a:cubicBezTo>
                <a:cubicBezTo>
                  <a:pt x="218" y="202"/>
                  <a:pt x="218" y="202"/>
                  <a:pt x="218" y="202"/>
                </a:cubicBezTo>
                <a:cubicBezTo>
                  <a:pt x="228" y="198"/>
                  <a:pt x="225" y="180"/>
                  <a:pt x="223" y="173"/>
                </a:cubicBezTo>
                <a:cubicBezTo>
                  <a:pt x="217" y="152"/>
                  <a:pt x="212" y="148"/>
                  <a:pt x="207" y="148"/>
                </a:cubicBezTo>
                <a:cubicBezTo>
                  <a:pt x="206" y="148"/>
                  <a:pt x="205" y="148"/>
                  <a:pt x="204" y="149"/>
                </a:cubicBezTo>
                <a:cubicBezTo>
                  <a:pt x="200" y="150"/>
                  <a:pt x="197" y="151"/>
                  <a:pt x="195" y="154"/>
                </a:cubicBezTo>
                <a:cubicBezTo>
                  <a:pt x="192" y="159"/>
                  <a:pt x="191" y="167"/>
                  <a:pt x="194" y="177"/>
                </a:cubicBezTo>
                <a:cubicBezTo>
                  <a:pt x="196" y="187"/>
                  <a:pt x="204" y="198"/>
                  <a:pt x="211" y="202"/>
                </a:cubicBezTo>
                <a:close/>
                <a:moveTo>
                  <a:pt x="292" y="202"/>
                </a:moveTo>
                <a:cubicBezTo>
                  <a:pt x="292" y="202"/>
                  <a:pt x="292" y="202"/>
                  <a:pt x="292" y="202"/>
                </a:cubicBezTo>
                <a:cubicBezTo>
                  <a:pt x="293" y="203"/>
                  <a:pt x="295" y="204"/>
                  <a:pt x="299" y="202"/>
                </a:cubicBezTo>
                <a:cubicBezTo>
                  <a:pt x="307" y="198"/>
                  <a:pt x="315" y="187"/>
                  <a:pt x="317" y="177"/>
                </a:cubicBezTo>
                <a:cubicBezTo>
                  <a:pt x="319" y="167"/>
                  <a:pt x="319" y="159"/>
                  <a:pt x="316" y="154"/>
                </a:cubicBezTo>
                <a:cubicBezTo>
                  <a:pt x="314" y="151"/>
                  <a:pt x="311" y="150"/>
                  <a:pt x="306" y="149"/>
                </a:cubicBezTo>
                <a:cubicBezTo>
                  <a:pt x="306" y="148"/>
                  <a:pt x="305" y="148"/>
                  <a:pt x="304" y="148"/>
                </a:cubicBezTo>
                <a:cubicBezTo>
                  <a:pt x="299" y="148"/>
                  <a:pt x="294" y="152"/>
                  <a:pt x="288" y="173"/>
                </a:cubicBezTo>
                <a:cubicBezTo>
                  <a:pt x="286" y="180"/>
                  <a:pt x="282" y="198"/>
                  <a:pt x="292" y="202"/>
                </a:cubicBezTo>
                <a:close/>
                <a:moveTo>
                  <a:pt x="151" y="229"/>
                </a:moveTo>
                <a:cubicBezTo>
                  <a:pt x="142" y="223"/>
                  <a:pt x="138" y="221"/>
                  <a:pt x="135" y="221"/>
                </a:cubicBezTo>
                <a:cubicBezTo>
                  <a:pt x="133" y="221"/>
                  <a:pt x="132" y="222"/>
                  <a:pt x="131" y="223"/>
                </a:cubicBezTo>
                <a:cubicBezTo>
                  <a:pt x="129" y="226"/>
                  <a:pt x="129" y="228"/>
                  <a:pt x="129" y="229"/>
                </a:cubicBezTo>
                <a:cubicBezTo>
                  <a:pt x="129" y="233"/>
                  <a:pt x="133" y="238"/>
                  <a:pt x="138" y="242"/>
                </a:cubicBezTo>
                <a:cubicBezTo>
                  <a:pt x="144" y="247"/>
                  <a:pt x="153" y="249"/>
                  <a:pt x="159" y="248"/>
                </a:cubicBezTo>
                <a:cubicBezTo>
                  <a:pt x="160" y="248"/>
                  <a:pt x="161" y="247"/>
                  <a:pt x="162" y="247"/>
                </a:cubicBezTo>
                <a:cubicBezTo>
                  <a:pt x="165" y="240"/>
                  <a:pt x="154" y="232"/>
                  <a:pt x="151" y="229"/>
                </a:cubicBezTo>
                <a:close/>
                <a:moveTo>
                  <a:pt x="358" y="229"/>
                </a:moveTo>
                <a:cubicBezTo>
                  <a:pt x="355" y="232"/>
                  <a:pt x="344" y="240"/>
                  <a:pt x="347" y="247"/>
                </a:cubicBezTo>
                <a:cubicBezTo>
                  <a:pt x="348" y="247"/>
                  <a:pt x="349" y="248"/>
                  <a:pt x="350" y="248"/>
                </a:cubicBezTo>
                <a:cubicBezTo>
                  <a:pt x="356" y="249"/>
                  <a:pt x="366" y="247"/>
                  <a:pt x="371" y="242"/>
                </a:cubicBezTo>
                <a:cubicBezTo>
                  <a:pt x="377" y="238"/>
                  <a:pt x="380" y="233"/>
                  <a:pt x="380" y="229"/>
                </a:cubicBezTo>
                <a:cubicBezTo>
                  <a:pt x="381" y="228"/>
                  <a:pt x="380" y="226"/>
                  <a:pt x="378" y="223"/>
                </a:cubicBezTo>
                <a:cubicBezTo>
                  <a:pt x="377" y="221"/>
                  <a:pt x="374" y="218"/>
                  <a:pt x="358" y="22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222"/>
                </a:moveTo>
                <a:cubicBezTo>
                  <a:pt x="287" y="223"/>
                  <a:pt x="291" y="224"/>
                  <a:pt x="295" y="224"/>
                </a:cubicBezTo>
                <a:cubicBezTo>
                  <a:pt x="299" y="224"/>
                  <a:pt x="304" y="223"/>
                  <a:pt x="309" y="221"/>
                </a:cubicBezTo>
                <a:cubicBezTo>
                  <a:pt x="322" y="214"/>
                  <a:pt x="334" y="198"/>
                  <a:pt x="338" y="182"/>
                </a:cubicBezTo>
                <a:cubicBezTo>
                  <a:pt x="341" y="166"/>
                  <a:pt x="340" y="153"/>
                  <a:pt x="334" y="143"/>
                </a:cubicBezTo>
                <a:cubicBezTo>
                  <a:pt x="329" y="135"/>
                  <a:pt x="321" y="130"/>
                  <a:pt x="311" y="128"/>
                </a:cubicBezTo>
                <a:cubicBezTo>
                  <a:pt x="280" y="121"/>
                  <a:pt x="270" y="156"/>
                  <a:pt x="267" y="167"/>
                </a:cubicBezTo>
                <a:cubicBezTo>
                  <a:pt x="260" y="194"/>
                  <a:pt x="266" y="214"/>
                  <a:pt x="284" y="222"/>
                </a:cubicBezTo>
                <a:close/>
                <a:moveTo>
                  <a:pt x="173" y="182"/>
                </a:moveTo>
                <a:cubicBezTo>
                  <a:pt x="177" y="198"/>
                  <a:pt x="188" y="214"/>
                  <a:pt x="202" y="221"/>
                </a:cubicBezTo>
                <a:cubicBezTo>
                  <a:pt x="207" y="223"/>
                  <a:pt x="211" y="224"/>
                  <a:pt x="216" y="224"/>
                </a:cubicBezTo>
                <a:cubicBezTo>
                  <a:pt x="220" y="224"/>
                  <a:pt x="223" y="223"/>
                  <a:pt x="227" y="222"/>
                </a:cubicBezTo>
                <a:cubicBezTo>
                  <a:pt x="245" y="214"/>
                  <a:pt x="251" y="194"/>
                  <a:pt x="243" y="167"/>
                </a:cubicBezTo>
                <a:cubicBezTo>
                  <a:pt x="240" y="156"/>
                  <a:pt x="231" y="121"/>
                  <a:pt x="200" y="128"/>
                </a:cubicBezTo>
                <a:cubicBezTo>
                  <a:pt x="190" y="130"/>
                  <a:pt x="182" y="135"/>
                  <a:pt x="177" y="143"/>
                </a:cubicBezTo>
                <a:cubicBezTo>
                  <a:pt x="171" y="153"/>
                  <a:pt x="169" y="166"/>
                  <a:pt x="173" y="182"/>
                </a:cubicBezTo>
                <a:close/>
                <a:moveTo>
                  <a:pt x="156" y="270"/>
                </a:moveTo>
                <a:cubicBezTo>
                  <a:pt x="158" y="270"/>
                  <a:pt x="161" y="270"/>
                  <a:pt x="163" y="269"/>
                </a:cubicBezTo>
                <a:cubicBezTo>
                  <a:pt x="171" y="267"/>
                  <a:pt x="177" y="263"/>
                  <a:pt x="181" y="257"/>
                </a:cubicBezTo>
                <a:cubicBezTo>
                  <a:pt x="181" y="257"/>
                  <a:pt x="181" y="257"/>
                  <a:pt x="181" y="257"/>
                </a:cubicBezTo>
                <a:cubicBezTo>
                  <a:pt x="188" y="242"/>
                  <a:pt x="182" y="226"/>
                  <a:pt x="164" y="212"/>
                </a:cubicBezTo>
                <a:cubicBezTo>
                  <a:pt x="143" y="196"/>
                  <a:pt x="126" y="196"/>
                  <a:pt x="115" y="209"/>
                </a:cubicBezTo>
                <a:cubicBezTo>
                  <a:pt x="109" y="216"/>
                  <a:pt x="107" y="223"/>
                  <a:pt x="108" y="231"/>
                </a:cubicBezTo>
                <a:cubicBezTo>
                  <a:pt x="109" y="241"/>
                  <a:pt x="114" y="251"/>
                  <a:pt x="125" y="259"/>
                </a:cubicBezTo>
                <a:cubicBezTo>
                  <a:pt x="133" y="266"/>
                  <a:pt x="145" y="270"/>
                  <a:pt x="156" y="270"/>
                </a:cubicBezTo>
                <a:close/>
                <a:moveTo>
                  <a:pt x="348" y="333"/>
                </a:moveTo>
                <a:cubicBezTo>
                  <a:pt x="348" y="302"/>
                  <a:pt x="310" y="245"/>
                  <a:pt x="256" y="245"/>
                </a:cubicBezTo>
                <a:cubicBezTo>
                  <a:pt x="201" y="245"/>
                  <a:pt x="163" y="302"/>
                  <a:pt x="163" y="333"/>
                </a:cubicBezTo>
                <a:cubicBezTo>
                  <a:pt x="163" y="378"/>
                  <a:pt x="183" y="391"/>
                  <a:pt x="201" y="394"/>
                </a:cubicBezTo>
                <a:cubicBezTo>
                  <a:pt x="203" y="394"/>
                  <a:pt x="205" y="395"/>
                  <a:pt x="208" y="395"/>
                </a:cubicBezTo>
                <a:cubicBezTo>
                  <a:pt x="228" y="395"/>
                  <a:pt x="238" y="379"/>
                  <a:pt x="245" y="369"/>
                </a:cubicBezTo>
                <a:cubicBezTo>
                  <a:pt x="249" y="363"/>
                  <a:pt x="253" y="358"/>
                  <a:pt x="256" y="358"/>
                </a:cubicBezTo>
                <a:cubicBezTo>
                  <a:pt x="259" y="358"/>
                  <a:pt x="262" y="363"/>
                  <a:pt x="266" y="369"/>
                </a:cubicBezTo>
                <a:cubicBezTo>
                  <a:pt x="274" y="381"/>
                  <a:pt x="286" y="398"/>
                  <a:pt x="311" y="394"/>
                </a:cubicBezTo>
                <a:cubicBezTo>
                  <a:pt x="328" y="391"/>
                  <a:pt x="348" y="378"/>
                  <a:pt x="348" y="333"/>
                </a:cubicBezTo>
                <a:close/>
                <a:moveTo>
                  <a:pt x="402" y="231"/>
                </a:moveTo>
                <a:cubicBezTo>
                  <a:pt x="402" y="223"/>
                  <a:pt x="400" y="216"/>
                  <a:pt x="395" y="209"/>
                </a:cubicBezTo>
                <a:cubicBezTo>
                  <a:pt x="383" y="196"/>
                  <a:pt x="367" y="196"/>
                  <a:pt x="346" y="212"/>
                </a:cubicBezTo>
                <a:cubicBezTo>
                  <a:pt x="327" y="226"/>
                  <a:pt x="321" y="242"/>
                  <a:pt x="329" y="257"/>
                </a:cubicBezTo>
                <a:cubicBezTo>
                  <a:pt x="329" y="257"/>
                  <a:pt x="329" y="257"/>
                  <a:pt x="329" y="257"/>
                </a:cubicBezTo>
                <a:cubicBezTo>
                  <a:pt x="332" y="263"/>
                  <a:pt x="338" y="267"/>
                  <a:pt x="346" y="269"/>
                </a:cubicBezTo>
                <a:cubicBezTo>
                  <a:pt x="348" y="270"/>
                  <a:pt x="351" y="270"/>
                  <a:pt x="353" y="270"/>
                </a:cubicBezTo>
                <a:cubicBezTo>
                  <a:pt x="364" y="270"/>
                  <a:pt x="376" y="266"/>
                  <a:pt x="385" y="259"/>
                </a:cubicBezTo>
                <a:cubicBezTo>
                  <a:pt x="395" y="251"/>
                  <a:pt x="401" y="241"/>
                  <a:pt x="402" y="23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9" name="Group 234"/>
          <p:cNvGrpSpPr>
            <a:grpSpLocks noChangeAspect="1"/>
          </p:cNvGrpSpPr>
          <p:nvPr/>
        </p:nvGrpSpPr>
        <p:grpSpPr bwMode="auto">
          <a:xfrm>
            <a:off x="8388762" y="1697038"/>
            <a:ext cx="369021" cy="369021"/>
            <a:chOff x="2695" y="782"/>
            <a:chExt cx="340" cy="340"/>
          </a:xfrm>
          <a:solidFill>
            <a:schemeClr val="accent3"/>
          </a:solidFill>
        </p:grpSpPr>
        <p:sp>
          <p:nvSpPr>
            <p:cNvPr id="280" name="Freeform 235"/>
            <p:cNvSpPr>
              <a:spLocks noEditPoints="1"/>
            </p:cNvSpPr>
            <p:nvPr/>
          </p:nvSpPr>
          <p:spPr bwMode="auto">
            <a:xfrm>
              <a:off x="2695" y="7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236"/>
            <p:cNvSpPr>
              <a:spLocks noEditPoints="1"/>
            </p:cNvSpPr>
            <p:nvPr/>
          </p:nvSpPr>
          <p:spPr bwMode="auto">
            <a:xfrm>
              <a:off x="2766" y="862"/>
              <a:ext cx="196" cy="184"/>
            </a:xfrm>
            <a:custGeom>
              <a:avLst/>
              <a:gdLst>
                <a:gd name="T0" fmla="*/ 95 w 295"/>
                <a:gd name="T1" fmla="*/ 100 h 277"/>
                <a:gd name="T2" fmla="*/ 70 w 295"/>
                <a:gd name="T3" fmla="*/ 22 h 277"/>
                <a:gd name="T4" fmla="*/ 136 w 295"/>
                <a:gd name="T5" fmla="*/ 46 h 277"/>
                <a:gd name="T6" fmla="*/ 109 w 295"/>
                <a:gd name="T7" fmla="*/ 103 h 277"/>
                <a:gd name="T8" fmla="*/ 97 w 295"/>
                <a:gd name="T9" fmla="*/ 28 h 277"/>
                <a:gd name="T10" fmla="*/ 87 w 295"/>
                <a:gd name="T11" fmla="*/ 56 h 277"/>
                <a:gd name="T12" fmla="*/ 111 w 295"/>
                <a:gd name="T13" fmla="*/ 81 h 277"/>
                <a:gd name="T14" fmla="*/ 116 w 295"/>
                <a:gd name="T15" fmla="*/ 52 h 277"/>
                <a:gd name="T16" fmla="*/ 101 w 295"/>
                <a:gd name="T17" fmla="*/ 274 h 277"/>
                <a:gd name="T18" fmla="*/ 56 w 295"/>
                <a:gd name="T19" fmla="*/ 212 h 277"/>
                <a:gd name="T20" fmla="*/ 241 w 295"/>
                <a:gd name="T21" fmla="*/ 212 h 277"/>
                <a:gd name="T22" fmla="*/ 159 w 295"/>
                <a:gd name="T23" fmla="*/ 248 h 277"/>
                <a:gd name="T24" fmla="*/ 138 w 295"/>
                <a:gd name="T25" fmla="*/ 248 h 277"/>
                <a:gd name="T26" fmla="*/ 149 w 295"/>
                <a:gd name="T27" fmla="*/ 145 h 277"/>
                <a:gd name="T28" fmla="*/ 97 w 295"/>
                <a:gd name="T29" fmla="*/ 252 h 277"/>
                <a:gd name="T30" fmla="*/ 149 w 295"/>
                <a:gd name="T31" fmla="*/ 215 h 277"/>
                <a:gd name="T32" fmla="*/ 200 w 295"/>
                <a:gd name="T33" fmla="*/ 252 h 277"/>
                <a:gd name="T34" fmla="*/ 149 w 295"/>
                <a:gd name="T35" fmla="*/ 145 h 277"/>
                <a:gd name="T36" fmla="*/ 177 w 295"/>
                <a:gd name="T37" fmla="*/ 101 h 277"/>
                <a:gd name="T38" fmla="*/ 160 w 295"/>
                <a:gd name="T39" fmla="*/ 46 h 277"/>
                <a:gd name="T40" fmla="*/ 227 w 295"/>
                <a:gd name="T41" fmla="*/ 22 h 277"/>
                <a:gd name="T42" fmla="*/ 202 w 295"/>
                <a:gd name="T43" fmla="*/ 100 h 277"/>
                <a:gd name="T44" fmla="*/ 197 w 295"/>
                <a:gd name="T45" fmla="*/ 27 h 277"/>
                <a:gd name="T46" fmla="*/ 185 w 295"/>
                <a:gd name="T47" fmla="*/ 81 h 277"/>
                <a:gd name="T48" fmla="*/ 192 w 295"/>
                <a:gd name="T49" fmla="*/ 81 h 277"/>
                <a:gd name="T50" fmla="*/ 209 w 295"/>
                <a:gd name="T51" fmla="*/ 33 h 277"/>
                <a:gd name="T52" fmla="*/ 197 w 295"/>
                <a:gd name="T53" fmla="*/ 27 h 277"/>
                <a:gd name="T54" fmla="*/ 239 w 295"/>
                <a:gd name="T55" fmla="*/ 148 h 277"/>
                <a:gd name="T56" fmla="*/ 222 w 295"/>
                <a:gd name="T57" fmla="*/ 136 h 277"/>
                <a:gd name="T58" fmla="*/ 288 w 295"/>
                <a:gd name="T59" fmla="*/ 88 h 277"/>
                <a:gd name="T60" fmla="*/ 278 w 295"/>
                <a:gd name="T61" fmla="*/ 138 h 277"/>
                <a:gd name="T62" fmla="*/ 240 w 295"/>
                <a:gd name="T63" fmla="*/ 126 h 277"/>
                <a:gd name="T64" fmla="*/ 264 w 295"/>
                <a:gd name="T65" fmla="*/ 121 h 277"/>
                <a:gd name="T66" fmla="*/ 271 w 295"/>
                <a:gd name="T67" fmla="*/ 102 h 277"/>
                <a:gd name="T68" fmla="*/ 240 w 295"/>
                <a:gd name="T69" fmla="*/ 126 h 277"/>
                <a:gd name="T70" fmla="*/ 18 w 295"/>
                <a:gd name="T71" fmla="*/ 138 h 277"/>
                <a:gd name="T72" fmla="*/ 8 w 295"/>
                <a:gd name="T73" fmla="*/ 88 h 277"/>
                <a:gd name="T74" fmla="*/ 74 w 295"/>
                <a:gd name="T75" fmla="*/ 136 h 277"/>
                <a:gd name="T76" fmla="*/ 56 w 295"/>
                <a:gd name="T77" fmla="*/ 148 h 277"/>
                <a:gd name="T78" fmla="*/ 64 w 295"/>
                <a:gd name="T79" fmla="*/ 131 h 277"/>
                <a:gd name="T80" fmla="*/ 28 w 295"/>
                <a:gd name="T81" fmla="*/ 100 h 277"/>
                <a:gd name="T82" fmla="*/ 22 w 295"/>
                <a:gd name="T83" fmla="*/ 108 h 277"/>
                <a:gd name="T84" fmla="*/ 52 w 295"/>
                <a:gd name="T85" fmla="*/ 127 h 277"/>
                <a:gd name="T86" fmla="*/ 55 w 295"/>
                <a:gd name="T87" fmla="*/ 126 h 277"/>
                <a:gd name="T88" fmla="*/ 28 w 295"/>
                <a:gd name="T89" fmla="*/ 10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277">
                  <a:moveTo>
                    <a:pt x="109" y="103"/>
                  </a:moveTo>
                  <a:cubicBezTo>
                    <a:pt x="104" y="103"/>
                    <a:pt x="100" y="102"/>
                    <a:pt x="95" y="100"/>
                  </a:cubicBezTo>
                  <a:cubicBezTo>
                    <a:pt x="81" y="93"/>
                    <a:pt x="70" y="77"/>
                    <a:pt x="66" y="61"/>
                  </a:cubicBezTo>
                  <a:cubicBezTo>
                    <a:pt x="62" y="45"/>
                    <a:pt x="64" y="32"/>
                    <a:pt x="70" y="22"/>
                  </a:cubicBezTo>
                  <a:cubicBezTo>
                    <a:pt x="75" y="14"/>
                    <a:pt x="83" y="9"/>
                    <a:pt x="93" y="7"/>
                  </a:cubicBezTo>
                  <a:cubicBezTo>
                    <a:pt x="124" y="0"/>
                    <a:pt x="133" y="35"/>
                    <a:pt x="136" y="46"/>
                  </a:cubicBezTo>
                  <a:cubicBezTo>
                    <a:pt x="144" y="73"/>
                    <a:pt x="138" y="93"/>
                    <a:pt x="120" y="101"/>
                  </a:cubicBezTo>
                  <a:cubicBezTo>
                    <a:pt x="116" y="102"/>
                    <a:pt x="113" y="103"/>
                    <a:pt x="109" y="103"/>
                  </a:cubicBezTo>
                  <a:close/>
                  <a:moveTo>
                    <a:pt x="100" y="27"/>
                  </a:moveTo>
                  <a:cubicBezTo>
                    <a:pt x="99" y="27"/>
                    <a:pt x="98" y="27"/>
                    <a:pt x="97" y="28"/>
                  </a:cubicBezTo>
                  <a:cubicBezTo>
                    <a:pt x="93" y="29"/>
                    <a:pt x="90" y="30"/>
                    <a:pt x="88" y="33"/>
                  </a:cubicBezTo>
                  <a:cubicBezTo>
                    <a:pt x="85" y="38"/>
                    <a:pt x="84" y="46"/>
                    <a:pt x="87" y="56"/>
                  </a:cubicBezTo>
                  <a:cubicBezTo>
                    <a:pt x="89" y="66"/>
                    <a:pt x="97" y="77"/>
                    <a:pt x="104" y="81"/>
                  </a:cubicBezTo>
                  <a:cubicBezTo>
                    <a:pt x="108" y="83"/>
                    <a:pt x="110" y="82"/>
                    <a:pt x="111" y="81"/>
                  </a:cubicBezTo>
                  <a:cubicBezTo>
                    <a:pt x="111" y="81"/>
                    <a:pt x="111" y="81"/>
                    <a:pt x="111" y="81"/>
                  </a:cubicBezTo>
                  <a:cubicBezTo>
                    <a:pt x="121" y="77"/>
                    <a:pt x="118" y="59"/>
                    <a:pt x="116" y="52"/>
                  </a:cubicBezTo>
                  <a:cubicBezTo>
                    <a:pt x="110" y="31"/>
                    <a:pt x="105" y="27"/>
                    <a:pt x="100" y="27"/>
                  </a:cubicBezTo>
                  <a:close/>
                  <a:moveTo>
                    <a:pt x="101" y="274"/>
                  </a:moveTo>
                  <a:cubicBezTo>
                    <a:pt x="98" y="274"/>
                    <a:pt x="96" y="273"/>
                    <a:pt x="94" y="273"/>
                  </a:cubicBezTo>
                  <a:cubicBezTo>
                    <a:pt x="76" y="270"/>
                    <a:pt x="56" y="257"/>
                    <a:pt x="56" y="212"/>
                  </a:cubicBezTo>
                  <a:cubicBezTo>
                    <a:pt x="56" y="181"/>
                    <a:pt x="94" y="124"/>
                    <a:pt x="149" y="124"/>
                  </a:cubicBezTo>
                  <a:cubicBezTo>
                    <a:pt x="203" y="124"/>
                    <a:pt x="241" y="181"/>
                    <a:pt x="241" y="212"/>
                  </a:cubicBezTo>
                  <a:cubicBezTo>
                    <a:pt x="241" y="257"/>
                    <a:pt x="221" y="270"/>
                    <a:pt x="204" y="273"/>
                  </a:cubicBezTo>
                  <a:cubicBezTo>
                    <a:pt x="179" y="277"/>
                    <a:pt x="167" y="260"/>
                    <a:pt x="159" y="248"/>
                  </a:cubicBezTo>
                  <a:cubicBezTo>
                    <a:pt x="155" y="242"/>
                    <a:pt x="152" y="237"/>
                    <a:pt x="149" y="237"/>
                  </a:cubicBezTo>
                  <a:cubicBezTo>
                    <a:pt x="146" y="237"/>
                    <a:pt x="142" y="242"/>
                    <a:pt x="138" y="248"/>
                  </a:cubicBezTo>
                  <a:cubicBezTo>
                    <a:pt x="131" y="258"/>
                    <a:pt x="121" y="274"/>
                    <a:pt x="101" y="274"/>
                  </a:cubicBezTo>
                  <a:close/>
                  <a:moveTo>
                    <a:pt x="149" y="145"/>
                  </a:moveTo>
                  <a:cubicBezTo>
                    <a:pt x="106" y="145"/>
                    <a:pt x="77" y="193"/>
                    <a:pt x="77" y="212"/>
                  </a:cubicBezTo>
                  <a:cubicBezTo>
                    <a:pt x="77" y="249"/>
                    <a:pt x="92" y="251"/>
                    <a:pt x="97" y="252"/>
                  </a:cubicBezTo>
                  <a:cubicBezTo>
                    <a:pt x="107" y="254"/>
                    <a:pt x="112" y="249"/>
                    <a:pt x="120" y="236"/>
                  </a:cubicBezTo>
                  <a:cubicBezTo>
                    <a:pt x="127" y="227"/>
                    <a:pt x="134" y="215"/>
                    <a:pt x="149" y="215"/>
                  </a:cubicBezTo>
                  <a:cubicBezTo>
                    <a:pt x="163" y="215"/>
                    <a:pt x="171" y="227"/>
                    <a:pt x="177" y="236"/>
                  </a:cubicBezTo>
                  <a:cubicBezTo>
                    <a:pt x="185" y="249"/>
                    <a:pt x="190" y="254"/>
                    <a:pt x="200" y="252"/>
                  </a:cubicBezTo>
                  <a:cubicBezTo>
                    <a:pt x="205" y="251"/>
                    <a:pt x="220" y="249"/>
                    <a:pt x="220" y="212"/>
                  </a:cubicBezTo>
                  <a:cubicBezTo>
                    <a:pt x="220" y="193"/>
                    <a:pt x="192" y="145"/>
                    <a:pt x="149" y="145"/>
                  </a:cubicBezTo>
                  <a:close/>
                  <a:moveTo>
                    <a:pt x="188" y="103"/>
                  </a:moveTo>
                  <a:cubicBezTo>
                    <a:pt x="184" y="103"/>
                    <a:pt x="180" y="102"/>
                    <a:pt x="177" y="101"/>
                  </a:cubicBezTo>
                  <a:cubicBezTo>
                    <a:pt x="177" y="101"/>
                    <a:pt x="177" y="101"/>
                    <a:pt x="177" y="101"/>
                  </a:cubicBezTo>
                  <a:cubicBezTo>
                    <a:pt x="159" y="93"/>
                    <a:pt x="153" y="73"/>
                    <a:pt x="160" y="46"/>
                  </a:cubicBezTo>
                  <a:cubicBezTo>
                    <a:pt x="163" y="35"/>
                    <a:pt x="173" y="0"/>
                    <a:pt x="204" y="7"/>
                  </a:cubicBezTo>
                  <a:cubicBezTo>
                    <a:pt x="214" y="9"/>
                    <a:pt x="222" y="14"/>
                    <a:pt x="227" y="22"/>
                  </a:cubicBezTo>
                  <a:cubicBezTo>
                    <a:pt x="233" y="32"/>
                    <a:pt x="234" y="45"/>
                    <a:pt x="231" y="61"/>
                  </a:cubicBezTo>
                  <a:cubicBezTo>
                    <a:pt x="227" y="77"/>
                    <a:pt x="215" y="93"/>
                    <a:pt x="202" y="100"/>
                  </a:cubicBezTo>
                  <a:cubicBezTo>
                    <a:pt x="197" y="102"/>
                    <a:pt x="192" y="103"/>
                    <a:pt x="188" y="103"/>
                  </a:cubicBezTo>
                  <a:close/>
                  <a:moveTo>
                    <a:pt x="197" y="27"/>
                  </a:moveTo>
                  <a:cubicBezTo>
                    <a:pt x="192" y="27"/>
                    <a:pt x="187" y="31"/>
                    <a:pt x="181" y="52"/>
                  </a:cubicBezTo>
                  <a:cubicBezTo>
                    <a:pt x="179" y="59"/>
                    <a:pt x="175" y="77"/>
                    <a:pt x="185" y="81"/>
                  </a:cubicBezTo>
                  <a:cubicBezTo>
                    <a:pt x="185" y="81"/>
                    <a:pt x="185" y="81"/>
                    <a:pt x="185" y="81"/>
                  </a:cubicBezTo>
                  <a:cubicBezTo>
                    <a:pt x="186" y="82"/>
                    <a:pt x="188" y="83"/>
                    <a:pt x="192" y="81"/>
                  </a:cubicBezTo>
                  <a:cubicBezTo>
                    <a:pt x="200" y="77"/>
                    <a:pt x="208" y="66"/>
                    <a:pt x="210" y="56"/>
                  </a:cubicBezTo>
                  <a:cubicBezTo>
                    <a:pt x="212" y="46"/>
                    <a:pt x="212" y="38"/>
                    <a:pt x="209" y="33"/>
                  </a:cubicBezTo>
                  <a:cubicBezTo>
                    <a:pt x="207" y="30"/>
                    <a:pt x="204" y="29"/>
                    <a:pt x="199" y="28"/>
                  </a:cubicBezTo>
                  <a:cubicBezTo>
                    <a:pt x="199" y="27"/>
                    <a:pt x="198" y="27"/>
                    <a:pt x="197" y="27"/>
                  </a:cubicBezTo>
                  <a:close/>
                  <a:moveTo>
                    <a:pt x="246" y="149"/>
                  </a:moveTo>
                  <a:cubicBezTo>
                    <a:pt x="244" y="149"/>
                    <a:pt x="241" y="149"/>
                    <a:pt x="239" y="148"/>
                  </a:cubicBezTo>
                  <a:cubicBezTo>
                    <a:pt x="231" y="146"/>
                    <a:pt x="225" y="142"/>
                    <a:pt x="222" y="136"/>
                  </a:cubicBezTo>
                  <a:cubicBezTo>
                    <a:pt x="222" y="136"/>
                    <a:pt x="222" y="136"/>
                    <a:pt x="222" y="136"/>
                  </a:cubicBezTo>
                  <a:cubicBezTo>
                    <a:pt x="214" y="121"/>
                    <a:pt x="220" y="105"/>
                    <a:pt x="239" y="91"/>
                  </a:cubicBezTo>
                  <a:cubicBezTo>
                    <a:pt x="260" y="75"/>
                    <a:pt x="276" y="75"/>
                    <a:pt x="288" y="88"/>
                  </a:cubicBezTo>
                  <a:cubicBezTo>
                    <a:pt x="293" y="95"/>
                    <a:pt x="295" y="102"/>
                    <a:pt x="295" y="110"/>
                  </a:cubicBezTo>
                  <a:cubicBezTo>
                    <a:pt x="294" y="120"/>
                    <a:pt x="288" y="130"/>
                    <a:pt x="278" y="138"/>
                  </a:cubicBezTo>
                  <a:cubicBezTo>
                    <a:pt x="269" y="145"/>
                    <a:pt x="257" y="149"/>
                    <a:pt x="246" y="149"/>
                  </a:cubicBezTo>
                  <a:close/>
                  <a:moveTo>
                    <a:pt x="240" y="126"/>
                  </a:moveTo>
                  <a:cubicBezTo>
                    <a:pt x="241" y="126"/>
                    <a:pt x="242" y="127"/>
                    <a:pt x="243" y="127"/>
                  </a:cubicBezTo>
                  <a:cubicBezTo>
                    <a:pt x="249" y="128"/>
                    <a:pt x="259" y="126"/>
                    <a:pt x="264" y="121"/>
                  </a:cubicBezTo>
                  <a:cubicBezTo>
                    <a:pt x="270" y="117"/>
                    <a:pt x="273" y="112"/>
                    <a:pt x="273" y="108"/>
                  </a:cubicBezTo>
                  <a:cubicBezTo>
                    <a:pt x="274" y="107"/>
                    <a:pt x="273" y="105"/>
                    <a:pt x="271" y="102"/>
                  </a:cubicBezTo>
                  <a:cubicBezTo>
                    <a:pt x="270" y="100"/>
                    <a:pt x="267" y="97"/>
                    <a:pt x="251" y="108"/>
                  </a:cubicBezTo>
                  <a:cubicBezTo>
                    <a:pt x="248" y="111"/>
                    <a:pt x="237" y="119"/>
                    <a:pt x="240" y="126"/>
                  </a:cubicBezTo>
                  <a:close/>
                  <a:moveTo>
                    <a:pt x="49" y="149"/>
                  </a:moveTo>
                  <a:cubicBezTo>
                    <a:pt x="38" y="149"/>
                    <a:pt x="26" y="145"/>
                    <a:pt x="18" y="138"/>
                  </a:cubicBezTo>
                  <a:cubicBezTo>
                    <a:pt x="7" y="130"/>
                    <a:pt x="2" y="120"/>
                    <a:pt x="1" y="110"/>
                  </a:cubicBezTo>
                  <a:cubicBezTo>
                    <a:pt x="0" y="102"/>
                    <a:pt x="2" y="95"/>
                    <a:pt x="8" y="88"/>
                  </a:cubicBezTo>
                  <a:cubicBezTo>
                    <a:pt x="19" y="75"/>
                    <a:pt x="36" y="75"/>
                    <a:pt x="57" y="91"/>
                  </a:cubicBezTo>
                  <a:cubicBezTo>
                    <a:pt x="75" y="105"/>
                    <a:pt x="81" y="121"/>
                    <a:pt x="74" y="136"/>
                  </a:cubicBezTo>
                  <a:cubicBezTo>
                    <a:pt x="74" y="136"/>
                    <a:pt x="74" y="136"/>
                    <a:pt x="74" y="136"/>
                  </a:cubicBezTo>
                  <a:cubicBezTo>
                    <a:pt x="70" y="142"/>
                    <a:pt x="64" y="146"/>
                    <a:pt x="56" y="148"/>
                  </a:cubicBezTo>
                  <a:cubicBezTo>
                    <a:pt x="54" y="149"/>
                    <a:pt x="51" y="149"/>
                    <a:pt x="49" y="149"/>
                  </a:cubicBezTo>
                  <a:close/>
                  <a:moveTo>
                    <a:pt x="64" y="131"/>
                  </a:moveTo>
                  <a:cubicBezTo>
                    <a:pt x="64" y="131"/>
                    <a:pt x="64" y="131"/>
                    <a:pt x="64" y="131"/>
                  </a:cubicBezTo>
                  <a:close/>
                  <a:moveTo>
                    <a:pt x="28" y="100"/>
                  </a:moveTo>
                  <a:cubicBezTo>
                    <a:pt x="26" y="100"/>
                    <a:pt x="25" y="101"/>
                    <a:pt x="24" y="102"/>
                  </a:cubicBezTo>
                  <a:cubicBezTo>
                    <a:pt x="22" y="105"/>
                    <a:pt x="22" y="107"/>
                    <a:pt x="22" y="108"/>
                  </a:cubicBezTo>
                  <a:cubicBezTo>
                    <a:pt x="22" y="112"/>
                    <a:pt x="26" y="117"/>
                    <a:pt x="31" y="121"/>
                  </a:cubicBezTo>
                  <a:cubicBezTo>
                    <a:pt x="37" y="126"/>
                    <a:pt x="46" y="128"/>
                    <a:pt x="52" y="127"/>
                  </a:cubicBezTo>
                  <a:cubicBezTo>
                    <a:pt x="53" y="127"/>
                    <a:pt x="54" y="126"/>
                    <a:pt x="55" y="126"/>
                  </a:cubicBezTo>
                  <a:cubicBezTo>
                    <a:pt x="55" y="126"/>
                    <a:pt x="55" y="126"/>
                    <a:pt x="55" y="126"/>
                  </a:cubicBezTo>
                  <a:cubicBezTo>
                    <a:pt x="58" y="119"/>
                    <a:pt x="47" y="111"/>
                    <a:pt x="44" y="108"/>
                  </a:cubicBezTo>
                  <a:cubicBezTo>
                    <a:pt x="35" y="102"/>
                    <a:pt x="31" y="100"/>
                    <a:pt x="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2" name="Group 647"/>
          <p:cNvGrpSpPr>
            <a:grpSpLocks noChangeAspect="1"/>
          </p:cNvGrpSpPr>
          <p:nvPr/>
        </p:nvGrpSpPr>
        <p:grpSpPr bwMode="auto">
          <a:xfrm>
            <a:off x="7546626" y="2528098"/>
            <a:ext cx="369021" cy="369021"/>
            <a:chOff x="1136" y="2353"/>
            <a:chExt cx="340" cy="340"/>
          </a:xfrm>
          <a:solidFill>
            <a:schemeClr val="accent1"/>
          </a:solidFill>
        </p:grpSpPr>
        <p:sp>
          <p:nvSpPr>
            <p:cNvPr id="375" name="Freeform 648"/>
            <p:cNvSpPr>
              <a:spLocks noEditPoints="1"/>
            </p:cNvSpPr>
            <p:nvPr/>
          </p:nvSpPr>
          <p:spPr bwMode="auto">
            <a:xfrm>
              <a:off x="1136" y="23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Freeform 649"/>
            <p:cNvSpPr>
              <a:spLocks noEditPoints="1"/>
            </p:cNvSpPr>
            <p:nvPr/>
          </p:nvSpPr>
          <p:spPr bwMode="auto">
            <a:xfrm>
              <a:off x="1201" y="2431"/>
              <a:ext cx="211" cy="184"/>
            </a:xfrm>
            <a:custGeom>
              <a:avLst/>
              <a:gdLst>
                <a:gd name="T0" fmla="*/ 318 w 318"/>
                <a:gd name="T1" fmla="*/ 160 h 277"/>
                <a:gd name="T2" fmla="*/ 262 w 318"/>
                <a:gd name="T3" fmla="*/ 97 h 277"/>
                <a:gd name="T4" fmla="*/ 229 w 318"/>
                <a:gd name="T5" fmla="*/ 24 h 277"/>
                <a:gd name="T6" fmla="*/ 159 w 318"/>
                <a:gd name="T7" fmla="*/ 0 h 277"/>
                <a:gd name="T8" fmla="*/ 149 w 318"/>
                <a:gd name="T9" fmla="*/ 5 h 277"/>
                <a:gd name="T10" fmla="*/ 149 w 318"/>
                <a:gd name="T11" fmla="*/ 16 h 277"/>
                <a:gd name="T12" fmla="*/ 207 w 318"/>
                <a:gd name="T13" fmla="*/ 114 h 277"/>
                <a:gd name="T14" fmla="*/ 193 w 318"/>
                <a:gd name="T15" fmla="*/ 123 h 277"/>
                <a:gd name="T16" fmla="*/ 139 w 318"/>
                <a:gd name="T17" fmla="*/ 86 h 277"/>
                <a:gd name="T18" fmla="*/ 61 w 318"/>
                <a:gd name="T19" fmla="*/ 90 h 277"/>
                <a:gd name="T20" fmla="*/ 8 w 318"/>
                <a:gd name="T21" fmla="*/ 194 h 277"/>
                <a:gd name="T22" fmla="*/ 8 w 318"/>
                <a:gd name="T23" fmla="*/ 194 h 277"/>
                <a:gd name="T24" fmla="*/ 3 w 318"/>
                <a:gd name="T25" fmla="*/ 219 h 277"/>
                <a:gd name="T26" fmla="*/ 62 w 318"/>
                <a:gd name="T27" fmla="*/ 277 h 277"/>
                <a:gd name="T28" fmla="*/ 275 w 318"/>
                <a:gd name="T29" fmla="*/ 277 h 277"/>
                <a:gd name="T30" fmla="*/ 286 w 318"/>
                <a:gd name="T31" fmla="*/ 267 h 277"/>
                <a:gd name="T32" fmla="*/ 275 w 318"/>
                <a:gd name="T33" fmla="*/ 256 h 277"/>
                <a:gd name="T34" fmla="*/ 266 w 318"/>
                <a:gd name="T35" fmla="*/ 256 h 277"/>
                <a:gd name="T36" fmla="*/ 274 w 318"/>
                <a:gd name="T37" fmla="*/ 212 h 277"/>
                <a:gd name="T38" fmla="*/ 318 w 318"/>
                <a:gd name="T39" fmla="*/ 160 h 277"/>
                <a:gd name="T40" fmla="*/ 219 w 318"/>
                <a:gd name="T41" fmla="*/ 256 h 277"/>
                <a:gd name="T42" fmla="*/ 211 w 318"/>
                <a:gd name="T43" fmla="*/ 221 h 277"/>
                <a:gd name="T44" fmla="*/ 198 w 318"/>
                <a:gd name="T45" fmla="*/ 214 h 277"/>
                <a:gd name="T46" fmla="*/ 190 w 318"/>
                <a:gd name="T47" fmla="*/ 227 h 277"/>
                <a:gd name="T48" fmla="*/ 197 w 318"/>
                <a:gd name="T49" fmla="*/ 256 h 277"/>
                <a:gd name="T50" fmla="*/ 62 w 318"/>
                <a:gd name="T51" fmla="*/ 256 h 277"/>
                <a:gd name="T52" fmla="*/ 24 w 318"/>
                <a:gd name="T53" fmla="*/ 219 h 277"/>
                <a:gd name="T54" fmla="*/ 62 w 318"/>
                <a:gd name="T55" fmla="*/ 181 h 277"/>
                <a:gd name="T56" fmla="*/ 99 w 318"/>
                <a:gd name="T57" fmla="*/ 219 h 277"/>
                <a:gd name="T58" fmla="*/ 110 w 318"/>
                <a:gd name="T59" fmla="*/ 229 h 277"/>
                <a:gd name="T60" fmla="*/ 120 w 318"/>
                <a:gd name="T61" fmla="*/ 219 h 277"/>
                <a:gd name="T62" fmla="*/ 62 w 318"/>
                <a:gd name="T63" fmla="*/ 160 h 277"/>
                <a:gd name="T64" fmla="*/ 28 w 318"/>
                <a:gd name="T65" fmla="*/ 170 h 277"/>
                <a:gd name="T66" fmla="*/ 70 w 318"/>
                <a:gd name="T67" fmla="*/ 110 h 277"/>
                <a:gd name="T68" fmla="*/ 133 w 318"/>
                <a:gd name="T69" fmla="*/ 106 h 277"/>
                <a:gd name="T70" fmla="*/ 180 w 318"/>
                <a:gd name="T71" fmla="*/ 143 h 277"/>
                <a:gd name="T72" fmla="*/ 187 w 318"/>
                <a:gd name="T73" fmla="*/ 149 h 277"/>
                <a:gd name="T74" fmla="*/ 196 w 318"/>
                <a:gd name="T75" fmla="*/ 148 h 277"/>
                <a:gd name="T76" fmla="*/ 228 w 318"/>
                <a:gd name="T77" fmla="*/ 126 h 277"/>
                <a:gd name="T78" fmla="*/ 231 w 318"/>
                <a:gd name="T79" fmla="*/ 112 h 277"/>
                <a:gd name="T80" fmla="*/ 179 w 318"/>
                <a:gd name="T81" fmla="*/ 25 h 277"/>
                <a:gd name="T82" fmla="*/ 214 w 318"/>
                <a:gd name="T83" fmla="*/ 40 h 277"/>
                <a:gd name="T84" fmla="*/ 243 w 318"/>
                <a:gd name="T85" fmla="*/ 109 h 277"/>
                <a:gd name="T86" fmla="*/ 253 w 318"/>
                <a:gd name="T87" fmla="*/ 117 h 277"/>
                <a:gd name="T88" fmla="*/ 254 w 318"/>
                <a:gd name="T89" fmla="*/ 117 h 277"/>
                <a:gd name="T90" fmla="*/ 296 w 318"/>
                <a:gd name="T91" fmla="*/ 160 h 277"/>
                <a:gd name="T92" fmla="*/ 264 w 318"/>
                <a:gd name="T93" fmla="*/ 192 h 277"/>
                <a:gd name="T94" fmla="*/ 264 w 318"/>
                <a:gd name="T95" fmla="*/ 192 h 277"/>
                <a:gd name="T96" fmla="*/ 254 w 318"/>
                <a:gd name="T97" fmla="*/ 201 h 277"/>
                <a:gd name="T98" fmla="*/ 245 w 318"/>
                <a:gd name="T99" fmla="*/ 256 h 277"/>
                <a:gd name="T100" fmla="*/ 219 w 318"/>
                <a:gd name="T10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77">
                  <a:moveTo>
                    <a:pt x="318" y="160"/>
                  </a:moveTo>
                  <a:cubicBezTo>
                    <a:pt x="318" y="133"/>
                    <a:pt x="289" y="103"/>
                    <a:pt x="262" y="97"/>
                  </a:cubicBezTo>
                  <a:cubicBezTo>
                    <a:pt x="257" y="80"/>
                    <a:pt x="245" y="40"/>
                    <a:pt x="229" y="24"/>
                  </a:cubicBezTo>
                  <a:cubicBezTo>
                    <a:pt x="210" y="5"/>
                    <a:pt x="164" y="0"/>
                    <a:pt x="159" y="0"/>
                  </a:cubicBezTo>
                  <a:cubicBezTo>
                    <a:pt x="155" y="0"/>
                    <a:pt x="151" y="2"/>
                    <a:pt x="149" y="5"/>
                  </a:cubicBezTo>
                  <a:cubicBezTo>
                    <a:pt x="146" y="8"/>
                    <a:pt x="146" y="13"/>
                    <a:pt x="149" y="16"/>
                  </a:cubicBezTo>
                  <a:cubicBezTo>
                    <a:pt x="207" y="114"/>
                    <a:pt x="207" y="114"/>
                    <a:pt x="207" y="114"/>
                  </a:cubicBezTo>
                  <a:cubicBezTo>
                    <a:pt x="193" y="123"/>
                    <a:pt x="193" y="123"/>
                    <a:pt x="193" y="123"/>
                  </a:cubicBezTo>
                  <a:cubicBezTo>
                    <a:pt x="181" y="106"/>
                    <a:pt x="162" y="92"/>
                    <a:pt x="139" y="86"/>
                  </a:cubicBezTo>
                  <a:cubicBezTo>
                    <a:pt x="113" y="78"/>
                    <a:pt x="84" y="79"/>
                    <a:pt x="61" y="90"/>
                  </a:cubicBezTo>
                  <a:cubicBezTo>
                    <a:pt x="22" y="109"/>
                    <a:pt x="0" y="151"/>
                    <a:pt x="8" y="194"/>
                  </a:cubicBezTo>
                  <a:cubicBezTo>
                    <a:pt x="8" y="194"/>
                    <a:pt x="8" y="194"/>
                    <a:pt x="8" y="194"/>
                  </a:cubicBezTo>
                  <a:cubicBezTo>
                    <a:pt x="5" y="202"/>
                    <a:pt x="3" y="210"/>
                    <a:pt x="3" y="219"/>
                  </a:cubicBezTo>
                  <a:cubicBezTo>
                    <a:pt x="3" y="251"/>
                    <a:pt x="29" y="277"/>
                    <a:pt x="62" y="277"/>
                  </a:cubicBezTo>
                  <a:cubicBezTo>
                    <a:pt x="275" y="277"/>
                    <a:pt x="275" y="277"/>
                    <a:pt x="275" y="277"/>
                  </a:cubicBezTo>
                  <a:cubicBezTo>
                    <a:pt x="281" y="277"/>
                    <a:pt x="286" y="273"/>
                    <a:pt x="286" y="267"/>
                  </a:cubicBezTo>
                  <a:cubicBezTo>
                    <a:pt x="286" y="261"/>
                    <a:pt x="281" y="256"/>
                    <a:pt x="275" y="256"/>
                  </a:cubicBezTo>
                  <a:cubicBezTo>
                    <a:pt x="266" y="256"/>
                    <a:pt x="266" y="256"/>
                    <a:pt x="266" y="256"/>
                  </a:cubicBezTo>
                  <a:cubicBezTo>
                    <a:pt x="274" y="212"/>
                    <a:pt x="274" y="212"/>
                    <a:pt x="274" y="212"/>
                  </a:cubicBezTo>
                  <a:cubicBezTo>
                    <a:pt x="299" y="208"/>
                    <a:pt x="318" y="186"/>
                    <a:pt x="318" y="160"/>
                  </a:cubicBezTo>
                  <a:close/>
                  <a:moveTo>
                    <a:pt x="219" y="256"/>
                  </a:moveTo>
                  <a:cubicBezTo>
                    <a:pt x="211" y="221"/>
                    <a:pt x="211" y="221"/>
                    <a:pt x="211" y="221"/>
                  </a:cubicBezTo>
                  <a:cubicBezTo>
                    <a:pt x="209" y="216"/>
                    <a:pt x="203" y="212"/>
                    <a:pt x="198" y="214"/>
                  </a:cubicBezTo>
                  <a:cubicBezTo>
                    <a:pt x="192" y="215"/>
                    <a:pt x="189" y="221"/>
                    <a:pt x="190" y="227"/>
                  </a:cubicBezTo>
                  <a:cubicBezTo>
                    <a:pt x="197" y="256"/>
                    <a:pt x="197" y="256"/>
                    <a:pt x="197" y="256"/>
                  </a:cubicBezTo>
                  <a:cubicBezTo>
                    <a:pt x="62" y="256"/>
                    <a:pt x="62" y="256"/>
                    <a:pt x="62" y="256"/>
                  </a:cubicBezTo>
                  <a:cubicBezTo>
                    <a:pt x="41" y="256"/>
                    <a:pt x="24" y="239"/>
                    <a:pt x="24" y="219"/>
                  </a:cubicBezTo>
                  <a:cubicBezTo>
                    <a:pt x="24" y="198"/>
                    <a:pt x="41" y="181"/>
                    <a:pt x="62" y="181"/>
                  </a:cubicBezTo>
                  <a:cubicBezTo>
                    <a:pt x="82" y="181"/>
                    <a:pt x="99" y="198"/>
                    <a:pt x="99" y="219"/>
                  </a:cubicBezTo>
                  <a:cubicBezTo>
                    <a:pt x="99" y="225"/>
                    <a:pt x="104" y="229"/>
                    <a:pt x="110" y="229"/>
                  </a:cubicBezTo>
                  <a:cubicBezTo>
                    <a:pt x="116" y="229"/>
                    <a:pt x="120" y="225"/>
                    <a:pt x="120" y="219"/>
                  </a:cubicBezTo>
                  <a:cubicBezTo>
                    <a:pt x="120" y="186"/>
                    <a:pt x="94" y="160"/>
                    <a:pt x="62" y="160"/>
                  </a:cubicBezTo>
                  <a:cubicBezTo>
                    <a:pt x="49" y="160"/>
                    <a:pt x="38" y="164"/>
                    <a:pt x="28" y="170"/>
                  </a:cubicBezTo>
                  <a:cubicBezTo>
                    <a:pt x="31" y="145"/>
                    <a:pt x="46" y="121"/>
                    <a:pt x="70" y="110"/>
                  </a:cubicBezTo>
                  <a:cubicBezTo>
                    <a:pt x="89" y="101"/>
                    <a:pt x="112" y="100"/>
                    <a:pt x="133" y="106"/>
                  </a:cubicBezTo>
                  <a:cubicBezTo>
                    <a:pt x="155" y="113"/>
                    <a:pt x="172" y="126"/>
                    <a:pt x="180" y="143"/>
                  </a:cubicBezTo>
                  <a:cubicBezTo>
                    <a:pt x="181" y="146"/>
                    <a:pt x="184" y="148"/>
                    <a:pt x="187" y="149"/>
                  </a:cubicBezTo>
                  <a:cubicBezTo>
                    <a:pt x="190" y="150"/>
                    <a:pt x="193" y="149"/>
                    <a:pt x="196" y="148"/>
                  </a:cubicBezTo>
                  <a:cubicBezTo>
                    <a:pt x="228" y="126"/>
                    <a:pt x="228" y="126"/>
                    <a:pt x="228" y="126"/>
                  </a:cubicBezTo>
                  <a:cubicBezTo>
                    <a:pt x="232" y="123"/>
                    <a:pt x="234" y="117"/>
                    <a:pt x="231" y="112"/>
                  </a:cubicBezTo>
                  <a:cubicBezTo>
                    <a:pt x="179" y="25"/>
                    <a:pt x="179" y="25"/>
                    <a:pt x="179" y="25"/>
                  </a:cubicBezTo>
                  <a:cubicBezTo>
                    <a:pt x="193" y="28"/>
                    <a:pt x="207" y="33"/>
                    <a:pt x="214" y="40"/>
                  </a:cubicBezTo>
                  <a:cubicBezTo>
                    <a:pt x="225" y="51"/>
                    <a:pt x="238" y="88"/>
                    <a:pt x="243" y="109"/>
                  </a:cubicBezTo>
                  <a:cubicBezTo>
                    <a:pt x="245" y="114"/>
                    <a:pt x="249" y="117"/>
                    <a:pt x="253" y="117"/>
                  </a:cubicBezTo>
                  <a:cubicBezTo>
                    <a:pt x="253" y="117"/>
                    <a:pt x="254" y="117"/>
                    <a:pt x="254" y="117"/>
                  </a:cubicBezTo>
                  <a:cubicBezTo>
                    <a:pt x="271" y="117"/>
                    <a:pt x="296" y="142"/>
                    <a:pt x="296" y="160"/>
                  </a:cubicBezTo>
                  <a:cubicBezTo>
                    <a:pt x="296" y="178"/>
                    <a:pt x="282" y="192"/>
                    <a:pt x="264" y="192"/>
                  </a:cubicBezTo>
                  <a:cubicBezTo>
                    <a:pt x="264" y="192"/>
                    <a:pt x="264" y="192"/>
                    <a:pt x="264" y="192"/>
                  </a:cubicBezTo>
                  <a:cubicBezTo>
                    <a:pt x="259" y="192"/>
                    <a:pt x="255" y="196"/>
                    <a:pt x="254" y="201"/>
                  </a:cubicBezTo>
                  <a:cubicBezTo>
                    <a:pt x="245" y="256"/>
                    <a:pt x="245" y="256"/>
                    <a:pt x="245" y="256"/>
                  </a:cubicBezTo>
                  <a:lnTo>
                    <a:pt x="219"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7" name="Freeform 653"/>
          <p:cNvSpPr>
            <a:spLocks noChangeAspect="1" noEditPoints="1"/>
          </p:cNvSpPr>
          <p:nvPr/>
        </p:nvSpPr>
        <p:spPr bwMode="auto">
          <a:xfrm>
            <a:off x="7125558" y="2528098"/>
            <a:ext cx="369021" cy="370106"/>
          </a:xfrm>
          <a:custGeom>
            <a:avLst/>
            <a:gdLst>
              <a:gd name="T0" fmla="*/ 394 w 512"/>
              <a:gd name="T1" fmla="*/ 277 h 512"/>
              <a:gd name="T2" fmla="*/ 362 w 512"/>
              <a:gd name="T3" fmla="*/ 309 h 512"/>
              <a:gd name="T4" fmla="*/ 362 w 512"/>
              <a:gd name="T5" fmla="*/ 309 h 512"/>
              <a:gd name="T6" fmla="*/ 352 w 512"/>
              <a:gd name="T7" fmla="*/ 318 h 512"/>
              <a:gd name="T8" fmla="*/ 343 w 512"/>
              <a:gd name="T9" fmla="*/ 373 h 512"/>
              <a:gd name="T10" fmla="*/ 317 w 512"/>
              <a:gd name="T11" fmla="*/ 373 h 512"/>
              <a:gd name="T12" fmla="*/ 309 w 512"/>
              <a:gd name="T13" fmla="*/ 338 h 512"/>
              <a:gd name="T14" fmla="*/ 296 w 512"/>
              <a:gd name="T15" fmla="*/ 331 h 512"/>
              <a:gd name="T16" fmla="*/ 288 w 512"/>
              <a:gd name="T17" fmla="*/ 344 h 512"/>
              <a:gd name="T18" fmla="*/ 295 w 512"/>
              <a:gd name="T19" fmla="*/ 373 h 512"/>
              <a:gd name="T20" fmla="*/ 160 w 512"/>
              <a:gd name="T21" fmla="*/ 373 h 512"/>
              <a:gd name="T22" fmla="*/ 122 w 512"/>
              <a:gd name="T23" fmla="*/ 336 h 512"/>
              <a:gd name="T24" fmla="*/ 160 w 512"/>
              <a:gd name="T25" fmla="*/ 298 h 512"/>
              <a:gd name="T26" fmla="*/ 197 w 512"/>
              <a:gd name="T27" fmla="*/ 336 h 512"/>
              <a:gd name="T28" fmla="*/ 208 w 512"/>
              <a:gd name="T29" fmla="*/ 346 h 512"/>
              <a:gd name="T30" fmla="*/ 218 w 512"/>
              <a:gd name="T31" fmla="*/ 336 h 512"/>
              <a:gd name="T32" fmla="*/ 160 w 512"/>
              <a:gd name="T33" fmla="*/ 277 h 512"/>
              <a:gd name="T34" fmla="*/ 126 w 512"/>
              <a:gd name="T35" fmla="*/ 287 h 512"/>
              <a:gd name="T36" fmla="*/ 168 w 512"/>
              <a:gd name="T37" fmla="*/ 227 h 512"/>
              <a:gd name="T38" fmla="*/ 231 w 512"/>
              <a:gd name="T39" fmla="*/ 223 h 512"/>
              <a:gd name="T40" fmla="*/ 278 w 512"/>
              <a:gd name="T41" fmla="*/ 260 h 512"/>
              <a:gd name="T42" fmla="*/ 285 w 512"/>
              <a:gd name="T43" fmla="*/ 266 h 512"/>
              <a:gd name="T44" fmla="*/ 294 w 512"/>
              <a:gd name="T45" fmla="*/ 265 h 512"/>
              <a:gd name="T46" fmla="*/ 326 w 512"/>
              <a:gd name="T47" fmla="*/ 243 h 512"/>
              <a:gd name="T48" fmla="*/ 329 w 512"/>
              <a:gd name="T49" fmla="*/ 229 h 512"/>
              <a:gd name="T50" fmla="*/ 277 w 512"/>
              <a:gd name="T51" fmla="*/ 142 h 512"/>
              <a:gd name="T52" fmla="*/ 312 w 512"/>
              <a:gd name="T53" fmla="*/ 157 h 512"/>
              <a:gd name="T54" fmla="*/ 341 w 512"/>
              <a:gd name="T55" fmla="*/ 226 h 512"/>
              <a:gd name="T56" fmla="*/ 351 w 512"/>
              <a:gd name="T57" fmla="*/ 234 h 512"/>
              <a:gd name="T58" fmla="*/ 352 w 512"/>
              <a:gd name="T59" fmla="*/ 234 h 512"/>
              <a:gd name="T60" fmla="*/ 394 w 512"/>
              <a:gd name="T61" fmla="*/ 277 h 512"/>
              <a:gd name="T62" fmla="*/ 512 w 512"/>
              <a:gd name="T63" fmla="*/ 256 h 512"/>
              <a:gd name="T64" fmla="*/ 256 w 512"/>
              <a:gd name="T65" fmla="*/ 512 h 512"/>
              <a:gd name="T66" fmla="*/ 0 w 512"/>
              <a:gd name="T67" fmla="*/ 256 h 512"/>
              <a:gd name="T68" fmla="*/ 256 w 512"/>
              <a:gd name="T69" fmla="*/ 0 h 512"/>
              <a:gd name="T70" fmla="*/ 512 w 512"/>
              <a:gd name="T71" fmla="*/ 256 h 512"/>
              <a:gd name="T72" fmla="*/ 416 w 512"/>
              <a:gd name="T73" fmla="*/ 277 h 512"/>
              <a:gd name="T74" fmla="*/ 360 w 512"/>
              <a:gd name="T75" fmla="*/ 214 h 512"/>
              <a:gd name="T76" fmla="*/ 327 w 512"/>
              <a:gd name="T77" fmla="*/ 141 h 512"/>
              <a:gd name="T78" fmla="*/ 257 w 512"/>
              <a:gd name="T79" fmla="*/ 117 h 512"/>
              <a:gd name="T80" fmla="*/ 247 w 512"/>
              <a:gd name="T81" fmla="*/ 122 h 512"/>
              <a:gd name="T82" fmla="*/ 247 w 512"/>
              <a:gd name="T83" fmla="*/ 133 h 512"/>
              <a:gd name="T84" fmla="*/ 305 w 512"/>
              <a:gd name="T85" fmla="*/ 231 h 512"/>
              <a:gd name="T86" fmla="*/ 291 w 512"/>
              <a:gd name="T87" fmla="*/ 240 h 512"/>
              <a:gd name="T88" fmla="*/ 237 w 512"/>
              <a:gd name="T89" fmla="*/ 203 h 512"/>
              <a:gd name="T90" fmla="*/ 159 w 512"/>
              <a:gd name="T91" fmla="*/ 207 h 512"/>
              <a:gd name="T92" fmla="*/ 106 w 512"/>
              <a:gd name="T93" fmla="*/ 311 h 512"/>
              <a:gd name="T94" fmla="*/ 106 w 512"/>
              <a:gd name="T95" fmla="*/ 311 h 512"/>
              <a:gd name="T96" fmla="*/ 101 w 512"/>
              <a:gd name="T97" fmla="*/ 336 h 512"/>
              <a:gd name="T98" fmla="*/ 160 w 512"/>
              <a:gd name="T99" fmla="*/ 394 h 512"/>
              <a:gd name="T100" fmla="*/ 373 w 512"/>
              <a:gd name="T101" fmla="*/ 394 h 512"/>
              <a:gd name="T102" fmla="*/ 384 w 512"/>
              <a:gd name="T103" fmla="*/ 384 h 512"/>
              <a:gd name="T104" fmla="*/ 373 w 512"/>
              <a:gd name="T105" fmla="*/ 373 h 512"/>
              <a:gd name="T106" fmla="*/ 364 w 512"/>
              <a:gd name="T107" fmla="*/ 373 h 512"/>
              <a:gd name="T108" fmla="*/ 372 w 512"/>
              <a:gd name="T109" fmla="*/ 329 h 512"/>
              <a:gd name="T110" fmla="*/ 416 w 512"/>
              <a:gd name="T11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77"/>
                </a:moveTo>
                <a:cubicBezTo>
                  <a:pt x="394" y="295"/>
                  <a:pt x="380" y="309"/>
                  <a:pt x="362" y="309"/>
                </a:cubicBezTo>
                <a:cubicBezTo>
                  <a:pt x="362" y="309"/>
                  <a:pt x="362" y="309"/>
                  <a:pt x="362" y="309"/>
                </a:cubicBezTo>
                <a:cubicBezTo>
                  <a:pt x="357" y="309"/>
                  <a:pt x="353" y="313"/>
                  <a:pt x="352" y="318"/>
                </a:cubicBezTo>
                <a:cubicBezTo>
                  <a:pt x="343" y="373"/>
                  <a:pt x="343" y="373"/>
                  <a:pt x="343" y="373"/>
                </a:cubicBezTo>
                <a:cubicBezTo>
                  <a:pt x="317" y="373"/>
                  <a:pt x="317" y="373"/>
                  <a:pt x="317" y="373"/>
                </a:cubicBezTo>
                <a:cubicBezTo>
                  <a:pt x="309" y="338"/>
                  <a:pt x="309" y="338"/>
                  <a:pt x="309" y="338"/>
                </a:cubicBezTo>
                <a:cubicBezTo>
                  <a:pt x="307" y="333"/>
                  <a:pt x="301" y="329"/>
                  <a:pt x="296" y="331"/>
                </a:cubicBezTo>
                <a:cubicBezTo>
                  <a:pt x="290" y="332"/>
                  <a:pt x="287" y="338"/>
                  <a:pt x="288" y="344"/>
                </a:cubicBezTo>
                <a:cubicBezTo>
                  <a:pt x="295" y="373"/>
                  <a:pt x="295" y="373"/>
                  <a:pt x="295" y="373"/>
                </a:cubicBezTo>
                <a:cubicBezTo>
                  <a:pt x="160" y="373"/>
                  <a:pt x="160" y="373"/>
                  <a:pt x="160" y="373"/>
                </a:cubicBezTo>
                <a:cubicBezTo>
                  <a:pt x="139" y="373"/>
                  <a:pt x="122" y="356"/>
                  <a:pt x="122" y="336"/>
                </a:cubicBezTo>
                <a:cubicBezTo>
                  <a:pt x="122" y="315"/>
                  <a:pt x="139" y="298"/>
                  <a:pt x="160" y="298"/>
                </a:cubicBezTo>
                <a:cubicBezTo>
                  <a:pt x="180" y="298"/>
                  <a:pt x="197" y="315"/>
                  <a:pt x="197" y="336"/>
                </a:cubicBezTo>
                <a:cubicBezTo>
                  <a:pt x="197" y="342"/>
                  <a:pt x="202" y="346"/>
                  <a:pt x="208" y="346"/>
                </a:cubicBezTo>
                <a:cubicBezTo>
                  <a:pt x="214" y="346"/>
                  <a:pt x="218" y="342"/>
                  <a:pt x="218" y="336"/>
                </a:cubicBezTo>
                <a:cubicBezTo>
                  <a:pt x="218" y="303"/>
                  <a:pt x="192" y="277"/>
                  <a:pt x="160" y="277"/>
                </a:cubicBezTo>
                <a:cubicBezTo>
                  <a:pt x="147" y="277"/>
                  <a:pt x="136" y="281"/>
                  <a:pt x="126" y="287"/>
                </a:cubicBezTo>
                <a:cubicBezTo>
                  <a:pt x="129" y="262"/>
                  <a:pt x="144" y="238"/>
                  <a:pt x="168" y="227"/>
                </a:cubicBezTo>
                <a:cubicBezTo>
                  <a:pt x="187" y="218"/>
                  <a:pt x="210" y="217"/>
                  <a:pt x="231" y="223"/>
                </a:cubicBezTo>
                <a:cubicBezTo>
                  <a:pt x="253" y="230"/>
                  <a:pt x="270" y="243"/>
                  <a:pt x="278" y="260"/>
                </a:cubicBezTo>
                <a:cubicBezTo>
                  <a:pt x="279" y="263"/>
                  <a:pt x="282" y="265"/>
                  <a:pt x="285" y="266"/>
                </a:cubicBezTo>
                <a:cubicBezTo>
                  <a:pt x="288" y="267"/>
                  <a:pt x="291" y="266"/>
                  <a:pt x="294" y="265"/>
                </a:cubicBezTo>
                <a:cubicBezTo>
                  <a:pt x="326" y="243"/>
                  <a:pt x="326" y="243"/>
                  <a:pt x="326" y="243"/>
                </a:cubicBezTo>
                <a:cubicBezTo>
                  <a:pt x="330" y="240"/>
                  <a:pt x="332" y="234"/>
                  <a:pt x="329" y="229"/>
                </a:cubicBezTo>
                <a:cubicBezTo>
                  <a:pt x="277" y="142"/>
                  <a:pt x="277" y="142"/>
                  <a:pt x="277" y="142"/>
                </a:cubicBezTo>
                <a:cubicBezTo>
                  <a:pt x="291" y="145"/>
                  <a:pt x="305" y="150"/>
                  <a:pt x="312" y="157"/>
                </a:cubicBezTo>
                <a:cubicBezTo>
                  <a:pt x="323" y="168"/>
                  <a:pt x="336" y="205"/>
                  <a:pt x="341" y="226"/>
                </a:cubicBezTo>
                <a:cubicBezTo>
                  <a:pt x="343" y="231"/>
                  <a:pt x="347" y="234"/>
                  <a:pt x="351" y="234"/>
                </a:cubicBezTo>
                <a:cubicBezTo>
                  <a:pt x="351" y="234"/>
                  <a:pt x="352" y="234"/>
                  <a:pt x="352" y="234"/>
                </a:cubicBezTo>
                <a:cubicBezTo>
                  <a:pt x="369" y="234"/>
                  <a:pt x="394" y="259"/>
                  <a:pt x="394"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77"/>
                </a:moveTo>
                <a:cubicBezTo>
                  <a:pt x="416" y="250"/>
                  <a:pt x="387" y="220"/>
                  <a:pt x="360" y="214"/>
                </a:cubicBezTo>
                <a:cubicBezTo>
                  <a:pt x="355" y="197"/>
                  <a:pt x="343" y="157"/>
                  <a:pt x="327" y="141"/>
                </a:cubicBezTo>
                <a:cubicBezTo>
                  <a:pt x="308" y="122"/>
                  <a:pt x="262" y="117"/>
                  <a:pt x="257" y="117"/>
                </a:cubicBezTo>
                <a:cubicBezTo>
                  <a:pt x="253" y="117"/>
                  <a:pt x="249" y="119"/>
                  <a:pt x="247" y="122"/>
                </a:cubicBezTo>
                <a:cubicBezTo>
                  <a:pt x="244" y="125"/>
                  <a:pt x="244" y="130"/>
                  <a:pt x="247" y="133"/>
                </a:cubicBezTo>
                <a:cubicBezTo>
                  <a:pt x="305" y="231"/>
                  <a:pt x="305" y="231"/>
                  <a:pt x="305" y="231"/>
                </a:cubicBezTo>
                <a:cubicBezTo>
                  <a:pt x="291" y="240"/>
                  <a:pt x="291" y="240"/>
                  <a:pt x="291" y="240"/>
                </a:cubicBezTo>
                <a:cubicBezTo>
                  <a:pt x="279" y="223"/>
                  <a:pt x="260" y="209"/>
                  <a:pt x="237" y="203"/>
                </a:cubicBezTo>
                <a:cubicBezTo>
                  <a:pt x="211" y="195"/>
                  <a:pt x="182" y="196"/>
                  <a:pt x="159" y="207"/>
                </a:cubicBezTo>
                <a:cubicBezTo>
                  <a:pt x="120" y="226"/>
                  <a:pt x="98" y="268"/>
                  <a:pt x="106" y="311"/>
                </a:cubicBezTo>
                <a:cubicBezTo>
                  <a:pt x="106" y="311"/>
                  <a:pt x="106" y="311"/>
                  <a:pt x="106" y="311"/>
                </a:cubicBezTo>
                <a:cubicBezTo>
                  <a:pt x="103" y="319"/>
                  <a:pt x="101" y="327"/>
                  <a:pt x="101" y="336"/>
                </a:cubicBezTo>
                <a:cubicBezTo>
                  <a:pt x="101" y="368"/>
                  <a:pt x="127" y="394"/>
                  <a:pt x="160" y="394"/>
                </a:cubicBezTo>
                <a:cubicBezTo>
                  <a:pt x="373" y="394"/>
                  <a:pt x="373" y="394"/>
                  <a:pt x="373" y="394"/>
                </a:cubicBezTo>
                <a:cubicBezTo>
                  <a:pt x="379" y="394"/>
                  <a:pt x="384" y="390"/>
                  <a:pt x="384" y="384"/>
                </a:cubicBezTo>
                <a:cubicBezTo>
                  <a:pt x="384" y="378"/>
                  <a:pt x="379" y="373"/>
                  <a:pt x="373" y="373"/>
                </a:cubicBezTo>
                <a:cubicBezTo>
                  <a:pt x="364" y="373"/>
                  <a:pt x="364" y="373"/>
                  <a:pt x="364" y="373"/>
                </a:cubicBezTo>
                <a:cubicBezTo>
                  <a:pt x="372" y="329"/>
                  <a:pt x="372" y="329"/>
                  <a:pt x="372" y="329"/>
                </a:cubicBezTo>
                <a:cubicBezTo>
                  <a:pt x="397" y="325"/>
                  <a:pt x="416" y="303"/>
                  <a:pt x="416" y="27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8" name="Group 1003"/>
          <p:cNvGrpSpPr>
            <a:grpSpLocks noChangeAspect="1"/>
          </p:cNvGrpSpPr>
          <p:nvPr/>
        </p:nvGrpSpPr>
        <p:grpSpPr bwMode="auto">
          <a:xfrm>
            <a:off x="8388762" y="2528098"/>
            <a:ext cx="369021" cy="369021"/>
            <a:chOff x="2647" y="3988"/>
            <a:chExt cx="340" cy="340"/>
          </a:xfrm>
          <a:solidFill>
            <a:schemeClr val="accent5"/>
          </a:solidFill>
        </p:grpSpPr>
        <p:sp>
          <p:nvSpPr>
            <p:cNvPr id="379" name="Freeform 1004"/>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1005"/>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1" name="Freeform 1009"/>
          <p:cNvSpPr>
            <a:spLocks noChangeAspect="1" noEditPoints="1"/>
          </p:cNvSpPr>
          <p:nvPr/>
        </p:nvSpPr>
        <p:spPr bwMode="auto">
          <a:xfrm>
            <a:off x="7967694" y="2528098"/>
            <a:ext cx="369021" cy="369021"/>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2" name="Freeform 439"/>
          <p:cNvSpPr>
            <a:spLocks noChangeAspect="1" noEditPoints="1"/>
          </p:cNvSpPr>
          <p:nvPr/>
        </p:nvSpPr>
        <p:spPr bwMode="auto">
          <a:xfrm>
            <a:off x="5484484" y="3358107"/>
            <a:ext cx="367041" cy="367041"/>
          </a:xfrm>
          <a:custGeom>
            <a:avLst/>
            <a:gdLst>
              <a:gd name="T0" fmla="*/ 294 w 512"/>
              <a:gd name="T1" fmla="*/ 256 h 512"/>
              <a:gd name="T2" fmla="*/ 218 w 512"/>
              <a:gd name="T3" fmla="*/ 256 h 512"/>
              <a:gd name="T4" fmla="*/ 195 w 512"/>
              <a:gd name="T5" fmla="*/ 224 h 512"/>
              <a:gd name="T6" fmla="*/ 356 w 512"/>
              <a:gd name="T7" fmla="*/ 256 h 512"/>
              <a:gd name="T8" fmla="*/ 182 w 512"/>
              <a:gd name="T9" fmla="*/ 310 h 512"/>
              <a:gd name="T10" fmla="*/ 149 w 512"/>
              <a:gd name="T11" fmla="*/ 278 h 512"/>
              <a:gd name="T12" fmla="*/ 331 w 512"/>
              <a:gd name="T13" fmla="*/ 363 h 512"/>
              <a:gd name="T14" fmla="*/ 363 w 512"/>
              <a:gd name="T15" fmla="*/ 331 h 512"/>
              <a:gd name="T16" fmla="*/ 331 w 512"/>
              <a:gd name="T17" fmla="*/ 363 h 512"/>
              <a:gd name="T18" fmla="*/ 221 w 512"/>
              <a:gd name="T19" fmla="*/ 203 h 512"/>
              <a:gd name="T20" fmla="*/ 256 w 512"/>
              <a:gd name="T21" fmla="*/ 174 h 512"/>
              <a:gd name="T22" fmla="*/ 256 w 512"/>
              <a:gd name="T23" fmla="*/ 512 h 512"/>
              <a:gd name="T24" fmla="*/ 256 w 512"/>
              <a:gd name="T25" fmla="*/ 0 h 512"/>
              <a:gd name="T26" fmla="*/ 384 w 512"/>
              <a:gd name="T27" fmla="*/ 256 h 512"/>
              <a:gd name="T28" fmla="*/ 263 w 512"/>
              <a:gd name="T29" fmla="*/ 152 h 512"/>
              <a:gd name="T30" fmla="*/ 132 w 512"/>
              <a:gd name="T31" fmla="*/ 248 h 512"/>
              <a:gd name="T32" fmla="*/ 128 w 512"/>
              <a:gd name="T33" fmla="*/ 278 h 512"/>
              <a:gd name="T34" fmla="*/ 139 w 512"/>
              <a:gd name="T35" fmla="*/ 384 h 512"/>
              <a:gd name="T36" fmla="*/ 203 w 512"/>
              <a:gd name="T37" fmla="*/ 374 h 512"/>
              <a:gd name="T38" fmla="*/ 256 w 512"/>
              <a:gd name="T39" fmla="*/ 267 h 512"/>
              <a:gd name="T40" fmla="*/ 309 w 512"/>
              <a:gd name="T41" fmla="*/ 374 h 512"/>
              <a:gd name="T42" fmla="*/ 373 w 512"/>
              <a:gd name="T43" fmla="*/ 384 h 512"/>
              <a:gd name="T44" fmla="*/ 384 w 512"/>
              <a:gd name="T45" fmla="*/ 256 h 512"/>
              <a:gd name="T46" fmla="*/ 263 w 512"/>
              <a:gd name="T47" fmla="*/ 109 h 512"/>
              <a:gd name="T48" fmla="*/ 101 w 512"/>
              <a:gd name="T49" fmla="*/ 227 h 512"/>
              <a:gd name="T50" fmla="*/ 114 w 512"/>
              <a:gd name="T51" fmla="*/ 243 h 512"/>
              <a:gd name="T52" fmla="*/ 398 w 512"/>
              <a:gd name="T53" fmla="*/ 243 h 512"/>
              <a:gd name="T54" fmla="*/ 413 w 512"/>
              <a:gd name="T55" fmla="*/ 242 h 512"/>
              <a:gd name="T56" fmla="*/ 330 w 512"/>
              <a:gd name="T57" fmla="*/ 310 h 512"/>
              <a:gd name="T58" fmla="*/ 363 w 512"/>
              <a:gd name="T59" fmla="*/ 310 h 512"/>
              <a:gd name="T60" fmla="*/ 317 w 512"/>
              <a:gd name="T61" fmla="*/ 278 h 512"/>
              <a:gd name="T62" fmla="*/ 149 w 512"/>
              <a:gd name="T63" fmla="*/ 363 h 512"/>
              <a:gd name="T64" fmla="*/ 181 w 512"/>
              <a:gd name="T65" fmla="*/ 331 h 512"/>
              <a:gd name="T66" fmla="*/ 149 w 512"/>
              <a:gd name="T6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56" y="256"/>
                </a:moveTo>
                <a:cubicBezTo>
                  <a:pt x="294" y="256"/>
                  <a:pt x="294" y="256"/>
                  <a:pt x="294" y="256"/>
                </a:cubicBezTo>
                <a:cubicBezTo>
                  <a:pt x="283" y="250"/>
                  <a:pt x="270" y="246"/>
                  <a:pt x="256" y="246"/>
                </a:cubicBezTo>
                <a:cubicBezTo>
                  <a:pt x="242" y="246"/>
                  <a:pt x="229" y="250"/>
                  <a:pt x="218" y="256"/>
                </a:cubicBezTo>
                <a:cubicBezTo>
                  <a:pt x="156" y="256"/>
                  <a:pt x="156" y="256"/>
                  <a:pt x="156" y="256"/>
                </a:cubicBezTo>
                <a:cubicBezTo>
                  <a:pt x="195" y="224"/>
                  <a:pt x="195" y="224"/>
                  <a:pt x="195" y="224"/>
                </a:cubicBezTo>
                <a:cubicBezTo>
                  <a:pt x="317" y="224"/>
                  <a:pt x="317" y="224"/>
                  <a:pt x="317" y="224"/>
                </a:cubicBezTo>
                <a:lnTo>
                  <a:pt x="356" y="256"/>
                </a:lnTo>
                <a:close/>
                <a:moveTo>
                  <a:pt x="149" y="310"/>
                </a:moveTo>
                <a:cubicBezTo>
                  <a:pt x="182" y="310"/>
                  <a:pt x="182" y="310"/>
                  <a:pt x="182" y="310"/>
                </a:cubicBezTo>
                <a:cubicBezTo>
                  <a:pt x="184" y="298"/>
                  <a:pt x="188" y="287"/>
                  <a:pt x="195" y="278"/>
                </a:cubicBezTo>
                <a:cubicBezTo>
                  <a:pt x="149" y="278"/>
                  <a:pt x="149" y="278"/>
                  <a:pt x="149" y="278"/>
                </a:cubicBezTo>
                <a:lnTo>
                  <a:pt x="149" y="310"/>
                </a:lnTo>
                <a:close/>
                <a:moveTo>
                  <a:pt x="331" y="363"/>
                </a:moveTo>
                <a:cubicBezTo>
                  <a:pt x="363" y="363"/>
                  <a:pt x="363" y="363"/>
                  <a:pt x="363" y="363"/>
                </a:cubicBezTo>
                <a:cubicBezTo>
                  <a:pt x="363" y="331"/>
                  <a:pt x="363" y="331"/>
                  <a:pt x="363" y="331"/>
                </a:cubicBezTo>
                <a:cubicBezTo>
                  <a:pt x="331" y="331"/>
                  <a:pt x="331" y="331"/>
                  <a:pt x="331" y="331"/>
                </a:cubicBezTo>
                <a:lnTo>
                  <a:pt x="331" y="363"/>
                </a:lnTo>
                <a:close/>
                <a:moveTo>
                  <a:pt x="256" y="174"/>
                </a:moveTo>
                <a:cubicBezTo>
                  <a:pt x="221" y="203"/>
                  <a:pt x="221" y="203"/>
                  <a:pt x="221" y="203"/>
                </a:cubicBezTo>
                <a:cubicBezTo>
                  <a:pt x="291" y="203"/>
                  <a:pt x="291" y="203"/>
                  <a:pt x="291" y="203"/>
                </a:cubicBezTo>
                <a:lnTo>
                  <a:pt x="256" y="174"/>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56"/>
                </a:moveTo>
                <a:cubicBezTo>
                  <a:pt x="384" y="253"/>
                  <a:pt x="383" y="250"/>
                  <a:pt x="380" y="248"/>
                </a:cubicBezTo>
                <a:cubicBezTo>
                  <a:pt x="263" y="152"/>
                  <a:pt x="263" y="152"/>
                  <a:pt x="263" y="152"/>
                </a:cubicBezTo>
                <a:cubicBezTo>
                  <a:pt x="259" y="149"/>
                  <a:pt x="253" y="149"/>
                  <a:pt x="249" y="152"/>
                </a:cubicBezTo>
                <a:cubicBezTo>
                  <a:pt x="132" y="248"/>
                  <a:pt x="132" y="248"/>
                  <a:pt x="132" y="248"/>
                </a:cubicBezTo>
                <a:cubicBezTo>
                  <a:pt x="129" y="250"/>
                  <a:pt x="128" y="253"/>
                  <a:pt x="128" y="256"/>
                </a:cubicBezTo>
                <a:cubicBezTo>
                  <a:pt x="128" y="278"/>
                  <a:pt x="128" y="278"/>
                  <a:pt x="128" y="278"/>
                </a:cubicBezTo>
                <a:cubicBezTo>
                  <a:pt x="128" y="374"/>
                  <a:pt x="128" y="374"/>
                  <a:pt x="128" y="374"/>
                </a:cubicBezTo>
                <a:cubicBezTo>
                  <a:pt x="128" y="380"/>
                  <a:pt x="133" y="384"/>
                  <a:pt x="139" y="384"/>
                </a:cubicBezTo>
                <a:cubicBezTo>
                  <a:pt x="192" y="384"/>
                  <a:pt x="192" y="384"/>
                  <a:pt x="192" y="384"/>
                </a:cubicBezTo>
                <a:cubicBezTo>
                  <a:pt x="198" y="384"/>
                  <a:pt x="203" y="380"/>
                  <a:pt x="203" y="374"/>
                </a:cubicBezTo>
                <a:cubicBezTo>
                  <a:pt x="203" y="320"/>
                  <a:pt x="203" y="320"/>
                  <a:pt x="203" y="320"/>
                </a:cubicBezTo>
                <a:cubicBezTo>
                  <a:pt x="203" y="291"/>
                  <a:pt x="227" y="267"/>
                  <a:pt x="256" y="267"/>
                </a:cubicBezTo>
                <a:cubicBezTo>
                  <a:pt x="285" y="267"/>
                  <a:pt x="309" y="291"/>
                  <a:pt x="309" y="320"/>
                </a:cubicBezTo>
                <a:cubicBezTo>
                  <a:pt x="309" y="374"/>
                  <a:pt x="309" y="374"/>
                  <a:pt x="309" y="374"/>
                </a:cubicBezTo>
                <a:cubicBezTo>
                  <a:pt x="309" y="380"/>
                  <a:pt x="314" y="384"/>
                  <a:pt x="320" y="384"/>
                </a:cubicBezTo>
                <a:cubicBezTo>
                  <a:pt x="373" y="384"/>
                  <a:pt x="373" y="384"/>
                  <a:pt x="373" y="384"/>
                </a:cubicBezTo>
                <a:cubicBezTo>
                  <a:pt x="379" y="384"/>
                  <a:pt x="384" y="380"/>
                  <a:pt x="384" y="374"/>
                </a:cubicBezTo>
                <a:lnTo>
                  <a:pt x="384" y="256"/>
                </a:lnTo>
                <a:close/>
                <a:moveTo>
                  <a:pt x="411" y="227"/>
                </a:moveTo>
                <a:cubicBezTo>
                  <a:pt x="263" y="109"/>
                  <a:pt x="263" y="109"/>
                  <a:pt x="263" y="109"/>
                </a:cubicBezTo>
                <a:cubicBezTo>
                  <a:pt x="259" y="106"/>
                  <a:pt x="253" y="106"/>
                  <a:pt x="249" y="109"/>
                </a:cubicBezTo>
                <a:cubicBezTo>
                  <a:pt x="101" y="227"/>
                  <a:pt x="101" y="227"/>
                  <a:pt x="101" y="227"/>
                </a:cubicBezTo>
                <a:cubicBezTo>
                  <a:pt x="97" y="230"/>
                  <a:pt x="96" y="237"/>
                  <a:pt x="99" y="242"/>
                </a:cubicBezTo>
                <a:cubicBezTo>
                  <a:pt x="103" y="246"/>
                  <a:pt x="110" y="247"/>
                  <a:pt x="114" y="243"/>
                </a:cubicBezTo>
                <a:cubicBezTo>
                  <a:pt x="256" y="131"/>
                  <a:pt x="256" y="131"/>
                  <a:pt x="256" y="131"/>
                </a:cubicBezTo>
                <a:cubicBezTo>
                  <a:pt x="398" y="243"/>
                  <a:pt x="398" y="243"/>
                  <a:pt x="398" y="243"/>
                </a:cubicBezTo>
                <a:cubicBezTo>
                  <a:pt x="399" y="245"/>
                  <a:pt x="402" y="246"/>
                  <a:pt x="404" y="246"/>
                </a:cubicBezTo>
                <a:cubicBezTo>
                  <a:pt x="407" y="246"/>
                  <a:pt x="410" y="244"/>
                  <a:pt x="413" y="242"/>
                </a:cubicBezTo>
                <a:cubicBezTo>
                  <a:pt x="416" y="237"/>
                  <a:pt x="415" y="230"/>
                  <a:pt x="411" y="227"/>
                </a:cubicBezTo>
                <a:close/>
                <a:moveTo>
                  <a:pt x="330" y="310"/>
                </a:moveTo>
                <a:cubicBezTo>
                  <a:pt x="330" y="310"/>
                  <a:pt x="330" y="310"/>
                  <a:pt x="331" y="310"/>
                </a:cubicBezTo>
                <a:cubicBezTo>
                  <a:pt x="363" y="310"/>
                  <a:pt x="363" y="310"/>
                  <a:pt x="363" y="310"/>
                </a:cubicBezTo>
                <a:cubicBezTo>
                  <a:pt x="363" y="278"/>
                  <a:pt x="363" y="278"/>
                  <a:pt x="363" y="278"/>
                </a:cubicBezTo>
                <a:cubicBezTo>
                  <a:pt x="317" y="278"/>
                  <a:pt x="317" y="278"/>
                  <a:pt x="317" y="278"/>
                </a:cubicBezTo>
                <a:cubicBezTo>
                  <a:pt x="324" y="287"/>
                  <a:pt x="328" y="298"/>
                  <a:pt x="330" y="310"/>
                </a:cubicBezTo>
                <a:close/>
                <a:moveTo>
                  <a:pt x="149" y="363"/>
                </a:moveTo>
                <a:cubicBezTo>
                  <a:pt x="181" y="363"/>
                  <a:pt x="181" y="363"/>
                  <a:pt x="181" y="363"/>
                </a:cubicBezTo>
                <a:cubicBezTo>
                  <a:pt x="181" y="331"/>
                  <a:pt x="181" y="331"/>
                  <a:pt x="181" y="331"/>
                </a:cubicBezTo>
                <a:cubicBezTo>
                  <a:pt x="149" y="331"/>
                  <a:pt x="149" y="331"/>
                  <a:pt x="149" y="331"/>
                </a:cubicBezTo>
                <a:lnTo>
                  <a:pt x="149" y="36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3" name="Group 442"/>
          <p:cNvGrpSpPr>
            <a:grpSpLocks noChangeAspect="1"/>
          </p:cNvGrpSpPr>
          <p:nvPr/>
        </p:nvGrpSpPr>
        <p:grpSpPr bwMode="auto">
          <a:xfrm>
            <a:off x="5898573" y="3358107"/>
            <a:ext cx="367041" cy="367041"/>
            <a:chOff x="5294" y="1904"/>
            <a:chExt cx="340" cy="340"/>
          </a:xfrm>
          <a:solidFill>
            <a:schemeClr val="accent5"/>
          </a:solidFill>
        </p:grpSpPr>
        <p:sp>
          <p:nvSpPr>
            <p:cNvPr id="384" name="Freeform 443"/>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444"/>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6" name="Freeform 876"/>
          <p:cNvSpPr>
            <a:spLocks noChangeAspect="1" noEditPoints="1"/>
          </p:cNvSpPr>
          <p:nvPr/>
        </p:nvSpPr>
        <p:spPr bwMode="auto">
          <a:xfrm>
            <a:off x="6312662" y="3358107"/>
            <a:ext cx="367631" cy="367631"/>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7" name="Group 879"/>
          <p:cNvGrpSpPr>
            <a:grpSpLocks noChangeAspect="1"/>
          </p:cNvGrpSpPr>
          <p:nvPr/>
        </p:nvGrpSpPr>
        <p:grpSpPr bwMode="auto">
          <a:xfrm>
            <a:off x="6727341" y="3358107"/>
            <a:ext cx="367631" cy="367631"/>
            <a:chOff x="7362" y="3175"/>
            <a:chExt cx="340" cy="340"/>
          </a:xfrm>
          <a:solidFill>
            <a:schemeClr val="accent3"/>
          </a:solidFill>
        </p:grpSpPr>
        <p:sp>
          <p:nvSpPr>
            <p:cNvPr id="388" name="Freeform 880"/>
            <p:cNvSpPr>
              <a:spLocks noEditPoints="1"/>
            </p:cNvSpPr>
            <p:nvPr/>
          </p:nvSpPr>
          <p:spPr bwMode="auto">
            <a:xfrm>
              <a:off x="7461" y="3239"/>
              <a:ext cx="141" cy="212"/>
            </a:xfrm>
            <a:custGeom>
              <a:avLst/>
              <a:gdLst>
                <a:gd name="T0" fmla="*/ 124 w 213"/>
                <a:gd name="T1" fmla="*/ 238 h 320"/>
                <a:gd name="T2" fmla="*/ 117 w 213"/>
                <a:gd name="T3" fmla="*/ 178 h 320"/>
                <a:gd name="T4" fmla="*/ 169 w 213"/>
                <a:gd name="T5" fmla="*/ 191 h 320"/>
                <a:gd name="T6" fmla="*/ 159 w 213"/>
                <a:gd name="T7" fmla="*/ 122 h 320"/>
                <a:gd name="T8" fmla="*/ 201 w 213"/>
                <a:gd name="T9" fmla="*/ 101 h 320"/>
                <a:gd name="T10" fmla="*/ 185 w 213"/>
                <a:gd name="T11" fmla="*/ 53 h 320"/>
                <a:gd name="T12" fmla="*/ 140 w 213"/>
                <a:gd name="T13" fmla="*/ 60 h 320"/>
                <a:gd name="T14" fmla="*/ 107 w 213"/>
                <a:gd name="T15" fmla="*/ 0 h 320"/>
                <a:gd name="T16" fmla="*/ 74 w 213"/>
                <a:gd name="T17" fmla="*/ 60 h 320"/>
                <a:gd name="T18" fmla="*/ 28 w 213"/>
                <a:gd name="T19" fmla="*/ 53 h 320"/>
                <a:gd name="T20" fmla="*/ 13 w 213"/>
                <a:gd name="T21" fmla="*/ 102 h 320"/>
                <a:gd name="T22" fmla="*/ 54 w 213"/>
                <a:gd name="T23" fmla="*/ 123 h 320"/>
                <a:gd name="T24" fmla="*/ 33 w 213"/>
                <a:gd name="T25" fmla="*/ 164 h 320"/>
                <a:gd name="T26" fmla="*/ 61 w 213"/>
                <a:gd name="T27" fmla="*/ 196 h 320"/>
                <a:gd name="T28" fmla="*/ 96 w 213"/>
                <a:gd name="T29" fmla="*/ 178 h 320"/>
                <a:gd name="T30" fmla="*/ 89 w 213"/>
                <a:gd name="T31" fmla="*/ 237 h 320"/>
                <a:gd name="T32" fmla="*/ 0 w 213"/>
                <a:gd name="T33" fmla="*/ 224 h 320"/>
                <a:gd name="T34" fmla="*/ 101 w 213"/>
                <a:gd name="T35" fmla="*/ 320 h 320"/>
                <a:gd name="T36" fmla="*/ 185 w 213"/>
                <a:gd name="T37" fmla="*/ 296 h 320"/>
                <a:gd name="T38" fmla="*/ 204 w 213"/>
                <a:gd name="T39" fmla="*/ 213 h 320"/>
                <a:gd name="T40" fmla="*/ 102 w 213"/>
                <a:gd name="T41" fmla="*/ 78 h 320"/>
                <a:gd name="T42" fmla="*/ 123 w 213"/>
                <a:gd name="T43" fmla="*/ 83 h 320"/>
                <a:gd name="T44" fmla="*/ 111 w 213"/>
                <a:gd name="T45" fmla="*/ 132 h 320"/>
                <a:gd name="T46" fmla="*/ 80 w 213"/>
                <a:gd name="T47" fmla="*/ 110 h 320"/>
                <a:gd name="T48" fmla="*/ 157 w 213"/>
                <a:gd name="T49" fmla="*/ 174 h 320"/>
                <a:gd name="T50" fmla="*/ 126 w 213"/>
                <a:gd name="T51" fmla="*/ 150 h 320"/>
                <a:gd name="T52" fmla="*/ 152 w 213"/>
                <a:gd name="T53" fmla="*/ 146 h 320"/>
                <a:gd name="T54" fmla="*/ 159 w 213"/>
                <a:gd name="T55" fmla="*/ 74 h 320"/>
                <a:gd name="T56" fmla="*/ 187 w 213"/>
                <a:gd name="T57" fmla="*/ 79 h 320"/>
                <a:gd name="T58" fmla="*/ 167 w 213"/>
                <a:gd name="T59" fmla="*/ 99 h 320"/>
                <a:gd name="T60" fmla="*/ 148 w 213"/>
                <a:gd name="T61" fmla="*/ 80 h 320"/>
                <a:gd name="T62" fmla="*/ 107 w 213"/>
                <a:gd name="T63" fmla="*/ 21 h 320"/>
                <a:gd name="T64" fmla="*/ 118 w 213"/>
                <a:gd name="T65" fmla="*/ 58 h 320"/>
                <a:gd name="T66" fmla="*/ 96 w 213"/>
                <a:gd name="T67" fmla="*/ 58 h 320"/>
                <a:gd name="T68" fmla="*/ 107 w 213"/>
                <a:gd name="T69" fmla="*/ 21 h 320"/>
                <a:gd name="T70" fmla="*/ 26 w 213"/>
                <a:gd name="T71" fmla="*/ 79 h 320"/>
                <a:gd name="T72" fmla="*/ 54 w 213"/>
                <a:gd name="T73" fmla="*/ 75 h 320"/>
                <a:gd name="T74" fmla="*/ 58 w 213"/>
                <a:gd name="T75" fmla="*/ 101 h 320"/>
                <a:gd name="T76" fmla="*/ 29 w 213"/>
                <a:gd name="T77" fmla="*/ 89 h 320"/>
                <a:gd name="T78" fmla="*/ 57 w 213"/>
                <a:gd name="T79" fmla="*/ 174 h 320"/>
                <a:gd name="T80" fmla="*/ 61 w 213"/>
                <a:gd name="T81" fmla="*/ 146 h 320"/>
                <a:gd name="T82" fmla="*/ 78 w 213"/>
                <a:gd name="T83" fmla="*/ 145 h 320"/>
                <a:gd name="T84" fmla="*/ 82 w 213"/>
                <a:gd name="T85" fmla="*/ 161 h 320"/>
                <a:gd name="T86" fmla="*/ 42 w 213"/>
                <a:gd name="T87" fmla="*/ 279 h 320"/>
                <a:gd name="T88" fmla="*/ 75 w 213"/>
                <a:gd name="T89" fmla="*/ 253 h 320"/>
                <a:gd name="T90" fmla="*/ 42 w 213"/>
                <a:gd name="T91" fmla="*/ 279 h 320"/>
                <a:gd name="T92" fmla="*/ 118 w 213"/>
                <a:gd name="T93" fmla="*/ 298 h 320"/>
                <a:gd name="T94" fmla="*/ 192 w 213"/>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 h="320">
                  <a:moveTo>
                    <a:pt x="204" y="213"/>
                  </a:moveTo>
                  <a:cubicBezTo>
                    <a:pt x="202" y="213"/>
                    <a:pt x="155" y="209"/>
                    <a:pt x="124" y="238"/>
                  </a:cubicBezTo>
                  <a:cubicBezTo>
                    <a:pt x="121" y="240"/>
                    <a:pt x="119" y="242"/>
                    <a:pt x="117" y="244"/>
                  </a:cubicBezTo>
                  <a:cubicBezTo>
                    <a:pt x="117" y="178"/>
                    <a:pt x="117" y="178"/>
                    <a:pt x="117" y="178"/>
                  </a:cubicBezTo>
                  <a:cubicBezTo>
                    <a:pt x="127" y="190"/>
                    <a:pt x="140" y="196"/>
                    <a:pt x="152" y="196"/>
                  </a:cubicBezTo>
                  <a:cubicBezTo>
                    <a:pt x="158" y="196"/>
                    <a:pt x="164" y="194"/>
                    <a:pt x="169" y="191"/>
                  </a:cubicBezTo>
                  <a:cubicBezTo>
                    <a:pt x="185" y="179"/>
                    <a:pt x="185" y="154"/>
                    <a:pt x="170" y="133"/>
                  </a:cubicBezTo>
                  <a:cubicBezTo>
                    <a:pt x="167" y="129"/>
                    <a:pt x="163" y="125"/>
                    <a:pt x="159" y="122"/>
                  </a:cubicBezTo>
                  <a:cubicBezTo>
                    <a:pt x="164" y="122"/>
                    <a:pt x="169" y="121"/>
                    <a:pt x="174" y="119"/>
                  </a:cubicBezTo>
                  <a:cubicBezTo>
                    <a:pt x="185" y="116"/>
                    <a:pt x="194" y="109"/>
                    <a:pt x="201" y="101"/>
                  </a:cubicBezTo>
                  <a:cubicBezTo>
                    <a:pt x="208" y="92"/>
                    <a:pt x="210" y="82"/>
                    <a:pt x="207" y="72"/>
                  </a:cubicBezTo>
                  <a:cubicBezTo>
                    <a:pt x="204" y="63"/>
                    <a:pt x="196" y="56"/>
                    <a:pt x="185" y="53"/>
                  </a:cubicBezTo>
                  <a:cubicBezTo>
                    <a:pt x="175" y="50"/>
                    <a:pt x="163" y="50"/>
                    <a:pt x="152" y="54"/>
                  </a:cubicBezTo>
                  <a:cubicBezTo>
                    <a:pt x="148" y="56"/>
                    <a:pt x="143" y="58"/>
                    <a:pt x="140" y="60"/>
                  </a:cubicBezTo>
                  <a:cubicBezTo>
                    <a:pt x="141" y="55"/>
                    <a:pt x="141" y="51"/>
                    <a:pt x="141" y="46"/>
                  </a:cubicBezTo>
                  <a:cubicBezTo>
                    <a:pt x="141" y="20"/>
                    <a:pt x="126" y="0"/>
                    <a:pt x="107" y="0"/>
                  </a:cubicBezTo>
                  <a:cubicBezTo>
                    <a:pt x="87" y="0"/>
                    <a:pt x="72" y="20"/>
                    <a:pt x="72" y="46"/>
                  </a:cubicBezTo>
                  <a:cubicBezTo>
                    <a:pt x="72" y="51"/>
                    <a:pt x="73" y="56"/>
                    <a:pt x="74" y="60"/>
                  </a:cubicBezTo>
                  <a:cubicBezTo>
                    <a:pt x="70" y="58"/>
                    <a:pt x="65" y="56"/>
                    <a:pt x="61" y="54"/>
                  </a:cubicBezTo>
                  <a:cubicBezTo>
                    <a:pt x="50" y="51"/>
                    <a:pt x="38" y="50"/>
                    <a:pt x="28" y="53"/>
                  </a:cubicBezTo>
                  <a:cubicBezTo>
                    <a:pt x="17" y="56"/>
                    <a:pt x="9" y="63"/>
                    <a:pt x="6" y="73"/>
                  </a:cubicBezTo>
                  <a:cubicBezTo>
                    <a:pt x="3" y="82"/>
                    <a:pt x="5" y="93"/>
                    <a:pt x="13" y="102"/>
                  </a:cubicBezTo>
                  <a:cubicBezTo>
                    <a:pt x="19" y="110"/>
                    <a:pt x="28" y="116"/>
                    <a:pt x="40" y="120"/>
                  </a:cubicBezTo>
                  <a:cubicBezTo>
                    <a:pt x="44" y="121"/>
                    <a:pt x="49" y="122"/>
                    <a:pt x="54" y="123"/>
                  </a:cubicBezTo>
                  <a:cubicBezTo>
                    <a:pt x="50" y="126"/>
                    <a:pt x="47" y="129"/>
                    <a:pt x="44" y="133"/>
                  </a:cubicBezTo>
                  <a:cubicBezTo>
                    <a:pt x="37" y="143"/>
                    <a:pt x="33" y="154"/>
                    <a:pt x="33" y="164"/>
                  </a:cubicBezTo>
                  <a:cubicBezTo>
                    <a:pt x="32" y="175"/>
                    <a:pt x="37" y="185"/>
                    <a:pt x="45" y="191"/>
                  </a:cubicBezTo>
                  <a:cubicBezTo>
                    <a:pt x="49" y="195"/>
                    <a:pt x="55" y="196"/>
                    <a:pt x="61" y="196"/>
                  </a:cubicBezTo>
                  <a:cubicBezTo>
                    <a:pt x="66" y="196"/>
                    <a:pt x="70" y="196"/>
                    <a:pt x="74" y="194"/>
                  </a:cubicBezTo>
                  <a:cubicBezTo>
                    <a:pt x="82" y="191"/>
                    <a:pt x="90" y="185"/>
                    <a:pt x="96" y="178"/>
                  </a:cubicBezTo>
                  <a:cubicBezTo>
                    <a:pt x="96" y="244"/>
                    <a:pt x="96" y="244"/>
                    <a:pt x="96" y="244"/>
                  </a:cubicBezTo>
                  <a:cubicBezTo>
                    <a:pt x="94" y="241"/>
                    <a:pt x="92" y="239"/>
                    <a:pt x="89" y="237"/>
                  </a:cubicBezTo>
                  <a:cubicBezTo>
                    <a:pt x="58" y="208"/>
                    <a:pt x="11" y="213"/>
                    <a:pt x="10" y="213"/>
                  </a:cubicBezTo>
                  <a:cubicBezTo>
                    <a:pt x="4" y="214"/>
                    <a:pt x="0" y="218"/>
                    <a:pt x="0" y="224"/>
                  </a:cubicBezTo>
                  <a:cubicBezTo>
                    <a:pt x="0" y="254"/>
                    <a:pt x="9" y="278"/>
                    <a:pt x="28" y="294"/>
                  </a:cubicBezTo>
                  <a:cubicBezTo>
                    <a:pt x="52" y="317"/>
                    <a:pt x="86" y="320"/>
                    <a:pt x="101" y="320"/>
                  </a:cubicBezTo>
                  <a:cubicBezTo>
                    <a:pt x="104" y="320"/>
                    <a:pt x="111" y="320"/>
                    <a:pt x="114" y="320"/>
                  </a:cubicBezTo>
                  <a:cubicBezTo>
                    <a:pt x="130" y="320"/>
                    <a:pt x="162" y="317"/>
                    <a:pt x="185" y="296"/>
                  </a:cubicBezTo>
                  <a:cubicBezTo>
                    <a:pt x="204" y="279"/>
                    <a:pt x="213" y="255"/>
                    <a:pt x="213" y="224"/>
                  </a:cubicBezTo>
                  <a:cubicBezTo>
                    <a:pt x="213" y="218"/>
                    <a:pt x="209" y="213"/>
                    <a:pt x="204" y="213"/>
                  </a:cubicBezTo>
                  <a:close/>
                  <a:moveTo>
                    <a:pt x="84" y="89"/>
                  </a:moveTo>
                  <a:cubicBezTo>
                    <a:pt x="89" y="83"/>
                    <a:pt x="95" y="80"/>
                    <a:pt x="102" y="78"/>
                  </a:cubicBezTo>
                  <a:cubicBezTo>
                    <a:pt x="104" y="78"/>
                    <a:pt x="105" y="78"/>
                    <a:pt x="107" y="78"/>
                  </a:cubicBezTo>
                  <a:cubicBezTo>
                    <a:pt x="112" y="78"/>
                    <a:pt x="118" y="80"/>
                    <a:pt x="123" y="83"/>
                  </a:cubicBezTo>
                  <a:cubicBezTo>
                    <a:pt x="135" y="92"/>
                    <a:pt x="138" y="109"/>
                    <a:pt x="129" y="121"/>
                  </a:cubicBezTo>
                  <a:cubicBezTo>
                    <a:pt x="125" y="127"/>
                    <a:pt x="118" y="131"/>
                    <a:pt x="111" y="132"/>
                  </a:cubicBezTo>
                  <a:cubicBezTo>
                    <a:pt x="104" y="134"/>
                    <a:pt x="97" y="132"/>
                    <a:pt x="91" y="128"/>
                  </a:cubicBezTo>
                  <a:cubicBezTo>
                    <a:pt x="85" y="123"/>
                    <a:pt x="81" y="117"/>
                    <a:pt x="80" y="110"/>
                  </a:cubicBezTo>
                  <a:cubicBezTo>
                    <a:pt x="78" y="103"/>
                    <a:pt x="80" y="95"/>
                    <a:pt x="84" y="89"/>
                  </a:cubicBezTo>
                  <a:close/>
                  <a:moveTo>
                    <a:pt x="157" y="174"/>
                  </a:moveTo>
                  <a:cubicBezTo>
                    <a:pt x="152" y="177"/>
                    <a:pt x="140" y="172"/>
                    <a:pt x="131" y="161"/>
                  </a:cubicBezTo>
                  <a:cubicBezTo>
                    <a:pt x="129" y="158"/>
                    <a:pt x="127" y="154"/>
                    <a:pt x="126" y="150"/>
                  </a:cubicBezTo>
                  <a:cubicBezTo>
                    <a:pt x="133" y="147"/>
                    <a:pt x="139" y="143"/>
                    <a:pt x="143" y="137"/>
                  </a:cubicBezTo>
                  <a:cubicBezTo>
                    <a:pt x="147" y="139"/>
                    <a:pt x="150" y="142"/>
                    <a:pt x="152" y="146"/>
                  </a:cubicBezTo>
                  <a:cubicBezTo>
                    <a:pt x="161" y="157"/>
                    <a:pt x="161" y="170"/>
                    <a:pt x="157" y="174"/>
                  </a:cubicBezTo>
                  <a:close/>
                  <a:moveTo>
                    <a:pt x="159" y="74"/>
                  </a:moveTo>
                  <a:cubicBezTo>
                    <a:pt x="166" y="72"/>
                    <a:pt x="173" y="72"/>
                    <a:pt x="179" y="73"/>
                  </a:cubicBezTo>
                  <a:cubicBezTo>
                    <a:pt x="181" y="74"/>
                    <a:pt x="186" y="75"/>
                    <a:pt x="187" y="79"/>
                  </a:cubicBezTo>
                  <a:cubicBezTo>
                    <a:pt x="188" y="82"/>
                    <a:pt x="185" y="87"/>
                    <a:pt x="184" y="88"/>
                  </a:cubicBezTo>
                  <a:cubicBezTo>
                    <a:pt x="180" y="93"/>
                    <a:pt x="174" y="97"/>
                    <a:pt x="167" y="99"/>
                  </a:cubicBezTo>
                  <a:cubicBezTo>
                    <a:pt x="163" y="101"/>
                    <a:pt x="159" y="101"/>
                    <a:pt x="155" y="101"/>
                  </a:cubicBezTo>
                  <a:cubicBezTo>
                    <a:pt x="154" y="94"/>
                    <a:pt x="152" y="86"/>
                    <a:pt x="148" y="80"/>
                  </a:cubicBezTo>
                  <a:cubicBezTo>
                    <a:pt x="151" y="78"/>
                    <a:pt x="155" y="76"/>
                    <a:pt x="159" y="74"/>
                  </a:cubicBezTo>
                  <a:close/>
                  <a:moveTo>
                    <a:pt x="107" y="21"/>
                  </a:moveTo>
                  <a:cubicBezTo>
                    <a:pt x="113" y="21"/>
                    <a:pt x="120" y="32"/>
                    <a:pt x="120" y="46"/>
                  </a:cubicBezTo>
                  <a:cubicBezTo>
                    <a:pt x="120" y="50"/>
                    <a:pt x="119" y="54"/>
                    <a:pt x="118" y="58"/>
                  </a:cubicBezTo>
                  <a:cubicBezTo>
                    <a:pt x="112" y="57"/>
                    <a:pt x="105" y="56"/>
                    <a:pt x="99" y="57"/>
                  </a:cubicBezTo>
                  <a:cubicBezTo>
                    <a:pt x="98" y="58"/>
                    <a:pt x="97" y="58"/>
                    <a:pt x="96" y="58"/>
                  </a:cubicBezTo>
                  <a:cubicBezTo>
                    <a:pt x="94" y="54"/>
                    <a:pt x="94" y="50"/>
                    <a:pt x="94" y="46"/>
                  </a:cubicBezTo>
                  <a:cubicBezTo>
                    <a:pt x="94" y="32"/>
                    <a:pt x="101" y="21"/>
                    <a:pt x="107" y="21"/>
                  </a:cubicBezTo>
                  <a:close/>
                  <a:moveTo>
                    <a:pt x="29" y="89"/>
                  </a:moveTo>
                  <a:cubicBezTo>
                    <a:pt x="28" y="87"/>
                    <a:pt x="25" y="83"/>
                    <a:pt x="26" y="79"/>
                  </a:cubicBezTo>
                  <a:cubicBezTo>
                    <a:pt x="27" y="76"/>
                    <a:pt x="32" y="74"/>
                    <a:pt x="34" y="74"/>
                  </a:cubicBezTo>
                  <a:cubicBezTo>
                    <a:pt x="40" y="72"/>
                    <a:pt x="47" y="72"/>
                    <a:pt x="54" y="75"/>
                  </a:cubicBezTo>
                  <a:cubicBezTo>
                    <a:pt x="58" y="76"/>
                    <a:pt x="62" y="78"/>
                    <a:pt x="65" y="80"/>
                  </a:cubicBezTo>
                  <a:cubicBezTo>
                    <a:pt x="61" y="87"/>
                    <a:pt x="59" y="94"/>
                    <a:pt x="58" y="101"/>
                  </a:cubicBezTo>
                  <a:cubicBezTo>
                    <a:pt x="54" y="101"/>
                    <a:pt x="50" y="101"/>
                    <a:pt x="46" y="100"/>
                  </a:cubicBezTo>
                  <a:cubicBezTo>
                    <a:pt x="39" y="97"/>
                    <a:pt x="33" y="93"/>
                    <a:pt x="29" y="89"/>
                  </a:cubicBezTo>
                  <a:close/>
                  <a:moveTo>
                    <a:pt x="67" y="174"/>
                  </a:moveTo>
                  <a:cubicBezTo>
                    <a:pt x="65" y="175"/>
                    <a:pt x="60" y="176"/>
                    <a:pt x="57" y="174"/>
                  </a:cubicBezTo>
                  <a:cubicBezTo>
                    <a:pt x="54" y="172"/>
                    <a:pt x="54" y="167"/>
                    <a:pt x="54" y="165"/>
                  </a:cubicBezTo>
                  <a:cubicBezTo>
                    <a:pt x="54" y="159"/>
                    <a:pt x="57" y="152"/>
                    <a:pt x="61" y="146"/>
                  </a:cubicBezTo>
                  <a:cubicBezTo>
                    <a:pt x="64" y="142"/>
                    <a:pt x="67" y="140"/>
                    <a:pt x="70" y="137"/>
                  </a:cubicBezTo>
                  <a:cubicBezTo>
                    <a:pt x="72" y="140"/>
                    <a:pt x="75" y="143"/>
                    <a:pt x="78" y="145"/>
                  </a:cubicBezTo>
                  <a:cubicBezTo>
                    <a:pt x="81" y="147"/>
                    <a:pt x="84" y="149"/>
                    <a:pt x="88" y="150"/>
                  </a:cubicBezTo>
                  <a:cubicBezTo>
                    <a:pt x="87" y="154"/>
                    <a:pt x="85" y="158"/>
                    <a:pt x="82" y="161"/>
                  </a:cubicBezTo>
                  <a:cubicBezTo>
                    <a:pt x="78" y="167"/>
                    <a:pt x="73" y="172"/>
                    <a:pt x="67" y="174"/>
                  </a:cubicBezTo>
                  <a:close/>
                  <a:moveTo>
                    <a:pt x="42" y="279"/>
                  </a:moveTo>
                  <a:cubicBezTo>
                    <a:pt x="30" y="268"/>
                    <a:pt x="24" y="253"/>
                    <a:pt x="22" y="234"/>
                  </a:cubicBezTo>
                  <a:cubicBezTo>
                    <a:pt x="35" y="234"/>
                    <a:pt x="58" y="238"/>
                    <a:pt x="75" y="253"/>
                  </a:cubicBezTo>
                  <a:cubicBezTo>
                    <a:pt x="87" y="263"/>
                    <a:pt x="94" y="279"/>
                    <a:pt x="96" y="298"/>
                  </a:cubicBezTo>
                  <a:cubicBezTo>
                    <a:pt x="82" y="298"/>
                    <a:pt x="59" y="294"/>
                    <a:pt x="42" y="279"/>
                  </a:cubicBezTo>
                  <a:close/>
                  <a:moveTo>
                    <a:pt x="171" y="280"/>
                  </a:moveTo>
                  <a:cubicBezTo>
                    <a:pt x="154" y="295"/>
                    <a:pt x="131" y="298"/>
                    <a:pt x="118" y="298"/>
                  </a:cubicBezTo>
                  <a:cubicBezTo>
                    <a:pt x="120" y="279"/>
                    <a:pt x="126" y="264"/>
                    <a:pt x="138" y="254"/>
                  </a:cubicBezTo>
                  <a:cubicBezTo>
                    <a:pt x="155" y="238"/>
                    <a:pt x="178" y="235"/>
                    <a:pt x="192" y="234"/>
                  </a:cubicBezTo>
                  <a:cubicBezTo>
                    <a:pt x="190" y="254"/>
                    <a:pt x="183" y="269"/>
                    <a:pt x="171"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881"/>
            <p:cNvSpPr>
              <a:spLocks noEditPoints="1"/>
            </p:cNvSpPr>
            <p:nvPr/>
          </p:nvSpPr>
          <p:spPr bwMode="auto">
            <a:xfrm>
              <a:off x="7362" y="31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0" name="Group 790"/>
          <p:cNvGrpSpPr>
            <a:grpSpLocks noChangeAspect="1"/>
          </p:cNvGrpSpPr>
          <p:nvPr/>
        </p:nvGrpSpPr>
        <p:grpSpPr bwMode="auto">
          <a:xfrm>
            <a:off x="7142020" y="3358107"/>
            <a:ext cx="367633" cy="368713"/>
            <a:chOff x="-11" y="3149"/>
            <a:chExt cx="340" cy="341"/>
          </a:xfrm>
          <a:solidFill>
            <a:schemeClr val="accent3"/>
          </a:solidFill>
        </p:grpSpPr>
        <p:sp>
          <p:nvSpPr>
            <p:cNvPr id="391" name="Freeform 791"/>
            <p:cNvSpPr>
              <a:spLocks/>
            </p:cNvSpPr>
            <p:nvPr/>
          </p:nvSpPr>
          <p:spPr bwMode="auto">
            <a:xfrm>
              <a:off x="102" y="3232"/>
              <a:ext cx="113" cy="179"/>
            </a:xfrm>
            <a:custGeom>
              <a:avLst/>
              <a:gdLst>
                <a:gd name="T0" fmla="*/ 119 w 171"/>
                <a:gd name="T1" fmla="*/ 154 h 270"/>
                <a:gd name="T2" fmla="*/ 119 w 171"/>
                <a:gd name="T3" fmla="*/ 153 h 270"/>
                <a:gd name="T4" fmla="*/ 129 w 171"/>
                <a:gd name="T5" fmla="*/ 142 h 270"/>
                <a:gd name="T6" fmla="*/ 150 w 171"/>
                <a:gd name="T7" fmla="*/ 142 h 270"/>
                <a:gd name="T8" fmla="*/ 98 w 171"/>
                <a:gd name="T9" fmla="*/ 74 h 270"/>
                <a:gd name="T10" fmla="*/ 97 w 171"/>
                <a:gd name="T11" fmla="*/ 63 h 270"/>
                <a:gd name="T12" fmla="*/ 107 w 171"/>
                <a:gd name="T13" fmla="*/ 57 h 270"/>
                <a:gd name="T14" fmla="*/ 128 w 171"/>
                <a:gd name="T15" fmla="*/ 57 h 270"/>
                <a:gd name="T16" fmla="*/ 86 w 171"/>
                <a:gd name="T17" fmla="*/ 0 h 270"/>
                <a:gd name="T18" fmla="*/ 43 w 171"/>
                <a:gd name="T19" fmla="*/ 57 h 270"/>
                <a:gd name="T20" fmla="*/ 64 w 171"/>
                <a:gd name="T21" fmla="*/ 57 h 270"/>
                <a:gd name="T22" fmla="*/ 74 w 171"/>
                <a:gd name="T23" fmla="*/ 63 h 270"/>
                <a:gd name="T24" fmla="*/ 73 w 171"/>
                <a:gd name="T25" fmla="*/ 74 h 270"/>
                <a:gd name="T26" fmla="*/ 22 w 171"/>
                <a:gd name="T27" fmla="*/ 142 h 270"/>
                <a:gd name="T28" fmla="*/ 43 w 171"/>
                <a:gd name="T29" fmla="*/ 142 h 270"/>
                <a:gd name="T30" fmla="*/ 53 w 171"/>
                <a:gd name="T31" fmla="*/ 148 h 270"/>
                <a:gd name="T32" fmla="*/ 52 w 171"/>
                <a:gd name="T33" fmla="*/ 159 h 270"/>
                <a:gd name="T34" fmla="*/ 0 w 171"/>
                <a:gd name="T35" fmla="*/ 228 h 270"/>
                <a:gd name="T36" fmla="*/ 64 w 171"/>
                <a:gd name="T37" fmla="*/ 228 h 270"/>
                <a:gd name="T38" fmla="*/ 75 w 171"/>
                <a:gd name="T39" fmla="*/ 238 h 270"/>
                <a:gd name="T40" fmla="*/ 75 w 171"/>
                <a:gd name="T41" fmla="*/ 270 h 270"/>
                <a:gd name="T42" fmla="*/ 96 w 171"/>
                <a:gd name="T43" fmla="*/ 270 h 270"/>
                <a:gd name="T44" fmla="*/ 96 w 171"/>
                <a:gd name="T45" fmla="*/ 238 h 270"/>
                <a:gd name="T46" fmla="*/ 107 w 171"/>
                <a:gd name="T47" fmla="*/ 228 h 270"/>
                <a:gd name="T48" fmla="*/ 171 w 171"/>
                <a:gd name="T49" fmla="*/ 228 h 270"/>
                <a:gd name="T50" fmla="*/ 121 w 171"/>
                <a:gd name="T51" fmla="*/ 161 h 270"/>
                <a:gd name="T52" fmla="*/ 119 w 171"/>
                <a:gd name="T53" fmla="*/ 1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 h="270">
                  <a:moveTo>
                    <a:pt x="119" y="154"/>
                  </a:moveTo>
                  <a:cubicBezTo>
                    <a:pt x="119" y="153"/>
                    <a:pt x="119" y="153"/>
                    <a:pt x="119" y="153"/>
                  </a:cubicBezTo>
                  <a:cubicBezTo>
                    <a:pt x="119" y="147"/>
                    <a:pt x="124" y="142"/>
                    <a:pt x="129" y="142"/>
                  </a:cubicBezTo>
                  <a:cubicBezTo>
                    <a:pt x="150" y="142"/>
                    <a:pt x="150" y="142"/>
                    <a:pt x="150" y="142"/>
                  </a:cubicBezTo>
                  <a:cubicBezTo>
                    <a:pt x="98" y="74"/>
                    <a:pt x="98" y="74"/>
                    <a:pt x="98" y="74"/>
                  </a:cubicBezTo>
                  <a:cubicBezTo>
                    <a:pt x="96" y="71"/>
                    <a:pt x="96" y="67"/>
                    <a:pt x="97" y="63"/>
                  </a:cubicBezTo>
                  <a:cubicBezTo>
                    <a:pt x="99" y="59"/>
                    <a:pt x="103" y="57"/>
                    <a:pt x="107" y="57"/>
                  </a:cubicBezTo>
                  <a:cubicBezTo>
                    <a:pt x="128" y="57"/>
                    <a:pt x="128" y="57"/>
                    <a:pt x="128" y="57"/>
                  </a:cubicBezTo>
                  <a:cubicBezTo>
                    <a:pt x="86" y="0"/>
                    <a:pt x="86" y="0"/>
                    <a:pt x="86" y="0"/>
                  </a:cubicBezTo>
                  <a:cubicBezTo>
                    <a:pt x="43" y="57"/>
                    <a:pt x="43" y="57"/>
                    <a:pt x="43" y="57"/>
                  </a:cubicBezTo>
                  <a:cubicBezTo>
                    <a:pt x="64" y="57"/>
                    <a:pt x="64" y="57"/>
                    <a:pt x="64" y="57"/>
                  </a:cubicBezTo>
                  <a:cubicBezTo>
                    <a:pt x="68" y="57"/>
                    <a:pt x="72" y="59"/>
                    <a:pt x="74" y="63"/>
                  </a:cubicBezTo>
                  <a:cubicBezTo>
                    <a:pt x="76" y="67"/>
                    <a:pt x="75" y="71"/>
                    <a:pt x="73" y="74"/>
                  </a:cubicBezTo>
                  <a:cubicBezTo>
                    <a:pt x="22" y="142"/>
                    <a:pt x="22" y="142"/>
                    <a:pt x="22" y="142"/>
                  </a:cubicBezTo>
                  <a:cubicBezTo>
                    <a:pt x="43" y="142"/>
                    <a:pt x="43" y="142"/>
                    <a:pt x="43" y="142"/>
                  </a:cubicBezTo>
                  <a:cubicBezTo>
                    <a:pt x="47" y="142"/>
                    <a:pt x="51" y="145"/>
                    <a:pt x="53" y="148"/>
                  </a:cubicBezTo>
                  <a:cubicBezTo>
                    <a:pt x="54" y="152"/>
                    <a:pt x="54" y="156"/>
                    <a:pt x="52" y="159"/>
                  </a:cubicBezTo>
                  <a:cubicBezTo>
                    <a:pt x="0" y="228"/>
                    <a:pt x="0" y="228"/>
                    <a:pt x="0" y="228"/>
                  </a:cubicBezTo>
                  <a:cubicBezTo>
                    <a:pt x="64" y="228"/>
                    <a:pt x="64" y="228"/>
                    <a:pt x="64" y="228"/>
                  </a:cubicBezTo>
                  <a:cubicBezTo>
                    <a:pt x="70" y="228"/>
                    <a:pt x="75" y="232"/>
                    <a:pt x="75" y="238"/>
                  </a:cubicBezTo>
                  <a:cubicBezTo>
                    <a:pt x="75" y="270"/>
                    <a:pt x="75" y="270"/>
                    <a:pt x="75" y="270"/>
                  </a:cubicBezTo>
                  <a:cubicBezTo>
                    <a:pt x="96" y="270"/>
                    <a:pt x="96" y="270"/>
                    <a:pt x="96" y="270"/>
                  </a:cubicBezTo>
                  <a:cubicBezTo>
                    <a:pt x="96" y="238"/>
                    <a:pt x="96" y="238"/>
                    <a:pt x="96" y="238"/>
                  </a:cubicBezTo>
                  <a:cubicBezTo>
                    <a:pt x="96" y="232"/>
                    <a:pt x="101" y="228"/>
                    <a:pt x="107" y="228"/>
                  </a:cubicBezTo>
                  <a:cubicBezTo>
                    <a:pt x="171" y="228"/>
                    <a:pt x="171" y="228"/>
                    <a:pt x="171" y="228"/>
                  </a:cubicBezTo>
                  <a:cubicBezTo>
                    <a:pt x="121" y="161"/>
                    <a:pt x="121" y="161"/>
                    <a:pt x="121" y="161"/>
                  </a:cubicBezTo>
                  <a:cubicBezTo>
                    <a:pt x="119" y="159"/>
                    <a:pt x="119" y="156"/>
                    <a:pt x="119"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Freeform 792"/>
            <p:cNvSpPr>
              <a:spLocks noEditPoints="1"/>
            </p:cNvSpPr>
            <p:nvPr/>
          </p:nvSpPr>
          <p:spPr bwMode="auto">
            <a:xfrm>
              <a:off x="-11" y="31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2 w 512"/>
                <a:gd name="T11" fmla="*/ 367 h 512"/>
                <a:gd name="T12" fmla="*/ 362 w 512"/>
                <a:gd name="T13" fmla="*/ 373 h 512"/>
                <a:gd name="T14" fmla="*/ 288 w 512"/>
                <a:gd name="T15" fmla="*/ 373 h 512"/>
                <a:gd name="T16" fmla="*/ 288 w 512"/>
                <a:gd name="T17" fmla="*/ 405 h 512"/>
                <a:gd name="T18" fmla="*/ 277 w 512"/>
                <a:gd name="T19" fmla="*/ 416 h 512"/>
                <a:gd name="T20" fmla="*/ 234 w 512"/>
                <a:gd name="T21" fmla="*/ 416 h 512"/>
                <a:gd name="T22" fmla="*/ 224 w 512"/>
                <a:gd name="T23" fmla="*/ 405 h 512"/>
                <a:gd name="T24" fmla="*/ 224 w 512"/>
                <a:gd name="T25" fmla="*/ 373 h 512"/>
                <a:gd name="T26" fmla="*/ 149 w 512"/>
                <a:gd name="T27" fmla="*/ 373 h 512"/>
                <a:gd name="T28" fmla="*/ 139 w 512"/>
                <a:gd name="T29" fmla="*/ 367 h 512"/>
                <a:gd name="T30" fmla="*/ 140 w 512"/>
                <a:gd name="T31" fmla="*/ 356 h 512"/>
                <a:gd name="T32" fmla="*/ 192 w 512"/>
                <a:gd name="T33" fmla="*/ 288 h 512"/>
                <a:gd name="T34" fmla="*/ 170 w 512"/>
                <a:gd name="T35" fmla="*/ 288 h 512"/>
                <a:gd name="T36" fmla="*/ 161 w 512"/>
                <a:gd name="T37" fmla="*/ 282 h 512"/>
                <a:gd name="T38" fmla="*/ 162 w 512"/>
                <a:gd name="T39" fmla="*/ 271 h 512"/>
                <a:gd name="T40" fmla="*/ 213 w 512"/>
                <a:gd name="T41" fmla="*/ 202 h 512"/>
                <a:gd name="T42" fmla="*/ 192 w 512"/>
                <a:gd name="T43" fmla="*/ 202 h 512"/>
                <a:gd name="T44" fmla="*/ 182 w 512"/>
                <a:gd name="T45" fmla="*/ 196 h 512"/>
                <a:gd name="T46" fmla="*/ 183 w 512"/>
                <a:gd name="T47" fmla="*/ 185 h 512"/>
                <a:gd name="T48" fmla="*/ 247 w 512"/>
                <a:gd name="T49" fmla="*/ 100 h 512"/>
                <a:gd name="T50" fmla="*/ 264 w 512"/>
                <a:gd name="T51" fmla="*/ 100 h 512"/>
                <a:gd name="T52" fmla="*/ 328 w 512"/>
                <a:gd name="T53" fmla="*/ 185 h 512"/>
                <a:gd name="T54" fmla="*/ 329 w 512"/>
                <a:gd name="T55" fmla="*/ 196 h 512"/>
                <a:gd name="T56" fmla="*/ 320 w 512"/>
                <a:gd name="T57" fmla="*/ 202 h 512"/>
                <a:gd name="T58" fmla="*/ 298 w 512"/>
                <a:gd name="T59" fmla="*/ 202 h 512"/>
                <a:gd name="T60" fmla="*/ 350 w 512"/>
                <a:gd name="T61" fmla="*/ 271 h 512"/>
                <a:gd name="T62" fmla="*/ 351 w 512"/>
                <a:gd name="T63" fmla="*/ 282 h 512"/>
                <a:gd name="T64" fmla="*/ 341 w 512"/>
                <a:gd name="T65" fmla="*/ 288 h 512"/>
                <a:gd name="T66" fmla="*/ 320 w 512"/>
                <a:gd name="T67" fmla="*/ 288 h 512"/>
                <a:gd name="T68" fmla="*/ 371 w 512"/>
                <a:gd name="T69" fmla="*/ 356 h 512"/>
                <a:gd name="T70" fmla="*/ 372 w 512"/>
                <a:gd name="T71" fmla="*/ 3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2" y="367"/>
                  </a:moveTo>
                  <a:cubicBezTo>
                    <a:pt x="370" y="371"/>
                    <a:pt x="366" y="373"/>
                    <a:pt x="362" y="373"/>
                  </a:cubicBezTo>
                  <a:cubicBezTo>
                    <a:pt x="288" y="373"/>
                    <a:pt x="288" y="373"/>
                    <a:pt x="288" y="373"/>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373"/>
                    <a:pt x="224" y="373"/>
                    <a:pt x="224" y="373"/>
                  </a:cubicBezTo>
                  <a:cubicBezTo>
                    <a:pt x="149" y="373"/>
                    <a:pt x="149" y="373"/>
                    <a:pt x="149" y="373"/>
                  </a:cubicBezTo>
                  <a:cubicBezTo>
                    <a:pt x="145" y="373"/>
                    <a:pt x="141" y="371"/>
                    <a:pt x="139" y="367"/>
                  </a:cubicBezTo>
                  <a:cubicBezTo>
                    <a:pt x="138" y="363"/>
                    <a:pt x="138" y="359"/>
                    <a:pt x="140" y="356"/>
                  </a:cubicBezTo>
                  <a:cubicBezTo>
                    <a:pt x="192" y="288"/>
                    <a:pt x="192" y="288"/>
                    <a:pt x="192" y="288"/>
                  </a:cubicBezTo>
                  <a:cubicBezTo>
                    <a:pt x="170" y="288"/>
                    <a:pt x="170" y="288"/>
                    <a:pt x="170" y="288"/>
                  </a:cubicBezTo>
                  <a:cubicBezTo>
                    <a:pt x="166" y="288"/>
                    <a:pt x="163" y="285"/>
                    <a:pt x="161" y="282"/>
                  </a:cubicBezTo>
                  <a:cubicBezTo>
                    <a:pt x="159" y="278"/>
                    <a:pt x="159" y="274"/>
                    <a:pt x="162" y="271"/>
                  </a:cubicBezTo>
                  <a:cubicBezTo>
                    <a:pt x="213" y="202"/>
                    <a:pt x="213" y="202"/>
                    <a:pt x="213" y="202"/>
                  </a:cubicBezTo>
                  <a:cubicBezTo>
                    <a:pt x="192" y="202"/>
                    <a:pt x="192" y="202"/>
                    <a:pt x="192" y="202"/>
                  </a:cubicBezTo>
                  <a:cubicBezTo>
                    <a:pt x="188" y="202"/>
                    <a:pt x="184" y="200"/>
                    <a:pt x="182" y="196"/>
                  </a:cubicBezTo>
                  <a:cubicBezTo>
                    <a:pt x="180" y="193"/>
                    <a:pt x="181" y="188"/>
                    <a:pt x="183" y="185"/>
                  </a:cubicBezTo>
                  <a:cubicBezTo>
                    <a:pt x="247" y="100"/>
                    <a:pt x="247" y="100"/>
                    <a:pt x="247" y="100"/>
                  </a:cubicBezTo>
                  <a:cubicBezTo>
                    <a:pt x="251" y="95"/>
                    <a:pt x="260" y="95"/>
                    <a:pt x="264" y="100"/>
                  </a:cubicBezTo>
                  <a:cubicBezTo>
                    <a:pt x="328" y="185"/>
                    <a:pt x="328" y="185"/>
                    <a:pt x="328" y="185"/>
                  </a:cubicBezTo>
                  <a:cubicBezTo>
                    <a:pt x="331" y="188"/>
                    <a:pt x="331" y="193"/>
                    <a:pt x="329" y="196"/>
                  </a:cubicBezTo>
                  <a:cubicBezTo>
                    <a:pt x="327" y="200"/>
                    <a:pt x="324" y="202"/>
                    <a:pt x="320" y="202"/>
                  </a:cubicBezTo>
                  <a:cubicBezTo>
                    <a:pt x="298" y="202"/>
                    <a:pt x="298" y="202"/>
                    <a:pt x="298" y="202"/>
                  </a:cubicBezTo>
                  <a:cubicBezTo>
                    <a:pt x="350" y="271"/>
                    <a:pt x="350" y="271"/>
                    <a:pt x="350" y="271"/>
                  </a:cubicBezTo>
                  <a:cubicBezTo>
                    <a:pt x="352" y="274"/>
                    <a:pt x="352" y="278"/>
                    <a:pt x="351" y="282"/>
                  </a:cubicBezTo>
                  <a:cubicBezTo>
                    <a:pt x="349" y="285"/>
                    <a:pt x="345" y="288"/>
                    <a:pt x="341" y="288"/>
                  </a:cubicBezTo>
                  <a:cubicBezTo>
                    <a:pt x="320" y="288"/>
                    <a:pt x="320" y="288"/>
                    <a:pt x="320" y="288"/>
                  </a:cubicBezTo>
                  <a:cubicBezTo>
                    <a:pt x="371" y="356"/>
                    <a:pt x="371" y="356"/>
                    <a:pt x="371" y="356"/>
                  </a:cubicBezTo>
                  <a:cubicBezTo>
                    <a:pt x="373" y="359"/>
                    <a:pt x="374" y="363"/>
                    <a:pt x="372" y="3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3" name="Group 795"/>
          <p:cNvGrpSpPr>
            <a:grpSpLocks noChangeAspect="1"/>
          </p:cNvGrpSpPr>
          <p:nvPr/>
        </p:nvGrpSpPr>
        <p:grpSpPr bwMode="auto">
          <a:xfrm>
            <a:off x="7556701" y="3358107"/>
            <a:ext cx="367631" cy="367631"/>
            <a:chOff x="390" y="3164"/>
            <a:chExt cx="340" cy="340"/>
          </a:xfrm>
          <a:solidFill>
            <a:schemeClr val="accent3"/>
          </a:solidFill>
        </p:grpSpPr>
        <p:sp>
          <p:nvSpPr>
            <p:cNvPr id="394" name="Freeform 796"/>
            <p:cNvSpPr>
              <a:spLocks noEditPoints="1"/>
            </p:cNvSpPr>
            <p:nvPr/>
          </p:nvSpPr>
          <p:spPr bwMode="auto">
            <a:xfrm>
              <a:off x="482" y="3227"/>
              <a:ext cx="156" cy="213"/>
            </a:xfrm>
            <a:custGeom>
              <a:avLst/>
              <a:gdLst>
                <a:gd name="T0" fmla="*/ 139 w 236"/>
                <a:gd name="T1" fmla="*/ 321 h 321"/>
                <a:gd name="T2" fmla="*/ 96 w 236"/>
                <a:gd name="T3" fmla="*/ 321 h 321"/>
                <a:gd name="T4" fmla="*/ 86 w 236"/>
                <a:gd name="T5" fmla="*/ 310 h 321"/>
                <a:gd name="T6" fmla="*/ 86 w 236"/>
                <a:gd name="T7" fmla="*/ 278 h 321"/>
                <a:gd name="T8" fmla="*/ 11 w 236"/>
                <a:gd name="T9" fmla="*/ 278 h 321"/>
                <a:gd name="T10" fmla="*/ 1 w 236"/>
                <a:gd name="T11" fmla="*/ 272 h 321"/>
                <a:gd name="T12" fmla="*/ 2 w 236"/>
                <a:gd name="T13" fmla="*/ 261 h 321"/>
                <a:gd name="T14" fmla="*/ 54 w 236"/>
                <a:gd name="T15" fmla="*/ 193 h 321"/>
                <a:gd name="T16" fmla="*/ 32 w 236"/>
                <a:gd name="T17" fmla="*/ 193 h 321"/>
                <a:gd name="T18" fmla="*/ 23 w 236"/>
                <a:gd name="T19" fmla="*/ 187 h 321"/>
                <a:gd name="T20" fmla="*/ 24 w 236"/>
                <a:gd name="T21" fmla="*/ 176 h 321"/>
                <a:gd name="T22" fmla="*/ 75 w 236"/>
                <a:gd name="T23" fmla="*/ 107 h 321"/>
                <a:gd name="T24" fmla="*/ 54 w 236"/>
                <a:gd name="T25" fmla="*/ 107 h 321"/>
                <a:gd name="T26" fmla="*/ 44 w 236"/>
                <a:gd name="T27" fmla="*/ 101 h 321"/>
                <a:gd name="T28" fmla="*/ 45 w 236"/>
                <a:gd name="T29" fmla="*/ 90 h 321"/>
                <a:gd name="T30" fmla="*/ 109 w 236"/>
                <a:gd name="T31" fmla="*/ 5 h 321"/>
                <a:gd name="T32" fmla="*/ 126 w 236"/>
                <a:gd name="T33" fmla="*/ 5 h 321"/>
                <a:gd name="T34" fmla="*/ 190 w 236"/>
                <a:gd name="T35" fmla="*/ 90 h 321"/>
                <a:gd name="T36" fmla="*/ 191 w 236"/>
                <a:gd name="T37" fmla="*/ 101 h 321"/>
                <a:gd name="T38" fmla="*/ 182 w 236"/>
                <a:gd name="T39" fmla="*/ 107 h 321"/>
                <a:gd name="T40" fmla="*/ 160 w 236"/>
                <a:gd name="T41" fmla="*/ 107 h 321"/>
                <a:gd name="T42" fmla="*/ 212 w 236"/>
                <a:gd name="T43" fmla="*/ 176 h 321"/>
                <a:gd name="T44" fmla="*/ 213 w 236"/>
                <a:gd name="T45" fmla="*/ 187 h 321"/>
                <a:gd name="T46" fmla="*/ 203 w 236"/>
                <a:gd name="T47" fmla="*/ 193 h 321"/>
                <a:gd name="T48" fmla="*/ 182 w 236"/>
                <a:gd name="T49" fmla="*/ 193 h 321"/>
                <a:gd name="T50" fmla="*/ 233 w 236"/>
                <a:gd name="T51" fmla="*/ 261 h 321"/>
                <a:gd name="T52" fmla="*/ 234 w 236"/>
                <a:gd name="T53" fmla="*/ 272 h 321"/>
                <a:gd name="T54" fmla="*/ 224 w 236"/>
                <a:gd name="T55" fmla="*/ 278 h 321"/>
                <a:gd name="T56" fmla="*/ 150 w 236"/>
                <a:gd name="T57" fmla="*/ 278 h 321"/>
                <a:gd name="T58" fmla="*/ 150 w 236"/>
                <a:gd name="T59" fmla="*/ 310 h 321"/>
                <a:gd name="T60" fmla="*/ 139 w 236"/>
                <a:gd name="T61" fmla="*/ 321 h 321"/>
                <a:gd name="T62" fmla="*/ 107 w 236"/>
                <a:gd name="T63" fmla="*/ 299 h 321"/>
                <a:gd name="T64" fmla="*/ 128 w 236"/>
                <a:gd name="T65" fmla="*/ 299 h 321"/>
                <a:gd name="T66" fmla="*/ 128 w 236"/>
                <a:gd name="T67" fmla="*/ 267 h 321"/>
                <a:gd name="T68" fmla="*/ 139 w 236"/>
                <a:gd name="T69" fmla="*/ 257 h 321"/>
                <a:gd name="T70" fmla="*/ 203 w 236"/>
                <a:gd name="T71" fmla="*/ 257 h 321"/>
                <a:gd name="T72" fmla="*/ 153 w 236"/>
                <a:gd name="T73" fmla="*/ 190 h 321"/>
                <a:gd name="T74" fmla="*/ 151 w 236"/>
                <a:gd name="T75" fmla="*/ 183 h 321"/>
                <a:gd name="T76" fmla="*/ 151 w 236"/>
                <a:gd name="T77" fmla="*/ 182 h 321"/>
                <a:gd name="T78" fmla="*/ 161 w 236"/>
                <a:gd name="T79" fmla="*/ 171 h 321"/>
                <a:gd name="T80" fmla="*/ 182 w 236"/>
                <a:gd name="T81" fmla="*/ 171 h 321"/>
                <a:gd name="T82" fmla="*/ 130 w 236"/>
                <a:gd name="T83" fmla="*/ 103 h 321"/>
                <a:gd name="T84" fmla="*/ 129 w 236"/>
                <a:gd name="T85" fmla="*/ 92 h 321"/>
                <a:gd name="T86" fmla="*/ 139 w 236"/>
                <a:gd name="T87" fmla="*/ 86 h 321"/>
                <a:gd name="T88" fmla="*/ 160 w 236"/>
                <a:gd name="T89" fmla="*/ 86 h 321"/>
                <a:gd name="T90" fmla="*/ 118 w 236"/>
                <a:gd name="T91" fmla="*/ 29 h 321"/>
                <a:gd name="T92" fmla="*/ 75 w 236"/>
                <a:gd name="T93" fmla="*/ 86 h 321"/>
                <a:gd name="T94" fmla="*/ 96 w 236"/>
                <a:gd name="T95" fmla="*/ 86 h 321"/>
                <a:gd name="T96" fmla="*/ 106 w 236"/>
                <a:gd name="T97" fmla="*/ 92 h 321"/>
                <a:gd name="T98" fmla="*/ 105 w 236"/>
                <a:gd name="T99" fmla="*/ 103 h 321"/>
                <a:gd name="T100" fmla="*/ 54 w 236"/>
                <a:gd name="T101" fmla="*/ 171 h 321"/>
                <a:gd name="T102" fmla="*/ 75 w 236"/>
                <a:gd name="T103" fmla="*/ 171 h 321"/>
                <a:gd name="T104" fmla="*/ 85 w 236"/>
                <a:gd name="T105" fmla="*/ 177 h 321"/>
                <a:gd name="T106" fmla="*/ 84 w 236"/>
                <a:gd name="T107" fmla="*/ 188 h 321"/>
                <a:gd name="T108" fmla="*/ 32 w 236"/>
                <a:gd name="T109" fmla="*/ 257 h 321"/>
                <a:gd name="T110" fmla="*/ 96 w 236"/>
                <a:gd name="T111" fmla="*/ 257 h 321"/>
                <a:gd name="T112" fmla="*/ 107 w 236"/>
                <a:gd name="T113" fmla="*/ 267 h 321"/>
                <a:gd name="T114" fmla="*/ 107 w 236"/>
                <a:gd name="T115" fmla="*/ 29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321">
                  <a:moveTo>
                    <a:pt x="139" y="321"/>
                  </a:moveTo>
                  <a:cubicBezTo>
                    <a:pt x="96" y="321"/>
                    <a:pt x="96" y="321"/>
                    <a:pt x="96" y="321"/>
                  </a:cubicBezTo>
                  <a:cubicBezTo>
                    <a:pt x="90" y="321"/>
                    <a:pt x="86" y="316"/>
                    <a:pt x="86" y="310"/>
                  </a:cubicBezTo>
                  <a:cubicBezTo>
                    <a:pt x="86" y="278"/>
                    <a:pt x="86" y="278"/>
                    <a:pt x="86" y="278"/>
                  </a:cubicBezTo>
                  <a:cubicBezTo>
                    <a:pt x="11" y="278"/>
                    <a:pt x="11" y="278"/>
                    <a:pt x="11" y="278"/>
                  </a:cubicBezTo>
                  <a:cubicBezTo>
                    <a:pt x="7" y="278"/>
                    <a:pt x="3" y="276"/>
                    <a:pt x="1" y="272"/>
                  </a:cubicBezTo>
                  <a:cubicBezTo>
                    <a:pt x="0" y="268"/>
                    <a:pt x="0" y="264"/>
                    <a:pt x="2" y="261"/>
                  </a:cubicBezTo>
                  <a:cubicBezTo>
                    <a:pt x="54" y="193"/>
                    <a:pt x="54" y="193"/>
                    <a:pt x="54" y="193"/>
                  </a:cubicBezTo>
                  <a:cubicBezTo>
                    <a:pt x="32" y="193"/>
                    <a:pt x="32" y="193"/>
                    <a:pt x="32" y="193"/>
                  </a:cubicBezTo>
                  <a:cubicBezTo>
                    <a:pt x="28" y="193"/>
                    <a:pt x="25" y="190"/>
                    <a:pt x="23" y="187"/>
                  </a:cubicBezTo>
                  <a:cubicBezTo>
                    <a:pt x="21" y="183"/>
                    <a:pt x="21" y="179"/>
                    <a:pt x="24" y="176"/>
                  </a:cubicBezTo>
                  <a:cubicBezTo>
                    <a:pt x="75" y="107"/>
                    <a:pt x="75" y="107"/>
                    <a:pt x="75" y="107"/>
                  </a:cubicBezTo>
                  <a:cubicBezTo>
                    <a:pt x="54" y="107"/>
                    <a:pt x="54" y="107"/>
                    <a:pt x="54" y="107"/>
                  </a:cubicBezTo>
                  <a:cubicBezTo>
                    <a:pt x="50" y="107"/>
                    <a:pt x="46" y="105"/>
                    <a:pt x="44" y="101"/>
                  </a:cubicBezTo>
                  <a:cubicBezTo>
                    <a:pt x="42" y="98"/>
                    <a:pt x="43" y="93"/>
                    <a:pt x="45" y="90"/>
                  </a:cubicBezTo>
                  <a:cubicBezTo>
                    <a:pt x="109" y="5"/>
                    <a:pt x="109" y="5"/>
                    <a:pt x="109" y="5"/>
                  </a:cubicBezTo>
                  <a:cubicBezTo>
                    <a:pt x="113" y="0"/>
                    <a:pt x="122" y="0"/>
                    <a:pt x="126" y="5"/>
                  </a:cubicBezTo>
                  <a:cubicBezTo>
                    <a:pt x="190" y="90"/>
                    <a:pt x="190" y="90"/>
                    <a:pt x="190" y="90"/>
                  </a:cubicBezTo>
                  <a:cubicBezTo>
                    <a:pt x="193" y="93"/>
                    <a:pt x="193" y="98"/>
                    <a:pt x="191" y="101"/>
                  </a:cubicBezTo>
                  <a:cubicBezTo>
                    <a:pt x="189" y="105"/>
                    <a:pt x="186" y="107"/>
                    <a:pt x="182" y="107"/>
                  </a:cubicBezTo>
                  <a:cubicBezTo>
                    <a:pt x="160" y="107"/>
                    <a:pt x="160" y="107"/>
                    <a:pt x="160" y="107"/>
                  </a:cubicBezTo>
                  <a:cubicBezTo>
                    <a:pt x="212" y="176"/>
                    <a:pt x="212" y="176"/>
                    <a:pt x="212" y="176"/>
                  </a:cubicBezTo>
                  <a:cubicBezTo>
                    <a:pt x="214" y="179"/>
                    <a:pt x="214" y="183"/>
                    <a:pt x="213" y="187"/>
                  </a:cubicBezTo>
                  <a:cubicBezTo>
                    <a:pt x="211" y="190"/>
                    <a:pt x="207" y="193"/>
                    <a:pt x="203" y="193"/>
                  </a:cubicBezTo>
                  <a:cubicBezTo>
                    <a:pt x="182" y="193"/>
                    <a:pt x="182" y="193"/>
                    <a:pt x="182" y="193"/>
                  </a:cubicBezTo>
                  <a:cubicBezTo>
                    <a:pt x="233" y="261"/>
                    <a:pt x="233" y="261"/>
                    <a:pt x="233" y="261"/>
                  </a:cubicBezTo>
                  <a:cubicBezTo>
                    <a:pt x="235" y="264"/>
                    <a:pt x="236" y="268"/>
                    <a:pt x="234" y="272"/>
                  </a:cubicBezTo>
                  <a:cubicBezTo>
                    <a:pt x="232" y="276"/>
                    <a:pt x="228" y="278"/>
                    <a:pt x="224" y="278"/>
                  </a:cubicBezTo>
                  <a:cubicBezTo>
                    <a:pt x="150" y="278"/>
                    <a:pt x="150" y="278"/>
                    <a:pt x="150" y="278"/>
                  </a:cubicBezTo>
                  <a:cubicBezTo>
                    <a:pt x="150" y="310"/>
                    <a:pt x="150" y="310"/>
                    <a:pt x="150" y="310"/>
                  </a:cubicBezTo>
                  <a:cubicBezTo>
                    <a:pt x="150" y="316"/>
                    <a:pt x="145" y="321"/>
                    <a:pt x="139" y="321"/>
                  </a:cubicBezTo>
                  <a:close/>
                  <a:moveTo>
                    <a:pt x="107" y="299"/>
                  </a:moveTo>
                  <a:cubicBezTo>
                    <a:pt x="128" y="299"/>
                    <a:pt x="128" y="299"/>
                    <a:pt x="128" y="299"/>
                  </a:cubicBezTo>
                  <a:cubicBezTo>
                    <a:pt x="128" y="267"/>
                    <a:pt x="128" y="267"/>
                    <a:pt x="128" y="267"/>
                  </a:cubicBezTo>
                  <a:cubicBezTo>
                    <a:pt x="128" y="261"/>
                    <a:pt x="133" y="257"/>
                    <a:pt x="139" y="257"/>
                  </a:cubicBezTo>
                  <a:cubicBezTo>
                    <a:pt x="203" y="257"/>
                    <a:pt x="203" y="257"/>
                    <a:pt x="203" y="257"/>
                  </a:cubicBezTo>
                  <a:cubicBezTo>
                    <a:pt x="153" y="190"/>
                    <a:pt x="153" y="190"/>
                    <a:pt x="153" y="190"/>
                  </a:cubicBezTo>
                  <a:cubicBezTo>
                    <a:pt x="151" y="188"/>
                    <a:pt x="151" y="185"/>
                    <a:pt x="151" y="183"/>
                  </a:cubicBezTo>
                  <a:cubicBezTo>
                    <a:pt x="151" y="182"/>
                    <a:pt x="151" y="182"/>
                    <a:pt x="151" y="182"/>
                  </a:cubicBezTo>
                  <a:cubicBezTo>
                    <a:pt x="151" y="176"/>
                    <a:pt x="156" y="171"/>
                    <a:pt x="161" y="171"/>
                  </a:cubicBezTo>
                  <a:cubicBezTo>
                    <a:pt x="182" y="171"/>
                    <a:pt x="182" y="171"/>
                    <a:pt x="182" y="171"/>
                  </a:cubicBezTo>
                  <a:cubicBezTo>
                    <a:pt x="130" y="103"/>
                    <a:pt x="130" y="103"/>
                    <a:pt x="130" y="103"/>
                  </a:cubicBezTo>
                  <a:cubicBezTo>
                    <a:pt x="128" y="100"/>
                    <a:pt x="128" y="96"/>
                    <a:pt x="129" y="92"/>
                  </a:cubicBezTo>
                  <a:cubicBezTo>
                    <a:pt x="131" y="88"/>
                    <a:pt x="135" y="86"/>
                    <a:pt x="139" y="86"/>
                  </a:cubicBezTo>
                  <a:cubicBezTo>
                    <a:pt x="160" y="86"/>
                    <a:pt x="160" y="86"/>
                    <a:pt x="160" y="86"/>
                  </a:cubicBezTo>
                  <a:cubicBezTo>
                    <a:pt x="118" y="29"/>
                    <a:pt x="118" y="29"/>
                    <a:pt x="118" y="29"/>
                  </a:cubicBezTo>
                  <a:cubicBezTo>
                    <a:pt x="75" y="86"/>
                    <a:pt x="75" y="86"/>
                    <a:pt x="75" y="86"/>
                  </a:cubicBezTo>
                  <a:cubicBezTo>
                    <a:pt x="96" y="86"/>
                    <a:pt x="96" y="86"/>
                    <a:pt x="96" y="86"/>
                  </a:cubicBezTo>
                  <a:cubicBezTo>
                    <a:pt x="100" y="86"/>
                    <a:pt x="104" y="88"/>
                    <a:pt x="106" y="92"/>
                  </a:cubicBezTo>
                  <a:cubicBezTo>
                    <a:pt x="108" y="96"/>
                    <a:pt x="107" y="100"/>
                    <a:pt x="105" y="103"/>
                  </a:cubicBezTo>
                  <a:cubicBezTo>
                    <a:pt x="54" y="171"/>
                    <a:pt x="54" y="171"/>
                    <a:pt x="54" y="171"/>
                  </a:cubicBezTo>
                  <a:cubicBezTo>
                    <a:pt x="75" y="171"/>
                    <a:pt x="75" y="171"/>
                    <a:pt x="75" y="171"/>
                  </a:cubicBezTo>
                  <a:cubicBezTo>
                    <a:pt x="79" y="171"/>
                    <a:pt x="83" y="174"/>
                    <a:pt x="85" y="177"/>
                  </a:cubicBezTo>
                  <a:cubicBezTo>
                    <a:pt x="86" y="181"/>
                    <a:pt x="86" y="185"/>
                    <a:pt x="84" y="188"/>
                  </a:cubicBezTo>
                  <a:cubicBezTo>
                    <a:pt x="32" y="257"/>
                    <a:pt x="32" y="257"/>
                    <a:pt x="32" y="257"/>
                  </a:cubicBezTo>
                  <a:cubicBezTo>
                    <a:pt x="96" y="257"/>
                    <a:pt x="96" y="257"/>
                    <a:pt x="96" y="257"/>
                  </a:cubicBezTo>
                  <a:cubicBezTo>
                    <a:pt x="102" y="257"/>
                    <a:pt x="107" y="261"/>
                    <a:pt x="107" y="267"/>
                  </a:cubicBezTo>
                  <a:lnTo>
                    <a:pt x="107"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797"/>
            <p:cNvSpPr>
              <a:spLocks noEditPoints="1"/>
            </p:cNvSpPr>
            <p:nvPr/>
          </p:nvSpPr>
          <p:spPr bwMode="auto">
            <a:xfrm>
              <a:off x="390" y="31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6" name="Group 547"/>
          <p:cNvGrpSpPr>
            <a:grpSpLocks noChangeAspect="1"/>
          </p:cNvGrpSpPr>
          <p:nvPr/>
        </p:nvGrpSpPr>
        <p:grpSpPr bwMode="auto">
          <a:xfrm>
            <a:off x="8388107" y="3358107"/>
            <a:ext cx="369676" cy="370763"/>
            <a:chOff x="4310" y="1908"/>
            <a:chExt cx="340" cy="341"/>
          </a:xfrm>
          <a:solidFill>
            <a:schemeClr val="accent6"/>
          </a:solidFill>
        </p:grpSpPr>
        <p:sp>
          <p:nvSpPr>
            <p:cNvPr id="397" name="Freeform 548"/>
            <p:cNvSpPr>
              <a:spLocks noEditPoints="1"/>
            </p:cNvSpPr>
            <p:nvPr/>
          </p:nvSpPr>
          <p:spPr bwMode="auto">
            <a:xfrm>
              <a:off x="4310" y="190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8" name="Freeform 549"/>
            <p:cNvSpPr>
              <a:spLocks noEditPoints="1"/>
            </p:cNvSpPr>
            <p:nvPr/>
          </p:nvSpPr>
          <p:spPr bwMode="auto">
            <a:xfrm>
              <a:off x="4388" y="1972"/>
              <a:ext cx="184" cy="198"/>
            </a:xfrm>
            <a:custGeom>
              <a:avLst/>
              <a:gdLst>
                <a:gd name="T0" fmla="*/ 267 w 277"/>
                <a:gd name="T1" fmla="*/ 277 h 298"/>
                <a:gd name="T2" fmla="*/ 245 w 277"/>
                <a:gd name="T3" fmla="*/ 277 h 298"/>
                <a:gd name="T4" fmla="*/ 245 w 277"/>
                <a:gd name="T5" fmla="*/ 274 h 298"/>
                <a:gd name="T6" fmla="*/ 159 w 277"/>
                <a:gd name="T7" fmla="*/ 7 h 298"/>
                <a:gd name="T8" fmla="*/ 149 w 277"/>
                <a:gd name="T9" fmla="*/ 0 h 298"/>
                <a:gd name="T10" fmla="*/ 128 w 277"/>
                <a:gd name="T11" fmla="*/ 0 h 298"/>
                <a:gd name="T12" fmla="*/ 118 w 277"/>
                <a:gd name="T13" fmla="*/ 7 h 298"/>
                <a:gd name="T14" fmla="*/ 33 w 277"/>
                <a:gd name="T15" fmla="*/ 274 h 298"/>
                <a:gd name="T16" fmla="*/ 32 w 277"/>
                <a:gd name="T17" fmla="*/ 277 h 298"/>
                <a:gd name="T18" fmla="*/ 11 w 277"/>
                <a:gd name="T19" fmla="*/ 277 h 298"/>
                <a:gd name="T20" fmla="*/ 0 w 277"/>
                <a:gd name="T21" fmla="*/ 288 h 298"/>
                <a:gd name="T22" fmla="*/ 11 w 277"/>
                <a:gd name="T23" fmla="*/ 298 h 298"/>
                <a:gd name="T24" fmla="*/ 267 w 277"/>
                <a:gd name="T25" fmla="*/ 298 h 298"/>
                <a:gd name="T26" fmla="*/ 277 w 277"/>
                <a:gd name="T27" fmla="*/ 288 h 298"/>
                <a:gd name="T28" fmla="*/ 267 w 277"/>
                <a:gd name="T29" fmla="*/ 277 h 298"/>
                <a:gd name="T30" fmla="*/ 108 w 277"/>
                <a:gd name="T31" fmla="*/ 106 h 298"/>
                <a:gd name="T32" fmla="*/ 169 w 277"/>
                <a:gd name="T33" fmla="*/ 106 h 298"/>
                <a:gd name="T34" fmla="*/ 193 w 277"/>
                <a:gd name="T35" fmla="*/ 181 h 298"/>
                <a:gd name="T36" fmla="*/ 85 w 277"/>
                <a:gd name="T37" fmla="*/ 181 h 298"/>
                <a:gd name="T38" fmla="*/ 108 w 277"/>
                <a:gd name="T39" fmla="*/ 106 h 298"/>
                <a:gd name="T40" fmla="*/ 136 w 277"/>
                <a:gd name="T41" fmla="*/ 21 h 298"/>
                <a:gd name="T42" fmla="*/ 142 w 277"/>
                <a:gd name="T43" fmla="*/ 21 h 298"/>
                <a:gd name="T44" fmla="*/ 162 w 277"/>
                <a:gd name="T45" fmla="*/ 85 h 298"/>
                <a:gd name="T46" fmla="*/ 115 w 277"/>
                <a:gd name="T47" fmla="*/ 85 h 298"/>
                <a:gd name="T48" fmla="*/ 136 w 277"/>
                <a:gd name="T49" fmla="*/ 21 h 298"/>
                <a:gd name="T50" fmla="*/ 78 w 277"/>
                <a:gd name="T51" fmla="*/ 202 h 298"/>
                <a:gd name="T52" fmla="*/ 200 w 277"/>
                <a:gd name="T53" fmla="*/ 202 h 298"/>
                <a:gd name="T54" fmla="*/ 223 w 277"/>
                <a:gd name="T55" fmla="*/ 277 h 298"/>
                <a:gd name="T56" fmla="*/ 54 w 277"/>
                <a:gd name="T57" fmla="*/ 277 h 298"/>
                <a:gd name="T58" fmla="*/ 78 w 277"/>
                <a:gd name="T59"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7" h="298">
                  <a:moveTo>
                    <a:pt x="267" y="277"/>
                  </a:moveTo>
                  <a:cubicBezTo>
                    <a:pt x="245" y="277"/>
                    <a:pt x="245" y="277"/>
                    <a:pt x="245" y="277"/>
                  </a:cubicBezTo>
                  <a:cubicBezTo>
                    <a:pt x="245" y="277"/>
                    <a:pt x="245" y="275"/>
                    <a:pt x="245" y="274"/>
                  </a:cubicBezTo>
                  <a:cubicBezTo>
                    <a:pt x="159" y="7"/>
                    <a:pt x="159" y="7"/>
                    <a:pt x="159" y="7"/>
                  </a:cubicBezTo>
                  <a:cubicBezTo>
                    <a:pt x="158" y="3"/>
                    <a:pt x="154" y="0"/>
                    <a:pt x="149" y="0"/>
                  </a:cubicBezTo>
                  <a:cubicBezTo>
                    <a:pt x="128" y="0"/>
                    <a:pt x="128" y="0"/>
                    <a:pt x="128" y="0"/>
                  </a:cubicBezTo>
                  <a:cubicBezTo>
                    <a:pt x="123" y="0"/>
                    <a:pt x="119" y="3"/>
                    <a:pt x="118" y="7"/>
                  </a:cubicBezTo>
                  <a:cubicBezTo>
                    <a:pt x="33" y="274"/>
                    <a:pt x="33" y="274"/>
                    <a:pt x="33" y="274"/>
                  </a:cubicBezTo>
                  <a:cubicBezTo>
                    <a:pt x="32" y="275"/>
                    <a:pt x="32" y="277"/>
                    <a:pt x="32" y="277"/>
                  </a:cubicBezTo>
                  <a:cubicBezTo>
                    <a:pt x="11" y="277"/>
                    <a:pt x="11" y="277"/>
                    <a:pt x="11" y="277"/>
                  </a:cubicBezTo>
                  <a:cubicBezTo>
                    <a:pt x="5" y="277"/>
                    <a:pt x="0" y="282"/>
                    <a:pt x="0" y="288"/>
                  </a:cubicBezTo>
                  <a:cubicBezTo>
                    <a:pt x="0" y="294"/>
                    <a:pt x="5" y="298"/>
                    <a:pt x="11" y="298"/>
                  </a:cubicBezTo>
                  <a:cubicBezTo>
                    <a:pt x="267" y="298"/>
                    <a:pt x="267" y="298"/>
                    <a:pt x="267" y="298"/>
                  </a:cubicBezTo>
                  <a:cubicBezTo>
                    <a:pt x="273" y="298"/>
                    <a:pt x="277" y="294"/>
                    <a:pt x="277" y="288"/>
                  </a:cubicBezTo>
                  <a:cubicBezTo>
                    <a:pt x="277" y="282"/>
                    <a:pt x="273" y="277"/>
                    <a:pt x="267" y="277"/>
                  </a:cubicBezTo>
                  <a:close/>
                  <a:moveTo>
                    <a:pt x="108" y="106"/>
                  </a:moveTo>
                  <a:cubicBezTo>
                    <a:pt x="169" y="106"/>
                    <a:pt x="169" y="106"/>
                    <a:pt x="169" y="106"/>
                  </a:cubicBezTo>
                  <a:cubicBezTo>
                    <a:pt x="193" y="181"/>
                    <a:pt x="193" y="181"/>
                    <a:pt x="193" y="181"/>
                  </a:cubicBezTo>
                  <a:cubicBezTo>
                    <a:pt x="85" y="181"/>
                    <a:pt x="85" y="181"/>
                    <a:pt x="85" y="181"/>
                  </a:cubicBezTo>
                  <a:lnTo>
                    <a:pt x="108" y="106"/>
                  </a:lnTo>
                  <a:close/>
                  <a:moveTo>
                    <a:pt x="136" y="21"/>
                  </a:moveTo>
                  <a:cubicBezTo>
                    <a:pt x="142" y="21"/>
                    <a:pt x="142" y="21"/>
                    <a:pt x="142" y="21"/>
                  </a:cubicBezTo>
                  <a:cubicBezTo>
                    <a:pt x="162" y="85"/>
                    <a:pt x="162" y="85"/>
                    <a:pt x="162" y="85"/>
                  </a:cubicBezTo>
                  <a:cubicBezTo>
                    <a:pt x="115" y="85"/>
                    <a:pt x="115" y="85"/>
                    <a:pt x="115" y="85"/>
                  </a:cubicBezTo>
                  <a:lnTo>
                    <a:pt x="136" y="21"/>
                  </a:lnTo>
                  <a:close/>
                  <a:moveTo>
                    <a:pt x="78" y="202"/>
                  </a:moveTo>
                  <a:cubicBezTo>
                    <a:pt x="200" y="202"/>
                    <a:pt x="200" y="202"/>
                    <a:pt x="200" y="202"/>
                  </a:cubicBezTo>
                  <a:cubicBezTo>
                    <a:pt x="223" y="277"/>
                    <a:pt x="223" y="277"/>
                    <a:pt x="223" y="277"/>
                  </a:cubicBezTo>
                  <a:cubicBezTo>
                    <a:pt x="54" y="277"/>
                    <a:pt x="54" y="277"/>
                    <a:pt x="54" y="277"/>
                  </a:cubicBezTo>
                  <a:lnTo>
                    <a:pt x="78"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9" name="Freeform 553"/>
          <p:cNvSpPr>
            <a:spLocks noChangeAspect="1" noEditPoints="1"/>
          </p:cNvSpPr>
          <p:nvPr/>
        </p:nvSpPr>
        <p:spPr bwMode="auto">
          <a:xfrm>
            <a:off x="7971380" y="3358107"/>
            <a:ext cx="369676" cy="369676"/>
          </a:xfrm>
          <a:custGeom>
            <a:avLst/>
            <a:gdLst>
              <a:gd name="T0" fmla="*/ 310 w 512"/>
              <a:gd name="T1" fmla="*/ 277 h 512"/>
              <a:gd name="T2" fmla="*/ 202 w 512"/>
              <a:gd name="T3" fmla="*/ 277 h 512"/>
              <a:gd name="T4" fmla="*/ 225 w 512"/>
              <a:gd name="T5" fmla="*/ 202 h 512"/>
              <a:gd name="T6" fmla="*/ 286 w 512"/>
              <a:gd name="T7" fmla="*/ 202 h 512"/>
              <a:gd name="T8" fmla="*/ 310 w 512"/>
              <a:gd name="T9" fmla="*/ 277 h 512"/>
              <a:gd name="T10" fmla="*/ 259 w 512"/>
              <a:gd name="T11" fmla="*/ 117 h 512"/>
              <a:gd name="T12" fmla="*/ 253 w 512"/>
              <a:gd name="T13" fmla="*/ 117 h 512"/>
              <a:gd name="T14" fmla="*/ 232 w 512"/>
              <a:gd name="T15" fmla="*/ 181 h 512"/>
              <a:gd name="T16" fmla="*/ 279 w 512"/>
              <a:gd name="T17" fmla="*/ 181 h 512"/>
              <a:gd name="T18" fmla="*/ 259 w 512"/>
              <a:gd name="T19" fmla="*/ 11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384 h 512"/>
              <a:gd name="T32" fmla="*/ 384 w 512"/>
              <a:gd name="T33" fmla="*/ 373 h 512"/>
              <a:gd name="T34" fmla="*/ 362 w 512"/>
              <a:gd name="T35" fmla="*/ 373 h 512"/>
              <a:gd name="T36" fmla="*/ 362 w 512"/>
              <a:gd name="T37" fmla="*/ 370 h 512"/>
              <a:gd name="T38" fmla="*/ 276 w 512"/>
              <a:gd name="T39" fmla="*/ 103 h 512"/>
              <a:gd name="T40" fmla="*/ 266 w 512"/>
              <a:gd name="T41" fmla="*/ 96 h 512"/>
              <a:gd name="T42" fmla="*/ 245 w 512"/>
              <a:gd name="T43" fmla="*/ 96 h 512"/>
              <a:gd name="T44" fmla="*/ 235 w 512"/>
              <a:gd name="T45" fmla="*/ 103 h 512"/>
              <a:gd name="T46" fmla="*/ 150 w 512"/>
              <a:gd name="T47" fmla="*/ 370 h 512"/>
              <a:gd name="T48" fmla="*/ 149 w 512"/>
              <a:gd name="T49" fmla="*/ 373 h 512"/>
              <a:gd name="T50" fmla="*/ 128 w 512"/>
              <a:gd name="T51" fmla="*/ 373 h 512"/>
              <a:gd name="T52" fmla="*/ 117 w 512"/>
              <a:gd name="T53" fmla="*/ 384 h 512"/>
              <a:gd name="T54" fmla="*/ 128 w 512"/>
              <a:gd name="T55" fmla="*/ 394 h 512"/>
              <a:gd name="T56" fmla="*/ 384 w 512"/>
              <a:gd name="T57" fmla="*/ 394 h 512"/>
              <a:gd name="T58" fmla="*/ 394 w 512"/>
              <a:gd name="T59" fmla="*/ 384 h 512"/>
              <a:gd name="T60" fmla="*/ 195 w 512"/>
              <a:gd name="T61" fmla="*/ 298 h 512"/>
              <a:gd name="T62" fmla="*/ 171 w 512"/>
              <a:gd name="T63" fmla="*/ 373 h 512"/>
              <a:gd name="T64" fmla="*/ 340 w 512"/>
              <a:gd name="T65" fmla="*/ 373 h 512"/>
              <a:gd name="T66" fmla="*/ 317 w 512"/>
              <a:gd name="T67" fmla="*/ 298 h 512"/>
              <a:gd name="T68" fmla="*/ 195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0" y="277"/>
                </a:moveTo>
                <a:cubicBezTo>
                  <a:pt x="202" y="277"/>
                  <a:pt x="202" y="277"/>
                  <a:pt x="202" y="277"/>
                </a:cubicBezTo>
                <a:cubicBezTo>
                  <a:pt x="225" y="202"/>
                  <a:pt x="225" y="202"/>
                  <a:pt x="225" y="202"/>
                </a:cubicBezTo>
                <a:cubicBezTo>
                  <a:pt x="286" y="202"/>
                  <a:pt x="286" y="202"/>
                  <a:pt x="286" y="202"/>
                </a:cubicBezTo>
                <a:lnTo>
                  <a:pt x="310" y="277"/>
                </a:lnTo>
                <a:close/>
                <a:moveTo>
                  <a:pt x="259" y="117"/>
                </a:moveTo>
                <a:cubicBezTo>
                  <a:pt x="253" y="117"/>
                  <a:pt x="253" y="117"/>
                  <a:pt x="253" y="117"/>
                </a:cubicBezTo>
                <a:cubicBezTo>
                  <a:pt x="232" y="181"/>
                  <a:pt x="232" y="181"/>
                  <a:pt x="232" y="181"/>
                </a:cubicBezTo>
                <a:cubicBezTo>
                  <a:pt x="279" y="181"/>
                  <a:pt x="279" y="181"/>
                  <a:pt x="279" y="181"/>
                </a:cubicBezTo>
                <a:lnTo>
                  <a:pt x="25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62" y="373"/>
                  <a:pt x="362" y="373"/>
                  <a:pt x="362" y="373"/>
                </a:cubicBezTo>
                <a:cubicBezTo>
                  <a:pt x="362" y="373"/>
                  <a:pt x="362" y="371"/>
                  <a:pt x="362" y="370"/>
                </a:cubicBezTo>
                <a:cubicBezTo>
                  <a:pt x="276" y="103"/>
                  <a:pt x="276" y="103"/>
                  <a:pt x="276" y="103"/>
                </a:cubicBezTo>
                <a:cubicBezTo>
                  <a:pt x="275" y="99"/>
                  <a:pt x="271" y="96"/>
                  <a:pt x="266" y="96"/>
                </a:cubicBezTo>
                <a:cubicBezTo>
                  <a:pt x="245" y="96"/>
                  <a:pt x="245" y="96"/>
                  <a:pt x="245" y="96"/>
                </a:cubicBezTo>
                <a:cubicBezTo>
                  <a:pt x="240" y="96"/>
                  <a:pt x="236" y="99"/>
                  <a:pt x="235" y="103"/>
                </a:cubicBezTo>
                <a:cubicBezTo>
                  <a:pt x="150" y="370"/>
                  <a:pt x="150" y="370"/>
                  <a:pt x="150" y="370"/>
                </a:cubicBezTo>
                <a:cubicBezTo>
                  <a:pt x="149" y="371"/>
                  <a:pt x="149" y="373"/>
                  <a:pt x="149"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lose/>
                <a:moveTo>
                  <a:pt x="195" y="298"/>
                </a:moveTo>
                <a:cubicBezTo>
                  <a:pt x="171" y="373"/>
                  <a:pt x="171" y="373"/>
                  <a:pt x="171" y="373"/>
                </a:cubicBezTo>
                <a:cubicBezTo>
                  <a:pt x="340" y="373"/>
                  <a:pt x="340" y="373"/>
                  <a:pt x="340" y="373"/>
                </a:cubicBezTo>
                <a:cubicBezTo>
                  <a:pt x="317" y="298"/>
                  <a:pt x="317" y="298"/>
                  <a:pt x="317" y="298"/>
                </a:cubicBezTo>
                <a:lnTo>
                  <a:pt x="195" y="298"/>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0" name="Group 477"/>
          <p:cNvGrpSpPr>
            <a:grpSpLocks noChangeAspect="1"/>
          </p:cNvGrpSpPr>
          <p:nvPr/>
        </p:nvGrpSpPr>
        <p:grpSpPr bwMode="auto">
          <a:xfrm>
            <a:off x="830986" y="4186335"/>
            <a:ext cx="369676" cy="369676"/>
            <a:chOff x="373" y="1548"/>
            <a:chExt cx="340" cy="340"/>
          </a:xfrm>
          <a:solidFill>
            <a:schemeClr val="accent5"/>
          </a:solidFill>
        </p:grpSpPr>
        <p:sp>
          <p:nvSpPr>
            <p:cNvPr id="401" name="Freeform 400"/>
            <p:cNvSpPr>
              <a:spLocks noEditPoints="1"/>
            </p:cNvSpPr>
            <p:nvPr/>
          </p:nvSpPr>
          <p:spPr bwMode="auto">
            <a:xfrm>
              <a:off x="373" y="15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2" name="Freeform 401"/>
            <p:cNvSpPr>
              <a:spLocks noEditPoints="1"/>
            </p:cNvSpPr>
            <p:nvPr/>
          </p:nvSpPr>
          <p:spPr bwMode="auto">
            <a:xfrm>
              <a:off x="479" y="1654"/>
              <a:ext cx="128" cy="128"/>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Freeform 402"/>
            <p:cNvSpPr>
              <a:spLocks/>
            </p:cNvSpPr>
            <p:nvPr/>
          </p:nvSpPr>
          <p:spPr bwMode="auto">
            <a:xfrm>
              <a:off x="621" y="1711"/>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4" name="Freeform 403"/>
            <p:cNvSpPr>
              <a:spLocks/>
            </p:cNvSpPr>
            <p:nvPr/>
          </p:nvSpPr>
          <p:spPr bwMode="auto">
            <a:xfrm>
              <a:off x="437" y="1711"/>
              <a:ext cx="28" cy="14"/>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Freeform 404"/>
            <p:cNvSpPr>
              <a:spLocks/>
            </p:cNvSpPr>
            <p:nvPr/>
          </p:nvSpPr>
          <p:spPr bwMode="auto">
            <a:xfrm>
              <a:off x="536" y="1612"/>
              <a:ext cx="14" cy="28"/>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Freeform 405"/>
            <p:cNvSpPr>
              <a:spLocks/>
            </p:cNvSpPr>
            <p:nvPr/>
          </p:nvSpPr>
          <p:spPr bwMode="auto">
            <a:xfrm>
              <a:off x="536" y="1796"/>
              <a:ext cx="14" cy="28"/>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Freeform 406"/>
            <p:cNvSpPr>
              <a:spLocks/>
            </p:cNvSpPr>
            <p:nvPr/>
          </p:nvSpPr>
          <p:spPr bwMode="auto">
            <a:xfrm>
              <a:off x="595" y="164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Freeform 407"/>
            <p:cNvSpPr>
              <a:spLocks/>
            </p:cNvSpPr>
            <p:nvPr/>
          </p:nvSpPr>
          <p:spPr bwMode="auto">
            <a:xfrm>
              <a:off x="465" y="177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Freeform 408"/>
            <p:cNvSpPr>
              <a:spLocks/>
            </p:cNvSpPr>
            <p:nvPr/>
          </p:nvSpPr>
          <p:spPr bwMode="auto">
            <a:xfrm>
              <a:off x="465" y="1640"/>
              <a:ext cx="26" cy="25"/>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0" name="Freeform 409"/>
            <p:cNvSpPr>
              <a:spLocks/>
            </p:cNvSpPr>
            <p:nvPr/>
          </p:nvSpPr>
          <p:spPr bwMode="auto">
            <a:xfrm>
              <a:off x="595" y="1770"/>
              <a:ext cx="26" cy="25"/>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1" name="Group 490"/>
          <p:cNvGrpSpPr>
            <a:grpSpLocks noChangeAspect="1"/>
          </p:cNvGrpSpPr>
          <p:nvPr/>
        </p:nvGrpSpPr>
        <p:grpSpPr bwMode="auto">
          <a:xfrm>
            <a:off x="406400" y="4186335"/>
            <a:ext cx="369676" cy="369676"/>
            <a:chOff x="-10" y="1542"/>
            <a:chExt cx="340" cy="340"/>
          </a:xfrm>
          <a:solidFill>
            <a:schemeClr val="accent5"/>
          </a:solidFill>
        </p:grpSpPr>
        <p:sp>
          <p:nvSpPr>
            <p:cNvPr id="412" name="Freeform 491"/>
            <p:cNvSpPr>
              <a:spLocks noEditPoints="1"/>
            </p:cNvSpPr>
            <p:nvPr/>
          </p:nvSpPr>
          <p:spPr bwMode="auto">
            <a:xfrm>
              <a:off x="-10" y="154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8 h 512"/>
                <a:gd name="T10" fmla="*/ 245 w 512"/>
                <a:gd name="T11" fmla="*/ 106 h 512"/>
                <a:gd name="T12" fmla="*/ 158 w 512"/>
                <a:gd name="T13" fmla="*/ 143 h 512"/>
                <a:gd name="T14" fmla="*/ 173 w 512"/>
                <a:gd name="T15" fmla="*/ 173 h 512"/>
                <a:gd name="T16" fmla="*/ 158 w 512"/>
                <a:gd name="T17" fmla="*/ 173 h 512"/>
                <a:gd name="T18" fmla="*/ 143 w 512"/>
                <a:gd name="T19" fmla="*/ 143 h 512"/>
                <a:gd name="T20" fmla="*/ 106 w 512"/>
                <a:gd name="T21" fmla="*/ 266 h 512"/>
                <a:gd name="T22" fmla="*/ 106 w 512"/>
                <a:gd name="T23" fmla="*/ 245 h 512"/>
                <a:gd name="T24" fmla="*/ 138 w 512"/>
                <a:gd name="T25" fmla="*/ 256 h 512"/>
                <a:gd name="T26" fmla="*/ 173 w 512"/>
                <a:gd name="T27" fmla="*/ 354 h 512"/>
                <a:gd name="T28" fmla="*/ 150 w 512"/>
                <a:gd name="T29" fmla="*/ 372 h 512"/>
                <a:gd name="T30" fmla="*/ 143 w 512"/>
                <a:gd name="T31" fmla="*/ 354 h 512"/>
                <a:gd name="T32" fmla="*/ 173 w 512"/>
                <a:gd name="T33" fmla="*/ 339 h 512"/>
                <a:gd name="T34" fmla="*/ 266 w 512"/>
                <a:gd name="T35" fmla="*/ 405 h 512"/>
                <a:gd name="T36" fmla="*/ 245 w 512"/>
                <a:gd name="T37" fmla="*/ 405 h 512"/>
                <a:gd name="T38" fmla="*/ 256 w 512"/>
                <a:gd name="T39" fmla="*/ 373 h 512"/>
                <a:gd name="T40" fmla="*/ 266 w 512"/>
                <a:gd name="T41" fmla="*/ 405 h 512"/>
                <a:gd name="T42" fmla="*/ 160 w 512"/>
                <a:gd name="T43" fmla="*/ 256 h 512"/>
                <a:gd name="T44" fmla="*/ 352 w 512"/>
                <a:gd name="T45" fmla="*/ 256 h 512"/>
                <a:gd name="T46" fmla="*/ 369 w 512"/>
                <a:gd name="T47" fmla="*/ 369 h 512"/>
                <a:gd name="T48" fmla="*/ 354 w 512"/>
                <a:gd name="T49" fmla="*/ 369 h 512"/>
                <a:gd name="T50" fmla="*/ 339 w 512"/>
                <a:gd name="T51" fmla="*/ 339 h 512"/>
                <a:gd name="T52" fmla="*/ 369 w 512"/>
                <a:gd name="T53" fmla="*/ 354 h 512"/>
                <a:gd name="T54" fmla="*/ 369 w 512"/>
                <a:gd name="T55" fmla="*/ 158 h 512"/>
                <a:gd name="T56" fmla="*/ 346 w 512"/>
                <a:gd name="T57" fmla="*/ 176 h 512"/>
                <a:gd name="T58" fmla="*/ 339 w 512"/>
                <a:gd name="T59" fmla="*/ 158 h 512"/>
                <a:gd name="T60" fmla="*/ 369 w 512"/>
                <a:gd name="T61" fmla="*/ 143 h 512"/>
                <a:gd name="T62" fmla="*/ 405 w 512"/>
                <a:gd name="T63" fmla="*/ 266 h 512"/>
                <a:gd name="T64" fmla="*/ 373 w 512"/>
                <a:gd name="T65" fmla="*/ 256 h 512"/>
                <a:gd name="T66" fmla="*/ 405 w 512"/>
                <a:gd name="T67" fmla="*/ 245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8"/>
                    <a:pt x="256" y="138"/>
                  </a:cubicBezTo>
                  <a:cubicBezTo>
                    <a:pt x="250" y="138"/>
                    <a:pt x="245" y="134"/>
                    <a:pt x="245" y="128"/>
                  </a:cubicBezTo>
                  <a:lnTo>
                    <a:pt x="245" y="106"/>
                  </a:lnTo>
                  <a:close/>
                  <a:moveTo>
                    <a:pt x="143" y="143"/>
                  </a:moveTo>
                  <a:cubicBezTo>
                    <a:pt x="147" y="138"/>
                    <a:pt x="153" y="138"/>
                    <a:pt x="158" y="143"/>
                  </a:cubicBezTo>
                  <a:cubicBezTo>
                    <a:pt x="173" y="158"/>
                    <a:pt x="173" y="158"/>
                    <a:pt x="173" y="158"/>
                  </a:cubicBezTo>
                  <a:cubicBezTo>
                    <a:pt x="177" y="162"/>
                    <a:pt x="177" y="169"/>
                    <a:pt x="173" y="173"/>
                  </a:cubicBezTo>
                  <a:cubicBezTo>
                    <a:pt x="171" y="175"/>
                    <a:pt x="168" y="176"/>
                    <a:pt x="165" y="176"/>
                  </a:cubicBezTo>
                  <a:cubicBezTo>
                    <a:pt x="162" y="176"/>
                    <a:pt x="160" y="175"/>
                    <a:pt x="158" y="173"/>
                  </a:cubicBezTo>
                  <a:cubicBezTo>
                    <a:pt x="143" y="158"/>
                    <a:pt x="143" y="158"/>
                    <a:pt x="143" y="158"/>
                  </a:cubicBezTo>
                  <a:cubicBezTo>
                    <a:pt x="138" y="153"/>
                    <a:pt x="138" y="147"/>
                    <a:pt x="143" y="143"/>
                  </a:cubicBezTo>
                  <a:close/>
                  <a:moveTo>
                    <a:pt x="128" y="266"/>
                  </a:move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4" y="245"/>
                    <a:pt x="138" y="250"/>
                    <a:pt x="138" y="256"/>
                  </a:cubicBezTo>
                  <a:cubicBezTo>
                    <a:pt x="138" y="262"/>
                    <a:pt x="134" y="266"/>
                    <a:pt x="128" y="266"/>
                  </a:cubicBezTo>
                  <a:close/>
                  <a:moveTo>
                    <a:pt x="173" y="354"/>
                  </a:moveTo>
                  <a:cubicBezTo>
                    <a:pt x="158" y="369"/>
                    <a:pt x="158" y="369"/>
                    <a:pt x="158" y="369"/>
                  </a:cubicBezTo>
                  <a:cubicBezTo>
                    <a:pt x="156" y="371"/>
                    <a:pt x="153" y="372"/>
                    <a:pt x="150" y="372"/>
                  </a:cubicBezTo>
                  <a:cubicBezTo>
                    <a:pt x="147" y="372"/>
                    <a:pt x="145" y="371"/>
                    <a:pt x="143" y="369"/>
                  </a:cubicBezTo>
                  <a:cubicBezTo>
                    <a:pt x="138" y="365"/>
                    <a:pt x="138" y="358"/>
                    <a:pt x="143" y="354"/>
                  </a:cubicBezTo>
                  <a:cubicBezTo>
                    <a:pt x="158" y="339"/>
                    <a:pt x="158" y="339"/>
                    <a:pt x="158" y="339"/>
                  </a:cubicBezTo>
                  <a:cubicBezTo>
                    <a:pt x="162" y="334"/>
                    <a:pt x="169" y="334"/>
                    <a:pt x="173" y="339"/>
                  </a:cubicBezTo>
                  <a:cubicBezTo>
                    <a:pt x="177" y="343"/>
                    <a:pt x="177" y="350"/>
                    <a:pt x="173" y="354"/>
                  </a:cubicBezTo>
                  <a:close/>
                  <a:moveTo>
                    <a:pt x="266" y="405"/>
                  </a:moveTo>
                  <a:cubicBezTo>
                    <a:pt x="266" y="411"/>
                    <a:pt x="262" y="416"/>
                    <a:pt x="256" y="416"/>
                  </a:cubicBezTo>
                  <a:cubicBezTo>
                    <a:pt x="250" y="416"/>
                    <a:pt x="245" y="411"/>
                    <a:pt x="245" y="405"/>
                  </a:cubicBezTo>
                  <a:cubicBezTo>
                    <a:pt x="245" y="384"/>
                    <a:pt x="245" y="384"/>
                    <a:pt x="245" y="384"/>
                  </a:cubicBezTo>
                  <a:cubicBezTo>
                    <a:pt x="245" y="378"/>
                    <a:pt x="250" y="373"/>
                    <a:pt x="256" y="373"/>
                  </a:cubicBezTo>
                  <a:cubicBezTo>
                    <a:pt x="262" y="373"/>
                    <a:pt x="266" y="378"/>
                    <a:pt x="266" y="384"/>
                  </a:cubicBezTo>
                  <a:lnTo>
                    <a:pt x="266" y="405"/>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2"/>
                    <a:pt x="361" y="372"/>
                  </a:cubicBezTo>
                  <a:cubicBezTo>
                    <a:pt x="359" y="372"/>
                    <a:pt x="356" y="371"/>
                    <a:pt x="354" y="369"/>
                  </a:cubicBezTo>
                  <a:cubicBezTo>
                    <a:pt x="339" y="354"/>
                    <a:pt x="339" y="354"/>
                    <a:pt x="339" y="354"/>
                  </a:cubicBezTo>
                  <a:cubicBezTo>
                    <a:pt x="334" y="350"/>
                    <a:pt x="334" y="343"/>
                    <a:pt x="339" y="339"/>
                  </a:cubicBezTo>
                  <a:cubicBezTo>
                    <a:pt x="343" y="334"/>
                    <a:pt x="350" y="334"/>
                    <a:pt x="354" y="339"/>
                  </a:cubicBezTo>
                  <a:cubicBezTo>
                    <a:pt x="369" y="354"/>
                    <a:pt x="369" y="354"/>
                    <a:pt x="369" y="354"/>
                  </a:cubicBezTo>
                  <a:cubicBezTo>
                    <a:pt x="373" y="358"/>
                    <a:pt x="373" y="365"/>
                    <a:pt x="369" y="369"/>
                  </a:cubicBezTo>
                  <a:close/>
                  <a:moveTo>
                    <a:pt x="369" y="158"/>
                  </a:moveTo>
                  <a:cubicBezTo>
                    <a:pt x="354" y="173"/>
                    <a:pt x="354" y="173"/>
                    <a:pt x="354" y="173"/>
                  </a:cubicBezTo>
                  <a:cubicBezTo>
                    <a:pt x="352" y="175"/>
                    <a:pt x="349" y="176"/>
                    <a:pt x="346" y="176"/>
                  </a:cubicBezTo>
                  <a:cubicBezTo>
                    <a:pt x="343" y="176"/>
                    <a:pt x="341" y="175"/>
                    <a:pt x="339" y="173"/>
                  </a:cubicBezTo>
                  <a:cubicBezTo>
                    <a:pt x="334" y="169"/>
                    <a:pt x="334" y="162"/>
                    <a:pt x="339" y="158"/>
                  </a:cubicBezTo>
                  <a:cubicBezTo>
                    <a:pt x="354" y="143"/>
                    <a:pt x="354" y="143"/>
                    <a:pt x="354" y="143"/>
                  </a:cubicBezTo>
                  <a:cubicBezTo>
                    <a:pt x="358" y="138"/>
                    <a:pt x="365" y="138"/>
                    <a:pt x="369" y="143"/>
                  </a:cubicBezTo>
                  <a:cubicBezTo>
                    <a:pt x="373" y="147"/>
                    <a:pt x="373" y="153"/>
                    <a:pt x="369" y="158"/>
                  </a:cubicBezTo>
                  <a:close/>
                  <a:moveTo>
                    <a:pt x="405" y="266"/>
                  </a:moveTo>
                  <a:cubicBezTo>
                    <a:pt x="384" y="266"/>
                    <a:pt x="384" y="266"/>
                    <a:pt x="384" y="266"/>
                  </a:cubicBezTo>
                  <a:cubicBezTo>
                    <a:pt x="378" y="266"/>
                    <a:pt x="373" y="262"/>
                    <a:pt x="373" y="256"/>
                  </a:cubicBezTo>
                  <a:cubicBezTo>
                    <a:pt x="373" y="250"/>
                    <a:pt x="378" y="245"/>
                    <a:pt x="384"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Oval 492"/>
            <p:cNvSpPr>
              <a:spLocks noChangeArrowheads="1"/>
            </p:cNvSpPr>
            <p:nvPr/>
          </p:nvSpPr>
          <p:spPr bwMode="auto">
            <a:xfrm>
              <a:off x="110" y="1662"/>
              <a:ext cx="99" cy="9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4" name="Freeform 919"/>
          <p:cNvSpPr>
            <a:spLocks noChangeAspect="1" noEditPoints="1"/>
          </p:cNvSpPr>
          <p:nvPr/>
        </p:nvSpPr>
        <p:spPr bwMode="auto">
          <a:xfrm>
            <a:off x="1255572" y="4186335"/>
            <a:ext cx="367041" cy="367041"/>
          </a:xfrm>
          <a:custGeom>
            <a:avLst/>
            <a:gdLst>
              <a:gd name="T0" fmla="*/ 385 w 512"/>
              <a:gd name="T1" fmla="*/ 206 h 512"/>
              <a:gd name="T2" fmla="*/ 305 w 512"/>
              <a:gd name="T3" fmla="*/ 385 h 512"/>
              <a:gd name="T4" fmla="*/ 149 w 512"/>
              <a:gd name="T5" fmla="*/ 345 h 512"/>
              <a:gd name="T6" fmla="*/ 232 w 512"/>
              <a:gd name="T7" fmla="*/ 344 h 512"/>
              <a:gd name="T8" fmla="*/ 304 w 512"/>
              <a:gd name="T9" fmla="*/ 277 h 512"/>
              <a:gd name="T10" fmla="*/ 307 w 512"/>
              <a:gd name="T11" fmla="*/ 179 h 512"/>
              <a:gd name="T12" fmla="*/ 251 w 512"/>
              <a:gd name="T13" fmla="*/ 117 h 512"/>
              <a:gd name="T14" fmla="*/ 385 w 512"/>
              <a:gd name="T15" fmla="*/ 20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05 w 512"/>
              <a:gd name="T27" fmla="*/ 199 h 512"/>
              <a:gd name="T28" fmla="*/ 209 w 512"/>
              <a:gd name="T29" fmla="*/ 102 h 512"/>
              <a:gd name="T30" fmla="*/ 202 w 512"/>
              <a:gd name="T31" fmla="*/ 112 h 512"/>
              <a:gd name="T32" fmla="*/ 210 w 512"/>
              <a:gd name="T33" fmla="*/ 123 h 512"/>
              <a:gd name="T34" fmla="*/ 287 w 512"/>
              <a:gd name="T35" fmla="*/ 187 h 512"/>
              <a:gd name="T36" fmla="*/ 284 w 512"/>
              <a:gd name="T37" fmla="*/ 268 h 512"/>
              <a:gd name="T38" fmla="*/ 225 w 512"/>
              <a:gd name="T39" fmla="*/ 324 h 512"/>
              <a:gd name="T40" fmla="*/ 126 w 512"/>
              <a:gd name="T41" fmla="*/ 310 h 512"/>
              <a:gd name="T42" fmla="*/ 113 w 512"/>
              <a:gd name="T43" fmla="*/ 311 h 512"/>
              <a:gd name="T44" fmla="*/ 110 w 512"/>
              <a:gd name="T45" fmla="*/ 323 h 512"/>
              <a:gd name="T46" fmla="*/ 256 w 512"/>
              <a:gd name="T47" fmla="*/ 416 h 512"/>
              <a:gd name="T48" fmla="*/ 312 w 512"/>
              <a:gd name="T49" fmla="*/ 405 h 512"/>
              <a:gd name="T50" fmla="*/ 405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385" y="206"/>
                </a:moveTo>
                <a:cubicBezTo>
                  <a:pt x="412" y="278"/>
                  <a:pt x="376" y="358"/>
                  <a:pt x="305" y="385"/>
                </a:cubicBezTo>
                <a:cubicBezTo>
                  <a:pt x="249" y="407"/>
                  <a:pt x="187" y="389"/>
                  <a:pt x="149" y="345"/>
                </a:cubicBezTo>
                <a:cubicBezTo>
                  <a:pt x="177" y="354"/>
                  <a:pt x="207" y="354"/>
                  <a:pt x="232" y="344"/>
                </a:cubicBezTo>
                <a:cubicBezTo>
                  <a:pt x="264" y="332"/>
                  <a:pt x="290" y="308"/>
                  <a:pt x="304" y="277"/>
                </a:cubicBezTo>
                <a:cubicBezTo>
                  <a:pt x="318" y="246"/>
                  <a:pt x="319" y="211"/>
                  <a:pt x="307" y="179"/>
                </a:cubicBezTo>
                <a:cubicBezTo>
                  <a:pt x="297" y="154"/>
                  <a:pt x="277" y="132"/>
                  <a:pt x="251" y="117"/>
                </a:cubicBezTo>
                <a:cubicBezTo>
                  <a:pt x="308" y="116"/>
                  <a:pt x="365" y="152"/>
                  <a:pt x="385" y="2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99"/>
                </a:moveTo>
                <a:cubicBezTo>
                  <a:pt x="376" y="122"/>
                  <a:pt x="287" y="78"/>
                  <a:pt x="209" y="102"/>
                </a:cubicBezTo>
                <a:cubicBezTo>
                  <a:pt x="205" y="103"/>
                  <a:pt x="202" y="108"/>
                  <a:pt x="202" y="112"/>
                </a:cubicBezTo>
                <a:cubicBezTo>
                  <a:pt x="202" y="117"/>
                  <a:pt x="205" y="121"/>
                  <a:pt x="210" y="123"/>
                </a:cubicBezTo>
                <a:cubicBezTo>
                  <a:pt x="238" y="130"/>
                  <a:pt x="273" y="151"/>
                  <a:pt x="287" y="187"/>
                </a:cubicBezTo>
                <a:cubicBezTo>
                  <a:pt x="297" y="214"/>
                  <a:pt x="296" y="243"/>
                  <a:pt x="284" y="268"/>
                </a:cubicBezTo>
                <a:cubicBezTo>
                  <a:pt x="272" y="294"/>
                  <a:pt x="251" y="314"/>
                  <a:pt x="225" y="324"/>
                </a:cubicBezTo>
                <a:cubicBezTo>
                  <a:pt x="189" y="338"/>
                  <a:pt x="150" y="326"/>
                  <a:pt x="126" y="310"/>
                </a:cubicBezTo>
                <a:cubicBezTo>
                  <a:pt x="122" y="307"/>
                  <a:pt x="116" y="307"/>
                  <a:pt x="113" y="311"/>
                </a:cubicBezTo>
                <a:cubicBezTo>
                  <a:pt x="109" y="314"/>
                  <a:pt x="108" y="319"/>
                  <a:pt x="110" y="323"/>
                </a:cubicBezTo>
                <a:cubicBezTo>
                  <a:pt x="138" y="381"/>
                  <a:pt x="196" y="416"/>
                  <a:pt x="256" y="416"/>
                </a:cubicBezTo>
                <a:cubicBezTo>
                  <a:pt x="275" y="416"/>
                  <a:pt x="294" y="412"/>
                  <a:pt x="312" y="405"/>
                </a:cubicBezTo>
                <a:cubicBezTo>
                  <a:pt x="395" y="374"/>
                  <a:pt x="437" y="281"/>
                  <a:pt x="405" y="19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5" name="Group 922"/>
          <p:cNvGrpSpPr>
            <a:grpSpLocks noChangeAspect="1"/>
          </p:cNvGrpSpPr>
          <p:nvPr/>
        </p:nvGrpSpPr>
        <p:grpSpPr bwMode="auto">
          <a:xfrm>
            <a:off x="1677523" y="4186335"/>
            <a:ext cx="367041" cy="368121"/>
            <a:chOff x="5045" y="3564"/>
            <a:chExt cx="340" cy="341"/>
          </a:xfrm>
          <a:solidFill>
            <a:schemeClr val="accent4"/>
          </a:solidFill>
        </p:grpSpPr>
        <p:sp>
          <p:nvSpPr>
            <p:cNvPr id="416" name="Freeform 923"/>
            <p:cNvSpPr>
              <a:spLocks noEditPoints="1"/>
            </p:cNvSpPr>
            <p:nvPr/>
          </p:nvSpPr>
          <p:spPr bwMode="auto">
            <a:xfrm>
              <a:off x="5117" y="3616"/>
              <a:ext cx="218" cy="225"/>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924"/>
            <p:cNvSpPr>
              <a:spLocks noEditPoints="1"/>
            </p:cNvSpPr>
            <p:nvPr/>
          </p:nvSpPr>
          <p:spPr bwMode="auto">
            <a:xfrm>
              <a:off x="5045" y="356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8" name="Freeform 587"/>
          <p:cNvSpPr>
            <a:spLocks noChangeAspect="1" noEditPoints="1"/>
          </p:cNvSpPr>
          <p:nvPr/>
        </p:nvSpPr>
        <p:spPr bwMode="auto">
          <a:xfrm>
            <a:off x="2523404" y="4186335"/>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265 w 512"/>
              <a:gd name="T11" fmla="*/ 207 h 512"/>
              <a:gd name="T12" fmla="*/ 315 w 512"/>
              <a:gd name="T13" fmla="*/ 227 h 512"/>
              <a:gd name="T14" fmla="*/ 327 w 512"/>
              <a:gd name="T15" fmla="*/ 219 h 512"/>
              <a:gd name="T16" fmla="*/ 326 w 512"/>
              <a:gd name="T17" fmla="*/ 165 h 512"/>
              <a:gd name="T18" fmla="*/ 311 w 512"/>
              <a:gd name="T19" fmla="*/ 187 h 512"/>
              <a:gd name="T20" fmla="*/ 264 w 512"/>
              <a:gd name="T21" fmla="*/ 117 h 512"/>
              <a:gd name="T22" fmla="*/ 247 w 512"/>
              <a:gd name="T23" fmla="*/ 116 h 512"/>
              <a:gd name="T24" fmla="*/ 188 w 512"/>
              <a:gd name="T25" fmla="*/ 207 h 512"/>
              <a:gd name="T26" fmla="*/ 206 w 512"/>
              <a:gd name="T27" fmla="*/ 218 h 512"/>
              <a:gd name="T28" fmla="*/ 258 w 512"/>
              <a:gd name="T29" fmla="*/ 138 h 512"/>
              <a:gd name="T30" fmla="*/ 277 w 512"/>
              <a:gd name="T31" fmla="*/ 199 h 512"/>
              <a:gd name="T32" fmla="*/ 130 w 512"/>
              <a:gd name="T33" fmla="*/ 352 h 512"/>
              <a:gd name="T34" fmla="*/ 166 w 512"/>
              <a:gd name="T35" fmla="*/ 283 h 512"/>
              <a:gd name="T36" fmla="*/ 184 w 512"/>
              <a:gd name="T37" fmla="*/ 309 h 512"/>
              <a:gd name="T38" fmla="*/ 194 w 512"/>
              <a:gd name="T39" fmla="*/ 295 h 512"/>
              <a:gd name="T40" fmla="*/ 166 w 512"/>
              <a:gd name="T41" fmla="*/ 249 h 512"/>
              <a:gd name="T42" fmla="*/ 120 w 512"/>
              <a:gd name="T43" fmla="*/ 277 h 512"/>
              <a:gd name="T44" fmla="*/ 143 w 512"/>
              <a:gd name="T45" fmla="*/ 280 h 512"/>
              <a:gd name="T46" fmla="*/ 107 w 512"/>
              <a:gd name="T47" fmla="*/ 354 h 512"/>
              <a:gd name="T48" fmla="*/ 124 w 512"/>
              <a:gd name="T49" fmla="*/ 373 h 512"/>
              <a:gd name="T50" fmla="*/ 234 w 512"/>
              <a:gd name="T51" fmla="*/ 362 h 512"/>
              <a:gd name="T52" fmla="*/ 405 w 512"/>
              <a:gd name="T53" fmla="*/ 343 h 512"/>
              <a:gd name="T54" fmla="*/ 341 w 512"/>
              <a:gd name="T55" fmla="*/ 254 h 512"/>
              <a:gd name="T56" fmla="*/ 383 w 512"/>
              <a:gd name="T57" fmla="*/ 348 h 512"/>
              <a:gd name="T58" fmla="*/ 304 w 512"/>
              <a:gd name="T59" fmla="*/ 352 h 512"/>
              <a:gd name="T60" fmla="*/ 311 w 512"/>
              <a:gd name="T61" fmla="*/ 330 h 512"/>
              <a:gd name="T62" fmla="*/ 266 w 512"/>
              <a:gd name="T63" fmla="*/ 359 h 512"/>
              <a:gd name="T64" fmla="*/ 296 w 512"/>
              <a:gd name="T65" fmla="*/ 404 h 512"/>
              <a:gd name="T66" fmla="*/ 311 w 512"/>
              <a:gd name="T67" fmla="*/ 404 h 512"/>
              <a:gd name="T68" fmla="*/ 295 w 512"/>
              <a:gd name="T69" fmla="*/ 373 h 512"/>
              <a:gd name="T70" fmla="*/ 396 w 512"/>
              <a:gd name="T71" fmla="*/ 368 h 512"/>
              <a:gd name="T72" fmla="*/ 405 w 512"/>
              <a:gd name="T7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199"/>
                </a:moveTo>
                <a:cubicBezTo>
                  <a:pt x="271" y="198"/>
                  <a:pt x="266" y="202"/>
                  <a:pt x="265" y="207"/>
                </a:cubicBezTo>
                <a:cubicBezTo>
                  <a:pt x="264" y="213"/>
                  <a:pt x="268" y="219"/>
                  <a:pt x="274" y="220"/>
                </a:cubicBezTo>
                <a:cubicBezTo>
                  <a:pt x="315" y="227"/>
                  <a:pt x="315" y="227"/>
                  <a:pt x="315" y="227"/>
                </a:cubicBezTo>
                <a:cubicBezTo>
                  <a:pt x="315" y="227"/>
                  <a:pt x="316" y="227"/>
                  <a:pt x="317" y="227"/>
                </a:cubicBezTo>
                <a:cubicBezTo>
                  <a:pt x="322" y="227"/>
                  <a:pt x="326" y="224"/>
                  <a:pt x="327" y="219"/>
                </a:cubicBezTo>
                <a:cubicBezTo>
                  <a:pt x="335" y="177"/>
                  <a:pt x="335" y="177"/>
                  <a:pt x="335" y="177"/>
                </a:cubicBezTo>
                <a:cubicBezTo>
                  <a:pt x="336" y="171"/>
                  <a:pt x="332" y="166"/>
                  <a:pt x="326" y="165"/>
                </a:cubicBezTo>
                <a:cubicBezTo>
                  <a:pt x="320" y="164"/>
                  <a:pt x="315" y="168"/>
                  <a:pt x="314" y="174"/>
                </a:cubicBezTo>
                <a:cubicBezTo>
                  <a:pt x="311" y="187"/>
                  <a:pt x="311" y="187"/>
                  <a:pt x="311" y="187"/>
                </a:cubicBezTo>
                <a:cubicBezTo>
                  <a:pt x="273" y="122"/>
                  <a:pt x="273" y="122"/>
                  <a:pt x="273" y="122"/>
                </a:cubicBezTo>
                <a:cubicBezTo>
                  <a:pt x="271" y="118"/>
                  <a:pt x="267" y="117"/>
                  <a:pt x="264" y="117"/>
                </a:cubicBezTo>
                <a:cubicBezTo>
                  <a:pt x="264" y="117"/>
                  <a:pt x="264" y="117"/>
                  <a:pt x="264" y="117"/>
                </a:cubicBezTo>
                <a:cubicBezTo>
                  <a:pt x="247" y="116"/>
                  <a:pt x="247" y="116"/>
                  <a:pt x="247" y="116"/>
                </a:cubicBezTo>
                <a:cubicBezTo>
                  <a:pt x="243" y="116"/>
                  <a:pt x="239" y="118"/>
                  <a:pt x="237" y="121"/>
                </a:cubicBezTo>
                <a:cubicBezTo>
                  <a:pt x="188" y="207"/>
                  <a:pt x="188" y="207"/>
                  <a:pt x="188" y="207"/>
                </a:cubicBezTo>
                <a:cubicBezTo>
                  <a:pt x="185" y="212"/>
                  <a:pt x="186" y="219"/>
                  <a:pt x="192" y="222"/>
                </a:cubicBezTo>
                <a:cubicBezTo>
                  <a:pt x="197" y="225"/>
                  <a:pt x="203" y="224"/>
                  <a:pt x="206" y="218"/>
                </a:cubicBezTo>
                <a:cubicBezTo>
                  <a:pt x="253" y="138"/>
                  <a:pt x="253" y="138"/>
                  <a:pt x="253" y="138"/>
                </a:cubicBezTo>
                <a:cubicBezTo>
                  <a:pt x="258" y="138"/>
                  <a:pt x="258" y="138"/>
                  <a:pt x="258" y="138"/>
                </a:cubicBezTo>
                <a:cubicBezTo>
                  <a:pt x="295" y="202"/>
                  <a:pt x="295" y="202"/>
                  <a:pt x="295" y="202"/>
                </a:cubicBezTo>
                <a:lnTo>
                  <a:pt x="277" y="199"/>
                </a:lnTo>
                <a:close/>
                <a:moveTo>
                  <a:pt x="224" y="352"/>
                </a:moveTo>
                <a:cubicBezTo>
                  <a:pt x="130" y="352"/>
                  <a:pt x="130" y="352"/>
                  <a:pt x="130" y="352"/>
                </a:cubicBezTo>
                <a:cubicBezTo>
                  <a:pt x="128" y="348"/>
                  <a:pt x="128" y="348"/>
                  <a:pt x="128" y="348"/>
                </a:cubicBezTo>
                <a:cubicBezTo>
                  <a:pt x="166" y="283"/>
                  <a:pt x="166" y="283"/>
                  <a:pt x="166" y="283"/>
                </a:cubicBezTo>
                <a:cubicBezTo>
                  <a:pt x="174" y="302"/>
                  <a:pt x="174" y="302"/>
                  <a:pt x="174" y="302"/>
                </a:cubicBezTo>
                <a:cubicBezTo>
                  <a:pt x="175" y="307"/>
                  <a:pt x="179" y="309"/>
                  <a:pt x="184" y="309"/>
                </a:cubicBezTo>
                <a:cubicBezTo>
                  <a:pt x="185" y="309"/>
                  <a:pt x="186" y="309"/>
                  <a:pt x="187" y="309"/>
                </a:cubicBezTo>
                <a:cubicBezTo>
                  <a:pt x="193" y="307"/>
                  <a:pt x="196" y="301"/>
                  <a:pt x="194" y="295"/>
                </a:cubicBezTo>
                <a:cubicBezTo>
                  <a:pt x="180" y="256"/>
                  <a:pt x="180" y="256"/>
                  <a:pt x="180" y="256"/>
                </a:cubicBezTo>
                <a:cubicBezTo>
                  <a:pt x="178" y="250"/>
                  <a:pt x="171" y="247"/>
                  <a:pt x="166" y="249"/>
                </a:cubicBezTo>
                <a:cubicBezTo>
                  <a:pt x="126" y="263"/>
                  <a:pt x="126" y="263"/>
                  <a:pt x="126" y="263"/>
                </a:cubicBezTo>
                <a:cubicBezTo>
                  <a:pt x="121" y="265"/>
                  <a:pt x="118" y="271"/>
                  <a:pt x="120" y="277"/>
                </a:cubicBezTo>
                <a:cubicBezTo>
                  <a:pt x="122" y="282"/>
                  <a:pt x="128" y="285"/>
                  <a:pt x="134" y="283"/>
                </a:cubicBezTo>
                <a:cubicBezTo>
                  <a:pt x="143" y="280"/>
                  <a:pt x="143" y="280"/>
                  <a:pt x="143" y="280"/>
                </a:cubicBezTo>
                <a:cubicBezTo>
                  <a:pt x="107" y="343"/>
                  <a:pt x="107" y="343"/>
                  <a:pt x="107" y="343"/>
                </a:cubicBezTo>
                <a:cubicBezTo>
                  <a:pt x="105" y="347"/>
                  <a:pt x="105" y="351"/>
                  <a:pt x="107" y="354"/>
                </a:cubicBezTo>
                <a:cubicBezTo>
                  <a:pt x="115" y="368"/>
                  <a:pt x="115" y="368"/>
                  <a:pt x="115" y="368"/>
                </a:cubicBezTo>
                <a:cubicBezTo>
                  <a:pt x="117" y="371"/>
                  <a:pt x="121" y="373"/>
                  <a:pt x="124" y="373"/>
                </a:cubicBezTo>
                <a:cubicBezTo>
                  <a:pt x="224" y="373"/>
                  <a:pt x="224" y="373"/>
                  <a:pt x="224" y="373"/>
                </a:cubicBezTo>
                <a:cubicBezTo>
                  <a:pt x="230" y="373"/>
                  <a:pt x="234" y="368"/>
                  <a:pt x="234" y="362"/>
                </a:cubicBezTo>
                <a:cubicBezTo>
                  <a:pt x="234" y="356"/>
                  <a:pt x="230" y="352"/>
                  <a:pt x="224" y="352"/>
                </a:cubicBezTo>
                <a:close/>
                <a:moveTo>
                  <a:pt x="405" y="343"/>
                </a:moveTo>
                <a:cubicBezTo>
                  <a:pt x="355" y="258"/>
                  <a:pt x="355" y="258"/>
                  <a:pt x="355" y="258"/>
                </a:cubicBezTo>
                <a:cubicBezTo>
                  <a:pt x="352" y="253"/>
                  <a:pt x="346" y="251"/>
                  <a:pt x="341" y="254"/>
                </a:cubicBezTo>
                <a:cubicBezTo>
                  <a:pt x="335" y="257"/>
                  <a:pt x="334" y="263"/>
                  <a:pt x="337" y="268"/>
                </a:cubicBezTo>
                <a:cubicBezTo>
                  <a:pt x="383" y="348"/>
                  <a:pt x="383" y="348"/>
                  <a:pt x="383" y="348"/>
                </a:cubicBezTo>
                <a:cubicBezTo>
                  <a:pt x="381" y="352"/>
                  <a:pt x="381" y="352"/>
                  <a:pt x="381" y="352"/>
                </a:cubicBezTo>
                <a:cubicBezTo>
                  <a:pt x="304" y="352"/>
                  <a:pt x="304" y="352"/>
                  <a:pt x="304" y="352"/>
                </a:cubicBezTo>
                <a:cubicBezTo>
                  <a:pt x="311" y="345"/>
                  <a:pt x="311" y="345"/>
                  <a:pt x="311" y="345"/>
                </a:cubicBezTo>
                <a:cubicBezTo>
                  <a:pt x="315" y="341"/>
                  <a:pt x="315" y="334"/>
                  <a:pt x="311" y="330"/>
                </a:cubicBezTo>
                <a:cubicBezTo>
                  <a:pt x="307" y="325"/>
                  <a:pt x="300" y="325"/>
                  <a:pt x="296" y="330"/>
                </a:cubicBezTo>
                <a:cubicBezTo>
                  <a:pt x="266" y="359"/>
                  <a:pt x="266" y="359"/>
                  <a:pt x="266" y="359"/>
                </a:cubicBezTo>
                <a:cubicBezTo>
                  <a:pt x="262" y="363"/>
                  <a:pt x="262" y="370"/>
                  <a:pt x="266" y="374"/>
                </a:cubicBezTo>
                <a:cubicBezTo>
                  <a:pt x="296" y="404"/>
                  <a:pt x="296" y="404"/>
                  <a:pt x="296" y="404"/>
                </a:cubicBezTo>
                <a:cubicBezTo>
                  <a:pt x="298" y="406"/>
                  <a:pt x="300" y="407"/>
                  <a:pt x="303" y="407"/>
                </a:cubicBezTo>
                <a:cubicBezTo>
                  <a:pt x="306" y="407"/>
                  <a:pt x="309" y="406"/>
                  <a:pt x="311" y="404"/>
                </a:cubicBezTo>
                <a:cubicBezTo>
                  <a:pt x="315" y="400"/>
                  <a:pt x="315" y="393"/>
                  <a:pt x="311" y="389"/>
                </a:cubicBezTo>
                <a:cubicBezTo>
                  <a:pt x="295" y="373"/>
                  <a:pt x="295" y="373"/>
                  <a:pt x="295" y="373"/>
                </a:cubicBezTo>
                <a:cubicBezTo>
                  <a:pt x="387" y="373"/>
                  <a:pt x="387" y="373"/>
                  <a:pt x="387" y="373"/>
                </a:cubicBezTo>
                <a:cubicBezTo>
                  <a:pt x="391" y="373"/>
                  <a:pt x="394" y="371"/>
                  <a:pt x="396" y="368"/>
                </a:cubicBezTo>
                <a:cubicBezTo>
                  <a:pt x="405" y="354"/>
                  <a:pt x="405" y="354"/>
                  <a:pt x="405" y="354"/>
                </a:cubicBezTo>
                <a:cubicBezTo>
                  <a:pt x="407" y="351"/>
                  <a:pt x="407" y="347"/>
                  <a:pt x="405" y="34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9" name="Freeform 591"/>
          <p:cNvSpPr>
            <a:spLocks noChangeAspect="1" noEditPoints="1"/>
          </p:cNvSpPr>
          <p:nvPr/>
        </p:nvSpPr>
        <p:spPr bwMode="auto">
          <a:xfrm>
            <a:off x="2099474" y="4186335"/>
            <a:ext cx="369021"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566572450"/>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74501" y="2116138"/>
            <a:ext cx="819150"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Wifi</a:t>
            </a:r>
            <a:endParaRPr lang="en-US" sz="1000" dirty="0">
              <a:solidFill>
                <a:srgbClr val="313131"/>
              </a:solidFill>
            </a:endParaRPr>
          </a:p>
        </p:txBody>
      </p:sp>
      <p:sp>
        <p:nvSpPr>
          <p:cNvPr id="423" name="TextBox 422"/>
          <p:cNvSpPr txBox="1"/>
          <p:nvPr/>
        </p:nvSpPr>
        <p:spPr>
          <a:xfrm>
            <a:off x="1205314" y="211613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Video</a:t>
            </a:r>
          </a:p>
        </p:txBody>
      </p:sp>
      <p:sp>
        <p:nvSpPr>
          <p:cNvPr id="424" name="TextBox 423"/>
          <p:cNvSpPr txBox="1"/>
          <p:nvPr/>
        </p:nvSpPr>
        <p:spPr>
          <a:xfrm>
            <a:off x="205094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elevision</a:t>
            </a:r>
          </a:p>
        </p:txBody>
      </p:sp>
      <p:sp>
        <p:nvSpPr>
          <p:cNvPr id="425" name="TextBox 424"/>
          <p:cNvSpPr txBox="1"/>
          <p:nvPr/>
        </p:nvSpPr>
        <p:spPr>
          <a:xfrm>
            <a:off x="373585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lider</a:t>
            </a:r>
          </a:p>
        </p:txBody>
      </p:sp>
      <p:sp>
        <p:nvSpPr>
          <p:cNvPr id="426" name="TextBox 425"/>
          <p:cNvSpPr txBox="1"/>
          <p:nvPr/>
        </p:nvSpPr>
        <p:spPr>
          <a:xfrm>
            <a:off x="4578309"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hone</a:t>
            </a:r>
          </a:p>
        </p:txBody>
      </p:sp>
      <p:sp>
        <p:nvSpPr>
          <p:cNvPr id="427" name="TextBox 426"/>
          <p:cNvSpPr txBox="1"/>
          <p:nvPr/>
        </p:nvSpPr>
        <p:spPr>
          <a:xfrm>
            <a:off x="2893399"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ablet</a:t>
            </a:r>
          </a:p>
        </p:txBody>
      </p:sp>
      <p:sp>
        <p:nvSpPr>
          <p:cNvPr id="428" name="TextBox 427"/>
          <p:cNvSpPr txBox="1"/>
          <p:nvPr/>
        </p:nvSpPr>
        <p:spPr>
          <a:xfrm>
            <a:off x="542076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adphones</a:t>
            </a:r>
          </a:p>
        </p:txBody>
      </p:sp>
      <p:sp>
        <p:nvSpPr>
          <p:cNvPr id="429" name="TextBox 428"/>
          <p:cNvSpPr txBox="1"/>
          <p:nvPr/>
        </p:nvSpPr>
        <p:spPr>
          <a:xfrm>
            <a:off x="7948133"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oadcast</a:t>
            </a:r>
          </a:p>
        </p:txBody>
      </p:sp>
      <p:sp>
        <p:nvSpPr>
          <p:cNvPr id="430" name="TextBox 429"/>
          <p:cNvSpPr txBox="1"/>
          <p:nvPr/>
        </p:nvSpPr>
        <p:spPr>
          <a:xfrm>
            <a:off x="710567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udio waves</a:t>
            </a:r>
          </a:p>
        </p:txBody>
      </p:sp>
      <p:sp>
        <p:nvSpPr>
          <p:cNvPr id="431" name="TextBox 430"/>
          <p:cNvSpPr txBox="1"/>
          <p:nvPr/>
        </p:nvSpPr>
        <p:spPr>
          <a:xfrm>
            <a:off x="6263219"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udio</a:t>
            </a:r>
          </a:p>
        </p:txBody>
      </p:sp>
      <p:sp>
        <p:nvSpPr>
          <p:cNvPr id="472" name="TextBox 471"/>
          <p:cNvSpPr txBox="1"/>
          <p:nvPr/>
        </p:nvSpPr>
        <p:spPr>
          <a:xfrm>
            <a:off x="374501" y="295976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lapper board</a:t>
            </a:r>
          </a:p>
        </p:txBody>
      </p:sp>
      <p:sp>
        <p:nvSpPr>
          <p:cNvPr id="473" name="TextBox 472"/>
          <p:cNvSpPr txBox="1"/>
          <p:nvPr/>
        </p:nvSpPr>
        <p:spPr>
          <a:xfrm>
            <a:off x="1205314" y="2959762"/>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Virtual reality</a:t>
            </a:r>
          </a:p>
        </p:txBody>
      </p:sp>
      <p:sp>
        <p:nvSpPr>
          <p:cNvPr id="474" name="TextBox 473"/>
          <p:cNvSpPr txBox="1"/>
          <p:nvPr/>
        </p:nvSpPr>
        <p:spPr>
          <a:xfrm>
            <a:off x="2050944"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mart watch</a:t>
            </a:r>
          </a:p>
        </p:txBody>
      </p:sp>
      <p:sp>
        <p:nvSpPr>
          <p:cNvPr id="475" name="TextBox 474"/>
          <p:cNvSpPr txBox="1"/>
          <p:nvPr/>
        </p:nvSpPr>
        <p:spPr>
          <a:xfrm>
            <a:off x="3735854"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bile</a:t>
            </a:r>
          </a:p>
        </p:txBody>
      </p:sp>
      <p:sp>
        <p:nvSpPr>
          <p:cNvPr id="476" name="TextBox 475"/>
          <p:cNvSpPr txBox="1"/>
          <p:nvPr/>
        </p:nvSpPr>
        <p:spPr>
          <a:xfrm>
            <a:off x="4578309"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aptop</a:t>
            </a:r>
          </a:p>
        </p:txBody>
      </p:sp>
      <p:sp>
        <p:nvSpPr>
          <p:cNvPr id="477" name="TextBox 476"/>
          <p:cNvSpPr txBox="1"/>
          <p:nvPr/>
        </p:nvSpPr>
        <p:spPr>
          <a:xfrm>
            <a:off x="2893399"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adset</a:t>
            </a:r>
          </a:p>
        </p:txBody>
      </p:sp>
      <p:sp>
        <p:nvSpPr>
          <p:cNvPr id="478" name="TextBox 477"/>
          <p:cNvSpPr txBox="1"/>
          <p:nvPr/>
        </p:nvSpPr>
        <p:spPr>
          <a:xfrm>
            <a:off x="5420764"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vie reel</a:t>
            </a:r>
          </a:p>
        </p:txBody>
      </p:sp>
      <p:sp>
        <p:nvSpPr>
          <p:cNvPr id="479" name="TextBox 478"/>
          <p:cNvSpPr txBox="1"/>
          <p:nvPr/>
        </p:nvSpPr>
        <p:spPr>
          <a:xfrm>
            <a:off x="7948133"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evices</a:t>
            </a:r>
          </a:p>
        </p:txBody>
      </p:sp>
      <p:sp>
        <p:nvSpPr>
          <p:cNvPr id="480" name="TextBox 479"/>
          <p:cNvSpPr txBox="1"/>
          <p:nvPr/>
        </p:nvSpPr>
        <p:spPr>
          <a:xfrm>
            <a:off x="7105674"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aker</a:t>
            </a:r>
          </a:p>
        </p:txBody>
      </p:sp>
      <p:sp>
        <p:nvSpPr>
          <p:cNvPr id="481" name="TextBox 480"/>
          <p:cNvSpPr txBox="1"/>
          <p:nvPr/>
        </p:nvSpPr>
        <p:spPr>
          <a:xfrm>
            <a:off x="6263219" y="295976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mera</a:t>
            </a:r>
          </a:p>
        </p:txBody>
      </p:sp>
      <p:sp>
        <p:nvSpPr>
          <p:cNvPr id="522" name="TextBox 521"/>
          <p:cNvSpPr txBox="1"/>
          <p:nvPr/>
        </p:nvSpPr>
        <p:spPr>
          <a:xfrm>
            <a:off x="363519" y="380829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luetooth</a:t>
            </a:r>
          </a:p>
        </p:txBody>
      </p:sp>
      <p:sp>
        <p:nvSpPr>
          <p:cNvPr id="523" name="TextBox 522"/>
          <p:cNvSpPr txBox="1"/>
          <p:nvPr/>
        </p:nvSpPr>
        <p:spPr>
          <a:xfrm>
            <a:off x="1194638" y="3808294"/>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SB</a:t>
            </a:r>
          </a:p>
        </p:txBody>
      </p:sp>
      <p:sp>
        <p:nvSpPr>
          <p:cNvPr id="524" name="TextBox 523"/>
          <p:cNvSpPr txBox="1"/>
          <p:nvPr/>
        </p:nvSpPr>
        <p:spPr>
          <a:xfrm>
            <a:off x="2040574" y="3808294"/>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ack overflow</a:t>
            </a:r>
          </a:p>
        </p:txBody>
      </p:sp>
      <p:sp>
        <p:nvSpPr>
          <p:cNvPr id="525" name="TextBox 524"/>
          <p:cNvSpPr txBox="1"/>
          <p:nvPr/>
        </p:nvSpPr>
        <p:spPr>
          <a:xfrm>
            <a:off x="3726096"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dcast</a:t>
            </a:r>
          </a:p>
        </p:txBody>
      </p:sp>
      <p:sp>
        <p:nvSpPr>
          <p:cNvPr id="526" name="TextBox 525"/>
          <p:cNvSpPr txBox="1"/>
          <p:nvPr/>
        </p:nvSpPr>
        <p:spPr>
          <a:xfrm>
            <a:off x="4568857"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adio</a:t>
            </a:r>
          </a:p>
        </p:txBody>
      </p:sp>
      <p:sp>
        <p:nvSpPr>
          <p:cNvPr id="527" name="TextBox 526"/>
          <p:cNvSpPr txBox="1"/>
          <p:nvPr/>
        </p:nvSpPr>
        <p:spPr>
          <a:xfrm>
            <a:off x="2883335" y="3808294"/>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pload to Cloud</a:t>
            </a:r>
          </a:p>
        </p:txBody>
      </p:sp>
      <p:sp>
        <p:nvSpPr>
          <p:cNvPr id="528" name="TextBox 527"/>
          <p:cNvSpPr txBox="1"/>
          <p:nvPr/>
        </p:nvSpPr>
        <p:spPr>
          <a:xfrm>
            <a:off x="5411618"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tellite dish</a:t>
            </a:r>
          </a:p>
        </p:txBody>
      </p:sp>
      <p:sp>
        <p:nvSpPr>
          <p:cNvPr id="529" name="TextBox 528"/>
          <p:cNvSpPr txBox="1"/>
          <p:nvPr/>
        </p:nvSpPr>
        <p:spPr>
          <a:xfrm>
            <a:off x="7939899"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istory</a:t>
            </a:r>
          </a:p>
        </p:txBody>
      </p:sp>
      <p:sp>
        <p:nvSpPr>
          <p:cNvPr id="530" name="TextBox 529"/>
          <p:cNvSpPr txBox="1"/>
          <p:nvPr/>
        </p:nvSpPr>
        <p:spPr>
          <a:xfrm>
            <a:off x="7097140"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QR Code</a:t>
            </a:r>
          </a:p>
        </p:txBody>
      </p:sp>
      <p:sp>
        <p:nvSpPr>
          <p:cNvPr id="531" name="TextBox 530"/>
          <p:cNvSpPr txBox="1"/>
          <p:nvPr/>
        </p:nvSpPr>
        <p:spPr>
          <a:xfrm>
            <a:off x="6254379" y="380829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tellite</a:t>
            </a:r>
          </a:p>
        </p:txBody>
      </p:sp>
      <p:grpSp>
        <p:nvGrpSpPr>
          <p:cNvPr id="256" name="Group 872"/>
          <p:cNvGrpSpPr>
            <a:grpSpLocks noChangeAspect="1"/>
          </p:cNvGrpSpPr>
          <p:nvPr/>
        </p:nvGrpSpPr>
        <p:grpSpPr bwMode="auto">
          <a:xfrm>
            <a:off x="816587" y="1703131"/>
            <a:ext cx="370763" cy="369676"/>
            <a:chOff x="2723" y="3051"/>
            <a:chExt cx="341" cy="340"/>
          </a:xfrm>
          <a:solidFill>
            <a:schemeClr val="accent3"/>
          </a:solidFill>
        </p:grpSpPr>
        <p:sp>
          <p:nvSpPr>
            <p:cNvPr id="257"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9" name="Freeform 878"/>
          <p:cNvSpPr>
            <a:spLocks noChangeAspect="1" noEditPoints="1"/>
          </p:cNvSpPr>
          <p:nvPr/>
        </p:nvSpPr>
        <p:spPr bwMode="auto">
          <a:xfrm>
            <a:off x="395767" y="1703131"/>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0" name="Group 740"/>
          <p:cNvGrpSpPr>
            <a:grpSpLocks noChangeAspect="1"/>
          </p:cNvGrpSpPr>
          <p:nvPr/>
        </p:nvGrpSpPr>
        <p:grpSpPr bwMode="auto">
          <a:xfrm>
            <a:off x="1659314" y="1702044"/>
            <a:ext cx="369676" cy="370763"/>
            <a:chOff x="4293" y="2651"/>
            <a:chExt cx="340" cy="341"/>
          </a:xfrm>
          <a:solidFill>
            <a:schemeClr val="accent2"/>
          </a:solidFill>
        </p:grpSpPr>
        <p:sp>
          <p:nvSpPr>
            <p:cNvPr id="261"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3" name="Freeform 746"/>
          <p:cNvSpPr>
            <a:spLocks noChangeAspect="1" noEditPoints="1"/>
          </p:cNvSpPr>
          <p:nvPr/>
        </p:nvSpPr>
        <p:spPr bwMode="auto">
          <a:xfrm>
            <a:off x="1238494" y="1703131"/>
            <a:ext cx="369676" cy="369676"/>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4" name="Group 414"/>
          <p:cNvGrpSpPr>
            <a:grpSpLocks noChangeAspect="1"/>
          </p:cNvGrpSpPr>
          <p:nvPr/>
        </p:nvGrpSpPr>
        <p:grpSpPr bwMode="auto">
          <a:xfrm>
            <a:off x="2500954" y="1702044"/>
            <a:ext cx="369676" cy="370763"/>
            <a:chOff x="5060" y="1524"/>
            <a:chExt cx="340" cy="341"/>
          </a:xfrm>
          <a:solidFill>
            <a:schemeClr val="accent5"/>
          </a:solidFill>
        </p:grpSpPr>
        <p:sp>
          <p:nvSpPr>
            <p:cNvPr id="265"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7" name="Freeform 420"/>
          <p:cNvSpPr>
            <a:spLocks noChangeAspect="1" noEditPoints="1"/>
          </p:cNvSpPr>
          <p:nvPr/>
        </p:nvSpPr>
        <p:spPr bwMode="auto">
          <a:xfrm>
            <a:off x="2080134" y="1703131"/>
            <a:ext cx="369676" cy="369676"/>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8" name="Group 459"/>
          <p:cNvGrpSpPr>
            <a:grpSpLocks noChangeAspect="1"/>
          </p:cNvGrpSpPr>
          <p:nvPr/>
        </p:nvGrpSpPr>
        <p:grpSpPr bwMode="auto">
          <a:xfrm>
            <a:off x="3342594" y="1703131"/>
            <a:ext cx="369676" cy="369676"/>
            <a:chOff x="1918" y="1565"/>
            <a:chExt cx="340" cy="340"/>
          </a:xfrm>
          <a:solidFill>
            <a:schemeClr val="accent5"/>
          </a:solidFill>
        </p:grpSpPr>
        <p:sp>
          <p:nvSpPr>
            <p:cNvPr id="269" name="Freeform 460"/>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461"/>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1" name="Freeform 465"/>
          <p:cNvSpPr>
            <a:spLocks noChangeAspect="1" noEditPoints="1"/>
          </p:cNvSpPr>
          <p:nvPr/>
        </p:nvSpPr>
        <p:spPr bwMode="auto">
          <a:xfrm>
            <a:off x="2921774" y="1703131"/>
            <a:ext cx="369676" cy="369676"/>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2" name="Group 188"/>
          <p:cNvGrpSpPr>
            <a:grpSpLocks noChangeAspect="1"/>
          </p:cNvGrpSpPr>
          <p:nvPr/>
        </p:nvGrpSpPr>
        <p:grpSpPr bwMode="auto">
          <a:xfrm>
            <a:off x="4184234" y="1703131"/>
            <a:ext cx="370763" cy="369676"/>
            <a:chOff x="394" y="389"/>
            <a:chExt cx="341" cy="340"/>
          </a:xfrm>
          <a:solidFill>
            <a:schemeClr val="accent2"/>
          </a:solidFill>
        </p:grpSpPr>
        <p:sp>
          <p:nvSpPr>
            <p:cNvPr id="273" name="Freeform 189"/>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190"/>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191"/>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192"/>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196"/>
          <p:cNvSpPr>
            <a:spLocks noChangeAspect="1" noEditPoints="1"/>
          </p:cNvSpPr>
          <p:nvPr/>
        </p:nvSpPr>
        <p:spPr bwMode="auto">
          <a:xfrm>
            <a:off x="3763414" y="1703131"/>
            <a:ext cx="369676" cy="369676"/>
          </a:xfrm>
          <a:custGeom>
            <a:avLst/>
            <a:gdLst>
              <a:gd name="T0" fmla="*/ 181 w 512"/>
              <a:gd name="T1" fmla="*/ 181 h 512"/>
              <a:gd name="T2" fmla="*/ 160 w 512"/>
              <a:gd name="T3" fmla="*/ 202 h 512"/>
              <a:gd name="T4" fmla="*/ 138 w 512"/>
              <a:gd name="T5" fmla="*/ 181 h 512"/>
              <a:gd name="T6" fmla="*/ 160 w 512"/>
              <a:gd name="T7" fmla="*/ 160 h 512"/>
              <a:gd name="T8" fmla="*/ 181 w 512"/>
              <a:gd name="T9" fmla="*/ 181 h 512"/>
              <a:gd name="T10" fmla="*/ 256 w 512"/>
              <a:gd name="T11" fmla="*/ 309 h 512"/>
              <a:gd name="T12" fmla="*/ 234 w 512"/>
              <a:gd name="T13" fmla="*/ 330 h 512"/>
              <a:gd name="T14" fmla="*/ 256 w 512"/>
              <a:gd name="T15" fmla="*/ 352 h 512"/>
              <a:gd name="T16" fmla="*/ 277 w 512"/>
              <a:gd name="T17" fmla="*/ 330 h 512"/>
              <a:gd name="T18" fmla="*/ 256 w 512"/>
              <a:gd name="T19" fmla="*/ 309 h 512"/>
              <a:gd name="T20" fmla="*/ 352 w 512"/>
              <a:gd name="T21" fmla="*/ 213 h 512"/>
              <a:gd name="T22" fmla="*/ 330 w 512"/>
              <a:gd name="T23" fmla="*/ 234 h 512"/>
              <a:gd name="T24" fmla="*/ 352 w 512"/>
              <a:gd name="T25" fmla="*/ 256 h 512"/>
              <a:gd name="T26" fmla="*/ 373 w 512"/>
              <a:gd name="T27" fmla="*/ 234 h 512"/>
              <a:gd name="T28" fmla="*/ 352 w 512"/>
              <a:gd name="T29" fmla="*/ 21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02 w 512"/>
              <a:gd name="T41" fmla="*/ 181 h 512"/>
              <a:gd name="T42" fmla="*/ 170 w 512"/>
              <a:gd name="T43" fmla="*/ 140 h 512"/>
              <a:gd name="T44" fmla="*/ 170 w 512"/>
              <a:gd name="T45" fmla="*/ 106 h 512"/>
              <a:gd name="T46" fmla="*/ 160 w 512"/>
              <a:gd name="T47" fmla="*/ 96 h 512"/>
              <a:gd name="T48" fmla="*/ 149 w 512"/>
              <a:gd name="T49" fmla="*/ 106 h 512"/>
              <a:gd name="T50" fmla="*/ 149 w 512"/>
              <a:gd name="T51" fmla="*/ 140 h 512"/>
              <a:gd name="T52" fmla="*/ 117 w 512"/>
              <a:gd name="T53" fmla="*/ 181 h 512"/>
              <a:gd name="T54" fmla="*/ 149 w 512"/>
              <a:gd name="T55" fmla="*/ 222 h 512"/>
              <a:gd name="T56" fmla="*/ 149 w 512"/>
              <a:gd name="T57" fmla="*/ 405 h 512"/>
              <a:gd name="T58" fmla="*/ 160 w 512"/>
              <a:gd name="T59" fmla="*/ 416 h 512"/>
              <a:gd name="T60" fmla="*/ 170 w 512"/>
              <a:gd name="T61" fmla="*/ 405 h 512"/>
              <a:gd name="T62" fmla="*/ 170 w 512"/>
              <a:gd name="T63" fmla="*/ 222 h 512"/>
              <a:gd name="T64" fmla="*/ 202 w 512"/>
              <a:gd name="T65" fmla="*/ 181 h 512"/>
              <a:gd name="T66" fmla="*/ 298 w 512"/>
              <a:gd name="T67" fmla="*/ 330 h 512"/>
              <a:gd name="T68" fmla="*/ 266 w 512"/>
              <a:gd name="T69" fmla="*/ 289 h 512"/>
              <a:gd name="T70" fmla="*/ 266 w 512"/>
              <a:gd name="T71" fmla="*/ 106 h 512"/>
              <a:gd name="T72" fmla="*/ 256 w 512"/>
              <a:gd name="T73" fmla="*/ 96 h 512"/>
              <a:gd name="T74" fmla="*/ 245 w 512"/>
              <a:gd name="T75" fmla="*/ 106 h 512"/>
              <a:gd name="T76" fmla="*/ 245 w 512"/>
              <a:gd name="T77" fmla="*/ 289 h 512"/>
              <a:gd name="T78" fmla="*/ 213 w 512"/>
              <a:gd name="T79" fmla="*/ 330 h 512"/>
              <a:gd name="T80" fmla="*/ 245 w 512"/>
              <a:gd name="T81" fmla="*/ 371 h 512"/>
              <a:gd name="T82" fmla="*/ 245 w 512"/>
              <a:gd name="T83" fmla="*/ 405 h 512"/>
              <a:gd name="T84" fmla="*/ 256 w 512"/>
              <a:gd name="T85" fmla="*/ 416 h 512"/>
              <a:gd name="T86" fmla="*/ 266 w 512"/>
              <a:gd name="T87" fmla="*/ 405 h 512"/>
              <a:gd name="T88" fmla="*/ 266 w 512"/>
              <a:gd name="T89" fmla="*/ 371 h 512"/>
              <a:gd name="T90" fmla="*/ 298 w 512"/>
              <a:gd name="T91" fmla="*/ 330 h 512"/>
              <a:gd name="T92" fmla="*/ 394 w 512"/>
              <a:gd name="T93" fmla="*/ 234 h 512"/>
              <a:gd name="T94" fmla="*/ 362 w 512"/>
              <a:gd name="T95" fmla="*/ 193 h 512"/>
              <a:gd name="T96" fmla="*/ 362 w 512"/>
              <a:gd name="T97" fmla="*/ 106 h 512"/>
              <a:gd name="T98" fmla="*/ 352 w 512"/>
              <a:gd name="T99" fmla="*/ 96 h 512"/>
              <a:gd name="T100" fmla="*/ 341 w 512"/>
              <a:gd name="T101" fmla="*/ 106 h 512"/>
              <a:gd name="T102" fmla="*/ 341 w 512"/>
              <a:gd name="T103" fmla="*/ 193 h 512"/>
              <a:gd name="T104" fmla="*/ 309 w 512"/>
              <a:gd name="T105" fmla="*/ 234 h 512"/>
              <a:gd name="T106" fmla="*/ 341 w 512"/>
              <a:gd name="T107" fmla="*/ 275 h 512"/>
              <a:gd name="T108" fmla="*/ 341 w 512"/>
              <a:gd name="T109" fmla="*/ 405 h 512"/>
              <a:gd name="T110" fmla="*/ 352 w 512"/>
              <a:gd name="T111" fmla="*/ 416 h 512"/>
              <a:gd name="T112" fmla="*/ 362 w 512"/>
              <a:gd name="T113" fmla="*/ 405 h 512"/>
              <a:gd name="T114" fmla="*/ 362 w 512"/>
              <a:gd name="T115" fmla="*/ 275 h 512"/>
              <a:gd name="T116" fmla="*/ 394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1" y="181"/>
                </a:moveTo>
                <a:cubicBezTo>
                  <a:pt x="181" y="193"/>
                  <a:pt x="171" y="202"/>
                  <a:pt x="160" y="202"/>
                </a:cubicBezTo>
                <a:cubicBezTo>
                  <a:pt x="148" y="202"/>
                  <a:pt x="138" y="193"/>
                  <a:pt x="138" y="181"/>
                </a:cubicBezTo>
                <a:cubicBezTo>
                  <a:pt x="138" y="169"/>
                  <a:pt x="148" y="160"/>
                  <a:pt x="160" y="160"/>
                </a:cubicBezTo>
                <a:cubicBezTo>
                  <a:pt x="171" y="160"/>
                  <a:pt x="181" y="169"/>
                  <a:pt x="181" y="181"/>
                </a:cubicBezTo>
                <a:close/>
                <a:moveTo>
                  <a:pt x="256" y="309"/>
                </a:moveTo>
                <a:cubicBezTo>
                  <a:pt x="244" y="309"/>
                  <a:pt x="234" y="319"/>
                  <a:pt x="234" y="330"/>
                </a:cubicBezTo>
                <a:cubicBezTo>
                  <a:pt x="234" y="342"/>
                  <a:pt x="244" y="352"/>
                  <a:pt x="256" y="352"/>
                </a:cubicBezTo>
                <a:cubicBezTo>
                  <a:pt x="267" y="352"/>
                  <a:pt x="277" y="342"/>
                  <a:pt x="277" y="330"/>
                </a:cubicBezTo>
                <a:cubicBezTo>
                  <a:pt x="277" y="319"/>
                  <a:pt x="267" y="309"/>
                  <a:pt x="256" y="309"/>
                </a:cubicBezTo>
                <a:close/>
                <a:moveTo>
                  <a:pt x="352" y="213"/>
                </a:moveTo>
                <a:cubicBezTo>
                  <a:pt x="340" y="213"/>
                  <a:pt x="330" y="223"/>
                  <a:pt x="330" y="234"/>
                </a:cubicBezTo>
                <a:cubicBezTo>
                  <a:pt x="330" y="246"/>
                  <a:pt x="340" y="256"/>
                  <a:pt x="352" y="256"/>
                </a:cubicBezTo>
                <a:cubicBezTo>
                  <a:pt x="363" y="256"/>
                  <a:pt x="373" y="246"/>
                  <a:pt x="373" y="234"/>
                </a:cubicBezTo>
                <a:cubicBezTo>
                  <a:pt x="373" y="223"/>
                  <a:pt x="363" y="213"/>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02" y="181"/>
                </a:moveTo>
                <a:cubicBezTo>
                  <a:pt x="202" y="161"/>
                  <a:pt x="189" y="145"/>
                  <a:pt x="170" y="140"/>
                </a:cubicBezTo>
                <a:cubicBezTo>
                  <a:pt x="170" y="106"/>
                  <a:pt x="170" y="106"/>
                  <a:pt x="170" y="106"/>
                </a:cubicBezTo>
                <a:cubicBezTo>
                  <a:pt x="170" y="100"/>
                  <a:pt x="166" y="96"/>
                  <a:pt x="160" y="96"/>
                </a:cubicBezTo>
                <a:cubicBezTo>
                  <a:pt x="154" y="96"/>
                  <a:pt x="149" y="100"/>
                  <a:pt x="149" y="106"/>
                </a:cubicBezTo>
                <a:cubicBezTo>
                  <a:pt x="149" y="140"/>
                  <a:pt x="149" y="140"/>
                  <a:pt x="149" y="140"/>
                </a:cubicBezTo>
                <a:cubicBezTo>
                  <a:pt x="131" y="145"/>
                  <a:pt x="117" y="161"/>
                  <a:pt x="117" y="181"/>
                </a:cubicBezTo>
                <a:cubicBezTo>
                  <a:pt x="117" y="201"/>
                  <a:pt x="131" y="217"/>
                  <a:pt x="149" y="222"/>
                </a:cubicBezTo>
                <a:cubicBezTo>
                  <a:pt x="149" y="405"/>
                  <a:pt x="149" y="405"/>
                  <a:pt x="149" y="405"/>
                </a:cubicBezTo>
                <a:cubicBezTo>
                  <a:pt x="149" y="411"/>
                  <a:pt x="154" y="416"/>
                  <a:pt x="160" y="416"/>
                </a:cubicBezTo>
                <a:cubicBezTo>
                  <a:pt x="166" y="416"/>
                  <a:pt x="170" y="411"/>
                  <a:pt x="170" y="405"/>
                </a:cubicBezTo>
                <a:cubicBezTo>
                  <a:pt x="170" y="222"/>
                  <a:pt x="170" y="222"/>
                  <a:pt x="170" y="222"/>
                </a:cubicBezTo>
                <a:cubicBezTo>
                  <a:pt x="189" y="217"/>
                  <a:pt x="202" y="201"/>
                  <a:pt x="202" y="181"/>
                </a:cubicBezTo>
                <a:close/>
                <a:moveTo>
                  <a:pt x="298" y="330"/>
                </a:moveTo>
                <a:cubicBezTo>
                  <a:pt x="298" y="311"/>
                  <a:pt x="285" y="294"/>
                  <a:pt x="266" y="289"/>
                </a:cubicBezTo>
                <a:cubicBezTo>
                  <a:pt x="266" y="106"/>
                  <a:pt x="266" y="106"/>
                  <a:pt x="266" y="106"/>
                </a:cubicBezTo>
                <a:cubicBezTo>
                  <a:pt x="266" y="100"/>
                  <a:pt x="262" y="96"/>
                  <a:pt x="256" y="96"/>
                </a:cubicBezTo>
                <a:cubicBezTo>
                  <a:pt x="250" y="96"/>
                  <a:pt x="245" y="100"/>
                  <a:pt x="245" y="106"/>
                </a:cubicBezTo>
                <a:cubicBezTo>
                  <a:pt x="245" y="289"/>
                  <a:pt x="245" y="289"/>
                  <a:pt x="245" y="289"/>
                </a:cubicBezTo>
                <a:cubicBezTo>
                  <a:pt x="227" y="294"/>
                  <a:pt x="213" y="311"/>
                  <a:pt x="213" y="330"/>
                </a:cubicBezTo>
                <a:cubicBezTo>
                  <a:pt x="213" y="350"/>
                  <a:pt x="227" y="367"/>
                  <a:pt x="245" y="371"/>
                </a:cubicBezTo>
                <a:cubicBezTo>
                  <a:pt x="245" y="405"/>
                  <a:pt x="245" y="405"/>
                  <a:pt x="245" y="405"/>
                </a:cubicBezTo>
                <a:cubicBezTo>
                  <a:pt x="245" y="411"/>
                  <a:pt x="250" y="416"/>
                  <a:pt x="256" y="416"/>
                </a:cubicBezTo>
                <a:cubicBezTo>
                  <a:pt x="262" y="416"/>
                  <a:pt x="266" y="411"/>
                  <a:pt x="266" y="405"/>
                </a:cubicBezTo>
                <a:cubicBezTo>
                  <a:pt x="266" y="371"/>
                  <a:pt x="266" y="371"/>
                  <a:pt x="266" y="371"/>
                </a:cubicBezTo>
                <a:cubicBezTo>
                  <a:pt x="285" y="367"/>
                  <a:pt x="298" y="350"/>
                  <a:pt x="298" y="330"/>
                </a:cubicBezTo>
                <a:close/>
                <a:moveTo>
                  <a:pt x="394" y="234"/>
                </a:moveTo>
                <a:cubicBezTo>
                  <a:pt x="394" y="215"/>
                  <a:pt x="381" y="198"/>
                  <a:pt x="362" y="193"/>
                </a:cubicBezTo>
                <a:cubicBezTo>
                  <a:pt x="362" y="106"/>
                  <a:pt x="362" y="106"/>
                  <a:pt x="362" y="106"/>
                </a:cubicBezTo>
                <a:cubicBezTo>
                  <a:pt x="362" y="100"/>
                  <a:pt x="358" y="96"/>
                  <a:pt x="352" y="96"/>
                </a:cubicBezTo>
                <a:cubicBezTo>
                  <a:pt x="346" y="96"/>
                  <a:pt x="341" y="100"/>
                  <a:pt x="341" y="106"/>
                </a:cubicBezTo>
                <a:cubicBezTo>
                  <a:pt x="341" y="193"/>
                  <a:pt x="341" y="193"/>
                  <a:pt x="341" y="193"/>
                </a:cubicBezTo>
                <a:cubicBezTo>
                  <a:pt x="323" y="198"/>
                  <a:pt x="309" y="215"/>
                  <a:pt x="309" y="234"/>
                </a:cubicBezTo>
                <a:cubicBezTo>
                  <a:pt x="309" y="254"/>
                  <a:pt x="323" y="271"/>
                  <a:pt x="341" y="275"/>
                </a:cubicBezTo>
                <a:cubicBezTo>
                  <a:pt x="341" y="405"/>
                  <a:pt x="341" y="405"/>
                  <a:pt x="341" y="405"/>
                </a:cubicBezTo>
                <a:cubicBezTo>
                  <a:pt x="341" y="411"/>
                  <a:pt x="346" y="416"/>
                  <a:pt x="352" y="416"/>
                </a:cubicBezTo>
                <a:cubicBezTo>
                  <a:pt x="358" y="416"/>
                  <a:pt x="362" y="411"/>
                  <a:pt x="362" y="405"/>
                </a:cubicBezTo>
                <a:cubicBezTo>
                  <a:pt x="362" y="275"/>
                  <a:pt x="362" y="275"/>
                  <a:pt x="362" y="275"/>
                </a:cubicBezTo>
                <a:cubicBezTo>
                  <a:pt x="381" y="271"/>
                  <a:pt x="394" y="254"/>
                  <a:pt x="394" y="23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8" name="Group 382"/>
          <p:cNvGrpSpPr>
            <a:grpSpLocks noChangeAspect="1"/>
          </p:cNvGrpSpPr>
          <p:nvPr/>
        </p:nvGrpSpPr>
        <p:grpSpPr bwMode="auto">
          <a:xfrm>
            <a:off x="5027172" y="1703786"/>
            <a:ext cx="369021" cy="369021"/>
            <a:chOff x="390" y="1196"/>
            <a:chExt cx="340" cy="340"/>
          </a:xfrm>
          <a:solidFill>
            <a:schemeClr val="accent4"/>
          </a:solidFill>
        </p:grpSpPr>
        <p:sp>
          <p:nvSpPr>
            <p:cNvPr id="27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1" name="Freeform 5"/>
          <p:cNvSpPr>
            <a:spLocks noChangeAspect="1" noEditPoints="1"/>
          </p:cNvSpPr>
          <p:nvPr/>
        </p:nvSpPr>
        <p:spPr bwMode="auto">
          <a:xfrm>
            <a:off x="4606141" y="1704507"/>
            <a:ext cx="369887" cy="3683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282" name="Freeform 221"/>
          <p:cNvSpPr>
            <a:spLocks noChangeAspect="1" noEditPoints="1"/>
          </p:cNvSpPr>
          <p:nvPr/>
        </p:nvSpPr>
        <p:spPr bwMode="auto">
          <a:xfrm>
            <a:off x="5447337" y="1705766"/>
            <a:ext cx="367041" cy="367041"/>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3" name="Group 224"/>
          <p:cNvGrpSpPr>
            <a:grpSpLocks noChangeAspect="1"/>
          </p:cNvGrpSpPr>
          <p:nvPr/>
        </p:nvGrpSpPr>
        <p:grpSpPr bwMode="auto">
          <a:xfrm>
            <a:off x="5865522" y="1705766"/>
            <a:ext cx="367041" cy="367041"/>
            <a:chOff x="2713" y="721"/>
            <a:chExt cx="340" cy="340"/>
          </a:xfrm>
          <a:solidFill>
            <a:schemeClr val="accent3"/>
          </a:solidFill>
        </p:grpSpPr>
        <p:sp>
          <p:nvSpPr>
            <p:cNvPr id="284" name="Freeform 225"/>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226"/>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6" name="Freeform 283"/>
          <p:cNvSpPr>
            <a:spLocks noChangeAspect="1" noEditPoints="1"/>
          </p:cNvSpPr>
          <p:nvPr/>
        </p:nvSpPr>
        <p:spPr bwMode="auto">
          <a:xfrm>
            <a:off x="6283707" y="1703743"/>
            <a:ext cx="367982" cy="369064"/>
          </a:xfrm>
          <a:custGeom>
            <a:avLst/>
            <a:gdLst>
              <a:gd name="T0" fmla="*/ 256 w 512"/>
              <a:gd name="T1" fmla="*/ 512 h 512"/>
              <a:gd name="T2" fmla="*/ 138 w 512"/>
              <a:gd name="T3" fmla="*/ 373 h 512"/>
              <a:gd name="T4" fmla="*/ 117 w 512"/>
              <a:gd name="T5" fmla="*/ 352 h 512"/>
              <a:gd name="T6" fmla="*/ 138 w 512"/>
              <a:gd name="T7" fmla="*/ 373 h 512"/>
              <a:gd name="T8" fmla="*/ 106 w 512"/>
              <a:gd name="T9" fmla="*/ 320 h 512"/>
              <a:gd name="T10" fmla="*/ 149 w 512"/>
              <a:gd name="T11" fmla="*/ 320 h 512"/>
              <a:gd name="T12" fmla="*/ 117 w 512"/>
              <a:gd name="T13" fmla="*/ 288 h 512"/>
              <a:gd name="T14" fmla="*/ 138 w 512"/>
              <a:gd name="T15" fmla="*/ 266 h 512"/>
              <a:gd name="T16" fmla="*/ 138 w 512"/>
              <a:gd name="T17" fmla="*/ 245 h 512"/>
              <a:gd name="T18" fmla="*/ 117 w 512"/>
              <a:gd name="T19" fmla="*/ 224 h 512"/>
              <a:gd name="T20" fmla="*/ 138 w 512"/>
              <a:gd name="T21" fmla="*/ 245 h 512"/>
              <a:gd name="T22" fmla="*/ 192 w 512"/>
              <a:gd name="T23" fmla="*/ 362 h 512"/>
              <a:gd name="T24" fmla="*/ 234 w 512"/>
              <a:gd name="T25" fmla="*/ 362 h 512"/>
              <a:gd name="T26" fmla="*/ 202 w 512"/>
              <a:gd name="T27" fmla="*/ 330 h 512"/>
              <a:gd name="T28" fmla="*/ 224 w 512"/>
              <a:gd name="T29" fmla="*/ 309 h 512"/>
              <a:gd name="T30" fmla="*/ 224 w 512"/>
              <a:gd name="T31" fmla="*/ 288 h 512"/>
              <a:gd name="T32" fmla="*/ 202 w 512"/>
              <a:gd name="T33" fmla="*/ 266 h 512"/>
              <a:gd name="T34" fmla="*/ 224 w 512"/>
              <a:gd name="T35" fmla="*/ 288 h 512"/>
              <a:gd name="T36" fmla="*/ 277 w 512"/>
              <a:gd name="T37" fmla="*/ 362 h 512"/>
              <a:gd name="T38" fmla="*/ 320 w 512"/>
              <a:gd name="T39" fmla="*/ 362 h 512"/>
              <a:gd name="T40" fmla="*/ 288 w 512"/>
              <a:gd name="T41" fmla="*/ 330 h 512"/>
              <a:gd name="T42" fmla="*/ 309 w 512"/>
              <a:gd name="T43" fmla="*/ 309 h 512"/>
              <a:gd name="T44" fmla="*/ 309 w 512"/>
              <a:gd name="T45" fmla="*/ 288 h 512"/>
              <a:gd name="T46" fmla="*/ 288 w 512"/>
              <a:gd name="T47" fmla="*/ 266 h 512"/>
              <a:gd name="T48" fmla="*/ 309 w 512"/>
              <a:gd name="T49" fmla="*/ 288 h 512"/>
              <a:gd name="T50" fmla="*/ 277 w 512"/>
              <a:gd name="T51" fmla="*/ 234 h 512"/>
              <a:gd name="T52" fmla="*/ 320 w 512"/>
              <a:gd name="T53" fmla="*/ 234 h 512"/>
              <a:gd name="T54" fmla="*/ 288 w 512"/>
              <a:gd name="T55" fmla="*/ 202 h 512"/>
              <a:gd name="T56" fmla="*/ 309 w 512"/>
              <a:gd name="T57" fmla="*/ 181 h 512"/>
              <a:gd name="T58" fmla="*/ 309 w 512"/>
              <a:gd name="T59" fmla="*/ 160 h 512"/>
              <a:gd name="T60" fmla="*/ 288 w 512"/>
              <a:gd name="T61" fmla="*/ 138 h 512"/>
              <a:gd name="T62" fmla="*/ 309 w 512"/>
              <a:gd name="T63" fmla="*/ 160 h 512"/>
              <a:gd name="T64" fmla="*/ 277 w 512"/>
              <a:gd name="T65" fmla="*/ 106 h 512"/>
              <a:gd name="T66" fmla="*/ 320 w 512"/>
              <a:gd name="T67" fmla="*/ 106 h 512"/>
              <a:gd name="T68" fmla="*/ 373 w 512"/>
              <a:gd name="T69" fmla="*/ 373 h 512"/>
              <a:gd name="T70" fmla="*/ 394 w 512"/>
              <a:gd name="T71" fmla="*/ 352 h 512"/>
              <a:gd name="T72" fmla="*/ 394 w 512"/>
              <a:gd name="T73" fmla="*/ 330 h 512"/>
              <a:gd name="T74" fmla="*/ 373 w 512"/>
              <a:gd name="T75" fmla="*/ 309 h 512"/>
              <a:gd name="T76" fmla="*/ 394 w 512"/>
              <a:gd name="T77" fmla="*/ 330 h 512"/>
              <a:gd name="T78" fmla="*/ 362 w 512"/>
              <a:gd name="T79" fmla="*/ 277 h 512"/>
              <a:gd name="T80" fmla="*/ 405 w 512"/>
              <a:gd name="T81" fmla="*/ 277 h 512"/>
              <a:gd name="T82" fmla="*/ 373 w 512"/>
              <a:gd name="T83" fmla="*/ 245 h 512"/>
              <a:gd name="T84" fmla="*/ 394 w 512"/>
              <a:gd name="T85" fmla="*/ 224 h 512"/>
              <a:gd name="T86" fmla="*/ 394 w 512"/>
              <a:gd name="T87" fmla="*/ 202 h 512"/>
              <a:gd name="T88" fmla="*/ 373 w 512"/>
              <a:gd name="T89" fmla="*/ 181 h 512"/>
              <a:gd name="T90" fmla="*/ 394 w 512"/>
              <a:gd name="T91"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373"/>
                </a:moveTo>
                <a:cubicBezTo>
                  <a:pt x="117" y="373"/>
                  <a:pt x="117" y="373"/>
                  <a:pt x="117" y="373"/>
                </a:cubicBezTo>
                <a:cubicBezTo>
                  <a:pt x="111" y="373"/>
                  <a:pt x="106" y="368"/>
                  <a:pt x="106" y="362"/>
                </a:cubicBezTo>
                <a:cubicBezTo>
                  <a:pt x="106" y="356"/>
                  <a:pt x="111" y="352"/>
                  <a:pt x="117" y="352"/>
                </a:cubicBezTo>
                <a:cubicBezTo>
                  <a:pt x="138" y="352"/>
                  <a:pt x="138" y="352"/>
                  <a:pt x="138" y="352"/>
                </a:cubicBezTo>
                <a:cubicBezTo>
                  <a:pt x="144" y="352"/>
                  <a:pt x="149" y="356"/>
                  <a:pt x="149" y="362"/>
                </a:cubicBezTo>
                <a:cubicBezTo>
                  <a:pt x="149" y="368"/>
                  <a:pt x="144" y="373"/>
                  <a:pt x="138" y="373"/>
                </a:cubicBezTo>
                <a:close/>
                <a:moveTo>
                  <a:pt x="138" y="330"/>
                </a:moveTo>
                <a:cubicBezTo>
                  <a:pt x="117" y="330"/>
                  <a:pt x="117" y="330"/>
                  <a:pt x="117" y="330"/>
                </a:cubicBezTo>
                <a:cubicBezTo>
                  <a:pt x="111" y="330"/>
                  <a:pt x="106" y="326"/>
                  <a:pt x="106" y="320"/>
                </a:cubicBezTo>
                <a:cubicBezTo>
                  <a:pt x="106" y="314"/>
                  <a:pt x="111" y="309"/>
                  <a:pt x="117" y="309"/>
                </a:cubicBezTo>
                <a:cubicBezTo>
                  <a:pt x="138" y="309"/>
                  <a:pt x="138" y="309"/>
                  <a:pt x="138" y="309"/>
                </a:cubicBezTo>
                <a:cubicBezTo>
                  <a:pt x="144" y="309"/>
                  <a:pt x="149" y="314"/>
                  <a:pt x="149" y="320"/>
                </a:cubicBezTo>
                <a:cubicBezTo>
                  <a:pt x="149" y="326"/>
                  <a:pt x="144" y="330"/>
                  <a:pt x="138" y="330"/>
                </a:cubicBezTo>
                <a:close/>
                <a:moveTo>
                  <a:pt x="138" y="288"/>
                </a:moveTo>
                <a:cubicBezTo>
                  <a:pt x="117" y="288"/>
                  <a:pt x="117" y="288"/>
                  <a:pt x="117" y="288"/>
                </a:cubicBezTo>
                <a:cubicBezTo>
                  <a:pt x="111" y="288"/>
                  <a:pt x="106" y="283"/>
                  <a:pt x="106" y="277"/>
                </a:cubicBezTo>
                <a:cubicBezTo>
                  <a:pt x="106" y="271"/>
                  <a:pt x="111" y="266"/>
                  <a:pt x="117" y="266"/>
                </a:cubicBezTo>
                <a:cubicBezTo>
                  <a:pt x="138" y="266"/>
                  <a:pt x="138" y="266"/>
                  <a:pt x="138" y="266"/>
                </a:cubicBezTo>
                <a:cubicBezTo>
                  <a:pt x="144" y="266"/>
                  <a:pt x="149" y="271"/>
                  <a:pt x="149" y="277"/>
                </a:cubicBezTo>
                <a:cubicBezTo>
                  <a:pt x="149" y="283"/>
                  <a:pt x="144" y="288"/>
                  <a:pt x="138" y="288"/>
                </a:cubicBezTo>
                <a:close/>
                <a:moveTo>
                  <a:pt x="138" y="245"/>
                </a:moveTo>
                <a:cubicBezTo>
                  <a:pt x="117" y="245"/>
                  <a:pt x="117" y="245"/>
                  <a:pt x="117" y="245"/>
                </a:cubicBezTo>
                <a:cubicBezTo>
                  <a:pt x="111" y="245"/>
                  <a:pt x="106" y="240"/>
                  <a:pt x="106" y="234"/>
                </a:cubicBezTo>
                <a:cubicBezTo>
                  <a:pt x="106" y="228"/>
                  <a:pt x="111" y="224"/>
                  <a:pt x="117" y="224"/>
                </a:cubicBezTo>
                <a:cubicBezTo>
                  <a:pt x="138" y="224"/>
                  <a:pt x="138" y="224"/>
                  <a:pt x="138" y="224"/>
                </a:cubicBezTo>
                <a:cubicBezTo>
                  <a:pt x="144" y="224"/>
                  <a:pt x="149" y="228"/>
                  <a:pt x="149" y="234"/>
                </a:cubicBezTo>
                <a:cubicBezTo>
                  <a:pt x="149" y="240"/>
                  <a:pt x="144" y="245"/>
                  <a:pt x="138" y="245"/>
                </a:cubicBezTo>
                <a:close/>
                <a:moveTo>
                  <a:pt x="224" y="373"/>
                </a:moveTo>
                <a:cubicBezTo>
                  <a:pt x="202" y="373"/>
                  <a:pt x="202" y="373"/>
                  <a:pt x="202" y="373"/>
                </a:cubicBezTo>
                <a:cubicBezTo>
                  <a:pt x="196" y="373"/>
                  <a:pt x="192" y="368"/>
                  <a:pt x="192" y="362"/>
                </a:cubicBezTo>
                <a:cubicBezTo>
                  <a:pt x="192" y="356"/>
                  <a:pt x="196" y="352"/>
                  <a:pt x="202" y="352"/>
                </a:cubicBezTo>
                <a:cubicBezTo>
                  <a:pt x="224" y="352"/>
                  <a:pt x="224" y="352"/>
                  <a:pt x="224" y="352"/>
                </a:cubicBezTo>
                <a:cubicBezTo>
                  <a:pt x="230" y="352"/>
                  <a:pt x="234" y="356"/>
                  <a:pt x="234" y="362"/>
                </a:cubicBezTo>
                <a:cubicBezTo>
                  <a:pt x="234" y="368"/>
                  <a:pt x="230" y="373"/>
                  <a:pt x="224" y="373"/>
                </a:cubicBezTo>
                <a:close/>
                <a:moveTo>
                  <a:pt x="224" y="330"/>
                </a:moveTo>
                <a:cubicBezTo>
                  <a:pt x="202" y="330"/>
                  <a:pt x="202" y="330"/>
                  <a:pt x="202" y="330"/>
                </a:cubicBezTo>
                <a:cubicBezTo>
                  <a:pt x="196" y="330"/>
                  <a:pt x="192" y="326"/>
                  <a:pt x="192" y="320"/>
                </a:cubicBezTo>
                <a:cubicBezTo>
                  <a:pt x="192" y="314"/>
                  <a:pt x="196" y="309"/>
                  <a:pt x="202" y="309"/>
                </a:cubicBezTo>
                <a:cubicBezTo>
                  <a:pt x="224" y="309"/>
                  <a:pt x="224" y="309"/>
                  <a:pt x="224" y="309"/>
                </a:cubicBezTo>
                <a:cubicBezTo>
                  <a:pt x="230" y="309"/>
                  <a:pt x="234" y="314"/>
                  <a:pt x="234" y="320"/>
                </a:cubicBezTo>
                <a:cubicBezTo>
                  <a:pt x="234" y="326"/>
                  <a:pt x="230" y="330"/>
                  <a:pt x="224" y="330"/>
                </a:cubicBezTo>
                <a:close/>
                <a:moveTo>
                  <a:pt x="224" y="288"/>
                </a:moveTo>
                <a:cubicBezTo>
                  <a:pt x="202" y="288"/>
                  <a:pt x="202" y="288"/>
                  <a:pt x="202" y="288"/>
                </a:cubicBezTo>
                <a:cubicBezTo>
                  <a:pt x="196" y="288"/>
                  <a:pt x="192" y="283"/>
                  <a:pt x="192" y="277"/>
                </a:cubicBezTo>
                <a:cubicBezTo>
                  <a:pt x="192" y="271"/>
                  <a:pt x="196" y="266"/>
                  <a:pt x="202" y="266"/>
                </a:cubicBezTo>
                <a:cubicBezTo>
                  <a:pt x="224" y="266"/>
                  <a:pt x="224" y="266"/>
                  <a:pt x="224" y="266"/>
                </a:cubicBezTo>
                <a:cubicBezTo>
                  <a:pt x="230" y="266"/>
                  <a:pt x="234" y="271"/>
                  <a:pt x="234" y="277"/>
                </a:cubicBezTo>
                <a:cubicBezTo>
                  <a:pt x="234" y="283"/>
                  <a:pt x="230" y="288"/>
                  <a:pt x="224" y="288"/>
                </a:cubicBezTo>
                <a:close/>
                <a:moveTo>
                  <a:pt x="309" y="373"/>
                </a:moveTo>
                <a:cubicBezTo>
                  <a:pt x="288" y="373"/>
                  <a:pt x="288" y="373"/>
                  <a:pt x="288" y="373"/>
                </a:cubicBezTo>
                <a:cubicBezTo>
                  <a:pt x="282" y="373"/>
                  <a:pt x="277" y="368"/>
                  <a:pt x="277" y="362"/>
                </a:cubicBezTo>
                <a:cubicBezTo>
                  <a:pt x="277" y="356"/>
                  <a:pt x="282" y="352"/>
                  <a:pt x="288" y="352"/>
                </a:cubicBezTo>
                <a:cubicBezTo>
                  <a:pt x="309" y="352"/>
                  <a:pt x="309" y="352"/>
                  <a:pt x="309" y="352"/>
                </a:cubicBezTo>
                <a:cubicBezTo>
                  <a:pt x="315" y="352"/>
                  <a:pt x="320" y="356"/>
                  <a:pt x="320" y="362"/>
                </a:cubicBezTo>
                <a:cubicBezTo>
                  <a:pt x="320" y="368"/>
                  <a:pt x="315" y="373"/>
                  <a:pt x="309" y="373"/>
                </a:cubicBezTo>
                <a:close/>
                <a:moveTo>
                  <a:pt x="309" y="330"/>
                </a:moveTo>
                <a:cubicBezTo>
                  <a:pt x="288" y="330"/>
                  <a:pt x="288" y="330"/>
                  <a:pt x="288" y="330"/>
                </a:cubicBezTo>
                <a:cubicBezTo>
                  <a:pt x="282" y="330"/>
                  <a:pt x="277" y="326"/>
                  <a:pt x="277" y="320"/>
                </a:cubicBezTo>
                <a:cubicBezTo>
                  <a:pt x="277" y="314"/>
                  <a:pt x="282" y="309"/>
                  <a:pt x="288" y="309"/>
                </a:cubicBezTo>
                <a:cubicBezTo>
                  <a:pt x="309" y="309"/>
                  <a:pt x="309" y="309"/>
                  <a:pt x="309" y="309"/>
                </a:cubicBezTo>
                <a:cubicBezTo>
                  <a:pt x="315" y="309"/>
                  <a:pt x="320" y="314"/>
                  <a:pt x="320" y="320"/>
                </a:cubicBezTo>
                <a:cubicBezTo>
                  <a:pt x="320" y="326"/>
                  <a:pt x="315" y="330"/>
                  <a:pt x="309" y="330"/>
                </a:cubicBezTo>
                <a:close/>
                <a:moveTo>
                  <a:pt x="309" y="288"/>
                </a:moveTo>
                <a:cubicBezTo>
                  <a:pt x="288" y="288"/>
                  <a:pt x="288" y="288"/>
                  <a:pt x="288" y="288"/>
                </a:cubicBezTo>
                <a:cubicBezTo>
                  <a:pt x="282" y="288"/>
                  <a:pt x="277" y="283"/>
                  <a:pt x="277" y="277"/>
                </a:cubicBezTo>
                <a:cubicBezTo>
                  <a:pt x="277" y="271"/>
                  <a:pt x="282" y="266"/>
                  <a:pt x="288" y="266"/>
                </a:cubicBezTo>
                <a:cubicBezTo>
                  <a:pt x="309" y="266"/>
                  <a:pt x="309" y="266"/>
                  <a:pt x="309" y="266"/>
                </a:cubicBezTo>
                <a:cubicBezTo>
                  <a:pt x="315" y="266"/>
                  <a:pt x="320" y="271"/>
                  <a:pt x="320" y="277"/>
                </a:cubicBezTo>
                <a:cubicBezTo>
                  <a:pt x="320" y="283"/>
                  <a:pt x="315" y="288"/>
                  <a:pt x="309" y="288"/>
                </a:cubicBezTo>
                <a:close/>
                <a:moveTo>
                  <a:pt x="309" y="245"/>
                </a:moveTo>
                <a:cubicBezTo>
                  <a:pt x="288" y="245"/>
                  <a:pt x="288" y="245"/>
                  <a:pt x="288" y="245"/>
                </a:cubicBezTo>
                <a:cubicBezTo>
                  <a:pt x="282" y="245"/>
                  <a:pt x="277" y="240"/>
                  <a:pt x="277" y="234"/>
                </a:cubicBezTo>
                <a:cubicBezTo>
                  <a:pt x="277" y="228"/>
                  <a:pt x="282" y="224"/>
                  <a:pt x="288" y="224"/>
                </a:cubicBezTo>
                <a:cubicBezTo>
                  <a:pt x="309" y="224"/>
                  <a:pt x="309" y="224"/>
                  <a:pt x="309" y="224"/>
                </a:cubicBezTo>
                <a:cubicBezTo>
                  <a:pt x="315" y="224"/>
                  <a:pt x="320" y="228"/>
                  <a:pt x="320" y="234"/>
                </a:cubicBezTo>
                <a:cubicBezTo>
                  <a:pt x="320" y="240"/>
                  <a:pt x="315" y="245"/>
                  <a:pt x="309" y="245"/>
                </a:cubicBezTo>
                <a:close/>
                <a:moveTo>
                  <a:pt x="309" y="202"/>
                </a:moveTo>
                <a:cubicBezTo>
                  <a:pt x="288" y="202"/>
                  <a:pt x="288" y="202"/>
                  <a:pt x="288" y="202"/>
                </a:cubicBezTo>
                <a:cubicBezTo>
                  <a:pt x="282" y="202"/>
                  <a:pt x="277" y="198"/>
                  <a:pt x="277" y="192"/>
                </a:cubicBezTo>
                <a:cubicBezTo>
                  <a:pt x="277" y="186"/>
                  <a:pt x="282" y="181"/>
                  <a:pt x="288" y="181"/>
                </a:cubicBezTo>
                <a:cubicBezTo>
                  <a:pt x="309" y="181"/>
                  <a:pt x="309" y="181"/>
                  <a:pt x="309" y="181"/>
                </a:cubicBezTo>
                <a:cubicBezTo>
                  <a:pt x="315" y="181"/>
                  <a:pt x="320" y="186"/>
                  <a:pt x="320" y="192"/>
                </a:cubicBezTo>
                <a:cubicBezTo>
                  <a:pt x="320" y="198"/>
                  <a:pt x="315" y="202"/>
                  <a:pt x="309" y="202"/>
                </a:cubicBezTo>
                <a:close/>
                <a:moveTo>
                  <a:pt x="309" y="160"/>
                </a:moveTo>
                <a:cubicBezTo>
                  <a:pt x="288" y="160"/>
                  <a:pt x="288" y="160"/>
                  <a:pt x="288" y="160"/>
                </a:cubicBezTo>
                <a:cubicBezTo>
                  <a:pt x="282" y="160"/>
                  <a:pt x="277" y="155"/>
                  <a:pt x="277" y="149"/>
                </a:cubicBezTo>
                <a:cubicBezTo>
                  <a:pt x="277" y="143"/>
                  <a:pt x="282" y="138"/>
                  <a:pt x="288" y="138"/>
                </a:cubicBezTo>
                <a:cubicBezTo>
                  <a:pt x="309" y="138"/>
                  <a:pt x="309" y="138"/>
                  <a:pt x="309" y="138"/>
                </a:cubicBezTo>
                <a:cubicBezTo>
                  <a:pt x="315" y="138"/>
                  <a:pt x="320" y="143"/>
                  <a:pt x="320" y="149"/>
                </a:cubicBezTo>
                <a:cubicBezTo>
                  <a:pt x="320" y="155"/>
                  <a:pt x="315" y="160"/>
                  <a:pt x="309" y="160"/>
                </a:cubicBezTo>
                <a:close/>
                <a:moveTo>
                  <a:pt x="309" y="117"/>
                </a:moveTo>
                <a:cubicBezTo>
                  <a:pt x="288" y="117"/>
                  <a:pt x="288" y="117"/>
                  <a:pt x="288" y="117"/>
                </a:cubicBezTo>
                <a:cubicBezTo>
                  <a:pt x="282" y="117"/>
                  <a:pt x="277" y="112"/>
                  <a:pt x="277" y="106"/>
                </a:cubicBezTo>
                <a:cubicBezTo>
                  <a:pt x="277" y="100"/>
                  <a:pt x="282" y="96"/>
                  <a:pt x="288" y="96"/>
                </a:cubicBezTo>
                <a:cubicBezTo>
                  <a:pt x="309" y="96"/>
                  <a:pt x="309" y="96"/>
                  <a:pt x="309" y="96"/>
                </a:cubicBezTo>
                <a:cubicBezTo>
                  <a:pt x="315" y="96"/>
                  <a:pt x="320" y="100"/>
                  <a:pt x="320" y="106"/>
                </a:cubicBezTo>
                <a:cubicBezTo>
                  <a:pt x="320" y="112"/>
                  <a:pt x="315" y="117"/>
                  <a:pt x="309" y="117"/>
                </a:cubicBezTo>
                <a:close/>
                <a:moveTo>
                  <a:pt x="394" y="373"/>
                </a:moveTo>
                <a:cubicBezTo>
                  <a:pt x="373" y="373"/>
                  <a:pt x="373" y="373"/>
                  <a:pt x="373" y="373"/>
                </a:cubicBezTo>
                <a:cubicBezTo>
                  <a:pt x="367" y="373"/>
                  <a:pt x="362" y="368"/>
                  <a:pt x="362" y="362"/>
                </a:cubicBezTo>
                <a:cubicBezTo>
                  <a:pt x="362" y="356"/>
                  <a:pt x="367" y="352"/>
                  <a:pt x="373" y="352"/>
                </a:cubicBezTo>
                <a:cubicBezTo>
                  <a:pt x="394" y="352"/>
                  <a:pt x="394" y="352"/>
                  <a:pt x="394" y="352"/>
                </a:cubicBezTo>
                <a:cubicBezTo>
                  <a:pt x="400" y="352"/>
                  <a:pt x="405" y="356"/>
                  <a:pt x="405" y="362"/>
                </a:cubicBezTo>
                <a:cubicBezTo>
                  <a:pt x="405" y="368"/>
                  <a:pt x="400" y="373"/>
                  <a:pt x="394" y="373"/>
                </a:cubicBezTo>
                <a:close/>
                <a:moveTo>
                  <a:pt x="394" y="330"/>
                </a:moveTo>
                <a:cubicBezTo>
                  <a:pt x="373" y="330"/>
                  <a:pt x="373" y="330"/>
                  <a:pt x="373" y="330"/>
                </a:cubicBezTo>
                <a:cubicBezTo>
                  <a:pt x="367" y="330"/>
                  <a:pt x="362" y="326"/>
                  <a:pt x="362" y="320"/>
                </a:cubicBezTo>
                <a:cubicBezTo>
                  <a:pt x="362" y="314"/>
                  <a:pt x="367" y="309"/>
                  <a:pt x="373" y="309"/>
                </a:cubicBezTo>
                <a:cubicBezTo>
                  <a:pt x="394" y="309"/>
                  <a:pt x="394" y="309"/>
                  <a:pt x="394" y="309"/>
                </a:cubicBezTo>
                <a:cubicBezTo>
                  <a:pt x="400" y="309"/>
                  <a:pt x="405" y="314"/>
                  <a:pt x="405" y="320"/>
                </a:cubicBezTo>
                <a:cubicBezTo>
                  <a:pt x="405" y="326"/>
                  <a:pt x="400" y="330"/>
                  <a:pt x="394" y="330"/>
                </a:cubicBezTo>
                <a:close/>
                <a:moveTo>
                  <a:pt x="394" y="288"/>
                </a:moveTo>
                <a:cubicBezTo>
                  <a:pt x="373" y="288"/>
                  <a:pt x="373" y="288"/>
                  <a:pt x="373" y="288"/>
                </a:cubicBezTo>
                <a:cubicBezTo>
                  <a:pt x="367" y="288"/>
                  <a:pt x="362" y="283"/>
                  <a:pt x="362" y="277"/>
                </a:cubicBezTo>
                <a:cubicBezTo>
                  <a:pt x="362" y="271"/>
                  <a:pt x="367" y="266"/>
                  <a:pt x="373" y="266"/>
                </a:cubicBezTo>
                <a:cubicBezTo>
                  <a:pt x="394" y="266"/>
                  <a:pt x="394" y="266"/>
                  <a:pt x="394" y="266"/>
                </a:cubicBezTo>
                <a:cubicBezTo>
                  <a:pt x="400" y="266"/>
                  <a:pt x="405" y="271"/>
                  <a:pt x="405" y="277"/>
                </a:cubicBezTo>
                <a:cubicBezTo>
                  <a:pt x="405" y="283"/>
                  <a:pt x="400" y="288"/>
                  <a:pt x="394" y="288"/>
                </a:cubicBezTo>
                <a:close/>
                <a:moveTo>
                  <a:pt x="394" y="245"/>
                </a:moveTo>
                <a:cubicBezTo>
                  <a:pt x="373" y="245"/>
                  <a:pt x="373" y="245"/>
                  <a:pt x="373" y="245"/>
                </a:cubicBezTo>
                <a:cubicBezTo>
                  <a:pt x="367" y="245"/>
                  <a:pt x="362" y="240"/>
                  <a:pt x="362" y="234"/>
                </a:cubicBezTo>
                <a:cubicBezTo>
                  <a:pt x="362" y="228"/>
                  <a:pt x="367" y="224"/>
                  <a:pt x="373" y="224"/>
                </a:cubicBezTo>
                <a:cubicBezTo>
                  <a:pt x="394" y="224"/>
                  <a:pt x="394" y="224"/>
                  <a:pt x="394" y="224"/>
                </a:cubicBezTo>
                <a:cubicBezTo>
                  <a:pt x="400" y="224"/>
                  <a:pt x="405" y="228"/>
                  <a:pt x="405" y="234"/>
                </a:cubicBezTo>
                <a:cubicBezTo>
                  <a:pt x="405" y="240"/>
                  <a:pt x="400" y="245"/>
                  <a:pt x="394" y="245"/>
                </a:cubicBezTo>
                <a:close/>
                <a:moveTo>
                  <a:pt x="394" y="202"/>
                </a:moveTo>
                <a:cubicBezTo>
                  <a:pt x="373" y="202"/>
                  <a:pt x="373" y="202"/>
                  <a:pt x="373" y="202"/>
                </a:cubicBezTo>
                <a:cubicBezTo>
                  <a:pt x="367" y="202"/>
                  <a:pt x="362" y="198"/>
                  <a:pt x="362" y="192"/>
                </a:cubicBezTo>
                <a:cubicBezTo>
                  <a:pt x="362" y="186"/>
                  <a:pt x="367" y="181"/>
                  <a:pt x="373" y="181"/>
                </a:cubicBezTo>
                <a:cubicBezTo>
                  <a:pt x="394" y="181"/>
                  <a:pt x="394" y="181"/>
                  <a:pt x="394" y="181"/>
                </a:cubicBezTo>
                <a:cubicBezTo>
                  <a:pt x="400" y="181"/>
                  <a:pt x="405" y="186"/>
                  <a:pt x="405" y="192"/>
                </a:cubicBezTo>
                <a:cubicBezTo>
                  <a:pt x="405" y="198"/>
                  <a:pt x="400" y="202"/>
                  <a:pt x="394"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7" name="Group 286"/>
          <p:cNvGrpSpPr>
            <a:grpSpLocks noChangeAspect="1"/>
          </p:cNvGrpSpPr>
          <p:nvPr/>
        </p:nvGrpSpPr>
        <p:grpSpPr bwMode="auto">
          <a:xfrm>
            <a:off x="6702833" y="1704825"/>
            <a:ext cx="367982" cy="367982"/>
            <a:chOff x="2962" y="2267"/>
            <a:chExt cx="340" cy="340"/>
          </a:xfrm>
          <a:solidFill>
            <a:schemeClr val="accent3"/>
          </a:solidFill>
        </p:grpSpPr>
        <p:sp>
          <p:nvSpPr>
            <p:cNvPr id="288"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0" name="Freeform 292"/>
          <p:cNvSpPr>
            <a:spLocks noChangeAspect="1" noEditPoints="1"/>
          </p:cNvSpPr>
          <p:nvPr/>
        </p:nvSpPr>
        <p:spPr bwMode="auto">
          <a:xfrm>
            <a:off x="7121959" y="17048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77 h 512"/>
              <a:gd name="T12" fmla="*/ 106 w 512"/>
              <a:gd name="T13" fmla="*/ 288 h 512"/>
              <a:gd name="T14" fmla="*/ 96 w 512"/>
              <a:gd name="T15" fmla="*/ 277 h 512"/>
              <a:gd name="T16" fmla="*/ 96 w 512"/>
              <a:gd name="T17" fmla="*/ 234 h 512"/>
              <a:gd name="T18" fmla="*/ 106 w 512"/>
              <a:gd name="T19" fmla="*/ 224 h 512"/>
              <a:gd name="T20" fmla="*/ 117 w 512"/>
              <a:gd name="T21" fmla="*/ 234 h 512"/>
              <a:gd name="T22" fmla="*/ 117 w 512"/>
              <a:gd name="T23" fmla="*/ 277 h 512"/>
              <a:gd name="T24" fmla="*/ 160 w 512"/>
              <a:gd name="T25" fmla="*/ 320 h 512"/>
              <a:gd name="T26" fmla="*/ 149 w 512"/>
              <a:gd name="T27" fmla="*/ 330 h 512"/>
              <a:gd name="T28" fmla="*/ 138 w 512"/>
              <a:gd name="T29" fmla="*/ 320 h 512"/>
              <a:gd name="T30" fmla="*/ 138 w 512"/>
              <a:gd name="T31" fmla="*/ 192 h 512"/>
              <a:gd name="T32" fmla="*/ 149 w 512"/>
              <a:gd name="T33" fmla="*/ 181 h 512"/>
              <a:gd name="T34" fmla="*/ 160 w 512"/>
              <a:gd name="T35" fmla="*/ 192 h 512"/>
              <a:gd name="T36" fmla="*/ 160 w 512"/>
              <a:gd name="T37" fmla="*/ 320 h 512"/>
              <a:gd name="T38" fmla="*/ 202 w 512"/>
              <a:gd name="T39" fmla="*/ 352 h 512"/>
              <a:gd name="T40" fmla="*/ 192 w 512"/>
              <a:gd name="T41" fmla="*/ 362 h 512"/>
              <a:gd name="T42" fmla="*/ 181 w 512"/>
              <a:gd name="T43" fmla="*/ 352 h 512"/>
              <a:gd name="T44" fmla="*/ 181 w 512"/>
              <a:gd name="T45" fmla="*/ 160 h 512"/>
              <a:gd name="T46" fmla="*/ 192 w 512"/>
              <a:gd name="T47" fmla="*/ 149 h 512"/>
              <a:gd name="T48" fmla="*/ 202 w 512"/>
              <a:gd name="T49" fmla="*/ 160 h 512"/>
              <a:gd name="T50" fmla="*/ 202 w 512"/>
              <a:gd name="T51" fmla="*/ 352 h 512"/>
              <a:gd name="T52" fmla="*/ 245 w 512"/>
              <a:gd name="T53" fmla="*/ 309 h 512"/>
              <a:gd name="T54" fmla="*/ 234 w 512"/>
              <a:gd name="T55" fmla="*/ 320 h 512"/>
              <a:gd name="T56" fmla="*/ 224 w 512"/>
              <a:gd name="T57" fmla="*/ 309 h 512"/>
              <a:gd name="T58" fmla="*/ 224 w 512"/>
              <a:gd name="T59" fmla="*/ 202 h 512"/>
              <a:gd name="T60" fmla="*/ 234 w 512"/>
              <a:gd name="T61" fmla="*/ 192 h 512"/>
              <a:gd name="T62" fmla="*/ 245 w 512"/>
              <a:gd name="T63" fmla="*/ 202 h 512"/>
              <a:gd name="T64" fmla="*/ 245 w 512"/>
              <a:gd name="T65" fmla="*/ 309 h 512"/>
              <a:gd name="T66" fmla="*/ 288 w 512"/>
              <a:gd name="T67" fmla="*/ 362 h 512"/>
              <a:gd name="T68" fmla="*/ 277 w 512"/>
              <a:gd name="T69" fmla="*/ 373 h 512"/>
              <a:gd name="T70" fmla="*/ 266 w 512"/>
              <a:gd name="T71" fmla="*/ 362 h 512"/>
              <a:gd name="T72" fmla="*/ 266 w 512"/>
              <a:gd name="T73" fmla="*/ 149 h 512"/>
              <a:gd name="T74" fmla="*/ 277 w 512"/>
              <a:gd name="T75" fmla="*/ 138 h 512"/>
              <a:gd name="T76" fmla="*/ 288 w 512"/>
              <a:gd name="T77" fmla="*/ 149 h 512"/>
              <a:gd name="T78" fmla="*/ 288 w 512"/>
              <a:gd name="T79" fmla="*/ 362 h 512"/>
              <a:gd name="T80" fmla="*/ 330 w 512"/>
              <a:gd name="T81" fmla="*/ 320 h 512"/>
              <a:gd name="T82" fmla="*/ 320 w 512"/>
              <a:gd name="T83" fmla="*/ 330 h 512"/>
              <a:gd name="T84" fmla="*/ 309 w 512"/>
              <a:gd name="T85" fmla="*/ 320 h 512"/>
              <a:gd name="T86" fmla="*/ 309 w 512"/>
              <a:gd name="T87" fmla="*/ 192 h 512"/>
              <a:gd name="T88" fmla="*/ 320 w 512"/>
              <a:gd name="T89" fmla="*/ 181 h 512"/>
              <a:gd name="T90" fmla="*/ 330 w 512"/>
              <a:gd name="T91" fmla="*/ 192 h 512"/>
              <a:gd name="T92" fmla="*/ 330 w 512"/>
              <a:gd name="T93" fmla="*/ 320 h 512"/>
              <a:gd name="T94" fmla="*/ 373 w 512"/>
              <a:gd name="T95" fmla="*/ 298 h 512"/>
              <a:gd name="T96" fmla="*/ 362 w 512"/>
              <a:gd name="T97" fmla="*/ 309 h 512"/>
              <a:gd name="T98" fmla="*/ 352 w 512"/>
              <a:gd name="T99" fmla="*/ 298 h 512"/>
              <a:gd name="T100" fmla="*/ 352 w 512"/>
              <a:gd name="T101" fmla="*/ 213 h 512"/>
              <a:gd name="T102" fmla="*/ 362 w 512"/>
              <a:gd name="T103" fmla="*/ 202 h 512"/>
              <a:gd name="T104" fmla="*/ 373 w 512"/>
              <a:gd name="T105" fmla="*/ 213 h 512"/>
              <a:gd name="T106" fmla="*/ 373 w 512"/>
              <a:gd name="T107" fmla="*/ 298 h 512"/>
              <a:gd name="T108" fmla="*/ 416 w 512"/>
              <a:gd name="T109" fmla="*/ 266 h 512"/>
              <a:gd name="T110" fmla="*/ 405 w 512"/>
              <a:gd name="T111" fmla="*/ 277 h 512"/>
              <a:gd name="T112" fmla="*/ 394 w 512"/>
              <a:gd name="T113" fmla="*/ 266 h 512"/>
              <a:gd name="T114" fmla="*/ 394 w 512"/>
              <a:gd name="T115" fmla="*/ 245 h 512"/>
              <a:gd name="T116" fmla="*/ 405 w 512"/>
              <a:gd name="T117" fmla="*/ 234 h 512"/>
              <a:gd name="T118" fmla="*/ 416 w 512"/>
              <a:gd name="T119" fmla="*/ 245 h 512"/>
              <a:gd name="T120" fmla="*/ 416 w 512"/>
              <a:gd name="T12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77"/>
                </a:moveTo>
                <a:cubicBezTo>
                  <a:pt x="117" y="283"/>
                  <a:pt x="112" y="288"/>
                  <a:pt x="106" y="288"/>
                </a:cubicBezTo>
                <a:cubicBezTo>
                  <a:pt x="100" y="288"/>
                  <a:pt x="96" y="283"/>
                  <a:pt x="96" y="277"/>
                </a:cubicBezTo>
                <a:cubicBezTo>
                  <a:pt x="96" y="234"/>
                  <a:pt x="96" y="234"/>
                  <a:pt x="96" y="234"/>
                </a:cubicBezTo>
                <a:cubicBezTo>
                  <a:pt x="96" y="228"/>
                  <a:pt x="100" y="224"/>
                  <a:pt x="106" y="224"/>
                </a:cubicBezTo>
                <a:cubicBezTo>
                  <a:pt x="112" y="224"/>
                  <a:pt x="117" y="228"/>
                  <a:pt x="117" y="234"/>
                </a:cubicBezTo>
                <a:lnTo>
                  <a:pt x="117" y="277"/>
                </a:lnTo>
                <a:close/>
                <a:moveTo>
                  <a:pt x="160" y="320"/>
                </a:moveTo>
                <a:cubicBezTo>
                  <a:pt x="160" y="326"/>
                  <a:pt x="155" y="330"/>
                  <a:pt x="149" y="330"/>
                </a:cubicBezTo>
                <a:cubicBezTo>
                  <a:pt x="143" y="330"/>
                  <a:pt x="138" y="326"/>
                  <a:pt x="138" y="320"/>
                </a:cubicBezTo>
                <a:cubicBezTo>
                  <a:pt x="138" y="192"/>
                  <a:pt x="138" y="192"/>
                  <a:pt x="138" y="192"/>
                </a:cubicBezTo>
                <a:cubicBezTo>
                  <a:pt x="138" y="186"/>
                  <a:pt x="143" y="181"/>
                  <a:pt x="149" y="181"/>
                </a:cubicBezTo>
                <a:cubicBezTo>
                  <a:pt x="155" y="181"/>
                  <a:pt x="160" y="186"/>
                  <a:pt x="160" y="192"/>
                </a:cubicBezTo>
                <a:lnTo>
                  <a:pt x="160" y="320"/>
                </a:lnTo>
                <a:close/>
                <a:moveTo>
                  <a:pt x="202" y="352"/>
                </a:moveTo>
                <a:cubicBezTo>
                  <a:pt x="202" y="358"/>
                  <a:pt x="198" y="362"/>
                  <a:pt x="192" y="362"/>
                </a:cubicBezTo>
                <a:cubicBezTo>
                  <a:pt x="186" y="362"/>
                  <a:pt x="181" y="358"/>
                  <a:pt x="181" y="352"/>
                </a:cubicBezTo>
                <a:cubicBezTo>
                  <a:pt x="181" y="160"/>
                  <a:pt x="181" y="160"/>
                  <a:pt x="181" y="160"/>
                </a:cubicBezTo>
                <a:cubicBezTo>
                  <a:pt x="181" y="154"/>
                  <a:pt x="186" y="149"/>
                  <a:pt x="192" y="149"/>
                </a:cubicBezTo>
                <a:cubicBezTo>
                  <a:pt x="198" y="149"/>
                  <a:pt x="202" y="154"/>
                  <a:pt x="202" y="160"/>
                </a:cubicBezTo>
                <a:lnTo>
                  <a:pt x="202" y="352"/>
                </a:lnTo>
                <a:close/>
                <a:moveTo>
                  <a:pt x="245" y="309"/>
                </a:moveTo>
                <a:cubicBezTo>
                  <a:pt x="245" y="315"/>
                  <a:pt x="240" y="320"/>
                  <a:pt x="234" y="320"/>
                </a:cubicBezTo>
                <a:cubicBezTo>
                  <a:pt x="228" y="320"/>
                  <a:pt x="224" y="315"/>
                  <a:pt x="224" y="309"/>
                </a:cubicBezTo>
                <a:cubicBezTo>
                  <a:pt x="224" y="202"/>
                  <a:pt x="224" y="202"/>
                  <a:pt x="224" y="202"/>
                </a:cubicBezTo>
                <a:cubicBezTo>
                  <a:pt x="224" y="196"/>
                  <a:pt x="228" y="192"/>
                  <a:pt x="234" y="192"/>
                </a:cubicBezTo>
                <a:cubicBezTo>
                  <a:pt x="240" y="192"/>
                  <a:pt x="245" y="196"/>
                  <a:pt x="245" y="202"/>
                </a:cubicBezTo>
                <a:lnTo>
                  <a:pt x="245" y="309"/>
                </a:lnTo>
                <a:close/>
                <a:moveTo>
                  <a:pt x="288" y="362"/>
                </a:moveTo>
                <a:cubicBezTo>
                  <a:pt x="288" y="368"/>
                  <a:pt x="283" y="373"/>
                  <a:pt x="277" y="373"/>
                </a:cubicBezTo>
                <a:cubicBezTo>
                  <a:pt x="271" y="373"/>
                  <a:pt x="266" y="368"/>
                  <a:pt x="266" y="362"/>
                </a:cubicBezTo>
                <a:cubicBezTo>
                  <a:pt x="266" y="149"/>
                  <a:pt x="266" y="149"/>
                  <a:pt x="266" y="149"/>
                </a:cubicBezTo>
                <a:cubicBezTo>
                  <a:pt x="266" y="143"/>
                  <a:pt x="271" y="138"/>
                  <a:pt x="277" y="138"/>
                </a:cubicBezTo>
                <a:cubicBezTo>
                  <a:pt x="283" y="138"/>
                  <a:pt x="288" y="143"/>
                  <a:pt x="288" y="149"/>
                </a:cubicBezTo>
                <a:lnTo>
                  <a:pt x="288" y="362"/>
                </a:lnTo>
                <a:close/>
                <a:moveTo>
                  <a:pt x="330" y="320"/>
                </a:moveTo>
                <a:cubicBezTo>
                  <a:pt x="330" y="326"/>
                  <a:pt x="326" y="330"/>
                  <a:pt x="320" y="330"/>
                </a:cubicBezTo>
                <a:cubicBezTo>
                  <a:pt x="314" y="330"/>
                  <a:pt x="309" y="326"/>
                  <a:pt x="309" y="320"/>
                </a:cubicBezTo>
                <a:cubicBezTo>
                  <a:pt x="309" y="192"/>
                  <a:pt x="309" y="192"/>
                  <a:pt x="309" y="192"/>
                </a:cubicBezTo>
                <a:cubicBezTo>
                  <a:pt x="309" y="186"/>
                  <a:pt x="314" y="181"/>
                  <a:pt x="320" y="181"/>
                </a:cubicBezTo>
                <a:cubicBezTo>
                  <a:pt x="326" y="181"/>
                  <a:pt x="330" y="186"/>
                  <a:pt x="330" y="192"/>
                </a:cubicBezTo>
                <a:lnTo>
                  <a:pt x="330" y="320"/>
                </a:lnTo>
                <a:close/>
                <a:moveTo>
                  <a:pt x="373" y="298"/>
                </a:moveTo>
                <a:cubicBezTo>
                  <a:pt x="373" y="304"/>
                  <a:pt x="368" y="309"/>
                  <a:pt x="362" y="309"/>
                </a:cubicBezTo>
                <a:cubicBezTo>
                  <a:pt x="356" y="309"/>
                  <a:pt x="352" y="304"/>
                  <a:pt x="352" y="298"/>
                </a:cubicBezTo>
                <a:cubicBezTo>
                  <a:pt x="352" y="213"/>
                  <a:pt x="352" y="213"/>
                  <a:pt x="352" y="213"/>
                </a:cubicBezTo>
                <a:cubicBezTo>
                  <a:pt x="352" y="207"/>
                  <a:pt x="356" y="202"/>
                  <a:pt x="362" y="202"/>
                </a:cubicBezTo>
                <a:cubicBezTo>
                  <a:pt x="368" y="202"/>
                  <a:pt x="373" y="207"/>
                  <a:pt x="373" y="213"/>
                </a:cubicBezTo>
                <a:lnTo>
                  <a:pt x="373" y="298"/>
                </a:lnTo>
                <a:close/>
                <a:moveTo>
                  <a:pt x="416" y="266"/>
                </a:moveTo>
                <a:cubicBezTo>
                  <a:pt x="416" y="272"/>
                  <a:pt x="411" y="277"/>
                  <a:pt x="405" y="277"/>
                </a:cubicBezTo>
                <a:cubicBezTo>
                  <a:pt x="399" y="277"/>
                  <a:pt x="394" y="272"/>
                  <a:pt x="394" y="266"/>
                </a:cubicBezTo>
                <a:cubicBezTo>
                  <a:pt x="394" y="245"/>
                  <a:pt x="394" y="245"/>
                  <a:pt x="394" y="245"/>
                </a:cubicBezTo>
                <a:cubicBezTo>
                  <a:pt x="394" y="239"/>
                  <a:pt x="399" y="234"/>
                  <a:pt x="405" y="234"/>
                </a:cubicBezTo>
                <a:cubicBezTo>
                  <a:pt x="411" y="234"/>
                  <a:pt x="416" y="239"/>
                  <a:pt x="416" y="245"/>
                </a:cubicBezTo>
                <a:lnTo>
                  <a:pt x="416" y="26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1" name="Group 295"/>
          <p:cNvGrpSpPr>
            <a:grpSpLocks noChangeAspect="1"/>
          </p:cNvGrpSpPr>
          <p:nvPr/>
        </p:nvGrpSpPr>
        <p:grpSpPr bwMode="auto">
          <a:xfrm>
            <a:off x="7541085" y="1703743"/>
            <a:ext cx="367982" cy="369064"/>
            <a:chOff x="3374" y="2060"/>
            <a:chExt cx="340" cy="341"/>
          </a:xfrm>
          <a:solidFill>
            <a:schemeClr val="accent3"/>
          </a:solidFill>
        </p:grpSpPr>
        <p:sp>
          <p:nvSpPr>
            <p:cNvPr id="292" name="Freeform 296"/>
            <p:cNvSpPr>
              <a:spLocks noEditPoints="1"/>
            </p:cNvSpPr>
            <p:nvPr/>
          </p:nvSpPr>
          <p:spPr bwMode="auto">
            <a:xfrm>
              <a:off x="3438" y="2152"/>
              <a:ext cx="212" cy="156"/>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297"/>
            <p:cNvSpPr>
              <a:spLocks noEditPoints="1"/>
            </p:cNvSpPr>
            <p:nvPr/>
          </p:nvSpPr>
          <p:spPr bwMode="auto">
            <a:xfrm>
              <a:off x="3374" y="20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4" name="Freeform 678"/>
          <p:cNvSpPr>
            <a:spLocks noChangeAspect="1" noEditPoints="1"/>
          </p:cNvSpPr>
          <p:nvPr/>
        </p:nvSpPr>
        <p:spPr bwMode="auto">
          <a:xfrm>
            <a:off x="7960211" y="1704825"/>
            <a:ext cx="367982" cy="367982"/>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5" name="Group 681"/>
          <p:cNvGrpSpPr>
            <a:grpSpLocks noChangeAspect="1"/>
          </p:cNvGrpSpPr>
          <p:nvPr/>
        </p:nvGrpSpPr>
        <p:grpSpPr bwMode="auto">
          <a:xfrm>
            <a:off x="8379340" y="1704825"/>
            <a:ext cx="367982" cy="367982"/>
            <a:chOff x="3220" y="2949"/>
            <a:chExt cx="340" cy="340"/>
          </a:xfrm>
          <a:solidFill>
            <a:schemeClr val="accent2"/>
          </a:solidFill>
        </p:grpSpPr>
        <p:sp>
          <p:nvSpPr>
            <p:cNvPr id="296" name="Freeform 682"/>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683"/>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8" name="Freeform 971"/>
          <p:cNvSpPr>
            <a:spLocks noChangeAspect="1" noEditPoints="1"/>
          </p:cNvSpPr>
          <p:nvPr/>
        </p:nvSpPr>
        <p:spPr bwMode="auto">
          <a:xfrm>
            <a:off x="395767" y="2529559"/>
            <a:ext cx="367982" cy="367982"/>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9" name="Group 974"/>
          <p:cNvGrpSpPr>
            <a:grpSpLocks noChangeAspect="1"/>
          </p:cNvGrpSpPr>
          <p:nvPr/>
        </p:nvGrpSpPr>
        <p:grpSpPr bwMode="auto">
          <a:xfrm>
            <a:off x="816074" y="2529559"/>
            <a:ext cx="367982" cy="367982"/>
            <a:chOff x="3511" y="3902"/>
            <a:chExt cx="340" cy="340"/>
          </a:xfrm>
          <a:solidFill>
            <a:schemeClr val="accent5"/>
          </a:solidFill>
        </p:grpSpPr>
        <p:sp>
          <p:nvSpPr>
            <p:cNvPr id="300"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2" name="Group 731"/>
          <p:cNvGrpSpPr>
            <a:grpSpLocks noChangeAspect="1"/>
          </p:cNvGrpSpPr>
          <p:nvPr/>
        </p:nvGrpSpPr>
        <p:grpSpPr bwMode="auto">
          <a:xfrm>
            <a:off x="1658382" y="2529559"/>
            <a:ext cx="369676" cy="370763"/>
            <a:chOff x="5043" y="2639"/>
            <a:chExt cx="340" cy="341"/>
          </a:xfrm>
          <a:solidFill>
            <a:schemeClr val="accent2"/>
          </a:solidFill>
        </p:grpSpPr>
        <p:sp>
          <p:nvSpPr>
            <p:cNvPr id="303" name="Freeform 732"/>
            <p:cNvSpPr>
              <a:spLocks noEditPoints="1"/>
            </p:cNvSpPr>
            <p:nvPr/>
          </p:nvSpPr>
          <p:spPr bwMode="auto">
            <a:xfrm>
              <a:off x="5113" y="2710"/>
              <a:ext cx="199" cy="199"/>
            </a:xfrm>
            <a:custGeom>
              <a:avLst/>
              <a:gdLst>
                <a:gd name="T0" fmla="*/ 289 w 299"/>
                <a:gd name="T1" fmla="*/ 64 h 299"/>
                <a:gd name="T2" fmla="*/ 269 w 299"/>
                <a:gd name="T3" fmla="*/ 43 h 299"/>
                <a:gd name="T4" fmla="*/ 233 w 299"/>
                <a:gd name="T5" fmla="*/ 43 h 299"/>
                <a:gd name="T6" fmla="*/ 150 w 299"/>
                <a:gd name="T7" fmla="*/ 0 h 299"/>
                <a:gd name="T8" fmla="*/ 66 w 299"/>
                <a:gd name="T9" fmla="*/ 43 h 299"/>
                <a:gd name="T10" fmla="*/ 31 w 299"/>
                <a:gd name="T11" fmla="*/ 43 h 299"/>
                <a:gd name="T12" fmla="*/ 10 w 299"/>
                <a:gd name="T13" fmla="*/ 63 h 299"/>
                <a:gd name="T14" fmla="*/ 0 w 299"/>
                <a:gd name="T15" fmla="*/ 192 h 299"/>
                <a:gd name="T16" fmla="*/ 21 w 299"/>
                <a:gd name="T17" fmla="*/ 212 h 299"/>
                <a:gd name="T18" fmla="*/ 24 w 299"/>
                <a:gd name="T19" fmla="*/ 212 h 299"/>
                <a:gd name="T20" fmla="*/ 44 w 299"/>
                <a:gd name="T21" fmla="*/ 207 h 299"/>
                <a:gd name="T22" fmla="*/ 150 w 299"/>
                <a:gd name="T23" fmla="*/ 299 h 299"/>
                <a:gd name="T24" fmla="*/ 256 w 299"/>
                <a:gd name="T25" fmla="*/ 207 h 299"/>
                <a:gd name="T26" fmla="*/ 276 w 299"/>
                <a:gd name="T27" fmla="*/ 212 h 299"/>
                <a:gd name="T28" fmla="*/ 278 w 299"/>
                <a:gd name="T29" fmla="*/ 212 h 299"/>
                <a:gd name="T30" fmla="*/ 299 w 299"/>
                <a:gd name="T31" fmla="*/ 191 h 299"/>
                <a:gd name="T32" fmla="*/ 289 w 299"/>
                <a:gd name="T33" fmla="*/ 64 h 299"/>
                <a:gd name="T34" fmla="*/ 150 w 299"/>
                <a:gd name="T35" fmla="*/ 22 h 299"/>
                <a:gd name="T36" fmla="*/ 206 w 299"/>
                <a:gd name="T37" fmla="*/ 43 h 299"/>
                <a:gd name="T38" fmla="*/ 94 w 299"/>
                <a:gd name="T39" fmla="*/ 43 h 299"/>
                <a:gd name="T40" fmla="*/ 150 w 299"/>
                <a:gd name="T41" fmla="*/ 22 h 299"/>
                <a:gd name="T42" fmla="*/ 150 w 299"/>
                <a:gd name="T43" fmla="*/ 278 h 299"/>
                <a:gd name="T44" fmla="*/ 65 w 299"/>
                <a:gd name="T45" fmla="*/ 202 h 299"/>
                <a:gd name="T46" fmla="*/ 150 w 299"/>
                <a:gd name="T47" fmla="*/ 192 h 299"/>
                <a:gd name="T48" fmla="*/ 235 w 299"/>
                <a:gd name="T49" fmla="*/ 202 h 299"/>
                <a:gd name="T50" fmla="*/ 150 w 299"/>
                <a:gd name="T51" fmla="*/ 278 h 299"/>
                <a:gd name="T52" fmla="*/ 150 w 299"/>
                <a:gd name="T53" fmla="*/ 171 h 299"/>
                <a:gd name="T54" fmla="*/ 22 w 299"/>
                <a:gd name="T55" fmla="*/ 190 h 299"/>
                <a:gd name="T56" fmla="*/ 32 w 299"/>
                <a:gd name="T57" fmla="*/ 64 h 299"/>
                <a:gd name="T58" fmla="*/ 267 w 299"/>
                <a:gd name="T59" fmla="*/ 64 h 299"/>
                <a:gd name="T60" fmla="*/ 267 w 299"/>
                <a:gd name="T61" fmla="*/ 64 h 299"/>
                <a:gd name="T62" fmla="*/ 277 w 299"/>
                <a:gd name="T63" fmla="*/ 190 h 299"/>
                <a:gd name="T64" fmla="*/ 150 w 299"/>
                <a:gd name="T65" fmla="*/ 171 h 299"/>
                <a:gd name="T66" fmla="*/ 150 w 299"/>
                <a:gd name="T67" fmla="*/ 235 h 299"/>
                <a:gd name="T68" fmla="*/ 174 w 299"/>
                <a:gd name="T69" fmla="*/ 227 h 299"/>
                <a:gd name="T70" fmla="*/ 189 w 299"/>
                <a:gd name="T71" fmla="*/ 228 h 299"/>
                <a:gd name="T72" fmla="*/ 189 w 299"/>
                <a:gd name="T73" fmla="*/ 243 h 299"/>
                <a:gd name="T74" fmla="*/ 150 w 299"/>
                <a:gd name="T75" fmla="*/ 256 h 299"/>
                <a:gd name="T76" fmla="*/ 110 w 299"/>
                <a:gd name="T77" fmla="*/ 243 h 299"/>
                <a:gd name="T78" fmla="*/ 110 w 299"/>
                <a:gd name="T79" fmla="*/ 228 h 299"/>
                <a:gd name="T80" fmla="*/ 125 w 299"/>
                <a:gd name="T81" fmla="*/ 227 h 299"/>
                <a:gd name="T82" fmla="*/ 150 w 299"/>
                <a:gd name="T83" fmla="*/ 235 h 299"/>
                <a:gd name="T84" fmla="*/ 186 w 299"/>
                <a:gd name="T85" fmla="*/ 108 h 299"/>
                <a:gd name="T86" fmla="*/ 133 w 299"/>
                <a:gd name="T87" fmla="*/ 81 h 299"/>
                <a:gd name="T88" fmla="*/ 123 w 299"/>
                <a:gd name="T89" fmla="*/ 82 h 299"/>
                <a:gd name="T90" fmla="*/ 118 w 299"/>
                <a:gd name="T91" fmla="*/ 91 h 299"/>
                <a:gd name="T92" fmla="*/ 118 w 299"/>
                <a:gd name="T93" fmla="*/ 144 h 299"/>
                <a:gd name="T94" fmla="*/ 123 w 299"/>
                <a:gd name="T95" fmla="*/ 153 h 299"/>
                <a:gd name="T96" fmla="*/ 128 w 299"/>
                <a:gd name="T97" fmla="*/ 155 h 299"/>
                <a:gd name="T98" fmla="*/ 133 w 299"/>
                <a:gd name="T99" fmla="*/ 154 h 299"/>
                <a:gd name="T100" fmla="*/ 186 w 299"/>
                <a:gd name="T101" fmla="*/ 127 h 299"/>
                <a:gd name="T102" fmla="*/ 192 w 299"/>
                <a:gd name="T103" fmla="*/ 118 h 299"/>
                <a:gd name="T104" fmla="*/ 186 w 299"/>
                <a:gd name="T105" fmla="*/ 108 h 299"/>
                <a:gd name="T106" fmla="*/ 139 w 299"/>
                <a:gd name="T107" fmla="*/ 127 h 299"/>
                <a:gd name="T108" fmla="*/ 139 w 299"/>
                <a:gd name="T109" fmla="*/ 108 h 299"/>
                <a:gd name="T110" fmla="*/ 158 w 299"/>
                <a:gd name="T111" fmla="*/ 118 h 299"/>
                <a:gd name="T112" fmla="*/ 139 w 299"/>
                <a:gd name="T113" fmla="*/ 1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299">
                  <a:moveTo>
                    <a:pt x="289" y="64"/>
                  </a:moveTo>
                  <a:cubicBezTo>
                    <a:pt x="289" y="52"/>
                    <a:pt x="280" y="43"/>
                    <a:pt x="269" y="43"/>
                  </a:cubicBezTo>
                  <a:cubicBezTo>
                    <a:pt x="233" y="43"/>
                    <a:pt x="233" y="43"/>
                    <a:pt x="233" y="43"/>
                  </a:cubicBezTo>
                  <a:cubicBezTo>
                    <a:pt x="214" y="15"/>
                    <a:pt x="185" y="0"/>
                    <a:pt x="150" y="0"/>
                  </a:cubicBezTo>
                  <a:cubicBezTo>
                    <a:pt x="115" y="0"/>
                    <a:pt x="86" y="15"/>
                    <a:pt x="66" y="43"/>
                  </a:cubicBezTo>
                  <a:cubicBezTo>
                    <a:pt x="31" y="43"/>
                    <a:pt x="31" y="43"/>
                    <a:pt x="31" y="43"/>
                  </a:cubicBezTo>
                  <a:cubicBezTo>
                    <a:pt x="19" y="43"/>
                    <a:pt x="10" y="52"/>
                    <a:pt x="10" y="63"/>
                  </a:cubicBezTo>
                  <a:cubicBezTo>
                    <a:pt x="0" y="192"/>
                    <a:pt x="0" y="192"/>
                    <a:pt x="0" y="192"/>
                  </a:cubicBezTo>
                  <a:cubicBezTo>
                    <a:pt x="0" y="203"/>
                    <a:pt x="10" y="212"/>
                    <a:pt x="21" y="212"/>
                  </a:cubicBezTo>
                  <a:cubicBezTo>
                    <a:pt x="22" y="212"/>
                    <a:pt x="23" y="212"/>
                    <a:pt x="24" y="212"/>
                  </a:cubicBezTo>
                  <a:cubicBezTo>
                    <a:pt x="24" y="212"/>
                    <a:pt x="32" y="210"/>
                    <a:pt x="44" y="207"/>
                  </a:cubicBezTo>
                  <a:cubicBezTo>
                    <a:pt x="59" y="265"/>
                    <a:pt x="97" y="299"/>
                    <a:pt x="150" y="299"/>
                  </a:cubicBezTo>
                  <a:cubicBezTo>
                    <a:pt x="202" y="299"/>
                    <a:pt x="241" y="265"/>
                    <a:pt x="256" y="207"/>
                  </a:cubicBezTo>
                  <a:cubicBezTo>
                    <a:pt x="268" y="210"/>
                    <a:pt x="275" y="212"/>
                    <a:pt x="276" y="212"/>
                  </a:cubicBezTo>
                  <a:cubicBezTo>
                    <a:pt x="276" y="212"/>
                    <a:pt x="277" y="212"/>
                    <a:pt x="278" y="212"/>
                  </a:cubicBezTo>
                  <a:cubicBezTo>
                    <a:pt x="290" y="212"/>
                    <a:pt x="299" y="203"/>
                    <a:pt x="299" y="191"/>
                  </a:cubicBezTo>
                  <a:lnTo>
                    <a:pt x="289" y="64"/>
                  </a:lnTo>
                  <a:close/>
                  <a:moveTo>
                    <a:pt x="150" y="22"/>
                  </a:moveTo>
                  <a:cubicBezTo>
                    <a:pt x="172" y="22"/>
                    <a:pt x="191" y="29"/>
                    <a:pt x="206" y="43"/>
                  </a:cubicBezTo>
                  <a:cubicBezTo>
                    <a:pt x="94" y="43"/>
                    <a:pt x="94" y="43"/>
                    <a:pt x="94" y="43"/>
                  </a:cubicBezTo>
                  <a:cubicBezTo>
                    <a:pt x="108" y="29"/>
                    <a:pt x="127" y="22"/>
                    <a:pt x="150" y="22"/>
                  </a:cubicBezTo>
                  <a:close/>
                  <a:moveTo>
                    <a:pt x="150" y="278"/>
                  </a:moveTo>
                  <a:cubicBezTo>
                    <a:pt x="107" y="278"/>
                    <a:pt x="77" y="251"/>
                    <a:pt x="65" y="202"/>
                  </a:cubicBezTo>
                  <a:cubicBezTo>
                    <a:pt x="89" y="197"/>
                    <a:pt x="121" y="192"/>
                    <a:pt x="150" y="192"/>
                  </a:cubicBezTo>
                  <a:cubicBezTo>
                    <a:pt x="179" y="192"/>
                    <a:pt x="210" y="197"/>
                    <a:pt x="235" y="202"/>
                  </a:cubicBezTo>
                  <a:cubicBezTo>
                    <a:pt x="222" y="251"/>
                    <a:pt x="192" y="278"/>
                    <a:pt x="150" y="278"/>
                  </a:cubicBezTo>
                  <a:close/>
                  <a:moveTo>
                    <a:pt x="150" y="171"/>
                  </a:moveTo>
                  <a:cubicBezTo>
                    <a:pt x="97" y="171"/>
                    <a:pt x="37" y="186"/>
                    <a:pt x="22" y="190"/>
                  </a:cubicBezTo>
                  <a:cubicBezTo>
                    <a:pt x="32" y="64"/>
                    <a:pt x="32" y="64"/>
                    <a:pt x="32" y="64"/>
                  </a:cubicBezTo>
                  <a:cubicBezTo>
                    <a:pt x="267" y="64"/>
                    <a:pt x="267" y="64"/>
                    <a:pt x="267" y="64"/>
                  </a:cubicBezTo>
                  <a:cubicBezTo>
                    <a:pt x="267" y="64"/>
                    <a:pt x="267" y="64"/>
                    <a:pt x="267" y="64"/>
                  </a:cubicBezTo>
                  <a:cubicBezTo>
                    <a:pt x="277" y="190"/>
                    <a:pt x="277" y="190"/>
                    <a:pt x="277" y="190"/>
                  </a:cubicBezTo>
                  <a:cubicBezTo>
                    <a:pt x="262" y="186"/>
                    <a:pt x="203" y="171"/>
                    <a:pt x="150" y="171"/>
                  </a:cubicBezTo>
                  <a:close/>
                  <a:moveTo>
                    <a:pt x="150" y="235"/>
                  </a:moveTo>
                  <a:cubicBezTo>
                    <a:pt x="165" y="235"/>
                    <a:pt x="174" y="227"/>
                    <a:pt x="174" y="227"/>
                  </a:cubicBezTo>
                  <a:cubicBezTo>
                    <a:pt x="179" y="223"/>
                    <a:pt x="185" y="223"/>
                    <a:pt x="189" y="228"/>
                  </a:cubicBezTo>
                  <a:cubicBezTo>
                    <a:pt x="193" y="232"/>
                    <a:pt x="193" y="239"/>
                    <a:pt x="189" y="243"/>
                  </a:cubicBezTo>
                  <a:cubicBezTo>
                    <a:pt x="188" y="244"/>
                    <a:pt x="174" y="256"/>
                    <a:pt x="150" y="256"/>
                  </a:cubicBezTo>
                  <a:cubicBezTo>
                    <a:pt x="125" y="256"/>
                    <a:pt x="112" y="244"/>
                    <a:pt x="110" y="243"/>
                  </a:cubicBezTo>
                  <a:cubicBezTo>
                    <a:pt x="106" y="239"/>
                    <a:pt x="106" y="232"/>
                    <a:pt x="110" y="228"/>
                  </a:cubicBezTo>
                  <a:cubicBezTo>
                    <a:pt x="114" y="223"/>
                    <a:pt x="121" y="223"/>
                    <a:pt x="125" y="227"/>
                  </a:cubicBezTo>
                  <a:cubicBezTo>
                    <a:pt x="125" y="228"/>
                    <a:pt x="134" y="235"/>
                    <a:pt x="150" y="235"/>
                  </a:cubicBezTo>
                  <a:close/>
                  <a:moveTo>
                    <a:pt x="186" y="108"/>
                  </a:moveTo>
                  <a:cubicBezTo>
                    <a:pt x="133" y="81"/>
                    <a:pt x="133" y="81"/>
                    <a:pt x="133" y="81"/>
                  </a:cubicBezTo>
                  <a:cubicBezTo>
                    <a:pt x="130" y="80"/>
                    <a:pt x="126" y="80"/>
                    <a:pt x="123" y="82"/>
                  </a:cubicBezTo>
                  <a:cubicBezTo>
                    <a:pt x="120" y="84"/>
                    <a:pt x="118" y="87"/>
                    <a:pt x="118" y="91"/>
                  </a:cubicBezTo>
                  <a:cubicBezTo>
                    <a:pt x="118" y="144"/>
                    <a:pt x="118" y="144"/>
                    <a:pt x="118" y="144"/>
                  </a:cubicBezTo>
                  <a:cubicBezTo>
                    <a:pt x="118" y="148"/>
                    <a:pt x="120" y="151"/>
                    <a:pt x="123" y="153"/>
                  </a:cubicBezTo>
                  <a:cubicBezTo>
                    <a:pt x="124" y="154"/>
                    <a:pt x="126" y="155"/>
                    <a:pt x="128" y="155"/>
                  </a:cubicBezTo>
                  <a:cubicBezTo>
                    <a:pt x="130" y="155"/>
                    <a:pt x="132" y="155"/>
                    <a:pt x="133" y="154"/>
                  </a:cubicBezTo>
                  <a:cubicBezTo>
                    <a:pt x="186" y="127"/>
                    <a:pt x="186" y="127"/>
                    <a:pt x="186" y="127"/>
                  </a:cubicBezTo>
                  <a:cubicBezTo>
                    <a:pt x="190" y="125"/>
                    <a:pt x="192" y="122"/>
                    <a:pt x="192" y="118"/>
                  </a:cubicBezTo>
                  <a:cubicBezTo>
                    <a:pt x="192" y="114"/>
                    <a:pt x="190" y="110"/>
                    <a:pt x="186" y="108"/>
                  </a:cubicBezTo>
                  <a:close/>
                  <a:moveTo>
                    <a:pt x="139" y="127"/>
                  </a:moveTo>
                  <a:cubicBezTo>
                    <a:pt x="139" y="108"/>
                    <a:pt x="139" y="108"/>
                    <a:pt x="139" y="108"/>
                  </a:cubicBezTo>
                  <a:cubicBezTo>
                    <a:pt x="158" y="118"/>
                    <a:pt x="158" y="118"/>
                    <a:pt x="158" y="118"/>
                  </a:cubicBezTo>
                  <a:lnTo>
                    <a:pt x="139"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733"/>
            <p:cNvSpPr>
              <a:spLocks noEditPoints="1"/>
            </p:cNvSpPr>
            <p:nvPr/>
          </p:nvSpPr>
          <p:spPr bwMode="auto">
            <a:xfrm>
              <a:off x="5043" y="26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737"/>
          <p:cNvSpPr>
            <a:spLocks noChangeAspect="1" noEditPoints="1"/>
          </p:cNvSpPr>
          <p:nvPr/>
        </p:nvSpPr>
        <p:spPr bwMode="auto">
          <a:xfrm>
            <a:off x="1236381" y="2529559"/>
            <a:ext cx="369676" cy="370763"/>
          </a:xfrm>
          <a:custGeom>
            <a:avLst/>
            <a:gdLst>
              <a:gd name="T0" fmla="*/ 245 w 512"/>
              <a:gd name="T1" fmla="*/ 214 h 512"/>
              <a:gd name="T2" fmla="*/ 264 w 512"/>
              <a:gd name="T3" fmla="*/ 224 h 512"/>
              <a:gd name="T4" fmla="*/ 245 w 512"/>
              <a:gd name="T5" fmla="*/ 233 h 512"/>
              <a:gd name="T6" fmla="*/ 245 w 512"/>
              <a:gd name="T7" fmla="*/ 214 h 512"/>
              <a:gd name="T8" fmla="*/ 256 w 512"/>
              <a:gd name="T9" fmla="*/ 298 h 512"/>
              <a:gd name="T10" fmla="*/ 341 w 512"/>
              <a:gd name="T11" fmla="*/ 308 h 512"/>
              <a:gd name="T12" fmla="*/ 256 w 512"/>
              <a:gd name="T13" fmla="*/ 384 h 512"/>
              <a:gd name="T14" fmla="*/ 171 w 512"/>
              <a:gd name="T15" fmla="*/ 308 h 512"/>
              <a:gd name="T16" fmla="*/ 256 w 512"/>
              <a:gd name="T17" fmla="*/ 298 h 512"/>
              <a:gd name="T18" fmla="*/ 280 w 512"/>
              <a:gd name="T19" fmla="*/ 333 h 512"/>
              <a:gd name="T20" fmla="*/ 256 w 512"/>
              <a:gd name="T21" fmla="*/ 341 h 512"/>
              <a:gd name="T22" fmla="*/ 231 w 512"/>
              <a:gd name="T23" fmla="*/ 333 h 512"/>
              <a:gd name="T24" fmla="*/ 216 w 512"/>
              <a:gd name="T25" fmla="*/ 334 h 512"/>
              <a:gd name="T26" fmla="*/ 216 w 512"/>
              <a:gd name="T27" fmla="*/ 349 h 512"/>
              <a:gd name="T28" fmla="*/ 256 w 512"/>
              <a:gd name="T29" fmla="*/ 362 h 512"/>
              <a:gd name="T30" fmla="*/ 295 w 512"/>
              <a:gd name="T31" fmla="*/ 349 h 512"/>
              <a:gd name="T32" fmla="*/ 295 w 512"/>
              <a:gd name="T33" fmla="*/ 334 h 512"/>
              <a:gd name="T34" fmla="*/ 280 w 512"/>
              <a:gd name="T35" fmla="*/ 333 h 512"/>
              <a:gd name="T36" fmla="*/ 256 w 512"/>
              <a:gd name="T37" fmla="*/ 128 h 512"/>
              <a:gd name="T38" fmla="*/ 200 w 512"/>
              <a:gd name="T39" fmla="*/ 149 h 512"/>
              <a:gd name="T40" fmla="*/ 312 w 512"/>
              <a:gd name="T41" fmla="*/ 149 h 512"/>
              <a:gd name="T42" fmla="*/ 256 w 512"/>
              <a:gd name="T43" fmla="*/ 12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05 w 512"/>
              <a:gd name="T55" fmla="*/ 297 h 512"/>
              <a:gd name="T56" fmla="*/ 395 w 512"/>
              <a:gd name="T57" fmla="*/ 170 h 512"/>
              <a:gd name="T58" fmla="*/ 375 w 512"/>
              <a:gd name="T59" fmla="*/ 149 h 512"/>
              <a:gd name="T60" fmla="*/ 339 w 512"/>
              <a:gd name="T61" fmla="*/ 149 h 512"/>
              <a:gd name="T62" fmla="*/ 256 w 512"/>
              <a:gd name="T63" fmla="*/ 106 h 512"/>
              <a:gd name="T64" fmla="*/ 172 w 512"/>
              <a:gd name="T65" fmla="*/ 149 h 512"/>
              <a:gd name="T66" fmla="*/ 137 w 512"/>
              <a:gd name="T67" fmla="*/ 149 h 512"/>
              <a:gd name="T68" fmla="*/ 116 w 512"/>
              <a:gd name="T69" fmla="*/ 169 h 512"/>
              <a:gd name="T70" fmla="*/ 106 w 512"/>
              <a:gd name="T71" fmla="*/ 298 h 512"/>
              <a:gd name="T72" fmla="*/ 127 w 512"/>
              <a:gd name="T73" fmla="*/ 318 h 512"/>
              <a:gd name="T74" fmla="*/ 130 w 512"/>
              <a:gd name="T75" fmla="*/ 318 h 512"/>
              <a:gd name="T76" fmla="*/ 150 w 512"/>
              <a:gd name="T77" fmla="*/ 313 h 512"/>
              <a:gd name="T78" fmla="*/ 256 w 512"/>
              <a:gd name="T79" fmla="*/ 405 h 512"/>
              <a:gd name="T80" fmla="*/ 362 w 512"/>
              <a:gd name="T81" fmla="*/ 313 h 512"/>
              <a:gd name="T82" fmla="*/ 382 w 512"/>
              <a:gd name="T83" fmla="*/ 318 h 512"/>
              <a:gd name="T84" fmla="*/ 384 w 512"/>
              <a:gd name="T85" fmla="*/ 318 h 512"/>
              <a:gd name="T86" fmla="*/ 405 w 512"/>
              <a:gd name="T87" fmla="*/ 297 h 512"/>
              <a:gd name="T88" fmla="*/ 373 w 512"/>
              <a:gd name="T89" fmla="*/ 170 h 512"/>
              <a:gd name="T90" fmla="*/ 383 w 512"/>
              <a:gd name="T91" fmla="*/ 296 h 512"/>
              <a:gd name="T92" fmla="*/ 256 w 512"/>
              <a:gd name="T93" fmla="*/ 277 h 512"/>
              <a:gd name="T94" fmla="*/ 128 w 512"/>
              <a:gd name="T95" fmla="*/ 296 h 512"/>
              <a:gd name="T96" fmla="*/ 138 w 512"/>
              <a:gd name="T97" fmla="*/ 170 h 512"/>
              <a:gd name="T98" fmla="*/ 373 w 512"/>
              <a:gd name="T99" fmla="*/ 170 h 512"/>
              <a:gd name="T100" fmla="*/ 373 w 512"/>
              <a:gd name="T101" fmla="*/ 170 h 512"/>
              <a:gd name="T102" fmla="*/ 298 w 512"/>
              <a:gd name="T103" fmla="*/ 224 h 512"/>
              <a:gd name="T104" fmla="*/ 292 w 512"/>
              <a:gd name="T105" fmla="*/ 214 h 512"/>
              <a:gd name="T106" fmla="*/ 239 w 512"/>
              <a:gd name="T107" fmla="*/ 187 h 512"/>
              <a:gd name="T108" fmla="*/ 229 w 512"/>
              <a:gd name="T109" fmla="*/ 188 h 512"/>
              <a:gd name="T110" fmla="*/ 224 w 512"/>
              <a:gd name="T111" fmla="*/ 197 h 512"/>
              <a:gd name="T112" fmla="*/ 224 w 512"/>
              <a:gd name="T113" fmla="*/ 250 h 512"/>
              <a:gd name="T114" fmla="*/ 229 w 512"/>
              <a:gd name="T115" fmla="*/ 259 h 512"/>
              <a:gd name="T116" fmla="*/ 234 w 512"/>
              <a:gd name="T117" fmla="*/ 261 h 512"/>
              <a:gd name="T118" fmla="*/ 239 w 512"/>
              <a:gd name="T119" fmla="*/ 260 h 512"/>
              <a:gd name="T120" fmla="*/ 292 w 512"/>
              <a:gd name="T121" fmla="*/ 233 h 512"/>
              <a:gd name="T122" fmla="*/ 298 w 512"/>
              <a:gd name="T12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45" y="214"/>
                </a:moveTo>
                <a:cubicBezTo>
                  <a:pt x="264" y="224"/>
                  <a:pt x="264" y="224"/>
                  <a:pt x="264" y="224"/>
                </a:cubicBezTo>
                <a:cubicBezTo>
                  <a:pt x="245" y="233"/>
                  <a:pt x="245" y="233"/>
                  <a:pt x="245" y="233"/>
                </a:cubicBezTo>
                <a:lnTo>
                  <a:pt x="245" y="214"/>
                </a:lnTo>
                <a:close/>
                <a:moveTo>
                  <a:pt x="256" y="298"/>
                </a:moveTo>
                <a:cubicBezTo>
                  <a:pt x="285" y="298"/>
                  <a:pt x="316" y="303"/>
                  <a:pt x="341" y="308"/>
                </a:cubicBezTo>
                <a:cubicBezTo>
                  <a:pt x="328" y="357"/>
                  <a:pt x="298" y="384"/>
                  <a:pt x="256" y="384"/>
                </a:cubicBezTo>
                <a:cubicBezTo>
                  <a:pt x="213" y="384"/>
                  <a:pt x="183" y="357"/>
                  <a:pt x="171" y="308"/>
                </a:cubicBezTo>
                <a:cubicBezTo>
                  <a:pt x="195" y="303"/>
                  <a:pt x="227" y="298"/>
                  <a:pt x="256" y="298"/>
                </a:cubicBezTo>
                <a:close/>
                <a:moveTo>
                  <a:pt x="280" y="333"/>
                </a:moveTo>
                <a:cubicBezTo>
                  <a:pt x="280" y="333"/>
                  <a:pt x="271" y="341"/>
                  <a:pt x="256" y="341"/>
                </a:cubicBezTo>
                <a:cubicBezTo>
                  <a:pt x="240" y="341"/>
                  <a:pt x="231" y="334"/>
                  <a:pt x="231" y="333"/>
                </a:cubicBezTo>
                <a:cubicBezTo>
                  <a:pt x="227" y="329"/>
                  <a:pt x="220" y="329"/>
                  <a:pt x="216" y="334"/>
                </a:cubicBezTo>
                <a:cubicBezTo>
                  <a:pt x="212" y="338"/>
                  <a:pt x="212" y="345"/>
                  <a:pt x="216" y="349"/>
                </a:cubicBezTo>
                <a:cubicBezTo>
                  <a:pt x="218" y="350"/>
                  <a:pt x="231" y="362"/>
                  <a:pt x="256" y="362"/>
                </a:cubicBezTo>
                <a:cubicBezTo>
                  <a:pt x="280" y="362"/>
                  <a:pt x="294" y="350"/>
                  <a:pt x="295" y="349"/>
                </a:cubicBezTo>
                <a:cubicBezTo>
                  <a:pt x="299" y="345"/>
                  <a:pt x="299" y="338"/>
                  <a:pt x="295" y="334"/>
                </a:cubicBezTo>
                <a:cubicBezTo>
                  <a:pt x="291" y="329"/>
                  <a:pt x="285" y="329"/>
                  <a:pt x="280" y="333"/>
                </a:cubicBezTo>
                <a:close/>
                <a:moveTo>
                  <a:pt x="256" y="128"/>
                </a:moveTo>
                <a:cubicBezTo>
                  <a:pt x="233" y="128"/>
                  <a:pt x="214" y="135"/>
                  <a:pt x="200" y="149"/>
                </a:cubicBezTo>
                <a:cubicBezTo>
                  <a:pt x="312" y="149"/>
                  <a:pt x="312" y="149"/>
                  <a:pt x="312" y="149"/>
                </a:cubicBezTo>
                <a:cubicBezTo>
                  <a:pt x="297" y="135"/>
                  <a:pt x="278" y="128"/>
                  <a:pt x="256"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97"/>
                </a:moveTo>
                <a:cubicBezTo>
                  <a:pt x="395" y="170"/>
                  <a:pt x="395" y="170"/>
                  <a:pt x="395" y="170"/>
                </a:cubicBezTo>
                <a:cubicBezTo>
                  <a:pt x="395" y="158"/>
                  <a:pt x="386" y="149"/>
                  <a:pt x="375" y="149"/>
                </a:cubicBezTo>
                <a:cubicBezTo>
                  <a:pt x="339" y="149"/>
                  <a:pt x="339" y="149"/>
                  <a:pt x="339" y="149"/>
                </a:cubicBezTo>
                <a:cubicBezTo>
                  <a:pt x="320" y="121"/>
                  <a:pt x="291" y="106"/>
                  <a:pt x="256" y="106"/>
                </a:cubicBezTo>
                <a:cubicBezTo>
                  <a:pt x="221" y="106"/>
                  <a:pt x="192" y="121"/>
                  <a:pt x="172" y="149"/>
                </a:cubicBezTo>
                <a:cubicBezTo>
                  <a:pt x="137" y="149"/>
                  <a:pt x="137" y="149"/>
                  <a:pt x="137" y="149"/>
                </a:cubicBezTo>
                <a:cubicBezTo>
                  <a:pt x="125" y="149"/>
                  <a:pt x="116" y="158"/>
                  <a:pt x="116" y="169"/>
                </a:cubicBezTo>
                <a:cubicBezTo>
                  <a:pt x="106" y="298"/>
                  <a:pt x="106" y="298"/>
                  <a:pt x="106" y="298"/>
                </a:cubicBezTo>
                <a:cubicBezTo>
                  <a:pt x="106" y="309"/>
                  <a:pt x="116" y="318"/>
                  <a:pt x="127" y="318"/>
                </a:cubicBezTo>
                <a:cubicBezTo>
                  <a:pt x="128" y="318"/>
                  <a:pt x="129" y="318"/>
                  <a:pt x="130" y="318"/>
                </a:cubicBezTo>
                <a:cubicBezTo>
                  <a:pt x="130" y="318"/>
                  <a:pt x="138" y="316"/>
                  <a:pt x="150" y="313"/>
                </a:cubicBezTo>
                <a:cubicBezTo>
                  <a:pt x="165" y="371"/>
                  <a:pt x="203" y="405"/>
                  <a:pt x="256" y="405"/>
                </a:cubicBezTo>
                <a:cubicBezTo>
                  <a:pt x="308" y="405"/>
                  <a:pt x="347" y="371"/>
                  <a:pt x="362" y="313"/>
                </a:cubicBezTo>
                <a:cubicBezTo>
                  <a:pt x="374" y="316"/>
                  <a:pt x="381" y="318"/>
                  <a:pt x="382" y="318"/>
                </a:cubicBezTo>
                <a:cubicBezTo>
                  <a:pt x="382" y="318"/>
                  <a:pt x="383" y="318"/>
                  <a:pt x="384" y="318"/>
                </a:cubicBezTo>
                <a:cubicBezTo>
                  <a:pt x="396" y="318"/>
                  <a:pt x="405" y="309"/>
                  <a:pt x="405" y="297"/>
                </a:cubicBezTo>
                <a:close/>
                <a:moveTo>
                  <a:pt x="373" y="170"/>
                </a:moveTo>
                <a:cubicBezTo>
                  <a:pt x="383" y="296"/>
                  <a:pt x="383" y="296"/>
                  <a:pt x="383" y="296"/>
                </a:cubicBezTo>
                <a:cubicBezTo>
                  <a:pt x="368" y="292"/>
                  <a:pt x="309" y="277"/>
                  <a:pt x="256" y="277"/>
                </a:cubicBezTo>
                <a:cubicBezTo>
                  <a:pt x="203" y="277"/>
                  <a:pt x="143" y="292"/>
                  <a:pt x="128" y="296"/>
                </a:cubicBezTo>
                <a:cubicBezTo>
                  <a:pt x="138" y="170"/>
                  <a:pt x="138" y="170"/>
                  <a:pt x="138" y="170"/>
                </a:cubicBezTo>
                <a:cubicBezTo>
                  <a:pt x="373" y="170"/>
                  <a:pt x="373" y="170"/>
                  <a:pt x="373" y="170"/>
                </a:cubicBezTo>
                <a:cubicBezTo>
                  <a:pt x="373" y="170"/>
                  <a:pt x="373" y="170"/>
                  <a:pt x="373" y="170"/>
                </a:cubicBezTo>
                <a:close/>
                <a:moveTo>
                  <a:pt x="298" y="224"/>
                </a:moveTo>
                <a:cubicBezTo>
                  <a:pt x="298" y="220"/>
                  <a:pt x="296" y="216"/>
                  <a:pt x="292" y="214"/>
                </a:cubicBezTo>
                <a:cubicBezTo>
                  <a:pt x="239" y="187"/>
                  <a:pt x="239" y="187"/>
                  <a:pt x="239" y="187"/>
                </a:cubicBezTo>
                <a:cubicBezTo>
                  <a:pt x="236" y="186"/>
                  <a:pt x="232" y="186"/>
                  <a:pt x="229" y="188"/>
                </a:cubicBezTo>
                <a:cubicBezTo>
                  <a:pt x="226" y="190"/>
                  <a:pt x="224" y="193"/>
                  <a:pt x="224" y="197"/>
                </a:cubicBezTo>
                <a:cubicBezTo>
                  <a:pt x="224" y="250"/>
                  <a:pt x="224" y="250"/>
                  <a:pt x="224" y="250"/>
                </a:cubicBezTo>
                <a:cubicBezTo>
                  <a:pt x="224" y="254"/>
                  <a:pt x="226" y="257"/>
                  <a:pt x="229" y="259"/>
                </a:cubicBezTo>
                <a:cubicBezTo>
                  <a:pt x="230" y="260"/>
                  <a:pt x="232" y="261"/>
                  <a:pt x="234" y="261"/>
                </a:cubicBezTo>
                <a:cubicBezTo>
                  <a:pt x="236" y="261"/>
                  <a:pt x="238" y="261"/>
                  <a:pt x="239" y="260"/>
                </a:cubicBezTo>
                <a:cubicBezTo>
                  <a:pt x="292" y="233"/>
                  <a:pt x="292" y="233"/>
                  <a:pt x="292" y="233"/>
                </a:cubicBezTo>
                <a:cubicBezTo>
                  <a:pt x="296" y="231"/>
                  <a:pt x="298" y="228"/>
                  <a:pt x="298" y="22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6" name="Group 305"/>
          <p:cNvGrpSpPr>
            <a:grpSpLocks noChangeAspect="1"/>
          </p:cNvGrpSpPr>
          <p:nvPr/>
        </p:nvGrpSpPr>
        <p:grpSpPr bwMode="auto">
          <a:xfrm>
            <a:off x="2502384" y="2529559"/>
            <a:ext cx="369676" cy="369676"/>
            <a:chOff x="1161" y="385"/>
            <a:chExt cx="340" cy="340"/>
          </a:xfrm>
          <a:solidFill>
            <a:schemeClr val="accent2"/>
          </a:solidFill>
        </p:grpSpPr>
        <p:sp>
          <p:nvSpPr>
            <p:cNvPr id="307" name="Freeform 180"/>
            <p:cNvSpPr>
              <a:spLocks noEditPoints="1"/>
            </p:cNvSpPr>
            <p:nvPr/>
          </p:nvSpPr>
          <p:spPr bwMode="auto">
            <a:xfrm>
              <a:off x="1260" y="449"/>
              <a:ext cx="156" cy="212"/>
            </a:xfrm>
            <a:custGeom>
              <a:avLst/>
              <a:gdLst>
                <a:gd name="T0" fmla="*/ 224 w 235"/>
                <a:gd name="T1" fmla="*/ 96 h 320"/>
                <a:gd name="T2" fmla="*/ 213 w 235"/>
                <a:gd name="T3" fmla="*/ 106 h 320"/>
                <a:gd name="T4" fmla="*/ 213 w 235"/>
                <a:gd name="T5" fmla="*/ 64 h 320"/>
                <a:gd name="T6" fmla="*/ 192 w 235"/>
                <a:gd name="T7" fmla="*/ 42 h 320"/>
                <a:gd name="T8" fmla="*/ 181 w 235"/>
                <a:gd name="T9" fmla="*/ 42 h 320"/>
                <a:gd name="T10" fmla="*/ 181 w 235"/>
                <a:gd name="T11" fmla="*/ 21 h 320"/>
                <a:gd name="T12" fmla="*/ 160 w 235"/>
                <a:gd name="T13" fmla="*/ 0 h 320"/>
                <a:gd name="T14" fmla="*/ 53 w 235"/>
                <a:gd name="T15" fmla="*/ 0 h 320"/>
                <a:gd name="T16" fmla="*/ 32 w 235"/>
                <a:gd name="T17" fmla="*/ 21 h 320"/>
                <a:gd name="T18" fmla="*/ 32 w 235"/>
                <a:gd name="T19" fmla="*/ 42 h 320"/>
                <a:gd name="T20" fmla="*/ 21 w 235"/>
                <a:gd name="T21" fmla="*/ 42 h 320"/>
                <a:gd name="T22" fmla="*/ 0 w 235"/>
                <a:gd name="T23" fmla="*/ 64 h 320"/>
                <a:gd name="T24" fmla="*/ 0 w 235"/>
                <a:gd name="T25" fmla="*/ 256 h 320"/>
                <a:gd name="T26" fmla="*/ 21 w 235"/>
                <a:gd name="T27" fmla="*/ 277 h 320"/>
                <a:gd name="T28" fmla="*/ 32 w 235"/>
                <a:gd name="T29" fmla="*/ 277 h 320"/>
                <a:gd name="T30" fmla="*/ 32 w 235"/>
                <a:gd name="T31" fmla="*/ 298 h 320"/>
                <a:gd name="T32" fmla="*/ 53 w 235"/>
                <a:gd name="T33" fmla="*/ 320 h 320"/>
                <a:gd name="T34" fmla="*/ 160 w 235"/>
                <a:gd name="T35" fmla="*/ 320 h 320"/>
                <a:gd name="T36" fmla="*/ 181 w 235"/>
                <a:gd name="T37" fmla="*/ 298 h 320"/>
                <a:gd name="T38" fmla="*/ 181 w 235"/>
                <a:gd name="T39" fmla="*/ 277 h 320"/>
                <a:gd name="T40" fmla="*/ 192 w 235"/>
                <a:gd name="T41" fmla="*/ 277 h 320"/>
                <a:gd name="T42" fmla="*/ 213 w 235"/>
                <a:gd name="T43" fmla="*/ 256 h 320"/>
                <a:gd name="T44" fmla="*/ 213 w 235"/>
                <a:gd name="T45" fmla="*/ 138 h 320"/>
                <a:gd name="T46" fmla="*/ 224 w 235"/>
                <a:gd name="T47" fmla="*/ 149 h 320"/>
                <a:gd name="T48" fmla="*/ 235 w 235"/>
                <a:gd name="T49" fmla="*/ 138 h 320"/>
                <a:gd name="T50" fmla="*/ 235 w 235"/>
                <a:gd name="T51" fmla="*/ 106 h 320"/>
                <a:gd name="T52" fmla="*/ 224 w 235"/>
                <a:gd name="T53" fmla="*/ 96 h 320"/>
                <a:gd name="T54" fmla="*/ 53 w 235"/>
                <a:gd name="T55" fmla="*/ 21 h 320"/>
                <a:gd name="T56" fmla="*/ 160 w 235"/>
                <a:gd name="T57" fmla="*/ 21 h 320"/>
                <a:gd name="T58" fmla="*/ 160 w 235"/>
                <a:gd name="T59" fmla="*/ 42 h 320"/>
                <a:gd name="T60" fmla="*/ 53 w 235"/>
                <a:gd name="T61" fmla="*/ 42 h 320"/>
                <a:gd name="T62" fmla="*/ 53 w 235"/>
                <a:gd name="T63" fmla="*/ 21 h 320"/>
                <a:gd name="T64" fmla="*/ 160 w 235"/>
                <a:gd name="T65" fmla="*/ 298 h 320"/>
                <a:gd name="T66" fmla="*/ 53 w 235"/>
                <a:gd name="T67" fmla="*/ 298 h 320"/>
                <a:gd name="T68" fmla="*/ 53 w 235"/>
                <a:gd name="T69" fmla="*/ 277 h 320"/>
                <a:gd name="T70" fmla="*/ 160 w 235"/>
                <a:gd name="T71" fmla="*/ 277 h 320"/>
                <a:gd name="T72" fmla="*/ 160 w 235"/>
                <a:gd name="T73" fmla="*/ 298 h 320"/>
                <a:gd name="T74" fmla="*/ 192 w 235"/>
                <a:gd name="T75" fmla="*/ 256 h 320"/>
                <a:gd name="T76" fmla="*/ 21 w 235"/>
                <a:gd name="T77" fmla="*/ 256 h 320"/>
                <a:gd name="T78" fmla="*/ 21 w 235"/>
                <a:gd name="T79" fmla="*/ 64 h 320"/>
                <a:gd name="T80" fmla="*/ 192 w 235"/>
                <a:gd name="T81" fmla="*/ 64 h 320"/>
                <a:gd name="T82" fmla="*/ 192 w 235"/>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320">
                  <a:moveTo>
                    <a:pt x="224" y="96"/>
                  </a:moveTo>
                  <a:cubicBezTo>
                    <a:pt x="218" y="96"/>
                    <a:pt x="213" y="100"/>
                    <a:pt x="213" y="106"/>
                  </a:cubicBezTo>
                  <a:cubicBezTo>
                    <a:pt x="213" y="64"/>
                    <a:pt x="213" y="64"/>
                    <a:pt x="213" y="64"/>
                  </a:cubicBezTo>
                  <a:cubicBezTo>
                    <a:pt x="213" y="52"/>
                    <a:pt x="204" y="42"/>
                    <a:pt x="192" y="42"/>
                  </a:cubicBezTo>
                  <a:cubicBezTo>
                    <a:pt x="181" y="42"/>
                    <a:pt x="181" y="42"/>
                    <a:pt x="181" y="42"/>
                  </a:cubicBezTo>
                  <a:cubicBezTo>
                    <a:pt x="181" y="21"/>
                    <a:pt x="181" y="21"/>
                    <a:pt x="181" y="21"/>
                  </a:cubicBezTo>
                  <a:cubicBezTo>
                    <a:pt x="181" y="9"/>
                    <a:pt x="172" y="0"/>
                    <a:pt x="160" y="0"/>
                  </a:cubicBezTo>
                  <a:cubicBezTo>
                    <a:pt x="53" y="0"/>
                    <a:pt x="53" y="0"/>
                    <a:pt x="53" y="0"/>
                  </a:cubicBezTo>
                  <a:cubicBezTo>
                    <a:pt x="42" y="0"/>
                    <a:pt x="32" y="9"/>
                    <a:pt x="32" y="21"/>
                  </a:cubicBezTo>
                  <a:cubicBezTo>
                    <a:pt x="32" y="42"/>
                    <a:pt x="32" y="42"/>
                    <a:pt x="32" y="42"/>
                  </a:cubicBezTo>
                  <a:cubicBezTo>
                    <a:pt x="21" y="42"/>
                    <a:pt x="21" y="42"/>
                    <a:pt x="21" y="42"/>
                  </a:cubicBezTo>
                  <a:cubicBezTo>
                    <a:pt x="10" y="42"/>
                    <a:pt x="0" y="52"/>
                    <a:pt x="0" y="64"/>
                  </a:cubicBezTo>
                  <a:cubicBezTo>
                    <a:pt x="0" y="256"/>
                    <a:pt x="0" y="256"/>
                    <a:pt x="0" y="256"/>
                  </a:cubicBezTo>
                  <a:cubicBezTo>
                    <a:pt x="0" y="267"/>
                    <a:pt x="10" y="277"/>
                    <a:pt x="21" y="277"/>
                  </a:cubicBezTo>
                  <a:cubicBezTo>
                    <a:pt x="32" y="277"/>
                    <a:pt x="32" y="277"/>
                    <a:pt x="32" y="277"/>
                  </a:cubicBezTo>
                  <a:cubicBezTo>
                    <a:pt x="32" y="298"/>
                    <a:pt x="32" y="298"/>
                    <a:pt x="32" y="298"/>
                  </a:cubicBezTo>
                  <a:cubicBezTo>
                    <a:pt x="32" y="310"/>
                    <a:pt x="42" y="320"/>
                    <a:pt x="53" y="320"/>
                  </a:cubicBezTo>
                  <a:cubicBezTo>
                    <a:pt x="160" y="320"/>
                    <a:pt x="160" y="320"/>
                    <a:pt x="160" y="320"/>
                  </a:cubicBezTo>
                  <a:cubicBezTo>
                    <a:pt x="172" y="320"/>
                    <a:pt x="181" y="310"/>
                    <a:pt x="181" y="298"/>
                  </a:cubicBezTo>
                  <a:cubicBezTo>
                    <a:pt x="181" y="277"/>
                    <a:pt x="181" y="277"/>
                    <a:pt x="181" y="277"/>
                  </a:cubicBezTo>
                  <a:cubicBezTo>
                    <a:pt x="192" y="277"/>
                    <a:pt x="192" y="277"/>
                    <a:pt x="192" y="277"/>
                  </a:cubicBezTo>
                  <a:cubicBezTo>
                    <a:pt x="204" y="277"/>
                    <a:pt x="213" y="267"/>
                    <a:pt x="213" y="256"/>
                  </a:cubicBezTo>
                  <a:cubicBezTo>
                    <a:pt x="213" y="138"/>
                    <a:pt x="213" y="138"/>
                    <a:pt x="213" y="138"/>
                  </a:cubicBezTo>
                  <a:cubicBezTo>
                    <a:pt x="213" y="144"/>
                    <a:pt x="218" y="149"/>
                    <a:pt x="224" y="149"/>
                  </a:cubicBezTo>
                  <a:cubicBezTo>
                    <a:pt x="230" y="149"/>
                    <a:pt x="235" y="144"/>
                    <a:pt x="235" y="138"/>
                  </a:cubicBezTo>
                  <a:cubicBezTo>
                    <a:pt x="235" y="106"/>
                    <a:pt x="235" y="106"/>
                    <a:pt x="235" y="106"/>
                  </a:cubicBezTo>
                  <a:cubicBezTo>
                    <a:pt x="235" y="100"/>
                    <a:pt x="230" y="96"/>
                    <a:pt x="224" y="96"/>
                  </a:cubicBezTo>
                  <a:close/>
                  <a:moveTo>
                    <a:pt x="53" y="21"/>
                  </a:moveTo>
                  <a:cubicBezTo>
                    <a:pt x="160" y="21"/>
                    <a:pt x="160" y="21"/>
                    <a:pt x="160" y="21"/>
                  </a:cubicBezTo>
                  <a:cubicBezTo>
                    <a:pt x="160" y="42"/>
                    <a:pt x="160" y="42"/>
                    <a:pt x="160" y="42"/>
                  </a:cubicBezTo>
                  <a:cubicBezTo>
                    <a:pt x="53" y="42"/>
                    <a:pt x="53" y="42"/>
                    <a:pt x="53" y="42"/>
                  </a:cubicBezTo>
                  <a:lnTo>
                    <a:pt x="53" y="21"/>
                  </a:lnTo>
                  <a:close/>
                  <a:moveTo>
                    <a:pt x="160" y="298"/>
                  </a:moveTo>
                  <a:cubicBezTo>
                    <a:pt x="53" y="298"/>
                    <a:pt x="53" y="298"/>
                    <a:pt x="53" y="298"/>
                  </a:cubicBezTo>
                  <a:cubicBezTo>
                    <a:pt x="53" y="277"/>
                    <a:pt x="53" y="277"/>
                    <a:pt x="53" y="277"/>
                  </a:cubicBezTo>
                  <a:cubicBezTo>
                    <a:pt x="160" y="277"/>
                    <a:pt x="160" y="277"/>
                    <a:pt x="160" y="277"/>
                  </a:cubicBezTo>
                  <a:lnTo>
                    <a:pt x="160" y="298"/>
                  </a:lnTo>
                  <a:close/>
                  <a:moveTo>
                    <a:pt x="192" y="256"/>
                  </a:moveTo>
                  <a:cubicBezTo>
                    <a:pt x="21" y="256"/>
                    <a:pt x="21" y="256"/>
                    <a:pt x="21" y="256"/>
                  </a:cubicBezTo>
                  <a:cubicBezTo>
                    <a:pt x="21" y="64"/>
                    <a:pt x="21" y="64"/>
                    <a:pt x="21" y="64"/>
                  </a:cubicBezTo>
                  <a:cubicBezTo>
                    <a:pt x="192" y="64"/>
                    <a:pt x="192" y="64"/>
                    <a:pt x="192" y="64"/>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181"/>
            <p:cNvSpPr>
              <a:spLocks noEditPoints="1"/>
            </p:cNvSpPr>
            <p:nvPr/>
          </p:nvSpPr>
          <p:spPr bwMode="auto">
            <a:xfrm>
              <a:off x="116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9" name="Freeform 308"/>
          <p:cNvSpPr>
            <a:spLocks noChangeAspect="1" noEditPoints="1"/>
          </p:cNvSpPr>
          <p:nvPr/>
        </p:nvSpPr>
        <p:spPr bwMode="auto">
          <a:xfrm>
            <a:off x="2080383" y="2529559"/>
            <a:ext cx="369676" cy="370763"/>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0" name="Freeform 230"/>
          <p:cNvSpPr>
            <a:spLocks noChangeAspect="1" noEditPoints="1"/>
          </p:cNvSpPr>
          <p:nvPr/>
        </p:nvSpPr>
        <p:spPr bwMode="auto">
          <a:xfrm>
            <a:off x="2924385" y="2529559"/>
            <a:ext cx="367041" cy="367041"/>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1" name="Group 233"/>
          <p:cNvGrpSpPr>
            <a:grpSpLocks noChangeAspect="1"/>
          </p:cNvGrpSpPr>
          <p:nvPr/>
        </p:nvGrpSpPr>
        <p:grpSpPr bwMode="auto">
          <a:xfrm>
            <a:off x="3343751" y="2529559"/>
            <a:ext cx="367041" cy="367041"/>
            <a:chOff x="3475" y="720"/>
            <a:chExt cx="340" cy="340"/>
          </a:xfrm>
          <a:solidFill>
            <a:schemeClr val="accent3"/>
          </a:solidFill>
        </p:grpSpPr>
        <p:sp>
          <p:nvSpPr>
            <p:cNvPr id="312" name="Freeform 234"/>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235"/>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4" name="Group 887"/>
          <p:cNvGrpSpPr>
            <a:grpSpLocks noChangeAspect="1"/>
          </p:cNvGrpSpPr>
          <p:nvPr/>
        </p:nvGrpSpPr>
        <p:grpSpPr bwMode="auto">
          <a:xfrm>
            <a:off x="3763117" y="2529559"/>
            <a:ext cx="367041" cy="367041"/>
            <a:chOff x="3302" y="3789"/>
            <a:chExt cx="340" cy="340"/>
          </a:xfrm>
          <a:solidFill>
            <a:schemeClr val="accent4"/>
          </a:solidFill>
        </p:grpSpPr>
        <p:sp>
          <p:nvSpPr>
            <p:cNvPr id="315"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904"/>
          <p:cNvGrpSpPr>
            <a:grpSpLocks noChangeAspect="1"/>
          </p:cNvGrpSpPr>
          <p:nvPr/>
        </p:nvGrpSpPr>
        <p:grpSpPr bwMode="auto">
          <a:xfrm>
            <a:off x="4182483" y="2529559"/>
            <a:ext cx="368121" cy="367041"/>
            <a:chOff x="3518" y="3551"/>
            <a:chExt cx="341" cy="340"/>
          </a:xfrm>
          <a:solidFill>
            <a:schemeClr val="accent4"/>
          </a:solidFill>
        </p:grpSpPr>
        <p:sp>
          <p:nvSpPr>
            <p:cNvPr id="319" name="Freeform 905"/>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906"/>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1" name="Freeform 486"/>
          <p:cNvSpPr>
            <a:spLocks noChangeAspect="1" noEditPoints="1"/>
          </p:cNvSpPr>
          <p:nvPr/>
        </p:nvSpPr>
        <p:spPr bwMode="auto">
          <a:xfrm>
            <a:off x="4602929" y="252955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2" name="Group 489"/>
          <p:cNvGrpSpPr>
            <a:grpSpLocks noChangeAspect="1"/>
          </p:cNvGrpSpPr>
          <p:nvPr/>
        </p:nvGrpSpPr>
        <p:grpSpPr bwMode="auto">
          <a:xfrm>
            <a:off x="5022295" y="2529559"/>
            <a:ext cx="367041" cy="367041"/>
            <a:chOff x="2920" y="2264"/>
            <a:chExt cx="340" cy="340"/>
          </a:xfrm>
          <a:solidFill>
            <a:schemeClr val="accent6"/>
          </a:solidFill>
        </p:grpSpPr>
        <p:sp>
          <p:nvSpPr>
            <p:cNvPr id="323"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6" name="Freeform 956"/>
          <p:cNvSpPr>
            <a:spLocks noChangeAspect="1" noEditPoints="1"/>
          </p:cNvSpPr>
          <p:nvPr/>
        </p:nvSpPr>
        <p:spPr bwMode="auto">
          <a:xfrm>
            <a:off x="5441661" y="2529559"/>
            <a:ext cx="367041" cy="368120"/>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7" name="Group 959"/>
          <p:cNvGrpSpPr>
            <a:grpSpLocks noChangeAspect="1"/>
          </p:cNvGrpSpPr>
          <p:nvPr/>
        </p:nvGrpSpPr>
        <p:grpSpPr bwMode="auto">
          <a:xfrm>
            <a:off x="5861027" y="2529559"/>
            <a:ext cx="367041" cy="367041"/>
            <a:chOff x="378" y="3986"/>
            <a:chExt cx="340" cy="340"/>
          </a:xfrm>
          <a:solidFill>
            <a:schemeClr val="accent5"/>
          </a:solidFill>
        </p:grpSpPr>
        <p:sp>
          <p:nvSpPr>
            <p:cNvPr id="328" name="Freeform 960"/>
            <p:cNvSpPr>
              <a:spLocks noEditPoints="1"/>
            </p:cNvSpPr>
            <p:nvPr/>
          </p:nvSpPr>
          <p:spPr bwMode="auto">
            <a:xfrm>
              <a:off x="378" y="39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961"/>
            <p:cNvSpPr>
              <a:spLocks noEditPoints="1"/>
            </p:cNvSpPr>
            <p:nvPr/>
          </p:nvSpPr>
          <p:spPr bwMode="auto">
            <a:xfrm>
              <a:off x="456" y="4064"/>
              <a:ext cx="184" cy="198"/>
            </a:xfrm>
            <a:custGeom>
              <a:avLst/>
              <a:gdLst>
                <a:gd name="T0" fmla="*/ 139 w 277"/>
                <a:gd name="T1" fmla="*/ 107 h 299"/>
                <a:gd name="T2" fmla="*/ 171 w 277"/>
                <a:gd name="T3" fmla="*/ 75 h 299"/>
                <a:gd name="T4" fmla="*/ 139 w 277"/>
                <a:gd name="T5" fmla="*/ 43 h 299"/>
                <a:gd name="T6" fmla="*/ 107 w 277"/>
                <a:gd name="T7" fmla="*/ 75 h 299"/>
                <a:gd name="T8" fmla="*/ 139 w 277"/>
                <a:gd name="T9" fmla="*/ 107 h 299"/>
                <a:gd name="T10" fmla="*/ 139 w 277"/>
                <a:gd name="T11" fmla="*/ 64 h 299"/>
                <a:gd name="T12" fmla="*/ 149 w 277"/>
                <a:gd name="T13" fmla="*/ 75 h 299"/>
                <a:gd name="T14" fmla="*/ 139 w 277"/>
                <a:gd name="T15" fmla="*/ 85 h 299"/>
                <a:gd name="T16" fmla="*/ 128 w 277"/>
                <a:gd name="T17" fmla="*/ 75 h 299"/>
                <a:gd name="T18" fmla="*/ 139 w 277"/>
                <a:gd name="T19" fmla="*/ 64 h 299"/>
                <a:gd name="T20" fmla="*/ 171 w 277"/>
                <a:gd name="T21" fmla="*/ 203 h 299"/>
                <a:gd name="T22" fmla="*/ 139 w 277"/>
                <a:gd name="T23" fmla="*/ 171 h 299"/>
                <a:gd name="T24" fmla="*/ 107 w 277"/>
                <a:gd name="T25" fmla="*/ 203 h 299"/>
                <a:gd name="T26" fmla="*/ 139 w 277"/>
                <a:gd name="T27" fmla="*/ 235 h 299"/>
                <a:gd name="T28" fmla="*/ 171 w 277"/>
                <a:gd name="T29" fmla="*/ 203 h 299"/>
                <a:gd name="T30" fmla="*/ 128 w 277"/>
                <a:gd name="T31" fmla="*/ 203 h 299"/>
                <a:gd name="T32" fmla="*/ 139 w 277"/>
                <a:gd name="T33" fmla="*/ 192 h 299"/>
                <a:gd name="T34" fmla="*/ 149 w 277"/>
                <a:gd name="T35" fmla="*/ 203 h 299"/>
                <a:gd name="T36" fmla="*/ 139 w 277"/>
                <a:gd name="T37" fmla="*/ 213 h 299"/>
                <a:gd name="T38" fmla="*/ 128 w 277"/>
                <a:gd name="T39" fmla="*/ 203 h 299"/>
                <a:gd name="T40" fmla="*/ 203 w 277"/>
                <a:gd name="T41" fmla="*/ 171 h 299"/>
                <a:gd name="T42" fmla="*/ 235 w 277"/>
                <a:gd name="T43" fmla="*/ 139 h 299"/>
                <a:gd name="T44" fmla="*/ 203 w 277"/>
                <a:gd name="T45" fmla="*/ 107 h 299"/>
                <a:gd name="T46" fmla="*/ 171 w 277"/>
                <a:gd name="T47" fmla="*/ 139 h 299"/>
                <a:gd name="T48" fmla="*/ 203 w 277"/>
                <a:gd name="T49" fmla="*/ 171 h 299"/>
                <a:gd name="T50" fmla="*/ 203 w 277"/>
                <a:gd name="T51" fmla="*/ 128 h 299"/>
                <a:gd name="T52" fmla="*/ 213 w 277"/>
                <a:gd name="T53" fmla="*/ 139 h 299"/>
                <a:gd name="T54" fmla="*/ 203 w 277"/>
                <a:gd name="T55" fmla="*/ 149 h 299"/>
                <a:gd name="T56" fmla="*/ 192 w 277"/>
                <a:gd name="T57" fmla="*/ 139 h 299"/>
                <a:gd name="T58" fmla="*/ 203 w 277"/>
                <a:gd name="T59" fmla="*/ 128 h 299"/>
                <a:gd name="T60" fmla="*/ 75 w 277"/>
                <a:gd name="T61" fmla="*/ 107 h 299"/>
                <a:gd name="T62" fmla="*/ 43 w 277"/>
                <a:gd name="T63" fmla="*/ 139 h 299"/>
                <a:gd name="T64" fmla="*/ 75 w 277"/>
                <a:gd name="T65" fmla="*/ 171 h 299"/>
                <a:gd name="T66" fmla="*/ 107 w 277"/>
                <a:gd name="T67" fmla="*/ 139 h 299"/>
                <a:gd name="T68" fmla="*/ 75 w 277"/>
                <a:gd name="T69" fmla="*/ 107 h 299"/>
                <a:gd name="T70" fmla="*/ 75 w 277"/>
                <a:gd name="T71" fmla="*/ 149 h 299"/>
                <a:gd name="T72" fmla="*/ 64 w 277"/>
                <a:gd name="T73" fmla="*/ 139 h 299"/>
                <a:gd name="T74" fmla="*/ 75 w 277"/>
                <a:gd name="T75" fmla="*/ 128 h 299"/>
                <a:gd name="T76" fmla="*/ 85 w 277"/>
                <a:gd name="T77" fmla="*/ 139 h 299"/>
                <a:gd name="T78" fmla="*/ 75 w 277"/>
                <a:gd name="T79" fmla="*/ 149 h 299"/>
                <a:gd name="T80" fmla="*/ 205 w 277"/>
                <a:gd name="T81" fmla="*/ 260 h 299"/>
                <a:gd name="T82" fmla="*/ 277 w 277"/>
                <a:gd name="T83" fmla="*/ 139 h 299"/>
                <a:gd name="T84" fmla="*/ 139 w 277"/>
                <a:gd name="T85" fmla="*/ 0 h 299"/>
                <a:gd name="T86" fmla="*/ 0 w 277"/>
                <a:gd name="T87" fmla="*/ 139 h 299"/>
                <a:gd name="T88" fmla="*/ 139 w 277"/>
                <a:gd name="T89" fmla="*/ 277 h 299"/>
                <a:gd name="T90" fmla="*/ 139 w 277"/>
                <a:gd name="T91" fmla="*/ 277 h 299"/>
                <a:gd name="T92" fmla="*/ 139 w 277"/>
                <a:gd name="T93" fmla="*/ 277 h 299"/>
                <a:gd name="T94" fmla="*/ 239 w 277"/>
                <a:gd name="T95" fmla="*/ 296 h 299"/>
                <a:gd name="T96" fmla="*/ 245 w 277"/>
                <a:gd name="T97" fmla="*/ 299 h 299"/>
                <a:gd name="T98" fmla="*/ 254 w 277"/>
                <a:gd name="T99" fmla="*/ 295 h 299"/>
                <a:gd name="T100" fmla="*/ 252 w 277"/>
                <a:gd name="T101" fmla="*/ 280 h 299"/>
                <a:gd name="T102" fmla="*/ 205 w 277"/>
                <a:gd name="T103" fmla="*/ 260 h 299"/>
                <a:gd name="T104" fmla="*/ 21 w 277"/>
                <a:gd name="T105" fmla="*/ 139 h 299"/>
                <a:gd name="T106" fmla="*/ 139 w 277"/>
                <a:gd name="T107" fmla="*/ 21 h 299"/>
                <a:gd name="T108" fmla="*/ 256 w 277"/>
                <a:gd name="T109" fmla="*/ 139 h 299"/>
                <a:gd name="T110" fmla="*/ 139 w 277"/>
                <a:gd name="T111" fmla="*/ 256 h 299"/>
                <a:gd name="T112" fmla="*/ 21 w 277"/>
                <a:gd name="T113" fmla="*/ 139 h 299"/>
                <a:gd name="T114" fmla="*/ 139 w 277"/>
                <a:gd name="T115" fmla="*/ 128 h 299"/>
                <a:gd name="T116" fmla="*/ 149 w 277"/>
                <a:gd name="T117" fmla="*/ 139 h 299"/>
                <a:gd name="T118" fmla="*/ 139 w 277"/>
                <a:gd name="T119" fmla="*/ 149 h 299"/>
                <a:gd name="T120" fmla="*/ 128 w 277"/>
                <a:gd name="T121" fmla="*/ 139 h 299"/>
                <a:gd name="T122" fmla="*/ 139 w 277"/>
                <a:gd name="T123" fmla="*/ 12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99">
                  <a:moveTo>
                    <a:pt x="139" y="107"/>
                  </a:moveTo>
                  <a:cubicBezTo>
                    <a:pt x="156" y="107"/>
                    <a:pt x="171" y="92"/>
                    <a:pt x="171" y="75"/>
                  </a:cubicBezTo>
                  <a:cubicBezTo>
                    <a:pt x="171" y="57"/>
                    <a:pt x="156" y="43"/>
                    <a:pt x="139" y="43"/>
                  </a:cubicBezTo>
                  <a:cubicBezTo>
                    <a:pt x="121" y="43"/>
                    <a:pt x="107" y="57"/>
                    <a:pt x="107" y="75"/>
                  </a:cubicBezTo>
                  <a:cubicBezTo>
                    <a:pt x="107" y="92"/>
                    <a:pt x="121" y="107"/>
                    <a:pt x="139" y="107"/>
                  </a:cubicBezTo>
                  <a:close/>
                  <a:moveTo>
                    <a:pt x="139" y="64"/>
                  </a:moveTo>
                  <a:cubicBezTo>
                    <a:pt x="145" y="64"/>
                    <a:pt x="149" y="69"/>
                    <a:pt x="149" y="75"/>
                  </a:cubicBezTo>
                  <a:cubicBezTo>
                    <a:pt x="149" y="81"/>
                    <a:pt x="145" y="85"/>
                    <a:pt x="139" y="85"/>
                  </a:cubicBezTo>
                  <a:cubicBezTo>
                    <a:pt x="133" y="85"/>
                    <a:pt x="128" y="81"/>
                    <a:pt x="128" y="75"/>
                  </a:cubicBezTo>
                  <a:cubicBezTo>
                    <a:pt x="128" y="69"/>
                    <a:pt x="133" y="64"/>
                    <a:pt x="139" y="64"/>
                  </a:cubicBezTo>
                  <a:close/>
                  <a:moveTo>
                    <a:pt x="171" y="203"/>
                  </a:moveTo>
                  <a:cubicBezTo>
                    <a:pt x="171" y="185"/>
                    <a:pt x="156" y="171"/>
                    <a:pt x="139" y="171"/>
                  </a:cubicBezTo>
                  <a:cubicBezTo>
                    <a:pt x="121" y="171"/>
                    <a:pt x="107" y="185"/>
                    <a:pt x="107" y="203"/>
                  </a:cubicBezTo>
                  <a:cubicBezTo>
                    <a:pt x="107" y="220"/>
                    <a:pt x="121" y="235"/>
                    <a:pt x="139" y="235"/>
                  </a:cubicBezTo>
                  <a:cubicBezTo>
                    <a:pt x="156" y="235"/>
                    <a:pt x="171" y="220"/>
                    <a:pt x="171" y="203"/>
                  </a:cubicBezTo>
                  <a:close/>
                  <a:moveTo>
                    <a:pt x="128" y="203"/>
                  </a:moveTo>
                  <a:cubicBezTo>
                    <a:pt x="128" y="197"/>
                    <a:pt x="133" y="192"/>
                    <a:pt x="139" y="192"/>
                  </a:cubicBezTo>
                  <a:cubicBezTo>
                    <a:pt x="145" y="192"/>
                    <a:pt x="149" y="197"/>
                    <a:pt x="149" y="203"/>
                  </a:cubicBezTo>
                  <a:cubicBezTo>
                    <a:pt x="149" y="209"/>
                    <a:pt x="145" y="213"/>
                    <a:pt x="139" y="213"/>
                  </a:cubicBezTo>
                  <a:cubicBezTo>
                    <a:pt x="133" y="213"/>
                    <a:pt x="128" y="209"/>
                    <a:pt x="128" y="203"/>
                  </a:cubicBezTo>
                  <a:close/>
                  <a:moveTo>
                    <a:pt x="203" y="171"/>
                  </a:moveTo>
                  <a:cubicBezTo>
                    <a:pt x="220" y="171"/>
                    <a:pt x="235" y="156"/>
                    <a:pt x="235" y="139"/>
                  </a:cubicBezTo>
                  <a:cubicBezTo>
                    <a:pt x="235" y="121"/>
                    <a:pt x="220" y="107"/>
                    <a:pt x="203" y="107"/>
                  </a:cubicBezTo>
                  <a:cubicBezTo>
                    <a:pt x="185" y="107"/>
                    <a:pt x="171" y="121"/>
                    <a:pt x="171" y="139"/>
                  </a:cubicBezTo>
                  <a:cubicBezTo>
                    <a:pt x="171" y="156"/>
                    <a:pt x="185" y="171"/>
                    <a:pt x="203" y="171"/>
                  </a:cubicBezTo>
                  <a:close/>
                  <a:moveTo>
                    <a:pt x="203" y="128"/>
                  </a:moveTo>
                  <a:cubicBezTo>
                    <a:pt x="209" y="128"/>
                    <a:pt x="213" y="133"/>
                    <a:pt x="213" y="139"/>
                  </a:cubicBezTo>
                  <a:cubicBezTo>
                    <a:pt x="213" y="145"/>
                    <a:pt x="209" y="149"/>
                    <a:pt x="203" y="149"/>
                  </a:cubicBezTo>
                  <a:cubicBezTo>
                    <a:pt x="197" y="149"/>
                    <a:pt x="192" y="145"/>
                    <a:pt x="192" y="139"/>
                  </a:cubicBezTo>
                  <a:cubicBezTo>
                    <a:pt x="192" y="133"/>
                    <a:pt x="197" y="128"/>
                    <a:pt x="203" y="128"/>
                  </a:cubicBezTo>
                  <a:close/>
                  <a:moveTo>
                    <a:pt x="75" y="107"/>
                  </a:moveTo>
                  <a:cubicBezTo>
                    <a:pt x="57" y="107"/>
                    <a:pt x="43" y="121"/>
                    <a:pt x="43" y="139"/>
                  </a:cubicBezTo>
                  <a:cubicBezTo>
                    <a:pt x="43" y="156"/>
                    <a:pt x="57" y="171"/>
                    <a:pt x="75" y="171"/>
                  </a:cubicBezTo>
                  <a:cubicBezTo>
                    <a:pt x="92" y="171"/>
                    <a:pt x="107" y="156"/>
                    <a:pt x="107" y="139"/>
                  </a:cubicBezTo>
                  <a:cubicBezTo>
                    <a:pt x="107" y="121"/>
                    <a:pt x="92" y="107"/>
                    <a:pt x="75" y="107"/>
                  </a:cubicBezTo>
                  <a:close/>
                  <a:moveTo>
                    <a:pt x="75" y="149"/>
                  </a:moveTo>
                  <a:cubicBezTo>
                    <a:pt x="69" y="149"/>
                    <a:pt x="64" y="145"/>
                    <a:pt x="64" y="139"/>
                  </a:cubicBezTo>
                  <a:cubicBezTo>
                    <a:pt x="64" y="133"/>
                    <a:pt x="69" y="128"/>
                    <a:pt x="75" y="128"/>
                  </a:cubicBezTo>
                  <a:cubicBezTo>
                    <a:pt x="81" y="128"/>
                    <a:pt x="85" y="133"/>
                    <a:pt x="85" y="139"/>
                  </a:cubicBezTo>
                  <a:cubicBezTo>
                    <a:pt x="85" y="145"/>
                    <a:pt x="81" y="149"/>
                    <a:pt x="75" y="149"/>
                  </a:cubicBezTo>
                  <a:close/>
                  <a:moveTo>
                    <a:pt x="205" y="260"/>
                  </a:moveTo>
                  <a:cubicBezTo>
                    <a:pt x="248" y="237"/>
                    <a:pt x="277" y="191"/>
                    <a:pt x="277" y="139"/>
                  </a:cubicBezTo>
                  <a:cubicBezTo>
                    <a:pt x="277" y="62"/>
                    <a:pt x="215" y="0"/>
                    <a:pt x="139" y="0"/>
                  </a:cubicBezTo>
                  <a:cubicBezTo>
                    <a:pt x="62" y="0"/>
                    <a:pt x="0" y="62"/>
                    <a:pt x="0" y="139"/>
                  </a:cubicBezTo>
                  <a:cubicBezTo>
                    <a:pt x="0" y="215"/>
                    <a:pt x="62" y="277"/>
                    <a:pt x="139" y="277"/>
                  </a:cubicBezTo>
                  <a:cubicBezTo>
                    <a:pt x="139" y="277"/>
                    <a:pt x="139" y="277"/>
                    <a:pt x="139" y="277"/>
                  </a:cubicBezTo>
                  <a:cubicBezTo>
                    <a:pt x="139" y="277"/>
                    <a:pt x="139" y="277"/>
                    <a:pt x="139" y="277"/>
                  </a:cubicBezTo>
                  <a:cubicBezTo>
                    <a:pt x="159" y="277"/>
                    <a:pt x="215" y="277"/>
                    <a:pt x="239" y="296"/>
                  </a:cubicBezTo>
                  <a:cubicBezTo>
                    <a:pt x="241" y="298"/>
                    <a:pt x="243" y="299"/>
                    <a:pt x="245" y="299"/>
                  </a:cubicBezTo>
                  <a:cubicBezTo>
                    <a:pt x="248" y="299"/>
                    <a:pt x="252" y="297"/>
                    <a:pt x="254" y="295"/>
                  </a:cubicBezTo>
                  <a:cubicBezTo>
                    <a:pt x="257" y="290"/>
                    <a:pt x="257" y="283"/>
                    <a:pt x="252" y="280"/>
                  </a:cubicBezTo>
                  <a:cubicBezTo>
                    <a:pt x="240" y="270"/>
                    <a:pt x="222" y="264"/>
                    <a:pt x="205" y="260"/>
                  </a:cubicBezTo>
                  <a:close/>
                  <a:moveTo>
                    <a:pt x="21" y="139"/>
                  </a:moveTo>
                  <a:cubicBezTo>
                    <a:pt x="21" y="74"/>
                    <a:pt x="74" y="21"/>
                    <a:pt x="139" y="21"/>
                  </a:cubicBezTo>
                  <a:cubicBezTo>
                    <a:pt x="203" y="21"/>
                    <a:pt x="256" y="74"/>
                    <a:pt x="256" y="139"/>
                  </a:cubicBezTo>
                  <a:cubicBezTo>
                    <a:pt x="256" y="203"/>
                    <a:pt x="203" y="256"/>
                    <a:pt x="139" y="256"/>
                  </a:cubicBezTo>
                  <a:cubicBezTo>
                    <a:pt x="74" y="256"/>
                    <a:pt x="21" y="203"/>
                    <a:pt x="21" y="139"/>
                  </a:cubicBezTo>
                  <a:close/>
                  <a:moveTo>
                    <a:pt x="139" y="128"/>
                  </a:moveTo>
                  <a:cubicBezTo>
                    <a:pt x="145" y="128"/>
                    <a:pt x="149" y="133"/>
                    <a:pt x="149" y="139"/>
                  </a:cubicBezTo>
                  <a:cubicBezTo>
                    <a:pt x="149" y="145"/>
                    <a:pt x="145" y="149"/>
                    <a:pt x="139" y="149"/>
                  </a:cubicBezTo>
                  <a:cubicBezTo>
                    <a:pt x="133" y="149"/>
                    <a:pt x="128" y="145"/>
                    <a:pt x="128" y="139"/>
                  </a:cubicBezTo>
                  <a:cubicBezTo>
                    <a:pt x="128" y="133"/>
                    <a:pt x="133" y="128"/>
                    <a:pt x="139"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0" name="Freeform 814"/>
          <p:cNvSpPr>
            <a:spLocks noChangeAspect="1" noEditPoints="1"/>
          </p:cNvSpPr>
          <p:nvPr/>
        </p:nvSpPr>
        <p:spPr bwMode="auto">
          <a:xfrm>
            <a:off x="6280393" y="2529559"/>
            <a:ext cx="367982" cy="369064"/>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1" name="Group 817"/>
          <p:cNvGrpSpPr>
            <a:grpSpLocks noChangeAspect="1"/>
          </p:cNvGrpSpPr>
          <p:nvPr/>
        </p:nvGrpSpPr>
        <p:grpSpPr bwMode="auto">
          <a:xfrm>
            <a:off x="6700700" y="2529559"/>
            <a:ext cx="367982" cy="367982"/>
            <a:chOff x="5262" y="3737"/>
            <a:chExt cx="340" cy="340"/>
          </a:xfrm>
          <a:solidFill>
            <a:schemeClr val="accent3"/>
          </a:solidFill>
        </p:grpSpPr>
        <p:sp>
          <p:nvSpPr>
            <p:cNvPr id="332" name="Freeform 818"/>
            <p:cNvSpPr>
              <a:spLocks noEditPoints="1"/>
            </p:cNvSpPr>
            <p:nvPr/>
          </p:nvSpPr>
          <p:spPr bwMode="auto">
            <a:xfrm>
              <a:off x="5326" y="3822"/>
              <a:ext cx="212" cy="163"/>
            </a:xfrm>
            <a:custGeom>
              <a:avLst/>
              <a:gdLst>
                <a:gd name="T0" fmla="*/ 309 w 320"/>
                <a:gd name="T1" fmla="*/ 32 h 245"/>
                <a:gd name="T2" fmla="*/ 259 w 320"/>
                <a:gd name="T3" fmla="*/ 32 h 245"/>
                <a:gd name="T4" fmla="*/ 244 w 320"/>
                <a:gd name="T5" fmla="*/ 5 h 245"/>
                <a:gd name="T6" fmla="*/ 234 w 320"/>
                <a:gd name="T7" fmla="*/ 0 h 245"/>
                <a:gd name="T8" fmla="*/ 85 w 320"/>
                <a:gd name="T9" fmla="*/ 0 h 245"/>
                <a:gd name="T10" fmla="*/ 77 w 320"/>
                <a:gd name="T11" fmla="*/ 4 h 245"/>
                <a:gd name="T12" fmla="*/ 55 w 320"/>
                <a:gd name="T13" fmla="*/ 32 h 245"/>
                <a:gd name="T14" fmla="*/ 10 w 320"/>
                <a:gd name="T15" fmla="*/ 32 h 245"/>
                <a:gd name="T16" fmla="*/ 0 w 320"/>
                <a:gd name="T17" fmla="*/ 42 h 245"/>
                <a:gd name="T18" fmla="*/ 0 w 320"/>
                <a:gd name="T19" fmla="*/ 234 h 245"/>
                <a:gd name="T20" fmla="*/ 10 w 320"/>
                <a:gd name="T21" fmla="*/ 245 h 245"/>
                <a:gd name="T22" fmla="*/ 309 w 320"/>
                <a:gd name="T23" fmla="*/ 245 h 245"/>
                <a:gd name="T24" fmla="*/ 320 w 320"/>
                <a:gd name="T25" fmla="*/ 234 h 245"/>
                <a:gd name="T26" fmla="*/ 320 w 320"/>
                <a:gd name="T27" fmla="*/ 42 h 245"/>
                <a:gd name="T28" fmla="*/ 309 w 320"/>
                <a:gd name="T29" fmla="*/ 32 h 245"/>
                <a:gd name="T30" fmla="*/ 298 w 320"/>
                <a:gd name="T31" fmla="*/ 224 h 245"/>
                <a:gd name="T32" fmla="*/ 21 w 320"/>
                <a:gd name="T33" fmla="*/ 224 h 245"/>
                <a:gd name="T34" fmla="*/ 21 w 320"/>
                <a:gd name="T35" fmla="*/ 53 h 245"/>
                <a:gd name="T36" fmla="*/ 61 w 320"/>
                <a:gd name="T37" fmla="*/ 53 h 245"/>
                <a:gd name="T38" fmla="*/ 69 w 320"/>
                <a:gd name="T39" fmla="*/ 49 h 245"/>
                <a:gd name="T40" fmla="*/ 90 w 320"/>
                <a:gd name="T41" fmla="*/ 21 h 245"/>
                <a:gd name="T42" fmla="*/ 228 w 320"/>
                <a:gd name="T43" fmla="*/ 21 h 245"/>
                <a:gd name="T44" fmla="*/ 243 w 320"/>
                <a:gd name="T45" fmla="*/ 48 h 245"/>
                <a:gd name="T46" fmla="*/ 253 w 320"/>
                <a:gd name="T47" fmla="*/ 53 h 245"/>
                <a:gd name="T48" fmla="*/ 298 w 320"/>
                <a:gd name="T49" fmla="*/ 53 h 245"/>
                <a:gd name="T50" fmla="*/ 298 w 320"/>
                <a:gd name="T51" fmla="*/ 224 h 245"/>
                <a:gd name="T52" fmla="*/ 160 w 320"/>
                <a:gd name="T53" fmla="*/ 53 h 245"/>
                <a:gd name="T54" fmla="*/ 85 w 320"/>
                <a:gd name="T55" fmla="*/ 128 h 245"/>
                <a:gd name="T56" fmla="*/ 160 w 320"/>
                <a:gd name="T57" fmla="*/ 202 h 245"/>
                <a:gd name="T58" fmla="*/ 234 w 320"/>
                <a:gd name="T59" fmla="*/ 128 h 245"/>
                <a:gd name="T60" fmla="*/ 160 w 320"/>
                <a:gd name="T61" fmla="*/ 53 h 245"/>
                <a:gd name="T62" fmla="*/ 160 w 320"/>
                <a:gd name="T63" fmla="*/ 181 h 245"/>
                <a:gd name="T64" fmla="*/ 106 w 320"/>
                <a:gd name="T65" fmla="*/ 128 h 245"/>
                <a:gd name="T66" fmla="*/ 160 w 320"/>
                <a:gd name="T67" fmla="*/ 74 h 245"/>
                <a:gd name="T68" fmla="*/ 213 w 320"/>
                <a:gd name="T69" fmla="*/ 128 h 245"/>
                <a:gd name="T70" fmla="*/ 160 w 320"/>
                <a:gd name="T71" fmla="*/ 18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45">
                  <a:moveTo>
                    <a:pt x="309" y="32"/>
                  </a:moveTo>
                  <a:cubicBezTo>
                    <a:pt x="259" y="32"/>
                    <a:pt x="259" y="32"/>
                    <a:pt x="259" y="32"/>
                  </a:cubicBezTo>
                  <a:cubicBezTo>
                    <a:pt x="244" y="5"/>
                    <a:pt x="244" y="5"/>
                    <a:pt x="244" y="5"/>
                  </a:cubicBezTo>
                  <a:cubicBezTo>
                    <a:pt x="242" y="2"/>
                    <a:pt x="238" y="0"/>
                    <a:pt x="234" y="0"/>
                  </a:cubicBezTo>
                  <a:cubicBezTo>
                    <a:pt x="85" y="0"/>
                    <a:pt x="85" y="0"/>
                    <a:pt x="85" y="0"/>
                  </a:cubicBezTo>
                  <a:cubicBezTo>
                    <a:pt x="82" y="0"/>
                    <a:pt x="79" y="1"/>
                    <a:pt x="77" y="4"/>
                  </a:cubicBezTo>
                  <a:cubicBezTo>
                    <a:pt x="55" y="32"/>
                    <a:pt x="55" y="32"/>
                    <a:pt x="55" y="32"/>
                  </a:cubicBezTo>
                  <a:cubicBezTo>
                    <a:pt x="10" y="32"/>
                    <a:pt x="10" y="32"/>
                    <a:pt x="10" y="32"/>
                  </a:cubicBezTo>
                  <a:cubicBezTo>
                    <a:pt x="4" y="32"/>
                    <a:pt x="0" y="36"/>
                    <a:pt x="0" y="42"/>
                  </a:cubicBezTo>
                  <a:cubicBezTo>
                    <a:pt x="0" y="234"/>
                    <a:pt x="0" y="234"/>
                    <a:pt x="0" y="234"/>
                  </a:cubicBezTo>
                  <a:cubicBezTo>
                    <a:pt x="0" y="240"/>
                    <a:pt x="4" y="245"/>
                    <a:pt x="10" y="245"/>
                  </a:cubicBezTo>
                  <a:cubicBezTo>
                    <a:pt x="309" y="245"/>
                    <a:pt x="309" y="245"/>
                    <a:pt x="309" y="245"/>
                  </a:cubicBezTo>
                  <a:cubicBezTo>
                    <a:pt x="315" y="245"/>
                    <a:pt x="320" y="240"/>
                    <a:pt x="320" y="234"/>
                  </a:cubicBezTo>
                  <a:cubicBezTo>
                    <a:pt x="320" y="42"/>
                    <a:pt x="320" y="42"/>
                    <a:pt x="320" y="42"/>
                  </a:cubicBezTo>
                  <a:cubicBezTo>
                    <a:pt x="320" y="36"/>
                    <a:pt x="315" y="32"/>
                    <a:pt x="309" y="32"/>
                  </a:cubicBezTo>
                  <a:close/>
                  <a:moveTo>
                    <a:pt x="298" y="224"/>
                  </a:moveTo>
                  <a:cubicBezTo>
                    <a:pt x="21" y="224"/>
                    <a:pt x="21" y="224"/>
                    <a:pt x="21" y="224"/>
                  </a:cubicBezTo>
                  <a:cubicBezTo>
                    <a:pt x="21" y="53"/>
                    <a:pt x="21" y="53"/>
                    <a:pt x="21" y="53"/>
                  </a:cubicBezTo>
                  <a:cubicBezTo>
                    <a:pt x="61" y="53"/>
                    <a:pt x="61" y="53"/>
                    <a:pt x="61" y="53"/>
                  </a:cubicBezTo>
                  <a:cubicBezTo>
                    <a:pt x="64" y="53"/>
                    <a:pt x="67" y="51"/>
                    <a:pt x="69" y="49"/>
                  </a:cubicBezTo>
                  <a:cubicBezTo>
                    <a:pt x="90" y="21"/>
                    <a:pt x="90" y="21"/>
                    <a:pt x="90" y="21"/>
                  </a:cubicBezTo>
                  <a:cubicBezTo>
                    <a:pt x="228" y="21"/>
                    <a:pt x="228" y="21"/>
                    <a:pt x="228" y="21"/>
                  </a:cubicBezTo>
                  <a:cubicBezTo>
                    <a:pt x="243" y="48"/>
                    <a:pt x="243" y="48"/>
                    <a:pt x="243" y="48"/>
                  </a:cubicBezTo>
                  <a:cubicBezTo>
                    <a:pt x="245" y="51"/>
                    <a:pt x="249" y="53"/>
                    <a:pt x="253" y="53"/>
                  </a:cubicBezTo>
                  <a:cubicBezTo>
                    <a:pt x="298" y="53"/>
                    <a:pt x="298" y="53"/>
                    <a:pt x="298" y="53"/>
                  </a:cubicBezTo>
                  <a:lnTo>
                    <a:pt x="298" y="224"/>
                  </a:lnTo>
                  <a:close/>
                  <a:moveTo>
                    <a:pt x="160" y="53"/>
                  </a:moveTo>
                  <a:cubicBezTo>
                    <a:pt x="118" y="53"/>
                    <a:pt x="85" y="86"/>
                    <a:pt x="85" y="128"/>
                  </a:cubicBezTo>
                  <a:cubicBezTo>
                    <a:pt x="85" y="169"/>
                    <a:pt x="118" y="202"/>
                    <a:pt x="160" y="202"/>
                  </a:cubicBezTo>
                  <a:cubicBezTo>
                    <a:pt x="201" y="202"/>
                    <a:pt x="234" y="169"/>
                    <a:pt x="234" y="128"/>
                  </a:cubicBezTo>
                  <a:cubicBezTo>
                    <a:pt x="234" y="86"/>
                    <a:pt x="201" y="53"/>
                    <a:pt x="160" y="53"/>
                  </a:cubicBezTo>
                  <a:close/>
                  <a:moveTo>
                    <a:pt x="160" y="181"/>
                  </a:moveTo>
                  <a:cubicBezTo>
                    <a:pt x="130" y="181"/>
                    <a:pt x="106" y="157"/>
                    <a:pt x="106" y="128"/>
                  </a:cubicBezTo>
                  <a:cubicBezTo>
                    <a:pt x="106" y="98"/>
                    <a:pt x="130" y="74"/>
                    <a:pt x="160" y="74"/>
                  </a:cubicBezTo>
                  <a:cubicBezTo>
                    <a:pt x="189" y="74"/>
                    <a:pt x="213" y="98"/>
                    <a:pt x="213" y="128"/>
                  </a:cubicBezTo>
                  <a:cubicBezTo>
                    <a:pt x="213" y="157"/>
                    <a:pt x="189" y="181"/>
                    <a:pt x="160"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19"/>
            <p:cNvSpPr>
              <a:spLocks noEditPoints="1"/>
            </p:cNvSpPr>
            <p:nvPr/>
          </p:nvSpPr>
          <p:spPr bwMode="auto">
            <a:xfrm>
              <a:off x="5262" y="3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4" name="Freeform 297"/>
          <p:cNvSpPr>
            <a:spLocks noChangeAspect="1" noEditPoints="1"/>
          </p:cNvSpPr>
          <p:nvPr/>
        </p:nvSpPr>
        <p:spPr bwMode="auto">
          <a:xfrm>
            <a:off x="7121007" y="2529559"/>
            <a:ext cx="367041" cy="367041"/>
          </a:xfrm>
          <a:custGeom>
            <a:avLst/>
            <a:gdLst>
              <a:gd name="T0" fmla="*/ 332 w 512"/>
              <a:gd name="T1" fmla="*/ 117 h 512"/>
              <a:gd name="T2" fmla="*/ 179 w 512"/>
              <a:gd name="T3" fmla="*/ 117 h 512"/>
              <a:gd name="T4" fmla="*/ 160 w 512"/>
              <a:gd name="T5" fmla="*/ 137 h 512"/>
              <a:gd name="T6" fmla="*/ 160 w 512"/>
              <a:gd name="T7" fmla="*/ 375 h 512"/>
              <a:gd name="T8" fmla="*/ 179 w 512"/>
              <a:gd name="T9" fmla="*/ 394 h 512"/>
              <a:gd name="T10" fmla="*/ 332 w 512"/>
              <a:gd name="T11" fmla="*/ 394 h 512"/>
              <a:gd name="T12" fmla="*/ 352 w 512"/>
              <a:gd name="T13" fmla="*/ 375 h 512"/>
              <a:gd name="T14" fmla="*/ 352 w 512"/>
              <a:gd name="T15" fmla="*/ 137 h 512"/>
              <a:gd name="T16" fmla="*/ 332 w 512"/>
              <a:gd name="T17" fmla="*/ 117 h 512"/>
              <a:gd name="T18" fmla="*/ 256 w 512"/>
              <a:gd name="T19" fmla="*/ 138 h 512"/>
              <a:gd name="T20" fmla="*/ 288 w 512"/>
              <a:gd name="T21" fmla="*/ 170 h 512"/>
              <a:gd name="T22" fmla="*/ 256 w 512"/>
              <a:gd name="T23" fmla="*/ 202 h 512"/>
              <a:gd name="T24" fmla="*/ 224 w 512"/>
              <a:gd name="T25" fmla="*/ 170 h 512"/>
              <a:gd name="T26" fmla="*/ 256 w 512"/>
              <a:gd name="T27" fmla="*/ 138 h 512"/>
              <a:gd name="T28" fmla="*/ 256 w 512"/>
              <a:gd name="T29" fmla="*/ 373 h 512"/>
              <a:gd name="T30" fmla="*/ 181 w 512"/>
              <a:gd name="T31" fmla="*/ 298 h 512"/>
              <a:gd name="T32" fmla="*/ 256 w 512"/>
              <a:gd name="T33" fmla="*/ 224 h 512"/>
              <a:gd name="T34" fmla="*/ 330 w 512"/>
              <a:gd name="T35" fmla="*/ 298 h 512"/>
              <a:gd name="T36" fmla="*/ 256 w 512"/>
              <a:gd name="T37" fmla="*/ 373 h 512"/>
              <a:gd name="T38" fmla="*/ 256 w 512"/>
              <a:gd name="T39" fmla="*/ 245 h 512"/>
              <a:gd name="T40" fmla="*/ 202 w 512"/>
              <a:gd name="T41" fmla="*/ 298 h 512"/>
              <a:gd name="T42" fmla="*/ 256 w 512"/>
              <a:gd name="T43" fmla="*/ 352 h 512"/>
              <a:gd name="T44" fmla="*/ 309 w 512"/>
              <a:gd name="T45" fmla="*/ 298 h 512"/>
              <a:gd name="T46" fmla="*/ 256 w 512"/>
              <a:gd name="T47" fmla="*/ 245 h 512"/>
              <a:gd name="T48" fmla="*/ 256 w 512"/>
              <a:gd name="T49" fmla="*/ 309 h 512"/>
              <a:gd name="T50" fmla="*/ 245 w 512"/>
              <a:gd name="T51" fmla="*/ 298 h 512"/>
              <a:gd name="T52" fmla="*/ 256 w 512"/>
              <a:gd name="T53" fmla="*/ 288 h 512"/>
              <a:gd name="T54" fmla="*/ 256 w 512"/>
              <a:gd name="T55" fmla="*/ 288 h 512"/>
              <a:gd name="T56" fmla="*/ 267 w 512"/>
              <a:gd name="T57" fmla="*/ 298 h 512"/>
              <a:gd name="T58" fmla="*/ 256 w 512"/>
              <a:gd name="T59" fmla="*/ 309 h 512"/>
              <a:gd name="T60" fmla="*/ 245 w 512"/>
              <a:gd name="T61" fmla="*/ 170 h 512"/>
              <a:gd name="T62" fmla="*/ 256 w 512"/>
              <a:gd name="T63" fmla="*/ 160 h 512"/>
              <a:gd name="T64" fmla="*/ 266 w 512"/>
              <a:gd name="T65" fmla="*/ 170 h 512"/>
              <a:gd name="T66" fmla="*/ 256 w 512"/>
              <a:gd name="T67" fmla="*/ 181 h 512"/>
              <a:gd name="T68" fmla="*/ 245 w 512"/>
              <a:gd name="T69" fmla="*/ 170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373 w 512"/>
              <a:gd name="T81" fmla="*/ 375 h 512"/>
              <a:gd name="T82" fmla="*/ 332 w 512"/>
              <a:gd name="T83" fmla="*/ 416 h 512"/>
              <a:gd name="T84" fmla="*/ 179 w 512"/>
              <a:gd name="T85" fmla="*/ 416 h 512"/>
              <a:gd name="T86" fmla="*/ 138 w 512"/>
              <a:gd name="T87" fmla="*/ 375 h 512"/>
              <a:gd name="T88" fmla="*/ 138 w 512"/>
              <a:gd name="T89" fmla="*/ 137 h 512"/>
              <a:gd name="T90" fmla="*/ 179 w 512"/>
              <a:gd name="T91" fmla="*/ 96 h 512"/>
              <a:gd name="T92" fmla="*/ 332 w 512"/>
              <a:gd name="T93" fmla="*/ 96 h 512"/>
              <a:gd name="T94" fmla="*/ 373 w 512"/>
              <a:gd name="T95" fmla="*/ 137 h 512"/>
              <a:gd name="T96" fmla="*/ 373 w 512"/>
              <a:gd name="T97" fmla="*/ 3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32" y="117"/>
                </a:moveTo>
                <a:cubicBezTo>
                  <a:pt x="179" y="117"/>
                  <a:pt x="179" y="117"/>
                  <a:pt x="179" y="117"/>
                </a:cubicBez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close/>
                <a:moveTo>
                  <a:pt x="256" y="138"/>
                </a:moveTo>
                <a:cubicBezTo>
                  <a:pt x="273" y="138"/>
                  <a:pt x="288" y="153"/>
                  <a:pt x="288" y="170"/>
                </a:cubicBezTo>
                <a:cubicBezTo>
                  <a:pt x="288" y="188"/>
                  <a:pt x="273" y="202"/>
                  <a:pt x="256" y="202"/>
                </a:cubicBezTo>
                <a:cubicBezTo>
                  <a:pt x="238" y="202"/>
                  <a:pt x="224" y="188"/>
                  <a:pt x="224" y="170"/>
                </a:cubicBezTo>
                <a:cubicBezTo>
                  <a:pt x="224" y="153"/>
                  <a:pt x="238" y="138"/>
                  <a:pt x="256" y="138"/>
                </a:cubicBez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309"/>
                </a:moveTo>
                <a:cubicBezTo>
                  <a:pt x="250" y="309"/>
                  <a:pt x="245" y="304"/>
                  <a:pt x="245" y="298"/>
                </a:cubicBezTo>
                <a:cubicBezTo>
                  <a:pt x="245" y="292"/>
                  <a:pt x="250" y="288"/>
                  <a:pt x="256" y="288"/>
                </a:cubicBezTo>
                <a:cubicBezTo>
                  <a:pt x="256" y="288"/>
                  <a:pt x="256" y="288"/>
                  <a:pt x="256" y="288"/>
                </a:cubicBezTo>
                <a:cubicBezTo>
                  <a:pt x="262" y="288"/>
                  <a:pt x="267" y="292"/>
                  <a:pt x="267" y="298"/>
                </a:cubicBezTo>
                <a:cubicBezTo>
                  <a:pt x="267" y="304"/>
                  <a:pt x="262" y="309"/>
                  <a:pt x="256" y="309"/>
                </a:cubicBezTo>
                <a:close/>
                <a:moveTo>
                  <a:pt x="245" y="170"/>
                </a:moveTo>
                <a:cubicBezTo>
                  <a:pt x="245" y="164"/>
                  <a:pt x="250" y="160"/>
                  <a:pt x="256" y="160"/>
                </a:cubicBezTo>
                <a:cubicBezTo>
                  <a:pt x="262" y="160"/>
                  <a:pt x="266" y="164"/>
                  <a:pt x="266" y="170"/>
                </a:cubicBezTo>
                <a:cubicBezTo>
                  <a:pt x="266" y="176"/>
                  <a:pt x="262" y="181"/>
                  <a:pt x="256" y="181"/>
                </a:cubicBezTo>
                <a:cubicBezTo>
                  <a:pt x="250" y="181"/>
                  <a:pt x="245" y="176"/>
                  <a:pt x="245" y="17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375"/>
                </a:moveTo>
                <a:cubicBezTo>
                  <a:pt x="373" y="397"/>
                  <a:pt x="355" y="416"/>
                  <a:pt x="332" y="416"/>
                </a:cubicBez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lnTo>
                  <a:pt x="373" y="375"/>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5" name="Freeform 301"/>
          <p:cNvSpPr>
            <a:spLocks noChangeAspect="1" noEditPoints="1"/>
          </p:cNvSpPr>
          <p:nvPr/>
        </p:nvSpPr>
        <p:spPr bwMode="auto">
          <a:xfrm>
            <a:off x="7540373" y="2529559"/>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2 w 512"/>
              <a:gd name="T21" fmla="*/ 416 h 512"/>
              <a:gd name="T22" fmla="*/ 179 w 512"/>
              <a:gd name="T23" fmla="*/ 416 h 512"/>
              <a:gd name="T24" fmla="*/ 138 w 512"/>
              <a:gd name="T25" fmla="*/ 375 h 512"/>
              <a:gd name="T26" fmla="*/ 138 w 512"/>
              <a:gd name="T27" fmla="*/ 137 h 512"/>
              <a:gd name="T28" fmla="*/ 179 w 512"/>
              <a:gd name="T29" fmla="*/ 96 h 512"/>
              <a:gd name="T30" fmla="*/ 332 w 512"/>
              <a:gd name="T31" fmla="*/ 96 h 512"/>
              <a:gd name="T32" fmla="*/ 373 w 512"/>
              <a:gd name="T33" fmla="*/ 137 h 512"/>
              <a:gd name="T34" fmla="*/ 373 w 512"/>
              <a:gd name="T35" fmla="*/ 375 h 512"/>
              <a:gd name="T36" fmla="*/ 332 w 512"/>
              <a:gd name="T37" fmla="*/ 416 h 512"/>
              <a:gd name="T38" fmla="*/ 179 w 512"/>
              <a:gd name="T39" fmla="*/ 117 h 512"/>
              <a:gd name="T40" fmla="*/ 160 w 512"/>
              <a:gd name="T41" fmla="*/ 137 h 512"/>
              <a:gd name="T42" fmla="*/ 160 w 512"/>
              <a:gd name="T43" fmla="*/ 375 h 512"/>
              <a:gd name="T44" fmla="*/ 179 w 512"/>
              <a:gd name="T45" fmla="*/ 394 h 512"/>
              <a:gd name="T46" fmla="*/ 332 w 512"/>
              <a:gd name="T47" fmla="*/ 394 h 512"/>
              <a:gd name="T48" fmla="*/ 352 w 512"/>
              <a:gd name="T49" fmla="*/ 375 h 512"/>
              <a:gd name="T50" fmla="*/ 352 w 512"/>
              <a:gd name="T51" fmla="*/ 137 h 512"/>
              <a:gd name="T52" fmla="*/ 332 w 512"/>
              <a:gd name="T53" fmla="*/ 117 h 512"/>
              <a:gd name="T54" fmla="*/ 179 w 512"/>
              <a:gd name="T55" fmla="*/ 117 h 512"/>
              <a:gd name="T56" fmla="*/ 256 w 512"/>
              <a:gd name="T57" fmla="*/ 373 h 512"/>
              <a:gd name="T58" fmla="*/ 181 w 512"/>
              <a:gd name="T59" fmla="*/ 298 h 512"/>
              <a:gd name="T60" fmla="*/ 256 w 512"/>
              <a:gd name="T61" fmla="*/ 224 h 512"/>
              <a:gd name="T62" fmla="*/ 330 w 512"/>
              <a:gd name="T63" fmla="*/ 298 h 512"/>
              <a:gd name="T64" fmla="*/ 256 w 512"/>
              <a:gd name="T65" fmla="*/ 373 h 512"/>
              <a:gd name="T66" fmla="*/ 256 w 512"/>
              <a:gd name="T67" fmla="*/ 245 h 512"/>
              <a:gd name="T68" fmla="*/ 202 w 512"/>
              <a:gd name="T69" fmla="*/ 298 h 512"/>
              <a:gd name="T70" fmla="*/ 256 w 512"/>
              <a:gd name="T71" fmla="*/ 352 h 512"/>
              <a:gd name="T72" fmla="*/ 309 w 512"/>
              <a:gd name="T73" fmla="*/ 298 h 512"/>
              <a:gd name="T74" fmla="*/ 256 w 512"/>
              <a:gd name="T75" fmla="*/ 245 h 512"/>
              <a:gd name="T76" fmla="*/ 256 w 512"/>
              <a:gd name="T77" fmla="*/ 202 h 512"/>
              <a:gd name="T78" fmla="*/ 224 w 512"/>
              <a:gd name="T79" fmla="*/ 170 h 512"/>
              <a:gd name="T80" fmla="*/ 256 w 512"/>
              <a:gd name="T81" fmla="*/ 138 h 512"/>
              <a:gd name="T82" fmla="*/ 288 w 512"/>
              <a:gd name="T83" fmla="*/ 170 h 512"/>
              <a:gd name="T84" fmla="*/ 256 w 512"/>
              <a:gd name="T85" fmla="*/ 202 h 512"/>
              <a:gd name="T86" fmla="*/ 256 w 512"/>
              <a:gd name="T87" fmla="*/ 160 h 512"/>
              <a:gd name="T88" fmla="*/ 245 w 512"/>
              <a:gd name="T89" fmla="*/ 170 h 512"/>
              <a:gd name="T90" fmla="*/ 256 w 512"/>
              <a:gd name="T91" fmla="*/ 181 h 512"/>
              <a:gd name="T92" fmla="*/ 266 w 512"/>
              <a:gd name="T93" fmla="*/ 170 h 512"/>
              <a:gd name="T94" fmla="*/ 256 w 512"/>
              <a:gd name="T95" fmla="*/ 160 h 512"/>
              <a:gd name="T96" fmla="*/ 267 w 512"/>
              <a:gd name="T97" fmla="*/ 298 h 512"/>
              <a:gd name="T98" fmla="*/ 256 w 512"/>
              <a:gd name="T99" fmla="*/ 288 h 512"/>
              <a:gd name="T100" fmla="*/ 256 w 512"/>
              <a:gd name="T101" fmla="*/ 288 h 512"/>
              <a:gd name="T102" fmla="*/ 245 w 512"/>
              <a:gd name="T103" fmla="*/ 298 h 512"/>
              <a:gd name="T104" fmla="*/ 256 w 512"/>
              <a:gd name="T105" fmla="*/ 309 h 512"/>
              <a:gd name="T106" fmla="*/ 267 w 512"/>
              <a:gd name="T10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2" y="416"/>
                </a:move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cubicBezTo>
                  <a:pt x="373" y="375"/>
                  <a:pt x="373" y="375"/>
                  <a:pt x="373" y="375"/>
                </a:cubicBezTo>
                <a:cubicBezTo>
                  <a:pt x="373" y="397"/>
                  <a:pt x="355" y="416"/>
                  <a:pt x="332" y="416"/>
                </a:cubicBezTo>
                <a:close/>
                <a:moveTo>
                  <a:pt x="179" y="117"/>
                </a:move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lnTo>
                  <a:pt x="179" y="117"/>
                </a:ln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202"/>
                </a:moveTo>
                <a:cubicBezTo>
                  <a:pt x="238" y="202"/>
                  <a:pt x="224" y="188"/>
                  <a:pt x="224" y="170"/>
                </a:cubicBezTo>
                <a:cubicBezTo>
                  <a:pt x="224" y="153"/>
                  <a:pt x="238" y="138"/>
                  <a:pt x="256" y="138"/>
                </a:cubicBezTo>
                <a:cubicBezTo>
                  <a:pt x="273" y="138"/>
                  <a:pt x="288" y="153"/>
                  <a:pt x="288" y="170"/>
                </a:cubicBezTo>
                <a:cubicBezTo>
                  <a:pt x="288" y="188"/>
                  <a:pt x="273" y="202"/>
                  <a:pt x="256" y="202"/>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67" y="298"/>
                </a:moveTo>
                <a:cubicBezTo>
                  <a:pt x="267" y="292"/>
                  <a:pt x="262" y="288"/>
                  <a:pt x="256" y="288"/>
                </a:cubicBezTo>
                <a:cubicBezTo>
                  <a:pt x="256" y="288"/>
                  <a:pt x="256" y="288"/>
                  <a:pt x="256" y="288"/>
                </a:cubicBezTo>
                <a:cubicBezTo>
                  <a:pt x="250" y="288"/>
                  <a:pt x="245" y="292"/>
                  <a:pt x="245" y="298"/>
                </a:cubicBezTo>
                <a:cubicBezTo>
                  <a:pt x="245" y="304"/>
                  <a:pt x="250" y="309"/>
                  <a:pt x="256" y="309"/>
                </a:cubicBezTo>
                <a:cubicBezTo>
                  <a:pt x="262" y="309"/>
                  <a:pt x="267" y="304"/>
                  <a:pt x="267" y="29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6" name="Freeform 214"/>
          <p:cNvSpPr>
            <a:spLocks noChangeAspect="1" noEditPoints="1"/>
          </p:cNvSpPr>
          <p:nvPr/>
        </p:nvSpPr>
        <p:spPr bwMode="auto">
          <a:xfrm>
            <a:off x="7959739" y="2529559"/>
            <a:ext cx="367631" cy="367631"/>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7" name="Group 217"/>
          <p:cNvGrpSpPr>
            <a:grpSpLocks noChangeAspect="1"/>
          </p:cNvGrpSpPr>
          <p:nvPr/>
        </p:nvGrpSpPr>
        <p:grpSpPr bwMode="auto">
          <a:xfrm>
            <a:off x="8379691" y="2529559"/>
            <a:ext cx="367631" cy="367631"/>
            <a:chOff x="1900" y="709"/>
            <a:chExt cx="340" cy="340"/>
          </a:xfrm>
          <a:solidFill>
            <a:schemeClr val="accent3"/>
          </a:solidFill>
        </p:grpSpPr>
        <p:sp>
          <p:nvSpPr>
            <p:cNvPr id="338" name="Freeform 218"/>
            <p:cNvSpPr>
              <a:spLocks noEditPoints="1"/>
            </p:cNvSpPr>
            <p:nvPr/>
          </p:nvSpPr>
          <p:spPr bwMode="auto">
            <a:xfrm>
              <a:off x="1900" y="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219"/>
            <p:cNvSpPr>
              <a:spLocks noEditPoints="1"/>
            </p:cNvSpPr>
            <p:nvPr/>
          </p:nvSpPr>
          <p:spPr bwMode="auto">
            <a:xfrm>
              <a:off x="1992" y="779"/>
              <a:ext cx="170" cy="192"/>
            </a:xfrm>
            <a:custGeom>
              <a:avLst/>
              <a:gdLst>
                <a:gd name="T0" fmla="*/ 246 w 256"/>
                <a:gd name="T1" fmla="*/ 118 h 288"/>
                <a:gd name="T2" fmla="*/ 214 w 256"/>
                <a:gd name="T3" fmla="*/ 118 h 288"/>
                <a:gd name="T4" fmla="*/ 214 w 256"/>
                <a:gd name="T5" fmla="*/ 11 h 288"/>
                <a:gd name="T6" fmla="*/ 203 w 256"/>
                <a:gd name="T7" fmla="*/ 0 h 288"/>
                <a:gd name="T8" fmla="*/ 11 w 256"/>
                <a:gd name="T9" fmla="*/ 0 h 288"/>
                <a:gd name="T10" fmla="*/ 0 w 256"/>
                <a:gd name="T11" fmla="*/ 11 h 288"/>
                <a:gd name="T12" fmla="*/ 0 w 256"/>
                <a:gd name="T13" fmla="*/ 256 h 288"/>
                <a:gd name="T14" fmla="*/ 11 w 256"/>
                <a:gd name="T15" fmla="*/ 267 h 288"/>
                <a:gd name="T16" fmla="*/ 160 w 256"/>
                <a:gd name="T17" fmla="*/ 267 h 288"/>
                <a:gd name="T18" fmla="*/ 160 w 256"/>
                <a:gd name="T19" fmla="*/ 278 h 288"/>
                <a:gd name="T20" fmla="*/ 171 w 256"/>
                <a:gd name="T21" fmla="*/ 288 h 288"/>
                <a:gd name="T22" fmla="*/ 246 w 256"/>
                <a:gd name="T23" fmla="*/ 288 h 288"/>
                <a:gd name="T24" fmla="*/ 256 w 256"/>
                <a:gd name="T25" fmla="*/ 278 h 288"/>
                <a:gd name="T26" fmla="*/ 256 w 256"/>
                <a:gd name="T27" fmla="*/ 128 h 288"/>
                <a:gd name="T28" fmla="*/ 246 w 256"/>
                <a:gd name="T29" fmla="*/ 118 h 288"/>
                <a:gd name="T30" fmla="*/ 160 w 256"/>
                <a:gd name="T31" fmla="*/ 128 h 288"/>
                <a:gd name="T32" fmla="*/ 160 w 256"/>
                <a:gd name="T33" fmla="*/ 246 h 288"/>
                <a:gd name="T34" fmla="*/ 22 w 256"/>
                <a:gd name="T35" fmla="*/ 246 h 288"/>
                <a:gd name="T36" fmla="*/ 22 w 256"/>
                <a:gd name="T37" fmla="*/ 22 h 288"/>
                <a:gd name="T38" fmla="*/ 192 w 256"/>
                <a:gd name="T39" fmla="*/ 22 h 288"/>
                <a:gd name="T40" fmla="*/ 192 w 256"/>
                <a:gd name="T41" fmla="*/ 118 h 288"/>
                <a:gd name="T42" fmla="*/ 171 w 256"/>
                <a:gd name="T43" fmla="*/ 118 h 288"/>
                <a:gd name="T44" fmla="*/ 160 w 256"/>
                <a:gd name="T45" fmla="*/ 128 h 288"/>
                <a:gd name="T46" fmla="*/ 235 w 256"/>
                <a:gd name="T47" fmla="*/ 267 h 288"/>
                <a:gd name="T48" fmla="*/ 182 w 256"/>
                <a:gd name="T49" fmla="*/ 267 h 288"/>
                <a:gd name="T50" fmla="*/ 182 w 256"/>
                <a:gd name="T51" fmla="*/ 139 h 288"/>
                <a:gd name="T52" fmla="*/ 235 w 256"/>
                <a:gd name="T53" fmla="*/ 139 h 288"/>
                <a:gd name="T54" fmla="*/ 235 w 256"/>
                <a:gd name="T55" fmla="*/ 267 h 288"/>
                <a:gd name="T56" fmla="*/ 118 w 256"/>
                <a:gd name="T57" fmla="*/ 214 h 288"/>
                <a:gd name="T58" fmla="*/ 107 w 256"/>
                <a:gd name="T59" fmla="*/ 224 h 288"/>
                <a:gd name="T60" fmla="*/ 96 w 256"/>
                <a:gd name="T61" fmla="*/ 214 h 288"/>
                <a:gd name="T62" fmla="*/ 107 w 256"/>
                <a:gd name="T63" fmla="*/ 203 h 288"/>
                <a:gd name="T64" fmla="*/ 118 w 256"/>
                <a:gd name="T65" fmla="*/ 21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88">
                  <a:moveTo>
                    <a:pt x="246" y="118"/>
                  </a:moveTo>
                  <a:cubicBezTo>
                    <a:pt x="214" y="118"/>
                    <a:pt x="214" y="118"/>
                    <a:pt x="214" y="118"/>
                  </a:cubicBezTo>
                  <a:cubicBezTo>
                    <a:pt x="214" y="11"/>
                    <a:pt x="214" y="11"/>
                    <a:pt x="214" y="11"/>
                  </a:cubicBezTo>
                  <a:cubicBezTo>
                    <a:pt x="214" y="5"/>
                    <a:pt x="209" y="0"/>
                    <a:pt x="203" y="0"/>
                  </a:cubicBezTo>
                  <a:cubicBezTo>
                    <a:pt x="11" y="0"/>
                    <a:pt x="11" y="0"/>
                    <a:pt x="11" y="0"/>
                  </a:cubicBezTo>
                  <a:cubicBezTo>
                    <a:pt x="5" y="0"/>
                    <a:pt x="0" y="5"/>
                    <a:pt x="0" y="11"/>
                  </a:cubicBezTo>
                  <a:cubicBezTo>
                    <a:pt x="0" y="256"/>
                    <a:pt x="0" y="256"/>
                    <a:pt x="0" y="256"/>
                  </a:cubicBezTo>
                  <a:cubicBezTo>
                    <a:pt x="0" y="262"/>
                    <a:pt x="5" y="267"/>
                    <a:pt x="11" y="267"/>
                  </a:cubicBezTo>
                  <a:cubicBezTo>
                    <a:pt x="160" y="267"/>
                    <a:pt x="160" y="267"/>
                    <a:pt x="160" y="267"/>
                  </a:cubicBezTo>
                  <a:cubicBezTo>
                    <a:pt x="160" y="278"/>
                    <a:pt x="160" y="278"/>
                    <a:pt x="160" y="278"/>
                  </a:cubicBezTo>
                  <a:cubicBezTo>
                    <a:pt x="160" y="284"/>
                    <a:pt x="165" y="288"/>
                    <a:pt x="171" y="288"/>
                  </a:cubicBezTo>
                  <a:cubicBezTo>
                    <a:pt x="246" y="288"/>
                    <a:pt x="246" y="288"/>
                    <a:pt x="246" y="288"/>
                  </a:cubicBezTo>
                  <a:cubicBezTo>
                    <a:pt x="252" y="288"/>
                    <a:pt x="256" y="284"/>
                    <a:pt x="256" y="278"/>
                  </a:cubicBezTo>
                  <a:cubicBezTo>
                    <a:pt x="256" y="128"/>
                    <a:pt x="256" y="128"/>
                    <a:pt x="256" y="128"/>
                  </a:cubicBezTo>
                  <a:cubicBezTo>
                    <a:pt x="256" y="122"/>
                    <a:pt x="252" y="118"/>
                    <a:pt x="246" y="118"/>
                  </a:cubicBezTo>
                  <a:close/>
                  <a:moveTo>
                    <a:pt x="160" y="128"/>
                  </a:moveTo>
                  <a:cubicBezTo>
                    <a:pt x="160" y="246"/>
                    <a:pt x="160" y="246"/>
                    <a:pt x="160" y="246"/>
                  </a:cubicBezTo>
                  <a:cubicBezTo>
                    <a:pt x="22" y="246"/>
                    <a:pt x="22" y="246"/>
                    <a:pt x="22" y="246"/>
                  </a:cubicBezTo>
                  <a:cubicBezTo>
                    <a:pt x="22" y="22"/>
                    <a:pt x="22" y="22"/>
                    <a:pt x="22" y="22"/>
                  </a:cubicBezTo>
                  <a:cubicBezTo>
                    <a:pt x="192" y="22"/>
                    <a:pt x="192" y="22"/>
                    <a:pt x="192" y="22"/>
                  </a:cubicBezTo>
                  <a:cubicBezTo>
                    <a:pt x="192" y="118"/>
                    <a:pt x="192" y="118"/>
                    <a:pt x="192" y="118"/>
                  </a:cubicBezTo>
                  <a:cubicBezTo>
                    <a:pt x="171" y="118"/>
                    <a:pt x="171" y="118"/>
                    <a:pt x="171" y="118"/>
                  </a:cubicBezTo>
                  <a:cubicBezTo>
                    <a:pt x="165" y="118"/>
                    <a:pt x="160" y="122"/>
                    <a:pt x="160" y="128"/>
                  </a:cubicBezTo>
                  <a:close/>
                  <a:moveTo>
                    <a:pt x="235" y="267"/>
                  </a:moveTo>
                  <a:cubicBezTo>
                    <a:pt x="182" y="267"/>
                    <a:pt x="182" y="267"/>
                    <a:pt x="182" y="267"/>
                  </a:cubicBezTo>
                  <a:cubicBezTo>
                    <a:pt x="182" y="139"/>
                    <a:pt x="182" y="139"/>
                    <a:pt x="182" y="139"/>
                  </a:cubicBezTo>
                  <a:cubicBezTo>
                    <a:pt x="235" y="139"/>
                    <a:pt x="235" y="139"/>
                    <a:pt x="235" y="139"/>
                  </a:cubicBezTo>
                  <a:lnTo>
                    <a:pt x="235" y="267"/>
                  </a:lnTo>
                  <a:close/>
                  <a:moveTo>
                    <a:pt x="118" y="214"/>
                  </a:moveTo>
                  <a:cubicBezTo>
                    <a:pt x="118" y="220"/>
                    <a:pt x="113" y="224"/>
                    <a:pt x="107" y="224"/>
                  </a:cubicBezTo>
                  <a:cubicBezTo>
                    <a:pt x="101" y="224"/>
                    <a:pt x="96" y="220"/>
                    <a:pt x="96" y="214"/>
                  </a:cubicBezTo>
                  <a:cubicBezTo>
                    <a:pt x="96" y="208"/>
                    <a:pt x="101" y="203"/>
                    <a:pt x="107" y="203"/>
                  </a:cubicBezTo>
                  <a:cubicBezTo>
                    <a:pt x="113" y="203"/>
                    <a:pt x="118" y="208"/>
                    <a:pt x="118"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Freeform 561"/>
          <p:cNvSpPr>
            <a:spLocks noChangeAspect="1" noEditPoints="1"/>
          </p:cNvSpPr>
          <p:nvPr/>
        </p:nvSpPr>
        <p:spPr bwMode="auto">
          <a:xfrm>
            <a:off x="395767" y="3368741"/>
            <a:ext cx="367982" cy="367982"/>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1" name="Group 564"/>
          <p:cNvGrpSpPr>
            <a:grpSpLocks noChangeAspect="1"/>
          </p:cNvGrpSpPr>
          <p:nvPr/>
        </p:nvGrpSpPr>
        <p:grpSpPr bwMode="auto">
          <a:xfrm>
            <a:off x="814687" y="3368741"/>
            <a:ext cx="367982" cy="367982"/>
            <a:chOff x="4284" y="2965"/>
            <a:chExt cx="340" cy="340"/>
          </a:xfrm>
          <a:solidFill>
            <a:schemeClr val="accent6"/>
          </a:solidFill>
        </p:grpSpPr>
        <p:sp>
          <p:nvSpPr>
            <p:cNvPr id="342" name="Freeform 565"/>
            <p:cNvSpPr>
              <a:spLocks noEditPoints="1"/>
            </p:cNvSpPr>
            <p:nvPr/>
          </p:nvSpPr>
          <p:spPr bwMode="auto">
            <a:xfrm>
              <a:off x="4284" y="29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566"/>
            <p:cNvSpPr>
              <a:spLocks noEditPoints="1"/>
            </p:cNvSpPr>
            <p:nvPr/>
          </p:nvSpPr>
          <p:spPr bwMode="auto">
            <a:xfrm>
              <a:off x="4400" y="3035"/>
              <a:ext cx="108" cy="199"/>
            </a:xfrm>
            <a:custGeom>
              <a:avLst/>
              <a:gdLst>
                <a:gd name="T0" fmla="*/ 81 w 162"/>
                <a:gd name="T1" fmla="*/ 300 h 300"/>
                <a:gd name="T2" fmla="*/ 77 w 162"/>
                <a:gd name="T3" fmla="*/ 299 h 300"/>
                <a:gd name="T4" fmla="*/ 70 w 162"/>
                <a:gd name="T5" fmla="*/ 289 h 300"/>
                <a:gd name="T6" fmla="*/ 70 w 162"/>
                <a:gd name="T7" fmla="*/ 176 h 300"/>
                <a:gd name="T8" fmla="*/ 19 w 162"/>
                <a:gd name="T9" fmla="*/ 228 h 300"/>
                <a:gd name="T10" fmla="*/ 4 w 162"/>
                <a:gd name="T11" fmla="*/ 228 h 300"/>
                <a:gd name="T12" fmla="*/ 4 w 162"/>
                <a:gd name="T13" fmla="*/ 212 h 300"/>
                <a:gd name="T14" fmla="*/ 66 w 162"/>
                <a:gd name="T15" fmla="*/ 151 h 300"/>
                <a:gd name="T16" fmla="*/ 4 w 162"/>
                <a:gd name="T17" fmla="*/ 89 h 300"/>
                <a:gd name="T18" fmla="*/ 4 w 162"/>
                <a:gd name="T19" fmla="*/ 74 h 300"/>
                <a:gd name="T20" fmla="*/ 19 w 162"/>
                <a:gd name="T21" fmla="*/ 74 h 300"/>
                <a:gd name="T22" fmla="*/ 70 w 162"/>
                <a:gd name="T23" fmla="*/ 125 h 300"/>
                <a:gd name="T24" fmla="*/ 70 w 162"/>
                <a:gd name="T25" fmla="*/ 12 h 300"/>
                <a:gd name="T26" fmla="*/ 77 w 162"/>
                <a:gd name="T27" fmla="*/ 2 h 300"/>
                <a:gd name="T28" fmla="*/ 88 w 162"/>
                <a:gd name="T29" fmla="*/ 4 h 300"/>
                <a:gd name="T30" fmla="*/ 158 w 162"/>
                <a:gd name="T31" fmla="*/ 74 h 300"/>
                <a:gd name="T32" fmla="*/ 158 w 162"/>
                <a:gd name="T33" fmla="*/ 89 h 300"/>
                <a:gd name="T34" fmla="*/ 96 w 162"/>
                <a:gd name="T35" fmla="*/ 151 h 300"/>
                <a:gd name="T36" fmla="*/ 158 w 162"/>
                <a:gd name="T37" fmla="*/ 212 h 300"/>
                <a:gd name="T38" fmla="*/ 158 w 162"/>
                <a:gd name="T39" fmla="*/ 228 h 300"/>
                <a:gd name="T40" fmla="*/ 88 w 162"/>
                <a:gd name="T41" fmla="*/ 297 h 300"/>
                <a:gd name="T42" fmla="*/ 81 w 162"/>
                <a:gd name="T43" fmla="*/ 300 h 300"/>
                <a:gd name="T44" fmla="*/ 91 w 162"/>
                <a:gd name="T45" fmla="*/ 176 h 300"/>
                <a:gd name="T46" fmla="*/ 91 w 162"/>
                <a:gd name="T47" fmla="*/ 264 h 300"/>
                <a:gd name="T48" fmla="*/ 135 w 162"/>
                <a:gd name="T49" fmla="*/ 220 h 300"/>
                <a:gd name="T50" fmla="*/ 91 w 162"/>
                <a:gd name="T51" fmla="*/ 176 h 300"/>
                <a:gd name="T52" fmla="*/ 91 w 162"/>
                <a:gd name="T53" fmla="*/ 38 h 300"/>
                <a:gd name="T54" fmla="*/ 91 w 162"/>
                <a:gd name="T55" fmla="*/ 125 h 300"/>
                <a:gd name="T56" fmla="*/ 135 w 162"/>
                <a:gd name="T57" fmla="*/ 81 h 300"/>
                <a:gd name="T58" fmla="*/ 91 w 162"/>
                <a:gd name="T59" fmla="*/ 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2" h="300">
                  <a:moveTo>
                    <a:pt x="81" y="300"/>
                  </a:moveTo>
                  <a:cubicBezTo>
                    <a:pt x="79" y="300"/>
                    <a:pt x="78" y="300"/>
                    <a:pt x="77" y="299"/>
                  </a:cubicBezTo>
                  <a:cubicBezTo>
                    <a:pt x="73" y="298"/>
                    <a:pt x="70" y="294"/>
                    <a:pt x="70" y="289"/>
                  </a:cubicBezTo>
                  <a:cubicBezTo>
                    <a:pt x="70" y="176"/>
                    <a:pt x="70" y="176"/>
                    <a:pt x="70" y="176"/>
                  </a:cubicBezTo>
                  <a:cubicBezTo>
                    <a:pt x="19" y="228"/>
                    <a:pt x="19" y="228"/>
                    <a:pt x="19" y="228"/>
                  </a:cubicBezTo>
                  <a:cubicBezTo>
                    <a:pt x="15" y="232"/>
                    <a:pt x="8" y="232"/>
                    <a:pt x="4" y="228"/>
                  </a:cubicBezTo>
                  <a:cubicBezTo>
                    <a:pt x="0" y="223"/>
                    <a:pt x="0" y="217"/>
                    <a:pt x="4" y="212"/>
                  </a:cubicBezTo>
                  <a:cubicBezTo>
                    <a:pt x="66" y="151"/>
                    <a:pt x="66" y="151"/>
                    <a:pt x="66" y="151"/>
                  </a:cubicBezTo>
                  <a:cubicBezTo>
                    <a:pt x="4" y="89"/>
                    <a:pt x="4" y="89"/>
                    <a:pt x="4" y="89"/>
                  </a:cubicBezTo>
                  <a:cubicBezTo>
                    <a:pt x="0" y="85"/>
                    <a:pt x="0" y="78"/>
                    <a:pt x="4" y="74"/>
                  </a:cubicBezTo>
                  <a:cubicBezTo>
                    <a:pt x="8" y="70"/>
                    <a:pt x="15" y="70"/>
                    <a:pt x="19" y="74"/>
                  </a:cubicBezTo>
                  <a:cubicBezTo>
                    <a:pt x="70" y="125"/>
                    <a:pt x="70" y="125"/>
                    <a:pt x="70" y="125"/>
                  </a:cubicBezTo>
                  <a:cubicBezTo>
                    <a:pt x="70" y="12"/>
                    <a:pt x="70" y="12"/>
                    <a:pt x="70" y="12"/>
                  </a:cubicBezTo>
                  <a:cubicBezTo>
                    <a:pt x="70" y="8"/>
                    <a:pt x="73" y="4"/>
                    <a:pt x="77" y="2"/>
                  </a:cubicBezTo>
                  <a:cubicBezTo>
                    <a:pt x="81" y="0"/>
                    <a:pt x="85" y="1"/>
                    <a:pt x="88" y="4"/>
                  </a:cubicBezTo>
                  <a:cubicBezTo>
                    <a:pt x="158" y="74"/>
                    <a:pt x="158" y="74"/>
                    <a:pt x="158" y="74"/>
                  </a:cubicBezTo>
                  <a:cubicBezTo>
                    <a:pt x="162" y="78"/>
                    <a:pt x="162" y="85"/>
                    <a:pt x="158" y="89"/>
                  </a:cubicBezTo>
                  <a:cubicBezTo>
                    <a:pt x="96" y="151"/>
                    <a:pt x="96" y="151"/>
                    <a:pt x="96" y="151"/>
                  </a:cubicBezTo>
                  <a:cubicBezTo>
                    <a:pt x="158" y="212"/>
                    <a:pt x="158" y="212"/>
                    <a:pt x="158" y="212"/>
                  </a:cubicBezTo>
                  <a:cubicBezTo>
                    <a:pt x="162" y="217"/>
                    <a:pt x="162" y="223"/>
                    <a:pt x="158" y="228"/>
                  </a:cubicBezTo>
                  <a:cubicBezTo>
                    <a:pt x="88" y="297"/>
                    <a:pt x="88" y="297"/>
                    <a:pt x="88" y="297"/>
                  </a:cubicBezTo>
                  <a:cubicBezTo>
                    <a:pt x="86" y="299"/>
                    <a:pt x="83" y="300"/>
                    <a:pt x="81" y="300"/>
                  </a:cubicBezTo>
                  <a:close/>
                  <a:moveTo>
                    <a:pt x="91" y="176"/>
                  </a:moveTo>
                  <a:cubicBezTo>
                    <a:pt x="91" y="264"/>
                    <a:pt x="91" y="264"/>
                    <a:pt x="91" y="264"/>
                  </a:cubicBezTo>
                  <a:cubicBezTo>
                    <a:pt x="135" y="220"/>
                    <a:pt x="135" y="220"/>
                    <a:pt x="135" y="220"/>
                  </a:cubicBezTo>
                  <a:lnTo>
                    <a:pt x="91" y="176"/>
                  </a:lnTo>
                  <a:close/>
                  <a:moveTo>
                    <a:pt x="91" y="38"/>
                  </a:moveTo>
                  <a:cubicBezTo>
                    <a:pt x="91" y="125"/>
                    <a:pt x="91" y="125"/>
                    <a:pt x="91" y="125"/>
                  </a:cubicBezTo>
                  <a:cubicBezTo>
                    <a:pt x="135" y="81"/>
                    <a:pt x="135" y="81"/>
                    <a:pt x="135" y="81"/>
                  </a:cubicBezTo>
                  <a:lnTo>
                    <a:pt x="91"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4" name="Group 768"/>
          <p:cNvGrpSpPr>
            <a:grpSpLocks noChangeAspect="1"/>
          </p:cNvGrpSpPr>
          <p:nvPr/>
        </p:nvGrpSpPr>
        <p:grpSpPr bwMode="auto">
          <a:xfrm>
            <a:off x="1654221" y="3368741"/>
            <a:ext cx="370763" cy="369676"/>
            <a:chOff x="1943" y="2698"/>
            <a:chExt cx="341" cy="340"/>
          </a:xfrm>
          <a:solidFill>
            <a:schemeClr val="accent2"/>
          </a:solidFill>
        </p:grpSpPr>
        <p:sp>
          <p:nvSpPr>
            <p:cNvPr id="345" name="Freeform 769"/>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 name="Freeform 770"/>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7" name="Freeform 774"/>
          <p:cNvSpPr>
            <a:spLocks noChangeAspect="1" noEditPoints="1"/>
          </p:cNvSpPr>
          <p:nvPr/>
        </p:nvSpPr>
        <p:spPr bwMode="auto">
          <a:xfrm>
            <a:off x="1233607" y="3368741"/>
            <a:ext cx="369676" cy="369676"/>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8" name="Group 378"/>
          <p:cNvGrpSpPr>
            <a:grpSpLocks noChangeAspect="1"/>
          </p:cNvGrpSpPr>
          <p:nvPr/>
        </p:nvGrpSpPr>
        <p:grpSpPr bwMode="auto">
          <a:xfrm>
            <a:off x="2496536" y="3368741"/>
            <a:ext cx="370763" cy="370763"/>
            <a:chOff x="390" y="1172"/>
            <a:chExt cx="341" cy="341"/>
          </a:xfrm>
          <a:solidFill>
            <a:schemeClr val="accent4"/>
          </a:solidFill>
        </p:grpSpPr>
        <p:sp>
          <p:nvSpPr>
            <p:cNvPr id="349" name="Freeform 348"/>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 name="Freeform 349"/>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1" name="Freeform 384"/>
          <p:cNvSpPr>
            <a:spLocks noChangeAspect="1" noEditPoints="1"/>
          </p:cNvSpPr>
          <p:nvPr/>
        </p:nvSpPr>
        <p:spPr bwMode="auto">
          <a:xfrm>
            <a:off x="2075922" y="3368741"/>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2" name="Group 777"/>
          <p:cNvGrpSpPr>
            <a:grpSpLocks noChangeAspect="1"/>
          </p:cNvGrpSpPr>
          <p:nvPr/>
        </p:nvGrpSpPr>
        <p:grpSpPr bwMode="auto">
          <a:xfrm>
            <a:off x="3338851" y="3368741"/>
            <a:ext cx="369676" cy="369676"/>
            <a:chOff x="1121" y="2719"/>
            <a:chExt cx="340" cy="340"/>
          </a:xfrm>
          <a:solidFill>
            <a:schemeClr val="accent2"/>
          </a:solidFill>
        </p:grpSpPr>
        <p:sp>
          <p:nvSpPr>
            <p:cNvPr id="353" name="Freeform 778"/>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4" name="Freeform 779"/>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5" name="Freeform 783"/>
          <p:cNvSpPr>
            <a:spLocks noChangeAspect="1" noEditPoints="1"/>
          </p:cNvSpPr>
          <p:nvPr/>
        </p:nvSpPr>
        <p:spPr bwMode="auto">
          <a:xfrm>
            <a:off x="2918237" y="3368741"/>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6" name="Group 432"/>
          <p:cNvGrpSpPr>
            <a:grpSpLocks noChangeAspect="1"/>
          </p:cNvGrpSpPr>
          <p:nvPr/>
        </p:nvGrpSpPr>
        <p:grpSpPr bwMode="auto">
          <a:xfrm>
            <a:off x="4180509" y="3368741"/>
            <a:ext cx="369021" cy="369021"/>
            <a:chOff x="3450" y="1581"/>
            <a:chExt cx="340" cy="340"/>
          </a:xfrm>
          <a:solidFill>
            <a:schemeClr val="accent5"/>
          </a:solidFill>
        </p:grpSpPr>
        <p:sp>
          <p:nvSpPr>
            <p:cNvPr id="357" name="Freeform 433"/>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434"/>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435"/>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436"/>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437"/>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2" name="Freeform 441"/>
          <p:cNvSpPr>
            <a:spLocks noChangeAspect="1" noEditPoints="1"/>
          </p:cNvSpPr>
          <p:nvPr/>
        </p:nvSpPr>
        <p:spPr bwMode="auto">
          <a:xfrm>
            <a:off x="3759465" y="3368741"/>
            <a:ext cx="370106" cy="369021"/>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3" name="Freeform 631"/>
          <p:cNvSpPr>
            <a:spLocks noChangeAspect="1" noEditPoints="1"/>
          </p:cNvSpPr>
          <p:nvPr/>
        </p:nvSpPr>
        <p:spPr bwMode="auto">
          <a:xfrm>
            <a:off x="5020427" y="3368741"/>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4" name="Freeform 635"/>
          <p:cNvSpPr>
            <a:spLocks noChangeAspect="1" noEditPoints="1"/>
          </p:cNvSpPr>
          <p:nvPr/>
        </p:nvSpPr>
        <p:spPr bwMode="auto">
          <a:xfrm>
            <a:off x="4600468" y="3368741"/>
            <a:ext cx="369021" cy="369021"/>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5" name="Group 759"/>
          <p:cNvGrpSpPr>
            <a:grpSpLocks noChangeAspect="1"/>
          </p:cNvGrpSpPr>
          <p:nvPr/>
        </p:nvGrpSpPr>
        <p:grpSpPr bwMode="auto">
          <a:xfrm>
            <a:off x="6700263" y="3368741"/>
            <a:ext cx="370106" cy="369021"/>
            <a:chOff x="7344" y="3076"/>
            <a:chExt cx="341" cy="340"/>
          </a:xfrm>
          <a:solidFill>
            <a:schemeClr val="accent3"/>
          </a:solidFill>
        </p:grpSpPr>
        <p:sp>
          <p:nvSpPr>
            <p:cNvPr id="366" name="Freeform 760"/>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761"/>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8" name="Freeform 765"/>
          <p:cNvSpPr>
            <a:spLocks noChangeAspect="1" noEditPoints="1"/>
          </p:cNvSpPr>
          <p:nvPr/>
        </p:nvSpPr>
        <p:spPr bwMode="auto">
          <a:xfrm>
            <a:off x="6280304" y="3368741"/>
            <a:ext cx="369021" cy="370106"/>
          </a:xfrm>
          <a:custGeom>
            <a:avLst/>
            <a:gdLst>
              <a:gd name="T0" fmla="*/ 265 w 512"/>
              <a:gd name="T1" fmla="*/ 264 h 512"/>
              <a:gd name="T2" fmla="*/ 325 w 512"/>
              <a:gd name="T3" fmla="*/ 174 h 512"/>
              <a:gd name="T4" fmla="*/ 274 w 512"/>
              <a:gd name="T5" fmla="*/ 194 h 512"/>
              <a:gd name="T6" fmla="*/ 219 w 512"/>
              <a:gd name="T7" fmla="*/ 99 h 512"/>
              <a:gd name="T8" fmla="*/ 205 w 512"/>
              <a:gd name="T9" fmla="*/ 174 h 512"/>
              <a:gd name="T10" fmla="*/ 274 w 512"/>
              <a:gd name="T11" fmla="*/ 194 h 512"/>
              <a:gd name="T12" fmla="*/ 315 w 512"/>
              <a:gd name="T13" fmla="*/ 244 h 512"/>
              <a:gd name="T14" fmla="*/ 370 w 512"/>
              <a:gd name="T15" fmla="*/ 340 h 512"/>
              <a:gd name="T16" fmla="*/ 385 w 512"/>
              <a:gd name="T17" fmla="*/ 264 h 512"/>
              <a:gd name="T18" fmla="*/ 512 w 512"/>
              <a:gd name="T19" fmla="*/ 256 h 512"/>
              <a:gd name="T20" fmla="*/ 0 w 512"/>
              <a:gd name="T21" fmla="*/ 256 h 512"/>
              <a:gd name="T22" fmla="*/ 512 w 512"/>
              <a:gd name="T23" fmla="*/ 256 h 512"/>
              <a:gd name="T24" fmla="*/ 257 w 512"/>
              <a:gd name="T25" fmla="*/ 394 h 512"/>
              <a:gd name="T26" fmla="*/ 167 w 512"/>
              <a:gd name="T27" fmla="*/ 357 h 512"/>
              <a:gd name="T28" fmla="*/ 117 w 512"/>
              <a:gd name="T29" fmla="*/ 247 h 512"/>
              <a:gd name="T30" fmla="*/ 105 w 512"/>
              <a:gd name="T31" fmla="*/ 258 h 512"/>
              <a:gd name="T32" fmla="*/ 257 w 512"/>
              <a:gd name="T33" fmla="*/ 416 h 512"/>
              <a:gd name="T34" fmla="*/ 268 w 512"/>
              <a:gd name="T35" fmla="*/ 405 h 512"/>
              <a:gd name="T36" fmla="*/ 181 w 512"/>
              <a:gd name="T37" fmla="*/ 257 h 512"/>
              <a:gd name="T38" fmla="*/ 194 w 512"/>
              <a:gd name="T39" fmla="*/ 327 h 512"/>
              <a:gd name="T40" fmla="*/ 254 w 512"/>
              <a:gd name="T41" fmla="*/ 352 h 512"/>
              <a:gd name="T42" fmla="*/ 256 w 512"/>
              <a:gd name="T43" fmla="*/ 331 h 512"/>
              <a:gd name="T44" fmla="*/ 254 w 512"/>
              <a:gd name="T45" fmla="*/ 330 h 512"/>
              <a:gd name="T46" fmla="*/ 190 w 512"/>
              <a:gd name="T47" fmla="*/ 268 h 512"/>
              <a:gd name="T48" fmla="*/ 438 w 512"/>
              <a:gd name="T49" fmla="*/ 302 h 512"/>
              <a:gd name="T50" fmla="*/ 438 w 512"/>
              <a:gd name="T51" fmla="*/ 287 h 512"/>
              <a:gd name="T52" fmla="*/ 395 w 512"/>
              <a:gd name="T53" fmla="*/ 245 h 512"/>
              <a:gd name="T54" fmla="*/ 355 w 512"/>
              <a:gd name="T55" fmla="*/ 204 h 512"/>
              <a:gd name="T56" fmla="*/ 355 w 512"/>
              <a:gd name="T57" fmla="*/ 174 h 512"/>
              <a:gd name="T58" fmla="*/ 310 w 512"/>
              <a:gd name="T59" fmla="*/ 159 h 512"/>
              <a:gd name="T60" fmla="*/ 269 w 512"/>
              <a:gd name="T61" fmla="*/ 119 h 512"/>
              <a:gd name="T62" fmla="*/ 227 w 512"/>
              <a:gd name="T63" fmla="*/ 76 h 512"/>
              <a:gd name="T64" fmla="*/ 151 w 512"/>
              <a:gd name="T65" fmla="*/ 136 h 512"/>
              <a:gd name="T66" fmla="*/ 151 w 512"/>
              <a:gd name="T67" fmla="*/ 151 h 512"/>
              <a:gd name="T68" fmla="*/ 195 w 512"/>
              <a:gd name="T69" fmla="*/ 193 h 512"/>
              <a:gd name="T70" fmla="*/ 234 w 512"/>
              <a:gd name="T71" fmla="*/ 234 h 512"/>
              <a:gd name="T72" fmla="*/ 234 w 512"/>
              <a:gd name="T73" fmla="*/ 264 h 512"/>
              <a:gd name="T74" fmla="*/ 265 w 512"/>
              <a:gd name="T75" fmla="*/ 286 h 512"/>
              <a:gd name="T76" fmla="*/ 299 w 512"/>
              <a:gd name="T77" fmla="*/ 261 h 512"/>
              <a:gd name="T78" fmla="*/ 323 w 512"/>
              <a:gd name="T79" fmla="*/ 323 h 512"/>
              <a:gd name="T80" fmla="*/ 370 w 512"/>
              <a:gd name="T81" fmla="*/ 366 h 512"/>
              <a:gd name="T82" fmla="*/ 438 w 512"/>
              <a:gd name="T83" fmla="*/ 3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40" y="189"/>
                </a:moveTo>
                <a:cubicBezTo>
                  <a:pt x="265" y="264"/>
                  <a:pt x="265" y="264"/>
                  <a:pt x="265" y="264"/>
                </a:cubicBezTo>
                <a:cubicBezTo>
                  <a:pt x="250" y="249"/>
                  <a:pt x="250" y="249"/>
                  <a:pt x="250" y="249"/>
                </a:cubicBezTo>
                <a:cubicBezTo>
                  <a:pt x="325" y="174"/>
                  <a:pt x="325" y="174"/>
                  <a:pt x="325" y="174"/>
                </a:cubicBezTo>
                <a:lnTo>
                  <a:pt x="340" y="189"/>
                </a:lnTo>
                <a:close/>
                <a:moveTo>
                  <a:pt x="274" y="194"/>
                </a:moveTo>
                <a:cubicBezTo>
                  <a:pt x="250" y="129"/>
                  <a:pt x="250" y="129"/>
                  <a:pt x="250" y="129"/>
                </a:cubicBezTo>
                <a:cubicBezTo>
                  <a:pt x="219" y="99"/>
                  <a:pt x="219" y="99"/>
                  <a:pt x="219" y="99"/>
                </a:cubicBezTo>
                <a:cubicBezTo>
                  <a:pt x="174" y="144"/>
                  <a:pt x="174" y="144"/>
                  <a:pt x="174" y="144"/>
                </a:cubicBezTo>
                <a:cubicBezTo>
                  <a:pt x="205" y="174"/>
                  <a:pt x="205" y="174"/>
                  <a:pt x="205" y="174"/>
                </a:cubicBezTo>
                <a:cubicBezTo>
                  <a:pt x="270" y="199"/>
                  <a:pt x="270" y="199"/>
                  <a:pt x="270" y="199"/>
                </a:cubicBezTo>
                <a:lnTo>
                  <a:pt x="274" y="194"/>
                </a:lnTo>
                <a:close/>
                <a:moveTo>
                  <a:pt x="320" y="240"/>
                </a:moveTo>
                <a:cubicBezTo>
                  <a:pt x="315" y="244"/>
                  <a:pt x="315" y="244"/>
                  <a:pt x="315" y="244"/>
                </a:cubicBezTo>
                <a:cubicBezTo>
                  <a:pt x="340" y="309"/>
                  <a:pt x="340" y="309"/>
                  <a:pt x="340" y="309"/>
                </a:cubicBezTo>
                <a:cubicBezTo>
                  <a:pt x="370" y="340"/>
                  <a:pt x="370" y="340"/>
                  <a:pt x="370" y="340"/>
                </a:cubicBezTo>
                <a:cubicBezTo>
                  <a:pt x="415" y="295"/>
                  <a:pt x="415" y="295"/>
                  <a:pt x="415" y="295"/>
                </a:cubicBezTo>
                <a:cubicBezTo>
                  <a:pt x="385" y="264"/>
                  <a:pt x="385" y="264"/>
                  <a:pt x="385" y="264"/>
                </a:cubicBezTo>
                <a:lnTo>
                  <a:pt x="320" y="24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8" y="405"/>
                </a:moveTo>
                <a:cubicBezTo>
                  <a:pt x="268" y="399"/>
                  <a:pt x="263" y="394"/>
                  <a:pt x="257" y="394"/>
                </a:cubicBezTo>
                <a:cubicBezTo>
                  <a:pt x="257" y="394"/>
                  <a:pt x="257" y="394"/>
                  <a:pt x="257" y="394"/>
                </a:cubicBezTo>
                <a:cubicBezTo>
                  <a:pt x="219" y="394"/>
                  <a:pt x="191" y="381"/>
                  <a:pt x="167" y="357"/>
                </a:cubicBezTo>
                <a:cubicBezTo>
                  <a:pt x="141" y="331"/>
                  <a:pt x="126" y="292"/>
                  <a:pt x="126" y="257"/>
                </a:cubicBezTo>
                <a:cubicBezTo>
                  <a:pt x="126" y="251"/>
                  <a:pt x="117" y="247"/>
                  <a:pt x="117" y="247"/>
                </a:cubicBezTo>
                <a:cubicBezTo>
                  <a:pt x="117" y="247"/>
                  <a:pt x="117" y="247"/>
                  <a:pt x="117" y="247"/>
                </a:cubicBezTo>
                <a:cubicBezTo>
                  <a:pt x="106" y="247"/>
                  <a:pt x="105" y="252"/>
                  <a:pt x="105" y="258"/>
                </a:cubicBezTo>
                <a:cubicBezTo>
                  <a:pt x="105" y="298"/>
                  <a:pt x="122" y="343"/>
                  <a:pt x="151" y="372"/>
                </a:cubicBezTo>
                <a:cubicBezTo>
                  <a:pt x="179" y="400"/>
                  <a:pt x="213" y="416"/>
                  <a:pt x="257" y="416"/>
                </a:cubicBezTo>
                <a:cubicBezTo>
                  <a:pt x="257" y="416"/>
                  <a:pt x="257" y="416"/>
                  <a:pt x="257" y="416"/>
                </a:cubicBezTo>
                <a:cubicBezTo>
                  <a:pt x="263" y="416"/>
                  <a:pt x="268" y="411"/>
                  <a:pt x="268" y="405"/>
                </a:cubicBezTo>
                <a:close/>
                <a:moveTo>
                  <a:pt x="181" y="257"/>
                </a:moveTo>
                <a:cubicBezTo>
                  <a:pt x="181" y="257"/>
                  <a:pt x="181" y="257"/>
                  <a:pt x="181" y="257"/>
                </a:cubicBezTo>
                <a:cubicBezTo>
                  <a:pt x="170" y="257"/>
                  <a:pt x="169" y="261"/>
                  <a:pt x="169" y="267"/>
                </a:cubicBezTo>
                <a:cubicBezTo>
                  <a:pt x="169" y="288"/>
                  <a:pt x="178" y="311"/>
                  <a:pt x="194" y="327"/>
                </a:cubicBezTo>
                <a:cubicBezTo>
                  <a:pt x="210" y="343"/>
                  <a:pt x="232" y="352"/>
                  <a:pt x="254" y="352"/>
                </a:cubicBezTo>
                <a:cubicBezTo>
                  <a:pt x="254" y="352"/>
                  <a:pt x="254" y="352"/>
                  <a:pt x="254" y="352"/>
                </a:cubicBezTo>
                <a:cubicBezTo>
                  <a:pt x="260" y="352"/>
                  <a:pt x="265" y="347"/>
                  <a:pt x="265" y="341"/>
                </a:cubicBezTo>
                <a:cubicBezTo>
                  <a:pt x="265" y="336"/>
                  <a:pt x="256" y="331"/>
                  <a:pt x="256" y="331"/>
                </a:cubicBezTo>
                <a:cubicBezTo>
                  <a:pt x="256" y="330"/>
                  <a:pt x="256" y="330"/>
                  <a:pt x="256" y="330"/>
                </a:cubicBezTo>
                <a:cubicBezTo>
                  <a:pt x="256" y="330"/>
                  <a:pt x="254" y="330"/>
                  <a:pt x="254" y="330"/>
                </a:cubicBezTo>
                <a:cubicBezTo>
                  <a:pt x="238" y="330"/>
                  <a:pt x="221" y="324"/>
                  <a:pt x="209" y="312"/>
                </a:cubicBezTo>
                <a:cubicBezTo>
                  <a:pt x="197" y="300"/>
                  <a:pt x="190" y="283"/>
                  <a:pt x="190" y="268"/>
                </a:cubicBezTo>
                <a:cubicBezTo>
                  <a:pt x="190" y="262"/>
                  <a:pt x="181" y="257"/>
                  <a:pt x="181" y="257"/>
                </a:cubicBezTo>
                <a:close/>
                <a:moveTo>
                  <a:pt x="438" y="302"/>
                </a:moveTo>
                <a:cubicBezTo>
                  <a:pt x="440" y="300"/>
                  <a:pt x="441" y="297"/>
                  <a:pt x="441" y="295"/>
                </a:cubicBezTo>
                <a:cubicBezTo>
                  <a:pt x="441" y="292"/>
                  <a:pt x="440" y="289"/>
                  <a:pt x="438" y="287"/>
                </a:cubicBezTo>
                <a:cubicBezTo>
                  <a:pt x="398" y="247"/>
                  <a:pt x="398" y="247"/>
                  <a:pt x="398" y="247"/>
                </a:cubicBezTo>
                <a:cubicBezTo>
                  <a:pt x="397" y="246"/>
                  <a:pt x="396" y="246"/>
                  <a:pt x="395" y="245"/>
                </a:cubicBezTo>
                <a:cubicBezTo>
                  <a:pt x="336" y="223"/>
                  <a:pt x="336" y="223"/>
                  <a:pt x="336" y="223"/>
                </a:cubicBezTo>
                <a:cubicBezTo>
                  <a:pt x="355" y="204"/>
                  <a:pt x="355" y="204"/>
                  <a:pt x="355" y="204"/>
                </a:cubicBezTo>
                <a:cubicBezTo>
                  <a:pt x="359" y="200"/>
                  <a:pt x="361" y="195"/>
                  <a:pt x="361" y="189"/>
                </a:cubicBezTo>
                <a:cubicBezTo>
                  <a:pt x="361" y="183"/>
                  <a:pt x="359" y="178"/>
                  <a:pt x="355" y="174"/>
                </a:cubicBezTo>
                <a:cubicBezTo>
                  <a:pt x="340" y="159"/>
                  <a:pt x="340" y="159"/>
                  <a:pt x="340" y="159"/>
                </a:cubicBezTo>
                <a:cubicBezTo>
                  <a:pt x="332" y="151"/>
                  <a:pt x="318" y="151"/>
                  <a:pt x="310" y="159"/>
                </a:cubicBezTo>
                <a:cubicBezTo>
                  <a:pt x="291" y="178"/>
                  <a:pt x="291" y="178"/>
                  <a:pt x="291" y="178"/>
                </a:cubicBezTo>
                <a:cubicBezTo>
                  <a:pt x="269" y="119"/>
                  <a:pt x="269" y="119"/>
                  <a:pt x="269" y="119"/>
                </a:cubicBezTo>
                <a:cubicBezTo>
                  <a:pt x="268" y="118"/>
                  <a:pt x="268" y="117"/>
                  <a:pt x="267" y="116"/>
                </a:cubicBezTo>
                <a:cubicBezTo>
                  <a:pt x="227" y="76"/>
                  <a:pt x="227" y="76"/>
                  <a:pt x="227" y="76"/>
                </a:cubicBezTo>
                <a:cubicBezTo>
                  <a:pt x="223" y="72"/>
                  <a:pt x="216" y="72"/>
                  <a:pt x="212" y="76"/>
                </a:cubicBezTo>
                <a:cubicBezTo>
                  <a:pt x="151" y="136"/>
                  <a:pt x="151" y="136"/>
                  <a:pt x="151" y="136"/>
                </a:cubicBezTo>
                <a:cubicBezTo>
                  <a:pt x="149" y="138"/>
                  <a:pt x="148" y="141"/>
                  <a:pt x="148" y="144"/>
                </a:cubicBezTo>
                <a:cubicBezTo>
                  <a:pt x="148" y="147"/>
                  <a:pt x="149" y="149"/>
                  <a:pt x="151" y="151"/>
                </a:cubicBezTo>
                <a:cubicBezTo>
                  <a:pt x="191" y="191"/>
                  <a:pt x="191" y="191"/>
                  <a:pt x="191" y="191"/>
                </a:cubicBezTo>
                <a:cubicBezTo>
                  <a:pt x="192" y="192"/>
                  <a:pt x="194" y="193"/>
                  <a:pt x="195" y="193"/>
                </a:cubicBezTo>
                <a:cubicBezTo>
                  <a:pt x="254" y="215"/>
                  <a:pt x="254" y="215"/>
                  <a:pt x="254" y="215"/>
                </a:cubicBezTo>
                <a:cubicBezTo>
                  <a:pt x="234" y="234"/>
                  <a:pt x="234" y="234"/>
                  <a:pt x="234" y="234"/>
                </a:cubicBezTo>
                <a:cubicBezTo>
                  <a:pt x="230" y="238"/>
                  <a:pt x="228" y="244"/>
                  <a:pt x="228" y="249"/>
                </a:cubicBezTo>
                <a:cubicBezTo>
                  <a:pt x="228" y="255"/>
                  <a:pt x="230" y="260"/>
                  <a:pt x="234" y="264"/>
                </a:cubicBezTo>
                <a:cubicBezTo>
                  <a:pt x="250" y="280"/>
                  <a:pt x="250" y="280"/>
                  <a:pt x="250" y="280"/>
                </a:cubicBezTo>
                <a:cubicBezTo>
                  <a:pt x="254" y="284"/>
                  <a:pt x="259" y="286"/>
                  <a:pt x="265" y="286"/>
                </a:cubicBezTo>
                <a:cubicBezTo>
                  <a:pt x="270" y="286"/>
                  <a:pt x="276" y="284"/>
                  <a:pt x="280" y="280"/>
                </a:cubicBezTo>
                <a:cubicBezTo>
                  <a:pt x="299" y="261"/>
                  <a:pt x="299" y="261"/>
                  <a:pt x="299" y="261"/>
                </a:cubicBezTo>
                <a:cubicBezTo>
                  <a:pt x="321" y="319"/>
                  <a:pt x="321" y="319"/>
                  <a:pt x="321" y="319"/>
                </a:cubicBezTo>
                <a:cubicBezTo>
                  <a:pt x="321" y="320"/>
                  <a:pt x="322" y="322"/>
                  <a:pt x="323" y="323"/>
                </a:cubicBezTo>
                <a:cubicBezTo>
                  <a:pt x="363" y="363"/>
                  <a:pt x="363" y="363"/>
                  <a:pt x="363" y="363"/>
                </a:cubicBezTo>
                <a:cubicBezTo>
                  <a:pt x="365" y="365"/>
                  <a:pt x="367" y="366"/>
                  <a:pt x="370" y="366"/>
                </a:cubicBezTo>
                <a:cubicBezTo>
                  <a:pt x="373" y="366"/>
                  <a:pt x="376" y="365"/>
                  <a:pt x="378" y="363"/>
                </a:cubicBezTo>
                <a:lnTo>
                  <a:pt x="438" y="30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9" name="Group 768"/>
          <p:cNvGrpSpPr>
            <a:grpSpLocks noChangeAspect="1"/>
          </p:cNvGrpSpPr>
          <p:nvPr/>
        </p:nvGrpSpPr>
        <p:grpSpPr bwMode="auto">
          <a:xfrm>
            <a:off x="5860345" y="3368741"/>
            <a:ext cx="369021" cy="369021"/>
            <a:chOff x="6591" y="3054"/>
            <a:chExt cx="340" cy="340"/>
          </a:xfrm>
          <a:solidFill>
            <a:schemeClr val="accent3"/>
          </a:solidFill>
        </p:grpSpPr>
        <p:sp>
          <p:nvSpPr>
            <p:cNvPr id="370" name="Freeform 769"/>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770"/>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2" name="Freeform 774"/>
          <p:cNvSpPr>
            <a:spLocks noChangeAspect="1" noEditPoints="1"/>
          </p:cNvSpPr>
          <p:nvPr/>
        </p:nvSpPr>
        <p:spPr bwMode="auto">
          <a:xfrm>
            <a:off x="5440386" y="3368741"/>
            <a:ext cx="369021" cy="369021"/>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3" name="Group 499"/>
          <p:cNvGrpSpPr>
            <a:grpSpLocks noChangeAspect="1"/>
          </p:cNvGrpSpPr>
          <p:nvPr/>
        </p:nvGrpSpPr>
        <p:grpSpPr bwMode="auto">
          <a:xfrm>
            <a:off x="7541266" y="3368741"/>
            <a:ext cx="370106" cy="369021"/>
            <a:chOff x="5800" y="1938"/>
            <a:chExt cx="341" cy="340"/>
          </a:xfrm>
          <a:solidFill>
            <a:schemeClr val="accent6"/>
          </a:solidFill>
        </p:grpSpPr>
        <p:sp>
          <p:nvSpPr>
            <p:cNvPr id="374" name="Freeform 500"/>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Freeform 501"/>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6" name="Freeform 505"/>
          <p:cNvSpPr>
            <a:spLocks noChangeAspect="1" noEditPoints="1"/>
          </p:cNvSpPr>
          <p:nvPr/>
        </p:nvSpPr>
        <p:spPr bwMode="auto">
          <a:xfrm>
            <a:off x="7121307" y="3368741"/>
            <a:ext cx="369021" cy="369021"/>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7" name="Freeform 305"/>
          <p:cNvSpPr>
            <a:spLocks noChangeAspect="1" noEditPoints="1"/>
          </p:cNvSpPr>
          <p:nvPr/>
        </p:nvSpPr>
        <p:spPr bwMode="auto">
          <a:xfrm>
            <a:off x="7962310" y="3368741"/>
            <a:ext cx="367041" cy="368120"/>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8" name="Group 308"/>
          <p:cNvGrpSpPr>
            <a:grpSpLocks noChangeAspect="1"/>
          </p:cNvGrpSpPr>
          <p:nvPr/>
        </p:nvGrpSpPr>
        <p:grpSpPr bwMode="auto">
          <a:xfrm>
            <a:off x="8380281" y="3368741"/>
            <a:ext cx="367041" cy="368120"/>
            <a:chOff x="2955" y="1719"/>
            <a:chExt cx="340" cy="341"/>
          </a:xfrm>
          <a:solidFill>
            <a:schemeClr val="accent4"/>
          </a:solidFill>
        </p:grpSpPr>
        <p:sp>
          <p:nvSpPr>
            <p:cNvPr id="379" name="Freeform 309"/>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310"/>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1" name="Freeform 967"/>
          <p:cNvSpPr>
            <a:spLocks noChangeAspect="1" noEditPoints="1"/>
          </p:cNvSpPr>
          <p:nvPr/>
        </p:nvSpPr>
        <p:spPr bwMode="auto">
          <a:xfrm>
            <a:off x="395767" y="4196490"/>
            <a:ext cx="368713" cy="367631"/>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2" name="Group 970"/>
          <p:cNvGrpSpPr>
            <a:grpSpLocks noChangeAspect="1"/>
          </p:cNvGrpSpPr>
          <p:nvPr/>
        </p:nvGrpSpPr>
        <p:grpSpPr bwMode="auto">
          <a:xfrm>
            <a:off x="817263" y="4196490"/>
            <a:ext cx="367631" cy="367631"/>
            <a:chOff x="7346" y="3563"/>
            <a:chExt cx="340" cy="340"/>
          </a:xfrm>
          <a:solidFill>
            <a:schemeClr val="accent4"/>
          </a:solidFill>
        </p:grpSpPr>
        <p:sp>
          <p:nvSpPr>
            <p:cNvPr id="383" name="Freeform 971"/>
            <p:cNvSpPr>
              <a:spLocks noEditPoints="1"/>
            </p:cNvSpPr>
            <p:nvPr/>
          </p:nvSpPr>
          <p:spPr bwMode="auto">
            <a:xfrm>
              <a:off x="7346" y="35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Freeform 972"/>
            <p:cNvSpPr>
              <a:spLocks noEditPoints="1"/>
            </p:cNvSpPr>
            <p:nvPr/>
          </p:nvSpPr>
          <p:spPr bwMode="auto">
            <a:xfrm>
              <a:off x="7412" y="3662"/>
              <a:ext cx="208" cy="153"/>
            </a:xfrm>
            <a:custGeom>
              <a:avLst/>
              <a:gdLst>
                <a:gd name="T0" fmla="*/ 283 w 312"/>
                <a:gd name="T1" fmla="*/ 17 h 230"/>
                <a:gd name="T2" fmla="*/ 70 w 312"/>
                <a:gd name="T3" fmla="*/ 0 h 230"/>
                <a:gd name="T4" fmla="*/ 1 w 312"/>
                <a:gd name="T5" fmla="*/ 104 h 230"/>
                <a:gd name="T6" fmla="*/ 70 w 312"/>
                <a:gd name="T7" fmla="*/ 221 h 230"/>
                <a:gd name="T8" fmla="*/ 203 w 312"/>
                <a:gd name="T9" fmla="*/ 171 h 230"/>
                <a:gd name="T10" fmla="*/ 267 w 312"/>
                <a:gd name="T11" fmla="*/ 228 h 230"/>
                <a:gd name="T12" fmla="*/ 310 w 312"/>
                <a:gd name="T13" fmla="*/ 105 h 230"/>
                <a:gd name="T14" fmla="*/ 251 w 312"/>
                <a:gd name="T15" fmla="*/ 202 h 230"/>
                <a:gd name="T16" fmla="*/ 211 w 312"/>
                <a:gd name="T17" fmla="*/ 149 h 230"/>
                <a:gd name="T18" fmla="*/ 90 w 312"/>
                <a:gd name="T19" fmla="*/ 158 h 230"/>
                <a:gd name="T20" fmla="*/ 33 w 312"/>
                <a:gd name="T21" fmla="*/ 204 h 230"/>
                <a:gd name="T22" fmla="*/ 44 w 312"/>
                <a:gd name="T23" fmla="*/ 32 h 230"/>
                <a:gd name="T24" fmla="*/ 241 w 312"/>
                <a:gd name="T25" fmla="*/ 21 h 230"/>
                <a:gd name="T26" fmla="*/ 289 w 312"/>
                <a:gd name="T27" fmla="*/ 105 h 230"/>
                <a:gd name="T28" fmla="*/ 113 w 312"/>
                <a:gd name="T29" fmla="*/ 85 h 230"/>
                <a:gd name="T30" fmla="*/ 92 w 312"/>
                <a:gd name="T31" fmla="*/ 96 h 230"/>
                <a:gd name="T32" fmla="*/ 81 w 312"/>
                <a:gd name="T33" fmla="*/ 117 h 230"/>
                <a:gd name="T34" fmla="*/ 70 w 312"/>
                <a:gd name="T35" fmla="*/ 96 h 230"/>
                <a:gd name="T36" fmla="*/ 49 w 312"/>
                <a:gd name="T37" fmla="*/ 85 h 230"/>
                <a:gd name="T38" fmla="*/ 70 w 312"/>
                <a:gd name="T39" fmla="*/ 75 h 230"/>
                <a:gd name="T40" fmla="*/ 81 w 312"/>
                <a:gd name="T41" fmla="*/ 53 h 230"/>
                <a:gd name="T42" fmla="*/ 92 w 312"/>
                <a:gd name="T43" fmla="*/ 75 h 230"/>
                <a:gd name="T44" fmla="*/ 113 w 312"/>
                <a:gd name="T45" fmla="*/ 85 h 230"/>
                <a:gd name="T46" fmla="*/ 252 w 312"/>
                <a:gd name="T47" fmla="*/ 96 h 230"/>
                <a:gd name="T48" fmla="*/ 252 w 312"/>
                <a:gd name="T49" fmla="*/ 75 h 230"/>
                <a:gd name="T50" fmla="*/ 230 w 312"/>
                <a:gd name="T51" fmla="*/ 117 h 230"/>
                <a:gd name="T52" fmla="*/ 209 w 312"/>
                <a:gd name="T53" fmla="*/ 117 h 230"/>
                <a:gd name="T54" fmla="*/ 230 w 312"/>
                <a:gd name="T55" fmla="*/ 117 h 230"/>
                <a:gd name="T56" fmla="*/ 188 w 312"/>
                <a:gd name="T57" fmla="*/ 96 h 230"/>
                <a:gd name="T58" fmla="*/ 188 w 312"/>
                <a:gd name="T59" fmla="*/ 75 h 230"/>
                <a:gd name="T60" fmla="*/ 230 w 312"/>
                <a:gd name="T61" fmla="*/ 53 h 230"/>
                <a:gd name="T62" fmla="*/ 209 w 312"/>
                <a:gd name="T63" fmla="*/ 53 h 230"/>
                <a:gd name="T64" fmla="*/ 230 w 312"/>
                <a:gd name="T65" fmla="*/ 5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230">
                  <a:moveTo>
                    <a:pt x="310" y="105"/>
                  </a:moveTo>
                  <a:cubicBezTo>
                    <a:pt x="310" y="102"/>
                    <a:pt x="311" y="46"/>
                    <a:pt x="283" y="17"/>
                  </a:cubicBezTo>
                  <a:cubicBezTo>
                    <a:pt x="271" y="6"/>
                    <a:pt x="257" y="0"/>
                    <a:pt x="241" y="0"/>
                  </a:cubicBezTo>
                  <a:cubicBezTo>
                    <a:pt x="70" y="0"/>
                    <a:pt x="70" y="0"/>
                    <a:pt x="70" y="0"/>
                  </a:cubicBezTo>
                  <a:cubicBezTo>
                    <a:pt x="54" y="0"/>
                    <a:pt x="40" y="6"/>
                    <a:pt x="29" y="17"/>
                  </a:cubicBezTo>
                  <a:cubicBezTo>
                    <a:pt x="0" y="46"/>
                    <a:pt x="1" y="102"/>
                    <a:pt x="1" y="104"/>
                  </a:cubicBezTo>
                  <a:cubicBezTo>
                    <a:pt x="0" y="144"/>
                    <a:pt x="1" y="212"/>
                    <a:pt x="23" y="223"/>
                  </a:cubicBezTo>
                  <a:cubicBezTo>
                    <a:pt x="37" y="230"/>
                    <a:pt x="54" y="229"/>
                    <a:pt x="70" y="221"/>
                  </a:cubicBezTo>
                  <a:cubicBezTo>
                    <a:pt x="89" y="212"/>
                    <a:pt x="103" y="194"/>
                    <a:pt x="109" y="171"/>
                  </a:cubicBezTo>
                  <a:cubicBezTo>
                    <a:pt x="203" y="171"/>
                    <a:pt x="203" y="171"/>
                    <a:pt x="203" y="171"/>
                  </a:cubicBezTo>
                  <a:cubicBezTo>
                    <a:pt x="209" y="194"/>
                    <a:pt x="222" y="212"/>
                    <a:pt x="241" y="221"/>
                  </a:cubicBezTo>
                  <a:cubicBezTo>
                    <a:pt x="250" y="225"/>
                    <a:pt x="259" y="228"/>
                    <a:pt x="267" y="228"/>
                  </a:cubicBezTo>
                  <a:cubicBezTo>
                    <a:pt x="275" y="228"/>
                    <a:pt x="282" y="226"/>
                    <a:pt x="288" y="223"/>
                  </a:cubicBezTo>
                  <a:cubicBezTo>
                    <a:pt x="311" y="212"/>
                    <a:pt x="312" y="144"/>
                    <a:pt x="310" y="105"/>
                  </a:cubicBezTo>
                  <a:close/>
                  <a:moveTo>
                    <a:pt x="279" y="204"/>
                  </a:moveTo>
                  <a:cubicBezTo>
                    <a:pt x="271" y="208"/>
                    <a:pt x="260" y="207"/>
                    <a:pt x="251" y="202"/>
                  </a:cubicBezTo>
                  <a:cubicBezTo>
                    <a:pt x="242" y="198"/>
                    <a:pt x="227" y="186"/>
                    <a:pt x="222" y="158"/>
                  </a:cubicBezTo>
                  <a:cubicBezTo>
                    <a:pt x="221" y="153"/>
                    <a:pt x="216" y="149"/>
                    <a:pt x="211" y="149"/>
                  </a:cubicBezTo>
                  <a:cubicBezTo>
                    <a:pt x="100" y="149"/>
                    <a:pt x="100" y="149"/>
                    <a:pt x="100" y="149"/>
                  </a:cubicBezTo>
                  <a:cubicBezTo>
                    <a:pt x="95" y="149"/>
                    <a:pt x="91" y="153"/>
                    <a:pt x="90" y="158"/>
                  </a:cubicBezTo>
                  <a:cubicBezTo>
                    <a:pt x="85" y="186"/>
                    <a:pt x="69" y="198"/>
                    <a:pt x="61" y="202"/>
                  </a:cubicBezTo>
                  <a:cubicBezTo>
                    <a:pt x="51" y="207"/>
                    <a:pt x="40" y="208"/>
                    <a:pt x="33" y="204"/>
                  </a:cubicBezTo>
                  <a:cubicBezTo>
                    <a:pt x="26" y="198"/>
                    <a:pt x="21" y="152"/>
                    <a:pt x="22" y="104"/>
                  </a:cubicBezTo>
                  <a:cubicBezTo>
                    <a:pt x="22" y="104"/>
                    <a:pt x="22" y="55"/>
                    <a:pt x="44" y="32"/>
                  </a:cubicBezTo>
                  <a:cubicBezTo>
                    <a:pt x="51" y="25"/>
                    <a:pt x="60" y="21"/>
                    <a:pt x="70" y="21"/>
                  </a:cubicBezTo>
                  <a:cubicBezTo>
                    <a:pt x="241" y="21"/>
                    <a:pt x="241" y="21"/>
                    <a:pt x="241" y="21"/>
                  </a:cubicBezTo>
                  <a:cubicBezTo>
                    <a:pt x="252" y="21"/>
                    <a:pt x="260" y="25"/>
                    <a:pt x="267" y="32"/>
                  </a:cubicBezTo>
                  <a:cubicBezTo>
                    <a:pt x="290" y="55"/>
                    <a:pt x="289" y="104"/>
                    <a:pt x="289" y="105"/>
                  </a:cubicBezTo>
                  <a:cubicBezTo>
                    <a:pt x="291" y="152"/>
                    <a:pt x="286" y="198"/>
                    <a:pt x="279" y="204"/>
                  </a:cubicBezTo>
                  <a:close/>
                  <a:moveTo>
                    <a:pt x="113" y="85"/>
                  </a:moveTo>
                  <a:cubicBezTo>
                    <a:pt x="113" y="91"/>
                    <a:pt x="108" y="96"/>
                    <a:pt x="102" y="96"/>
                  </a:cubicBezTo>
                  <a:cubicBezTo>
                    <a:pt x="92" y="96"/>
                    <a:pt x="92" y="96"/>
                    <a:pt x="92" y="96"/>
                  </a:cubicBezTo>
                  <a:cubicBezTo>
                    <a:pt x="92" y="107"/>
                    <a:pt x="92" y="107"/>
                    <a:pt x="92" y="107"/>
                  </a:cubicBezTo>
                  <a:cubicBezTo>
                    <a:pt x="92" y="113"/>
                    <a:pt x="87" y="117"/>
                    <a:pt x="81" y="117"/>
                  </a:cubicBezTo>
                  <a:cubicBezTo>
                    <a:pt x="75" y="117"/>
                    <a:pt x="70" y="113"/>
                    <a:pt x="70" y="107"/>
                  </a:cubicBezTo>
                  <a:cubicBezTo>
                    <a:pt x="70" y="96"/>
                    <a:pt x="70" y="96"/>
                    <a:pt x="70" y="96"/>
                  </a:cubicBezTo>
                  <a:cubicBezTo>
                    <a:pt x="60" y="96"/>
                    <a:pt x="60" y="96"/>
                    <a:pt x="60" y="96"/>
                  </a:cubicBezTo>
                  <a:cubicBezTo>
                    <a:pt x="54" y="96"/>
                    <a:pt x="49" y="91"/>
                    <a:pt x="49" y="85"/>
                  </a:cubicBezTo>
                  <a:cubicBezTo>
                    <a:pt x="49" y="79"/>
                    <a:pt x="54" y="75"/>
                    <a:pt x="60" y="75"/>
                  </a:cubicBezTo>
                  <a:cubicBezTo>
                    <a:pt x="70" y="75"/>
                    <a:pt x="70" y="75"/>
                    <a:pt x="70" y="75"/>
                  </a:cubicBezTo>
                  <a:cubicBezTo>
                    <a:pt x="70" y="64"/>
                    <a:pt x="70" y="64"/>
                    <a:pt x="70" y="64"/>
                  </a:cubicBezTo>
                  <a:cubicBezTo>
                    <a:pt x="70" y="58"/>
                    <a:pt x="75" y="53"/>
                    <a:pt x="81" y="53"/>
                  </a:cubicBezTo>
                  <a:cubicBezTo>
                    <a:pt x="87" y="53"/>
                    <a:pt x="92" y="58"/>
                    <a:pt x="92" y="64"/>
                  </a:cubicBezTo>
                  <a:cubicBezTo>
                    <a:pt x="92" y="75"/>
                    <a:pt x="92" y="75"/>
                    <a:pt x="92" y="75"/>
                  </a:cubicBezTo>
                  <a:cubicBezTo>
                    <a:pt x="102" y="75"/>
                    <a:pt x="102" y="75"/>
                    <a:pt x="102" y="75"/>
                  </a:cubicBezTo>
                  <a:cubicBezTo>
                    <a:pt x="108" y="75"/>
                    <a:pt x="113" y="79"/>
                    <a:pt x="113" y="85"/>
                  </a:cubicBezTo>
                  <a:close/>
                  <a:moveTo>
                    <a:pt x="262" y="85"/>
                  </a:moveTo>
                  <a:cubicBezTo>
                    <a:pt x="262" y="91"/>
                    <a:pt x="258" y="96"/>
                    <a:pt x="252" y="96"/>
                  </a:cubicBezTo>
                  <a:cubicBezTo>
                    <a:pt x="246" y="96"/>
                    <a:pt x="241" y="91"/>
                    <a:pt x="241" y="85"/>
                  </a:cubicBezTo>
                  <a:cubicBezTo>
                    <a:pt x="241" y="79"/>
                    <a:pt x="246" y="75"/>
                    <a:pt x="252" y="75"/>
                  </a:cubicBezTo>
                  <a:cubicBezTo>
                    <a:pt x="258" y="75"/>
                    <a:pt x="262" y="79"/>
                    <a:pt x="262" y="85"/>
                  </a:cubicBezTo>
                  <a:close/>
                  <a:moveTo>
                    <a:pt x="230" y="117"/>
                  </a:moveTo>
                  <a:cubicBezTo>
                    <a:pt x="230" y="123"/>
                    <a:pt x="226" y="128"/>
                    <a:pt x="220" y="128"/>
                  </a:cubicBezTo>
                  <a:cubicBezTo>
                    <a:pt x="214" y="128"/>
                    <a:pt x="209" y="123"/>
                    <a:pt x="209" y="117"/>
                  </a:cubicBezTo>
                  <a:cubicBezTo>
                    <a:pt x="209" y="111"/>
                    <a:pt x="214" y="107"/>
                    <a:pt x="220" y="107"/>
                  </a:cubicBezTo>
                  <a:cubicBezTo>
                    <a:pt x="226" y="107"/>
                    <a:pt x="230" y="111"/>
                    <a:pt x="230" y="117"/>
                  </a:cubicBezTo>
                  <a:close/>
                  <a:moveTo>
                    <a:pt x="198" y="85"/>
                  </a:moveTo>
                  <a:cubicBezTo>
                    <a:pt x="198" y="91"/>
                    <a:pt x="194" y="96"/>
                    <a:pt x="188" y="96"/>
                  </a:cubicBezTo>
                  <a:cubicBezTo>
                    <a:pt x="182" y="96"/>
                    <a:pt x="177" y="91"/>
                    <a:pt x="177" y="85"/>
                  </a:cubicBezTo>
                  <a:cubicBezTo>
                    <a:pt x="177" y="79"/>
                    <a:pt x="182" y="75"/>
                    <a:pt x="188" y="75"/>
                  </a:cubicBezTo>
                  <a:cubicBezTo>
                    <a:pt x="194" y="75"/>
                    <a:pt x="198" y="79"/>
                    <a:pt x="198" y="85"/>
                  </a:cubicBezTo>
                  <a:close/>
                  <a:moveTo>
                    <a:pt x="230" y="53"/>
                  </a:moveTo>
                  <a:cubicBezTo>
                    <a:pt x="230" y="59"/>
                    <a:pt x="226" y="64"/>
                    <a:pt x="220" y="64"/>
                  </a:cubicBezTo>
                  <a:cubicBezTo>
                    <a:pt x="214" y="64"/>
                    <a:pt x="209" y="59"/>
                    <a:pt x="209" y="53"/>
                  </a:cubicBezTo>
                  <a:cubicBezTo>
                    <a:pt x="209" y="47"/>
                    <a:pt x="214" y="43"/>
                    <a:pt x="220" y="43"/>
                  </a:cubicBezTo>
                  <a:cubicBezTo>
                    <a:pt x="226" y="43"/>
                    <a:pt x="230" y="47"/>
                    <a:pt x="23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5" name="TextBox 384"/>
          <p:cNvSpPr txBox="1"/>
          <p:nvPr/>
        </p:nvSpPr>
        <p:spPr>
          <a:xfrm>
            <a:off x="374501" y="464234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amepad</a:t>
            </a:r>
          </a:p>
        </p:txBody>
      </p:sp>
      <p:sp>
        <p:nvSpPr>
          <p:cNvPr id="386" name="TextBox 385"/>
          <p:cNvSpPr txBox="1"/>
          <p:nvPr/>
        </p:nvSpPr>
        <p:spPr>
          <a:xfrm>
            <a:off x="1203663" y="464234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x machine</a:t>
            </a:r>
          </a:p>
        </p:txBody>
      </p:sp>
      <p:sp>
        <p:nvSpPr>
          <p:cNvPr id="387" name="TextBox 386"/>
          <p:cNvSpPr txBox="1"/>
          <p:nvPr/>
        </p:nvSpPr>
        <p:spPr>
          <a:xfrm>
            <a:off x="2047642" y="464234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wnload from Cloud</a:t>
            </a:r>
          </a:p>
        </p:txBody>
      </p:sp>
      <p:sp>
        <p:nvSpPr>
          <p:cNvPr id="388" name="TextBox 387"/>
          <p:cNvSpPr txBox="1"/>
          <p:nvPr/>
        </p:nvSpPr>
        <p:spPr>
          <a:xfrm>
            <a:off x="3729250"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bile pay</a:t>
            </a:r>
          </a:p>
        </p:txBody>
      </p:sp>
      <p:sp>
        <p:nvSpPr>
          <p:cNvPr id="389" name="TextBox 388"/>
          <p:cNvSpPr txBox="1"/>
          <p:nvPr/>
        </p:nvSpPr>
        <p:spPr>
          <a:xfrm>
            <a:off x="4570054"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usic</a:t>
            </a:r>
          </a:p>
        </p:txBody>
      </p:sp>
      <p:sp>
        <p:nvSpPr>
          <p:cNvPr id="390" name="TextBox 389"/>
          <p:cNvSpPr txBox="1"/>
          <p:nvPr/>
        </p:nvSpPr>
        <p:spPr>
          <a:xfrm>
            <a:off x="2888446"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ewspaper</a:t>
            </a:r>
          </a:p>
        </p:txBody>
      </p:sp>
      <p:sp>
        <p:nvSpPr>
          <p:cNvPr id="391" name="TextBox 390"/>
          <p:cNvSpPr txBox="1"/>
          <p:nvPr/>
        </p:nvSpPr>
        <p:spPr>
          <a:xfrm>
            <a:off x="5410858"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use</a:t>
            </a:r>
          </a:p>
        </p:txBody>
      </p:sp>
      <p:sp>
        <p:nvSpPr>
          <p:cNvPr id="392" name="TextBox 391"/>
          <p:cNvSpPr txBox="1"/>
          <p:nvPr/>
        </p:nvSpPr>
        <p:spPr>
          <a:xfrm>
            <a:off x="7933268" y="4642342"/>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Loudhaler</a:t>
            </a:r>
            <a:endParaRPr lang="en-US" sz="1000" dirty="0">
              <a:solidFill>
                <a:srgbClr val="313131"/>
              </a:solidFill>
            </a:endParaRPr>
          </a:p>
        </p:txBody>
      </p:sp>
      <p:sp>
        <p:nvSpPr>
          <p:cNvPr id="393" name="TextBox 392"/>
          <p:cNvSpPr txBox="1"/>
          <p:nvPr/>
        </p:nvSpPr>
        <p:spPr>
          <a:xfrm>
            <a:off x="7092466"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DD</a:t>
            </a:r>
          </a:p>
        </p:txBody>
      </p:sp>
      <p:sp>
        <p:nvSpPr>
          <p:cNvPr id="394" name="TextBox 393"/>
          <p:cNvSpPr txBox="1"/>
          <p:nvPr/>
        </p:nvSpPr>
        <p:spPr>
          <a:xfrm>
            <a:off x="6251662" y="46423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Keyboard</a:t>
            </a:r>
          </a:p>
        </p:txBody>
      </p:sp>
      <p:sp>
        <p:nvSpPr>
          <p:cNvPr id="396" name="Freeform 615"/>
          <p:cNvSpPr>
            <a:spLocks noChangeAspect="1" noEditPoints="1"/>
          </p:cNvSpPr>
          <p:nvPr/>
        </p:nvSpPr>
        <p:spPr bwMode="auto">
          <a:xfrm>
            <a:off x="1237677" y="4196490"/>
            <a:ext cx="367631" cy="367631"/>
          </a:xfrm>
          <a:custGeom>
            <a:avLst/>
            <a:gdLst>
              <a:gd name="T0" fmla="*/ 312 w 512"/>
              <a:gd name="T1" fmla="*/ 332 h 512"/>
              <a:gd name="T2" fmla="*/ 199 w 512"/>
              <a:gd name="T3" fmla="*/ 394 h 512"/>
              <a:gd name="T4" fmla="*/ 190 w 512"/>
              <a:gd name="T5" fmla="*/ 186 h 512"/>
              <a:gd name="T6" fmla="*/ 199 w 512"/>
              <a:gd name="T7" fmla="*/ 151 h 512"/>
              <a:gd name="T8" fmla="*/ 254 w 512"/>
              <a:gd name="T9" fmla="*/ 144 h 512"/>
              <a:gd name="T10" fmla="*/ 296 w 512"/>
              <a:gd name="T11" fmla="*/ 148 h 512"/>
              <a:gd name="T12" fmla="*/ 322 w 512"/>
              <a:gd name="T13" fmla="*/ 162 h 512"/>
              <a:gd name="T14" fmla="*/ 362 w 512"/>
              <a:gd name="T15" fmla="*/ 184 h 512"/>
              <a:gd name="T16" fmla="*/ 362 w 512"/>
              <a:gd name="T17" fmla="*/ 167 h 512"/>
              <a:gd name="T18" fmla="*/ 257 w 512"/>
              <a:gd name="T19" fmla="*/ 128 h 512"/>
              <a:gd name="T20" fmla="*/ 254 w 512"/>
              <a:gd name="T21" fmla="*/ 128 h 512"/>
              <a:gd name="T22" fmla="*/ 149 w 512"/>
              <a:gd name="T23" fmla="*/ 167 h 512"/>
              <a:gd name="T24" fmla="*/ 149 w 512"/>
              <a:gd name="T25" fmla="*/ 184 h 512"/>
              <a:gd name="T26" fmla="*/ 149 w 512"/>
              <a:gd name="T27" fmla="*/ 248 h 512"/>
              <a:gd name="T28" fmla="*/ 362 w 512"/>
              <a:gd name="T29" fmla="*/ 361 h 512"/>
              <a:gd name="T30" fmla="*/ 333 w 512"/>
              <a:gd name="T31" fmla="*/ 321 h 512"/>
              <a:gd name="T32" fmla="*/ 189 w 512"/>
              <a:gd name="T33" fmla="*/ 311 h 512"/>
              <a:gd name="T34" fmla="*/ 178 w 512"/>
              <a:gd name="T35" fmla="*/ 361 h 512"/>
              <a:gd name="T36" fmla="*/ 149 w 512"/>
              <a:gd name="T37" fmla="*/ 248 h 512"/>
              <a:gd name="T38" fmla="*/ 298 w 512"/>
              <a:gd name="T39" fmla="*/ 288 h 512"/>
              <a:gd name="T40" fmla="*/ 330 w 512"/>
              <a:gd name="T41" fmla="*/ 277 h 512"/>
              <a:gd name="T42" fmla="*/ 298 w 512"/>
              <a:gd name="T43" fmla="*/ 266 h 512"/>
              <a:gd name="T44" fmla="*/ 512 w 512"/>
              <a:gd name="T45" fmla="*/ 256 h 512"/>
              <a:gd name="T46" fmla="*/ 0 w 512"/>
              <a:gd name="T47" fmla="*/ 256 h 512"/>
              <a:gd name="T48" fmla="*/ 512 w 512"/>
              <a:gd name="T49" fmla="*/ 256 h 512"/>
              <a:gd name="T50" fmla="*/ 133 w 512"/>
              <a:gd name="T51" fmla="*/ 199 h 512"/>
              <a:gd name="T52" fmla="*/ 135 w 512"/>
              <a:gd name="T53" fmla="*/ 200 h 512"/>
              <a:gd name="T54" fmla="*/ 211 w 512"/>
              <a:gd name="T55" fmla="*/ 192 h 512"/>
              <a:gd name="T56" fmla="*/ 219 w 512"/>
              <a:gd name="T57" fmla="*/ 170 h 512"/>
              <a:gd name="T58" fmla="*/ 258 w 512"/>
              <a:gd name="T59" fmla="*/ 165 h 512"/>
              <a:gd name="T60" fmla="*/ 300 w 512"/>
              <a:gd name="T61" fmla="*/ 171 h 512"/>
              <a:gd name="T62" fmla="*/ 304 w 512"/>
              <a:gd name="T63" fmla="*/ 200 h 512"/>
              <a:gd name="T64" fmla="*/ 376 w 512"/>
              <a:gd name="T65" fmla="*/ 200 h 512"/>
              <a:gd name="T66" fmla="*/ 378 w 512"/>
              <a:gd name="T67" fmla="*/ 199 h 512"/>
              <a:gd name="T68" fmla="*/ 384 w 512"/>
              <a:gd name="T69" fmla="*/ 171 h 512"/>
              <a:gd name="T70" fmla="*/ 368 w 512"/>
              <a:gd name="T71" fmla="*/ 137 h 512"/>
              <a:gd name="T72" fmla="*/ 254 w 512"/>
              <a:gd name="T73" fmla="*/ 106 h 512"/>
              <a:gd name="T74" fmla="*/ 128 w 512"/>
              <a:gd name="T75" fmla="*/ 166 h 512"/>
              <a:gd name="T76" fmla="*/ 131 w 512"/>
              <a:gd name="T77" fmla="*/ 195 h 512"/>
              <a:gd name="T78" fmla="*/ 373 w 512"/>
              <a:gd name="T79" fmla="*/ 227 h 512"/>
              <a:gd name="T80" fmla="*/ 128 w 512"/>
              <a:gd name="T81" fmla="*/ 237 h 512"/>
              <a:gd name="T82" fmla="*/ 138 w 512"/>
              <a:gd name="T83" fmla="*/ 382 h 512"/>
              <a:gd name="T84" fmla="*/ 178 w 512"/>
              <a:gd name="T85" fmla="*/ 405 h 512"/>
              <a:gd name="T86" fmla="*/ 323 w 512"/>
              <a:gd name="T87" fmla="*/ 416 h 512"/>
              <a:gd name="T88" fmla="*/ 333 w 512"/>
              <a:gd name="T89" fmla="*/ 382 h 512"/>
              <a:gd name="T90" fmla="*/ 384 w 512"/>
              <a:gd name="T91" fmla="*/ 37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99" y="332"/>
                </a:moveTo>
                <a:cubicBezTo>
                  <a:pt x="312" y="332"/>
                  <a:pt x="312" y="332"/>
                  <a:pt x="312" y="332"/>
                </a:cubicBezTo>
                <a:cubicBezTo>
                  <a:pt x="312" y="394"/>
                  <a:pt x="312" y="394"/>
                  <a:pt x="312" y="394"/>
                </a:cubicBezTo>
                <a:cubicBezTo>
                  <a:pt x="199" y="394"/>
                  <a:pt x="199" y="394"/>
                  <a:pt x="199" y="394"/>
                </a:cubicBezTo>
                <a:lnTo>
                  <a:pt x="199" y="332"/>
                </a:lnTo>
                <a:close/>
                <a:moveTo>
                  <a:pt x="190" y="186"/>
                </a:moveTo>
                <a:cubicBezTo>
                  <a:pt x="190" y="162"/>
                  <a:pt x="190" y="162"/>
                  <a:pt x="190" y="162"/>
                </a:cubicBezTo>
                <a:cubicBezTo>
                  <a:pt x="190" y="157"/>
                  <a:pt x="194" y="152"/>
                  <a:pt x="199" y="151"/>
                </a:cubicBezTo>
                <a:cubicBezTo>
                  <a:pt x="205" y="150"/>
                  <a:pt x="210" y="149"/>
                  <a:pt x="215" y="148"/>
                </a:cubicBezTo>
                <a:cubicBezTo>
                  <a:pt x="230" y="146"/>
                  <a:pt x="242" y="144"/>
                  <a:pt x="254" y="144"/>
                </a:cubicBezTo>
                <a:cubicBezTo>
                  <a:pt x="258" y="144"/>
                  <a:pt x="258" y="144"/>
                  <a:pt x="258" y="144"/>
                </a:cubicBezTo>
                <a:cubicBezTo>
                  <a:pt x="269" y="144"/>
                  <a:pt x="282" y="146"/>
                  <a:pt x="296" y="148"/>
                </a:cubicBezTo>
                <a:cubicBezTo>
                  <a:pt x="301" y="149"/>
                  <a:pt x="307" y="150"/>
                  <a:pt x="313" y="151"/>
                </a:cubicBezTo>
                <a:cubicBezTo>
                  <a:pt x="318" y="152"/>
                  <a:pt x="322" y="157"/>
                  <a:pt x="322" y="162"/>
                </a:cubicBezTo>
                <a:cubicBezTo>
                  <a:pt x="322" y="186"/>
                  <a:pt x="322" y="186"/>
                  <a:pt x="322" y="186"/>
                </a:cubicBezTo>
                <a:cubicBezTo>
                  <a:pt x="336" y="195"/>
                  <a:pt x="356" y="187"/>
                  <a:pt x="362" y="184"/>
                </a:cubicBezTo>
                <a:cubicBezTo>
                  <a:pt x="362" y="180"/>
                  <a:pt x="362" y="175"/>
                  <a:pt x="362" y="171"/>
                </a:cubicBezTo>
                <a:cubicBezTo>
                  <a:pt x="362" y="167"/>
                  <a:pt x="362" y="167"/>
                  <a:pt x="362" y="167"/>
                </a:cubicBezTo>
                <a:cubicBezTo>
                  <a:pt x="362" y="160"/>
                  <a:pt x="362" y="159"/>
                  <a:pt x="356" y="155"/>
                </a:cubicBezTo>
                <a:cubicBezTo>
                  <a:pt x="355" y="154"/>
                  <a:pt x="316" y="126"/>
                  <a:pt x="257" y="128"/>
                </a:cubicBezTo>
                <a:cubicBezTo>
                  <a:pt x="254" y="128"/>
                  <a:pt x="254" y="128"/>
                  <a:pt x="254" y="128"/>
                </a:cubicBezTo>
                <a:cubicBezTo>
                  <a:pt x="254" y="128"/>
                  <a:pt x="254" y="128"/>
                  <a:pt x="254" y="128"/>
                </a:cubicBezTo>
                <a:cubicBezTo>
                  <a:pt x="195" y="126"/>
                  <a:pt x="157" y="154"/>
                  <a:pt x="156" y="154"/>
                </a:cubicBezTo>
                <a:cubicBezTo>
                  <a:pt x="149" y="159"/>
                  <a:pt x="149" y="160"/>
                  <a:pt x="149" y="167"/>
                </a:cubicBezTo>
                <a:cubicBezTo>
                  <a:pt x="149" y="171"/>
                  <a:pt x="149" y="171"/>
                  <a:pt x="149" y="171"/>
                </a:cubicBezTo>
                <a:cubicBezTo>
                  <a:pt x="149" y="175"/>
                  <a:pt x="149" y="180"/>
                  <a:pt x="149" y="184"/>
                </a:cubicBezTo>
                <a:cubicBezTo>
                  <a:pt x="156" y="187"/>
                  <a:pt x="176" y="195"/>
                  <a:pt x="190" y="186"/>
                </a:cubicBezTo>
                <a:close/>
                <a:moveTo>
                  <a:pt x="149" y="248"/>
                </a:moveTo>
                <a:cubicBezTo>
                  <a:pt x="362" y="248"/>
                  <a:pt x="362" y="248"/>
                  <a:pt x="362" y="248"/>
                </a:cubicBezTo>
                <a:cubicBezTo>
                  <a:pt x="362" y="361"/>
                  <a:pt x="362" y="361"/>
                  <a:pt x="362" y="361"/>
                </a:cubicBezTo>
                <a:cubicBezTo>
                  <a:pt x="333" y="361"/>
                  <a:pt x="333" y="361"/>
                  <a:pt x="333" y="361"/>
                </a:cubicBezTo>
                <a:cubicBezTo>
                  <a:pt x="333" y="321"/>
                  <a:pt x="333" y="321"/>
                  <a:pt x="333" y="321"/>
                </a:cubicBezTo>
                <a:cubicBezTo>
                  <a:pt x="333" y="315"/>
                  <a:pt x="329" y="311"/>
                  <a:pt x="323" y="311"/>
                </a:cubicBezTo>
                <a:cubicBezTo>
                  <a:pt x="189" y="311"/>
                  <a:pt x="189" y="311"/>
                  <a:pt x="189" y="311"/>
                </a:cubicBezTo>
                <a:cubicBezTo>
                  <a:pt x="183" y="311"/>
                  <a:pt x="178" y="315"/>
                  <a:pt x="178" y="321"/>
                </a:cubicBezTo>
                <a:cubicBezTo>
                  <a:pt x="178" y="361"/>
                  <a:pt x="178" y="361"/>
                  <a:pt x="178" y="361"/>
                </a:cubicBezTo>
                <a:cubicBezTo>
                  <a:pt x="149" y="361"/>
                  <a:pt x="149" y="361"/>
                  <a:pt x="149" y="361"/>
                </a:cubicBezTo>
                <a:lnTo>
                  <a:pt x="149" y="248"/>
                </a:lnTo>
                <a:close/>
                <a:moveTo>
                  <a:pt x="288" y="277"/>
                </a:moveTo>
                <a:cubicBezTo>
                  <a:pt x="288" y="283"/>
                  <a:pt x="292" y="288"/>
                  <a:pt x="298" y="288"/>
                </a:cubicBezTo>
                <a:cubicBezTo>
                  <a:pt x="320" y="288"/>
                  <a:pt x="320" y="288"/>
                  <a:pt x="320" y="288"/>
                </a:cubicBezTo>
                <a:cubicBezTo>
                  <a:pt x="326" y="288"/>
                  <a:pt x="330" y="283"/>
                  <a:pt x="330" y="277"/>
                </a:cubicBezTo>
                <a:cubicBezTo>
                  <a:pt x="330" y="271"/>
                  <a:pt x="326" y="266"/>
                  <a:pt x="320" y="266"/>
                </a:cubicBezTo>
                <a:cubicBezTo>
                  <a:pt x="298" y="266"/>
                  <a:pt x="298" y="266"/>
                  <a:pt x="298" y="266"/>
                </a:cubicBezTo>
                <a:cubicBezTo>
                  <a:pt x="292" y="266"/>
                  <a:pt x="288" y="271"/>
                  <a:pt x="288"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1" y="195"/>
                </a:moveTo>
                <a:cubicBezTo>
                  <a:pt x="131" y="197"/>
                  <a:pt x="132" y="198"/>
                  <a:pt x="133" y="199"/>
                </a:cubicBezTo>
                <a:cubicBezTo>
                  <a:pt x="135" y="200"/>
                  <a:pt x="135" y="200"/>
                  <a:pt x="135" y="200"/>
                </a:cubicBezTo>
                <a:cubicBezTo>
                  <a:pt x="135" y="200"/>
                  <a:pt x="135" y="200"/>
                  <a:pt x="135" y="200"/>
                </a:cubicBezTo>
                <a:cubicBezTo>
                  <a:pt x="143" y="205"/>
                  <a:pt x="182" y="222"/>
                  <a:pt x="207" y="200"/>
                </a:cubicBezTo>
                <a:cubicBezTo>
                  <a:pt x="210" y="198"/>
                  <a:pt x="211" y="195"/>
                  <a:pt x="211" y="192"/>
                </a:cubicBezTo>
                <a:cubicBezTo>
                  <a:pt x="211" y="171"/>
                  <a:pt x="211" y="171"/>
                  <a:pt x="211" y="171"/>
                </a:cubicBezTo>
                <a:cubicBezTo>
                  <a:pt x="214" y="170"/>
                  <a:pt x="216" y="170"/>
                  <a:pt x="219" y="170"/>
                </a:cubicBezTo>
                <a:cubicBezTo>
                  <a:pt x="233" y="167"/>
                  <a:pt x="244" y="165"/>
                  <a:pt x="254" y="165"/>
                </a:cubicBezTo>
                <a:cubicBezTo>
                  <a:pt x="258" y="165"/>
                  <a:pt x="258" y="165"/>
                  <a:pt x="258" y="165"/>
                </a:cubicBezTo>
                <a:cubicBezTo>
                  <a:pt x="267" y="165"/>
                  <a:pt x="278" y="167"/>
                  <a:pt x="292" y="170"/>
                </a:cubicBezTo>
                <a:cubicBezTo>
                  <a:pt x="295" y="170"/>
                  <a:pt x="298" y="170"/>
                  <a:pt x="300" y="171"/>
                </a:cubicBezTo>
                <a:cubicBezTo>
                  <a:pt x="300" y="192"/>
                  <a:pt x="300" y="192"/>
                  <a:pt x="300" y="192"/>
                </a:cubicBezTo>
                <a:cubicBezTo>
                  <a:pt x="300" y="195"/>
                  <a:pt x="302" y="198"/>
                  <a:pt x="304" y="200"/>
                </a:cubicBezTo>
                <a:cubicBezTo>
                  <a:pt x="314" y="208"/>
                  <a:pt x="325" y="211"/>
                  <a:pt x="336" y="211"/>
                </a:cubicBezTo>
                <a:cubicBezTo>
                  <a:pt x="355" y="211"/>
                  <a:pt x="372" y="203"/>
                  <a:pt x="376" y="200"/>
                </a:cubicBezTo>
                <a:cubicBezTo>
                  <a:pt x="376" y="200"/>
                  <a:pt x="376" y="200"/>
                  <a:pt x="376" y="200"/>
                </a:cubicBezTo>
                <a:cubicBezTo>
                  <a:pt x="378" y="199"/>
                  <a:pt x="378" y="199"/>
                  <a:pt x="378" y="199"/>
                </a:cubicBezTo>
                <a:cubicBezTo>
                  <a:pt x="379" y="198"/>
                  <a:pt x="380" y="197"/>
                  <a:pt x="381" y="195"/>
                </a:cubicBezTo>
                <a:cubicBezTo>
                  <a:pt x="384" y="189"/>
                  <a:pt x="384" y="181"/>
                  <a:pt x="384" y="171"/>
                </a:cubicBezTo>
                <a:cubicBezTo>
                  <a:pt x="383" y="166"/>
                  <a:pt x="383" y="166"/>
                  <a:pt x="383" y="166"/>
                </a:cubicBezTo>
                <a:cubicBezTo>
                  <a:pt x="383" y="155"/>
                  <a:pt x="382" y="146"/>
                  <a:pt x="368" y="137"/>
                </a:cubicBezTo>
                <a:cubicBezTo>
                  <a:pt x="366" y="136"/>
                  <a:pt x="324" y="105"/>
                  <a:pt x="257" y="106"/>
                </a:cubicBezTo>
                <a:cubicBezTo>
                  <a:pt x="254" y="106"/>
                  <a:pt x="254" y="106"/>
                  <a:pt x="254" y="106"/>
                </a:cubicBezTo>
                <a:cubicBezTo>
                  <a:pt x="187" y="105"/>
                  <a:pt x="145" y="136"/>
                  <a:pt x="144" y="137"/>
                </a:cubicBezTo>
                <a:cubicBezTo>
                  <a:pt x="129" y="146"/>
                  <a:pt x="128" y="155"/>
                  <a:pt x="128" y="166"/>
                </a:cubicBezTo>
                <a:cubicBezTo>
                  <a:pt x="128" y="171"/>
                  <a:pt x="128" y="171"/>
                  <a:pt x="128" y="171"/>
                </a:cubicBezTo>
                <a:cubicBezTo>
                  <a:pt x="127" y="181"/>
                  <a:pt x="127" y="189"/>
                  <a:pt x="131" y="195"/>
                </a:cubicBezTo>
                <a:close/>
                <a:moveTo>
                  <a:pt x="384" y="237"/>
                </a:moveTo>
                <a:cubicBezTo>
                  <a:pt x="384" y="231"/>
                  <a:pt x="379" y="227"/>
                  <a:pt x="373" y="227"/>
                </a:cubicBezTo>
                <a:cubicBezTo>
                  <a:pt x="138" y="227"/>
                  <a:pt x="138" y="227"/>
                  <a:pt x="138" y="227"/>
                </a:cubicBezTo>
                <a:cubicBezTo>
                  <a:pt x="132" y="227"/>
                  <a:pt x="128" y="231"/>
                  <a:pt x="128" y="237"/>
                </a:cubicBezTo>
                <a:cubicBezTo>
                  <a:pt x="128" y="371"/>
                  <a:pt x="128" y="371"/>
                  <a:pt x="128" y="371"/>
                </a:cubicBezTo>
                <a:cubicBezTo>
                  <a:pt x="128" y="377"/>
                  <a:pt x="132" y="382"/>
                  <a:pt x="138" y="382"/>
                </a:cubicBezTo>
                <a:cubicBezTo>
                  <a:pt x="178" y="382"/>
                  <a:pt x="178" y="382"/>
                  <a:pt x="178" y="382"/>
                </a:cubicBezTo>
                <a:cubicBezTo>
                  <a:pt x="178" y="405"/>
                  <a:pt x="178" y="405"/>
                  <a:pt x="178" y="405"/>
                </a:cubicBezTo>
                <a:cubicBezTo>
                  <a:pt x="178" y="411"/>
                  <a:pt x="183" y="416"/>
                  <a:pt x="189" y="416"/>
                </a:cubicBezTo>
                <a:cubicBezTo>
                  <a:pt x="323" y="416"/>
                  <a:pt x="323" y="416"/>
                  <a:pt x="323" y="416"/>
                </a:cubicBezTo>
                <a:cubicBezTo>
                  <a:pt x="329" y="416"/>
                  <a:pt x="333" y="411"/>
                  <a:pt x="333" y="405"/>
                </a:cubicBezTo>
                <a:cubicBezTo>
                  <a:pt x="333" y="382"/>
                  <a:pt x="333" y="382"/>
                  <a:pt x="333" y="382"/>
                </a:cubicBezTo>
                <a:cubicBezTo>
                  <a:pt x="373" y="382"/>
                  <a:pt x="373" y="382"/>
                  <a:pt x="373" y="382"/>
                </a:cubicBezTo>
                <a:cubicBezTo>
                  <a:pt x="379" y="382"/>
                  <a:pt x="384" y="377"/>
                  <a:pt x="384" y="371"/>
                </a:cubicBezTo>
                <a:lnTo>
                  <a:pt x="384" y="23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97" name="Group 618"/>
          <p:cNvGrpSpPr>
            <a:grpSpLocks noChangeAspect="1"/>
          </p:cNvGrpSpPr>
          <p:nvPr/>
        </p:nvGrpSpPr>
        <p:grpSpPr bwMode="auto">
          <a:xfrm>
            <a:off x="1658091" y="4196490"/>
            <a:ext cx="367631" cy="367631"/>
            <a:chOff x="3447" y="2459"/>
            <a:chExt cx="340" cy="340"/>
          </a:xfrm>
          <a:solidFill>
            <a:schemeClr val="accent1"/>
          </a:solidFill>
        </p:grpSpPr>
        <p:sp>
          <p:nvSpPr>
            <p:cNvPr id="398" name="Freeform 619"/>
            <p:cNvSpPr>
              <a:spLocks noEditPoints="1"/>
            </p:cNvSpPr>
            <p:nvPr/>
          </p:nvSpPr>
          <p:spPr bwMode="auto">
            <a:xfrm>
              <a:off x="3447" y="24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Freeform 620"/>
            <p:cNvSpPr>
              <a:spLocks noEditPoints="1"/>
            </p:cNvSpPr>
            <p:nvPr/>
          </p:nvSpPr>
          <p:spPr bwMode="auto">
            <a:xfrm>
              <a:off x="3531" y="2529"/>
              <a:ext cx="171" cy="206"/>
            </a:xfrm>
            <a:custGeom>
              <a:avLst/>
              <a:gdLst>
                <a:gd name="T0" fmla="*/ 11 w 257"/>
                <a:gd name="T1" fmla="*/ 122 h 311"/>
                <a:gd name="T2" fmla="*/ 1 w 257"/>
                <a:gd name="T3" fmla="*/ 266 h 311"/>
                <a:gd name="T4" fmla="*/ 51 w 257"/>
                <a:gd name="T5" fmla="*/ 277 h 311"/>
                <a:gd name="T6" fmla="*/ 62 w 257"/>
                <a:gd name="T7" fmla="*/ 311 h 311"/>
                <a:gd name="T8" fmla="*/ 206 w 257"/>
                <a:gd name="T9" fmla="*/ 300 h 311"/>
                <a:gd name="T10" fmla="*/ 246 w 257"/>
                <a:gd name="T11" fmla="*/ 277 h 311"/>
                <a:gd name="T12" fmla="*/ 257 w 257"/>
                <a:gd name="T13" fmla="*/ 132 h 311"/>
                <a:gd name="T14" fmla="*/ 72 w 257"/>
                <a:gd name="T15" fmla="*/ 289 h 311"/>
                <a:gd name="T16" fmla="*/ 185 w 257"/>
                <a:gd name="T17" fmla="*/ 227 h 311"/>
                <a:gd name="T18" fmla="*/ 72 w 257"/>
                <a:gd name="T19" fmla="*/ 289 h 311"/>
                <a:gd name="T20" fmla="*/ 206 w 257"/>
                <a:gd name="T21" fmla="*/ 256 h 311"/>
                <a:gd name="T22" fmla="*/ 196 w 257"/>
                <a:gd name="T23" fmla="*/ 206 h 311"/>
                <a:gd name="T24" fmla="*/ 51 w 257"/>
                <a:gd name="T25" fmla="*/ 216 h 311"/>
                <a:gd name="T26" fmla="*/ 22 w 257"/>
                <a:gd name="T27" fmla="*/ 256 h 311"/>
                <a:gd name="T28" fmla="*/ 235 w 257"/>
                <a:gd name="T29" fmla="*/ 143 h 311"/>
                <a:gd name="T30" fmla="*/ 161 w 257"/>
                <a:gd name="T31" fmla="*/ 172 h 311"/>
                <a:gd name="T32" fmla="*/ 193 w 257"/>
                <a:gd name="T33" fmla="*/ 161 h 311"/>
                <a:gd name="T34" fmla="*/ 193 w 257"/>
                <a:gd name="T35" fmla="*/ 183 h 311"/>
                <a:gd name="T36" fmla="*/ 161 w 257"/>
                <a:gd name="T37" fmla="*/ 172 h 311"/>
                <a:gd name="T38" fmla="*/ 8 w 257"/>
                <a:gd name="T39" fmla="*/ 95 h 311"/>
                <a:gd name="T40" fmla="*/ 80 w 257"/>
                <a:gd name="T41" fmla="*/ 95 h 311"/>
                <a:gd name="T42" fmla="*/ 84 w 257"/>
                <a:gd name="T43" fmla="*/ 66 h 311"/>
                <a:gd name="T44" fmla="*/ 127 w 257"/>
                <a:gd name="T45" fmla="*/ 60 h 311"/>
                <a:gd name="T46" fmla="*/ 165 w 257"/>
                <a:gd name="T47" fmla="*/ 65 h 311"/>
                <a:gd name="T48" fmla="*/ 173 w 257"/>
                <a:gd name="T49" fmla="*/ 87 h 311"/>
                <a:gd name="T50" fmla="*/ 209 w 257"/>
                <a:gd name="T51" fmla="*/ 106 h 311"/>
                <a:gd name="T52" fmla="*/ 249 w 257"/>
                <a:gd name="T53" fmla="*/ 95 h 311"/>
                <a:gd name="T54" fmla="*/ 254 w 257"/>
                <a:gd name="T55" fmla="*/ 90 h 311"/>
                <a:gd name="T56" fmla="*/ 256 w 257"/>
                <a:gd name="T57" fmla="*/ 61 h 311"/>
                <a:gd name="T58" fmla="*/ 130 w 257"/>
                <a:gd name="T59" fmla="*/ 1 h 311"/>
                <a:gd name="T60" fmla="*/ 17 w 257"/>
                <a:gd name="T61" fmla="*/ 32 h 311"/>
                <a:gd name="T62" fmla="*/ 1 w 257"/>
                <a:gd name="T63" fmla="*/ 66 h 311"/>
                <a:gd name="T64" fmla="*/ 6 w 257"/>
                <a:gd name="T65" fmla="*/ 94 h 311"/>
                <a:gd name="T66" fmla="*/ 22 w 257"/>
                <a:gd name="T67" fmla="*/ 62 h 311"/>
                <a:gd name="T68" fmla="*/ 127 w 257"/>
                <a:gd name="T69" fmla="*/ 23 h 311"/>
                <a:gd name="T70" fmla="*/ 130 w 257"/>
                <a:gd name="T71" fmla="*/ 23 h 311"/>
                <a:gd name="T72" fmla="*/ 235 w 257"/>
                <a:gd name="T73" fmla="*/ 62 h 311"/>
                <a:gd name="T74" fmla="*/ 235 w 257"/>
                <a:gd name="T75" fmla="*/ 79 h 311"/>
                <a:gd name="T76" fmla="*/ 195 w 257"/>
                <a:gd name="T77" fmla="*/ 57 h 311"/>
                <a:gd name="T78" fmla="*/ 169 w 257"/>
                <a:gd name="T79" fmla="*/ 43 h 311"/>
                <a:gd name="T80" fmla="*/ 127 w 257"/>
                <a:gd name="T81" fmla="*/ 39 h 311"/>
                <a:gd name="T82" fmla="*/ 72 w 257"/>
                <a:gd name="T83" fmla="*/ 46 h 311"/>
                <a:gd name="T84" fmla="*/ 63 w 257"/>
                <a:gd name="T85" fmla="*/ 81 h 311"/>
                <a:gd name="T86" fmla="*/ 22 w 257"/>
                <a:gd name="T87" fmla="*/ 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7" h="311">
                  <a:moveTo>
                    <a:pt x="246" y="122"/>
                  </a:moveTo>
                  <a:cubicBezTo>
                    <a:pt x="11" y="122"/>
                    <a:pt x="11" y="122"/>
                    <a:pt x="11" y="122"/>
                  </a:cubicBezTo>
                  <a:cubicBezTo>
                    <a:pt x="5" y="122"/>
                    <a:pt x="1" y="126"/>
                    <a:pt x="1" y="132"/>
                  </a:cubicBezTo>
                  <a:cubicBezTo>
                    <a:pt x="1" y="266"/>
                    <a:pt x="1" y="266"/>
                    <a:pt x="1" y="266"/>
                  </a:cubicBezTo>
                  <a:cubicBezTo>
                    <a:pt x="1" y="272"/>
                    <a:pt x="5" y="277"/>
                    <a:pt x="11" y="277"/>
                  </a:cubicBezTo>
                  <a:cubicBezTo>
                    <a:pt x="51" y="277"/>
                    <a:pt x="51" y="277"/>
                    <a:pt x="51" y="277"/>
                  </a:cubicBezTo>
                  <a:cubicBezTo>
                    <a:pt x="51" y="300"/>
                    <a:pt x="51" y="300"/>
                    <a:pt x="51" y="300"/>
                  </a:cubicBezTo>
                  <a:cubicBezTo>
                    <a:pt x="51" y="306"/>
                    <a:pt x="56" y="311"/>
                    <a:pt x="62" y="311"/>
                  </a:cubicBezTo>
                  <a:cubicBezTo>
                    <a:pt x="196" y="311"/>
                    <a:pt x="196" y="311"/>
                    <a:pt x="196" y="311"/>
                  </a:cubicBezTo>
                  <a:cubicBezTo>
                    <a:pt x="202" y="311"/>
                    <a:pt x="206" y="306"/>
                    <a:pt x="206" y="300"/>
                  </a:cubicBezTo>
                  <a:cubicBezTo>
                    <a:pt x="206" y="277"/>
                    <a:pt x="206" y="277"/>
                    <a:pt x="206" y="277"/>
                  </a:cubicBezTo>
                  <a:cubicBezTo>
                    <a:pt x="246" y="277"/>
                    <a:pt x="246" y="277"/>
                    <a:pt x="246" y="277"/>
                  </a:cubicBezTo>
                  <a:cubicBezTo>
                    <a:pt x="252" y="277"/>
                    <a:pt x="257" y="272"/>
                    <a:pt x="257" y="266"/>
                  </a:cubicBezTo>
                  <a:cubicBezTo>
                    <a:pt x="257" y="132"/>
                    <a:pt x="257" y="132"/>
                    <a:pt x="257" y="132"/>
                  </a:cubicBezTo>
                  <a:cubicBezTo>
                    <a:pt x="257" y="126"/>
                    <a:pt x="252" y="122"/>
                    <a:pt x="246" y="122"/>
                  </a:cubicBezTo>
                  <a:close/>
                  <a:moveTo>
                    <a:pt x="72" y="289"/>
                  </a:moveTo>
                  <a:cubicBezTo>
                    <a:pt x="72" y="227"/>
                    <a:pt x="72" y="227"/>
                    <a:pt x="72" y="227"/>
                  </a:cubicBezTo>
                  <a:cubicBezTo>
                    <a:pt x="185" y="227"/>
                    <a:pt x="185" y="227"/>
                    <a:pt x="185" y="227"/>
                  </a:cubicBezTo>
                  <a:cubicBezTo>
                    <a:pt x="185" y="289"/>
                    <a:pt x="185" y="289"/>
                    <a:pt x="185" y="289"/>
                  </a:cubicBezTo>
                  <a:lnTo>
                    <a:pt x="72" y="289"/>
                  </a:lnTo>
                  <a:close/>
                  <a:moveTo>
                    <a:pt x="235" y="256"/>
                  </a:moveTo>
                  <a:cubicBezTo>
                    <a:pt x="206" y="256"/>
                    <a:pt x="206" y="256"/>
                    <a:pt x="206" y="256"/>
                  </a:cubicBezTo>
                  <a:cubicBezTo>
                    <a:pt x="206" y="216"/>
                    <a:pt x="206" y="216"/>
                    <a:pt x="206" y="216"/>
                  </a:cubicBezTo>
                  <a:cubicBezTo>
                    <a:pt x="206" y="210"/>
                    <a:pt x="202" y="206"/>
                    <a:pt x="196" y="206"/>
                  </a:cubicBezTo>
                  <a:cubicBezTo>
                    <a:pt x="62" y="206"/>
                    <a:pt x="62" y="206"/>
                    <a:pt x="62" y="206"/>
                  </a:cubicBezTo>
                  <a:cubicBezTo>
                    <a:pt x="56" y="206"/>
                    <a:pt x="51" y="210"/>
                    <a:pt x="51" y="216"/>
                  </a:cubicBezTo>
                  <a:cubicBezTo>
                    <a:pt x="51" y="256"/>
                    <a:pt x="51" y="256"/>
                    <a:pt x="51" y="256"/>
                  </a:cubicBezTo>
                  <a:cubicBezTo>
                    <a:pt x="22" y="256"/>
                    <a:pt x="22" y="256"/>
                    <a:pt x="22" y="256"/>
                  </a:cubicBezTo>
                  <a:cubicBezTo>
                    <a:pt x="22" y="143"/>
                    <a:pt x="22" y="143"/>
                    <a:pt x="22" y="143"/>
                  </a:cubicBezTo>
                  <a:cubicBezTo>
                    <a:pt x="235" y="143"/>
                    <a:pt x="235" y="143"/>
                    <a:pt x="235" y="143"/>
                  </a:cubicBezTo>
                  <a:lnTo>
                    <a:pt x="235" y="256"/>
                  </a:lnTo>
                  <a:close/>
                  <a:moveTo>
                    <a:pt x="161" y="172"/>
                  </a:moveTo>
                  <a:cubicBezTo>
                    <a:pt x="161" y="166"/>
                    <a:pt x="165" y="161"/>
                    <a:pt x="171" y="161"/>
                  </a:cubicBezTo>
                  <a:cubicBezTo>
                    <a:pt x="193" y="161"/>
                    <a:pt x="193" y="161"/>
                    <a:pt x="193" y="161"/>
                  </a:cubicBezTo>
                  <a:cubicBezTo>
                    <a:pt x="199" y="161"/>
                    <a:pt x="203" y="166"/>
                    <a:pt x="203" y="172"/>
                  </a:cubicBezTo>
                  <a:cubicBezTo>
                    <a:pt x="203" y="178"/>
                    <a:pt x="199" y="183"/>
                    <a:pt x="193" y="183"/>
                  </a:cubicBezTo>
                  <a:cubicBezTo>
                    <a:pt x="171" y="183"/>
                    <a:pt x="171" y="183"/>
                    <a:pt x="171" y="183"/>
                  </a:cubicBezTo>
                  <a:cubicBezTo>
                    <a:pt x="165" y="183"/>
                    <a:pt x="161" y="178"/>
                    <a:pt x="161" y="172"/>
                  </a:cubicBezTo>
                  <a:close/>
                  <a:moveTo>
                    <a:pt x="6" y="94"/>
                  </a:moveTo>
                  <a:cubicBezTo>
                    <a:pt x="8" y="95"/>
                    <a:pt x="8" y="95"/>
                    <a:pt x="8" y="95"/>
                  </a:cubicBezTo>
                  <a:cubicBezTo>
                    <a:pt x="8" y="95"/>
                    <a:pt x="8" y="95"/>
                    <a:pt x="8" y="95"/>
                  </a:cubicBezTo>
                  <a:cubicBezTo>
                    <a:pt x="16" y="100"/>
                    <a:pt x="55" y="117"/>
                    <a:pt x="80" y="95"/>
                  </a:cubicBezTo>
                  <a:cubicBezTo>
                    <a:pt x="83" y="93"/>
                    <a:pt x="84" y="90"/>
                    <a:pt x="84" y="87"/>
                  </a:cubicBezTo>
                  <a:cubicBezTo>
                    <a:pt x="84" y="66"/>
                    <a:pt x="84" y="66"/>
                    <a:pt x="84" y="66"/>
                  </a:cubicBezTo>
                  <a:cubicBezTo>
                    <a:pt x="87" y="65"/>
                    <a:pt x="89" y="65"/>
                    <a:pt x="92" y="65"/>
                  </a:cubicBezTo>
                  <a:cubicBezTo>
                    <a:pt x="106" y="62"/>
                    <a:pt x="117" y="60"/>
                    <a:pt x="127" y="60"/>
                  </a:cubicBezTo>
                  <a:cubicBezTo>
                    <a:pt x="131" y="60"/>
                    <a:pt x="131" y="60"/>
                    <a:pt x="131" y="60"/>
                  </a:cubicBezTo>
                  <a:cubicBezTo>
                    <a:pt x="140" y="60"/>
                    <a:pt x="151" y="62"/>
                    <a:pt x="165" y="65"/>
                  </a:cubicBezTo>
                  <a:cubicBezTo>
                    <a:pt x="168" y="65"/>
                    <a:pt x="171" y="65"/>
                    <a:pt x="173" y="66"/>
                  </a:cubicBezTo>
                  <a:cubicBezTo>
                    <a:pt x="173" y="87"/>
                    <a:pt x="173" y="87"/>
                    <a:pt x="173" y="87"/>
                  </a:cubicBezTo>
                  <a:cubicBezTo>
                    <a:pt x="173" y="90"/>
                    <a:pt x="175" y="93"/>
                    <a:pt x="177" y="95"/>
                  </a:cubicBezTo>
                  <a:cubicBezTo>
                    <a:pt x="187" y="103"/>
                    <a:pt x="198" y="106"/>
                    <a:pt x="209" y="106"/>
                  </a:cubicBezTo>
                  <a:cubicBezTo>
                    <a:pt x="228" y="106"/>
                    <a:pt x="245" y="98"/>
                    <a:pt x="249" y="95"/>
                  </a:cubicBezTo>
                  <a:cubicBezTo>
                    <a:pt x="249" y="95"/>
                    <a:pt x="249" y="95"/>
                    <a:pt x="249" y="95"/>
                  </a:cubicBezTo>
                  <a:cubicBezTo>
                    <a:pt x="251" y="94"/>
                    <a:pt x="251" y="94"/>
                    <a:pt x="251" y="94"/>
                  </a:cubicBezTo>
                  <a:cubicBezTo>
                    <a:pt x="252" y="93"/>
                    <a:pt x="253" y="92"/>
                    <a:pt x="254" y="90"/>
                  </a:cubicBezTo>
                  <a:cubicBezTo>
                    <a:pt x="257" y="84"/>
                    <a:pt x="257" y="76"/>
                    <a:pt x="257" y="66"/>
                  </a:cubicBezTo>
                  <a:cubicBezTo>
                    <a:pt x="256" y="61"/>
                    <a:pt x="256" y="61"/>
                    <a:pt x="256" y="61"/>
                  </a:cubicBezTo>
                  <a:cubicBezTo>
                    <a:pt x="256" y="50"/>
                    <a:pt x="255" y="41"/>
                    <a:pt x="241" y="32"/>
                  </a:cubicBezTo>
                  <a:cubicBezTo>
                    <a:pt x="239" y="31"/>
                    <a:pt x="197" y="0"/>
                    <a:pt x="130" y="1"/>
                  </a:cubicBezTo>
                  <a:cubicBezTo>
                    <a:pt x="127" y="1"/>
                    <a:pt x="127" y="1"/>
                    <a:pt x="127" y="1"/>
                  </a:cubicBezTo>
                  <a:cubicBezTo>
                    <a:pt x="60" y="0"/>
                    <a:pt x="18" y="31"/>
                    <a:pt x="17" y="32"/>
                  </a:cubicBezTo>
                  <a:cubicBezTo>
                    <a:pt x="2" y="41"/>
                    <a:pt x="1" y="50"/>
                    <a:pt x="1" y="61"/>
                  </a:cubicBezTo>
                  <a:cubicBezTo>
                    <a:pt x="1" y="66"/>
                    <a:pt x="1" y="66"/>
                    <a:pt x="1" y="66"/>
                  </a:cubicBezTo>
                  <a:cubicBezTo>
                    <a:pt x="0" y="76"/>
                    <a:pt x="0" y="84"/>
                    <a:pt x="4" y="90"/>
                  </a:cubicBezTo>
                  <a:cubicBezTo>
                    <a:pt x="4" y="92"/>
                    <a:pt x="5" y="93"/>
                    <a:pt x="6" y="94"/>
                  </a:cubicBezTo>
                  <a:close/>
                  <a:moveTo>
                    <a:pt x="22" y="66"/>
                  </a:moveTo>
                  <a:cubicBezTo>
                    <a:pt x="22" y="62"/>
                    <a:pt x="22" y="62"/>
                    <a:pt x="22" y="62"/>
                  </a:cubicBezTo>
                  <a:cubicBezTo>
                    <a:pt x="22" y="55"/>
                    <a:pt x="22" y="54"/>
                    <a:pt x="29" y="49"/>
                  </a:cubicBezTo>
                  <a:cubicBezTo>
                    <a:pt x="30" y="49"/>
                    <a:pt x="68" y="21"/>
                    <a:pt x="127" y="23"/>
                  </a:cubicBezTo>
                  <a:cubicBezTo>
                    <a:pt x="127" y="23"/>
                    <a:pt x="127" y="23"/>
                    <a:pt x="127" y="23"/>
                  </a:cubicBezTo>
                  <a:cubicBezTo>
                    <a:pt x="130" y="23"/>
                    <a:pt x="130" y="23"/>
                    <a:pt x="130" y="23"/>
                  </a:cubicBezTo>
                  <a:cubicBezTo>
                    <a:pt x="189" y="21"/>
                    <a:pt x="228" y="49"/>
                    <a:pt x="229" y="50"/>
                  </a:cubicBezTo>
                  <a:cubicBezTo>
                    <a:pt x="235" y="54"/>
                    <a:pt x="235" y="55"/>
                    <a:pt x="235" y="62"/>
                  </a:cubicBezTo>
                  <a:cubicBezTo>
                    <a:pt x="235" y="66"/>
                    <a:pt x="235" y="66"/>
                    <a:pt x="235" y="66"/>
                  </a:cubicBezTo>
                  <a:cubicBezTo>
                    <a:pt x="235" y="70"/>
                    <a:pt x="235" y="75"/>
                    <a:pt x="235" y="79"/>
                  </a:cubicBezTo>
                  <a:cubicBezTo>
                    <a:pt x="229" y="82"/>
                    <a:pt x="209" y="90"/>
                    <a:pt x="195" y="81"/>
                  </a:cubicBezTo>
                  <a:cubicBezTo>
                    <a:pt x="195" y="57"/>
                    <a:pt x="195" y="57"/>
                    <a:pt x="195" y="57"/>
                  </a:cubicBezTo>
                  <a:cubicBezTo>
                    <a:pt x="195" y="52"/>
                    <a:pt x="191" y="47"/>
                    <a:pt x="186" y="46"/>
                  </a:cubicBezTo>
                  <a:cubicBezTo>
                    <a:pt x="180" y="45"/>
                    <a:pt x="174" y="44"/>
                    <a:pt x="169" y="43"/>
                  </a:cubicBezTo>
                  <a:cubicBezTo>
                    <a:pt x="155" y="41"/>
                    <a:pt x="142" y="39"/>
                    <a:pt x="131" y="39"/>
                  </a:cubicBezTo>
                  <a:cubicBezTo>
                    <a:pt x="127" y="39"/>
                    <a:pt x="127" y="39"/>
                    <a:pt x="127" y="39"/>
                  </a:cubicBezTo>
                  <a:cubicBezTo>
                    <a:pt x="115" y="39"/>
                    <a:pt x="103" y="41"/>
                    <a:pt x="88" y="43"/>
                  </a:cubicBezTo>
                  <a:cubicBezTo>
                    <a:pt x="83" y="44"/>
                    <a:pt x="78" y="45"/>
                    <a:pt x="72" y="46"/>
                  </a:cubicBezTo>
                  <a:cubicBezTo>
                    <a:pt x="67" y="47"/>
                    <a:pt x="63" y="52"/>
                    <a:pt x="63" y="57"/>
                  </a:cubicBezTo>
                  <a:cubicBezTo>
                    <a:pt x="63" y="81"/>
                    <a:pt x="63" y="81"/>
                    <a:pt x="63" y="81"/>
                  </a:cubicBezTo>
                  <a:cubicBezTo>
                    <a:pt x="49" y="90"/>
                    <a:pt x="29" y="82"/>
                    <a:pt x="22" y="79"/>
                  </a:cubicBezTo>
                  <a:cubicBezTo>
                    <a:pt x="22" y="75"/>
                    <a:pt x="22" y="70"/>
                    <a:pt x="22"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0" name="Freeform 404"/>
          <p:cNvSpPr>
            <a:spLocks noChangeAspect="1" noEditPoints="1"/>
          </p:cNvSpPr>
          <p:nvPr/>
        </p:nvSpPr>
        <p:spPr bwMode="auto">
          <a:xfrm>
            <a:off x="2078505" y="419649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1" name="Group 407"/>
          <p:cNvGrpSpPr>
            <a:grpSpLocks noChangeAspect="1"/>
          </p:cNvGrpSpPr>
          <p:nvPr/>
        </p:nvGrpSpPr>
        <p:grpSpPr bwMode="auto">
          <a:xfrm>
            <a:off x="2498919" y="4196490"/>
            <a:ext cx="368713" cy="368713"/>
            <a:chOff x="1898" y="1602"/>
            <a:chExt cx="341" cy="341"/>
          </a:xfrm>
          <a:solidFill>
            <a:schemeClr val="accent5"/>
          </a:solidFill>
        </p:grpSpPr>
        <p:sp>
          <p:nvSpPr>
            <p:cNvPr id="402" name="Freeform 408"/>
            <p:cNvSpPr>
              <a:spLocks noEditPoints="1"/>
            </p:cNvSpPr>
            <p:nvPr/>
          </p:nvSpPr>
          <p:spPr bwMode="auto">
            <a:xfrm>
              <a:off x="1898" y="160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Freeform 409"/>
            <p:cNvSpPr>
              <a:spLocks noEditPoints="1"/>
            </p:cNvSpPr>
            <p:nvPr/>
          </p:nvSpPr>
          <p:spPr bwMode="auto">
            <a:xfrm>
              <a:off x="1962" y="1687"/>
              <a:ext cx="213" cy="185"/>
            </a:xfrm>
            <a:custGeom>
              <a:avLst/>
              <a:gdLst>
                <a:gd name="T0" fmla="*/ 199 w 320"/>
                <a:gd name="T1" fmla="*/ 227 h 277"/>
                <a:gd name="T2" fmla="*/ 199 w 320"/>
                <a:gd name="T3" fmla="*/ 242 h 277"/>
                <a:gd name="T4" fmla="*/ 167 w 320"/>
                <a:gd name="T5" fmla="*/ 274 h 277"/>
                <a:gd name="T6" fmla="*/ 164 w 320"/>
                <a:gd name="T7" fmla="*/ 276 h 277"/>
                <a:gd name="T8" fmla="*/ 160 w 320"/>
                <a:gd name="T9" fmla="*/ 277 h 277"/>
                <a:gd name="T10" fmla="*/ 156 w 320"/>
                <a:gd name="T11" fmla="*/ 276 h 277"/>
                <a:gd name="T12" fmla="*/ 152 w 320"/>
                <a:gd name="T13" fmla="*/ 274 h 277"/>
                <a:gd name="T14" fmla="*/ 120 w 320"/>
                <a:gd name="T15" fmla="*/ 242 h 277"/>
                <a:gd name="T16" fmla="*/ 120 w 320"/>
                <a:gd name="T17" fmla="*/ 227 h 277"/>
                <a:gd name="T18" fmla="*/ 135 w 320"/>
                <a:gd name="T19" fmla="*/ 227 h 277"/>
                <a:gd name="T20" fmla="*/ 149 w 320"/>
                <a:gd name="T21" fmla="*/ 241 h 277"/>
                <a:gd name="T22" fmla="*/ 149 w 320"/>
                <a:gd name="T23" fmla="*/ 117 h 277"/>
                <a:gd name="T24" fmla="*/ 160 w 320"/>
                <a:gd name="T25" fmla="*/ 106 h 277"/>
                <a:gd name="T26" fmla="*/ 170 w 320"/>
                <a:gd name="T27" fmla="*/ 117 h 277"/>
                <a:gd name="T28" fmla="*/ 170 w 320"/>
                <a:gd name="T29" fmla="*/ 241 h 277"/>
                <a:gd name="T30" fmla="*/ 184 w 320"/>
                <a:gd name="T31" fmla="*/ 227 h 277"/>
                <a:gd name="T32" fmla="*/ 199 w 320"/>
                <a:gd name="T33" fmla="*/ 227 h 277"/>
                <a:gd name="T34" fmla="*/ 266 w 320"/>
                <a:gd name="T35" fmla="*/ 85 h 277"/>
                <a:gd name="T36" fmla="*/ 262 w 320"/>
                <a:gd name="T37" fmla="*/ 85 h 277"/>
                <a:gd name="T38" fmla="*/ 176 w 320"/>
                <a:gd name="T39" fmla="*/ 0 h 277"/>
                <a:gd name="T40" fmla="*/ 94 w 320"/>
                <a:gd name="T41" fmla="*/ 55 h 277"/>
                <a:gd name="T42" fmla="*/ 71 w 320"/>
                <a:gd name="T43" fmla="*/ 50 h 277"/>
                <a:gd name="T44" fmla="*/ 0 w 320"/>
                <a:gd name="T45" fmla="*/ 121 h 277"/>
                <a:gd name="T46" fmla="*/ 71 w 320"/>
                <a:gd name="T47" fmla="*/ 192 h 277"/>
                <a:gd name="T48" fmla="*/ 106 w 320"/>
                <a:gd name="T49" fmla="*/ 192 h 277"/>
                <a:gd name="T50" fmla="*/ 117 w 320"/>
                <a:gd name="T51" fmla="*/ 181 h 277"/>
                <a:gd name="T52" fmla="*/ 106 w 320"/>
                <a:gd name="T53" fmla="*/ 170 h 277"/>
                <a:gd name="T54" fmla="*/ 71 w 320"/>
                <a:gd name="T55" fmla="*/ 170 h 277"/>
                <a:gd name="T56" fmla="*/ 21 w 320"/>
                <a:gd name="T57" fmla="*/ 121 h 277"/>
                <a:gd name="T58" fmla="*/ 71 w 320"/>
                <a:gd name="T59" fmla="*/ 71 h 277"/>
                <a:gd name="T60" fmla="*/ 95 w 320"/>
                <a:gd name="T61" fmla="*/ 79 h 277"/>
                <a:gd name="T62" fmla="*/ 105 w 320"/>
                <a:gd name="T63" fmla="*/ 80 h 277"/>
                <a:gd name="T64" fmla="*/ 111 w 320"/>
                <a:gd name="T65" fmla="*/ 73 h 277"/>
                <a:gd name="T66" fmla="*/ 176 w 320"/>
                <a:gd name="T67" fmla="*/ 21 h 277"/>
                <a:gd name="T68" fmla="*/ 241 w 320"/>
                <a:gd name="T69" fmla="*/ 86 h 277"/>
                <a:gd name="T70" fmla="*/ 240 w 320"/>
                <a:gd name="T71" fmla="*/ 94 h 277"/>
                <a:gd name="T72" fmla="*/ 239 w 320"/>
                <a:gd name="T73" fmla="*/ 99 h 277"/>
                <a:gd name="T74" fmla="*/ 243 w 320"/>
                <a:gd name="T75" fmla="*/ 109 h 277"/>
                <a:gd name="T76" fmla="*/ 255 w 320"/>
                <a:gd name="T77" fmla="*/ 110 h 277"/>
                <a:gd name="T78" fmla="*/ 266 w 320"/>
                <a:gd name="T79" fmla="*/ 106 h 277"/>
                <a:gd name="T80" fmla="*/ 298 w 320"/>
                <a:gd name="T81" fmla="*/ 138 h 277"/>
                <a:gd name="T82" fmla="*/ 266 w 320"/>
                <a:gd name="T83" fmla="*/ 170 h 277"/>
                <a:gd name="T84" fmla="*/ 213 w 320"/>
                <a:gd name="T85" fmla="*/ 170 h 277"/>
                <a:gd name="T86" fmla="*/ 202 w 320"/>
                <a:gd name="T87" fmla="*/ 181 h 277"/>
                <a:gd name="T88" fmla="*/ 213 w 320"/>
                <a:gd name="T89" fmla="*/ 192 h 277"/>
                <a:gd name="T90" fmla="*/ 266 w 320"/>
                <a:gd name="T91" fmla="*/ 192 h 277"/>
                <a:gd name="T92" fmla="*/ 320 w 320"/>
                <a:gd name="T93" fmla="*/ 138 h 277"/>
                <a:gd name="T94" fmla="*/ 266 w 320"/>
                <a:gd name="T9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77">
                  <a:moveTo>
                    <a:pt x="199" y="227"/>
                  </a:moveTo>
                  <a:cubicBezTo>
                    <a:pt x="203" y="231"/>
                    <a:pt x="203" y="238"/>
                    <a:pt x="199" y="242"/>
                  </a:cubicBezTo>
                  <a:cubicBezTo>
                    <a:pt x="167" y="274"/>
                    <a:pt x="167" y="274"/>
                    <a:pt x="167" y="274"/>
                  </a:cubicBezTo>
                  <a:cubicBezTo>
                    <a:pt x="166" y="275"/>
                    <a:pt x="165" y="276"/>
                    <a:pt x="164" y="276"/>
                  </a:cubicBezTo>
                  <a:cubicBezTo>
                    <a:pt x="162" y="277"/>
                    <a:pt x="161" y="277"/>
                    <a:pt x="160" y="277"/>
                  </a:cubicBezTo>
                  <a:cubicBezTo>
                    <a:pt x="158" y="277"/>
                    <a:pt x="157" y="277"/>
                    <a:pt x="156" y="276"/>
                  </a:cubicBezTo>
                  <a:cubicBezTo>
                    <a:pt x="154" y="276"/>
                    <a:pt x="153" y="275"/>
                    <a:pt x="152" y="274"/>
                  </a:cubicBezTo>
                  <a:cubicBezTo>
                    <a:pt x="120" y="242"/>
                    <a:pt x="120" y="242"/>
                    <a:pt x="120" y="242"/>
                  </a:cubicBezTo>
                  <a:cubicBezTo>
                    <a:pt x="116" y="238"/>
                    <a:pt x="116" y="231"/>
                    <a:pt x="120" y="227"/>
                  </a:cubicBezTo>
                  <a:cubicBezTo>
                    <a:pt x="124" y="223"/>
                    <a:pt x="131" y="223"/>
                    <a:pt x="135" y="227"/>
                  </a:cubicBezTo>
                  <a:cubicBezTo>
                    <a:pt x="149" y="241"/>
                    <a:pt x="149" y="241"/>
                    <a:pt x="149" y="241"/>
                  </a:cubicBezTo>
                  <a:cubicBezTo>
                    <a:pt x="149" y="117"/>
                    <a:pt x="149" y="117"/>
                    <a:pt x="149" y="117"/>
                  </a:cubicBezTo>
                  <a:cubicBezTo>
                    <a:pt x="149" y="111"/>
                    <a:pt x="154" y="106"/>
                    <a:pt x="160" y="106"/>
                  </a:cubicBezTo>
                  <a:cubicBezTo>
                    <a:pt x="166" y="106"/>
                    <a:pt x="170" y="111"/>
                    <a:pt x="170" y="117"/>
                  </a:cubicBezTo>
                  <a:cubicBezTo>
                    <a:pt x="170" y="241"/>
                    <a:pt x="170" y="241"/>
                    <a:pt x="170" y="241"/>
                  </a:cubicBezTo>
                  <a:cubicBezTo>
                    <a:pt x="184" y="227"/>
                    <a:pt x="184" y="227"/>
                    <a:pt x="184" y="227"/>
                  </a:cubicBezTo>
                  <a:cubicBezTo>
                    <a:pt x="188" y="223"/>
                    <a:pt x="195" y="223"/>
                    <a:pt x="199" y="227"/>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4" name="Freeform 993"/>
          <p:cNvSpPr>
            <a:spLocks noChangeAspect="1" noEditPoints="1"/>
          </p:cNvSpPr>
          <p:nvPr/>
        </p:nvSpPr>
        <p:spPr bwMode="auto">
          <a:xfrm>
            <a:off x="2920415" y="4196490"/>
            <a:ext cx="367041" cy="367041"/>
          </a:xfrm>
          <a:custGeom>
            <a:avLst/>
            <a:gdLst>
              <a:gd name="T0" fmla="*/ 202 w 512"/>
              <a:gd name="T1" fmla="*/ 266 h 512"/>
              <a:gd name="T2" fmla="*/ 245 w 512"/>
              <a:gd name="T3" fmla="*/ 202 h 512"/>
              <a:gd name="T4" fmla="*/ 160 w 512"/>
              <a:gd name="T5" fmla="*/ 160 h 512"/>
              <a:gd name="T6" fmla="*/ 394 w 512"/>
              <a:gd name="T7" fmla="*/ 341 h 512"/>
              <a:gd name="T8" fmla="*/ 158 w 512"/>
              <a:gd name="T9" fmla="*/ 352 h 512"/>
              <a:gd name="T10" fmla="*/ 160 w 512"/>
              <a:gd name="T11" fmla="*/ 160 h 512"/>
              <a:gd name="T12" fmla="*/ 298 w 512"/>
              <a:gd name="T13" fmla="*/ 202 h 512"/>
              <a:gd name="T14" fmla="*/ 373 w 512"/>
              <a:gd name="T15" fmla="*/ 192 h 512"/>
              <a:gd name="T16" fmla="*/ 298 w 512"/>
              <a:gd name="T17" fmla="*/ 181 h 512"/>
              <a:gd name="T18" fmla="*/ 288 w 512"/>
              <a:gd name="T19" fmla="*/ 234 h 512"/>
              <a:gd name="T20" fmla="*/ 362 w 512"/>
              <a:gd name="T21" fmla="*/ 245 h 512"/>
              <a:gd name="T22" fmla="*/ 362 w 512"/>
              <a:gd name="T23" fmla="*/ 224 h 512"/>
              <a:gd name="T24" fmla="*/ 288 w 512"/>
              <a:gd name="T25" fmla="*/ 234 h 512"/>
              <a:gd name="T26" fmla="*/ 298 w 512"/>
              <a:gd name="T27" fmla="*/ 288 h 512"/>
              <a:gd name="T28" fmla="*/ 373 w 512"/>
              <a:gd name="T29" fmla="*/ 277 h 512"/>
              <a:gd name="T30" fmla="*/ 298 w 512"/>
              <a:gd name="T31" fmla="*/ 266 h 512"/>
              <a:gd name="T32" fmla="*/ 288 w 512"/>
              <a:gd name="T33" fmla="*/ 320 h 512"/>
              <a:gd name="T34" fmla="*/ 362 w 512"/>
              <a:gd name="T35" fmla="*/ 330 h 512"/>
              <a:gd name="T36" fmla="*/ 362 w 512"/>
              <a:gd name="T37" fmla="*/ 309 h 512"/>
              <a:gd name="T38" fmla="*/ 288 w 512"/>
              <a:gd name="T39" fmla="*/ 320 h 512"/>
              <a:gd name="T40" fmla="*/ 192 w 512"/>
              <a:gd name="T41" fmla="*/ 288 h 512"/>
              <a:gd name="T42" fmla="*/ 266 w 512"/>
              <a:gd name="T43" fmla="*/ 277 h 512"/>
              <a:gd name="T44" fmla="*/ 256 w 512"/>
              <a:gd name="T45" fmla="*/ 181 h 512"/>
              <a:gd name="T46" fmla="*/ 181 w 512"/>
              <a:gd name="T47" fmla="*/ 192 h 512"/>
              <a:gd name="T48" fmla="*/ 181 w 512"/>
              <a:gd name="T49" fmla="*/ 320 h 512"/>
              <a:gd name="T50" fmla="*/ 256 w 512"/>
              <a:gd name="T51" fmla="*/ 330 h 512"/>
              <a:gd name="T52" fmla="*/ 256 w 512"/>
              <a:gd name="T53" fmla="*/ 309 h 512"/>
              <a:gd name="T54" fmla="*/ 181 w 512"/>
              <a:gd name="T55" fmla="*/ 320 h 512"/>
              <a:gd name="T56" fmla="*/ 256 w 512"/>
              <a:gd name="T57" fmla="*/ 512 h 512"/>
              <a:gd name="T58" fmla="*/ 256 w 512"/>
              <a:gd name="T59" fmla="*/ 0 h 512"/>
              <a:gd name="T60" fmla="*/ 416 w 512"/>
              <a:gd name="T61" fmla="*/ 149 h 512"/>
              <a:gd name="T62" fmla="*/ 149 w 512"/>
              <a:gd name="T63" fmla="*/ 138 h 512"/>
              <a:gd name="T64" fmla="*/ 138 w 512"/>
              <a:gd name="T65" fmla="*/ 341 h 512"/>
              <a:gd name="T66" fmla="*/ 117 w 512"/>
              <a:gd name="T67" fmla="*/ 341 h 512"/>
              <a:gd name="T68" fmla="*/ 106 w 512"/>
              <a:gd name="T69" fmla="*/ 138 h 512"/>
              <a:gd name="T70" fmla="*/ 96 w 512"/>
              <a:gd name="T71" fmla="*/ 341 h 512"/>
              <a:gd name="T72" fmla="*/ 384 w 512"/>
              <a:gd name="T73" fmla="*/ 373 h 512"/>
              <a:gd name="T74" fmla="*/ 416 w 512"/>
              <a:gd name="T75"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5" y="266"/>
                </a:moveTo>
                <a:cubicBezTo>
                  <a:pt x="202" y="266"/>
                  <a:pt x="202" y="266"/>
                  <a:pt x="202" y="266"/>
                </a:cubicBezTo>
                <a:cubicBezTo>
                  <a:pt x="202" y="202"/>
                  <a:pt x="202" y="202"/>
                  <a:pt x="202" y="202"/>
                </a:cubicBezTo>
                <a:cubicBezTo>
                  <a:pt x="245" y="202"/>
                  <a:pt x="245" y="202"/>
                  <a:pt x="245" y="202"/>
                </a:cubicBezTo>
                <a:lnTo>
                  <a:pt x="245" y="266"/>
                </a:lnTo>
                <a:close/>
                <a:moveTo>
                  <a:pt x="160" y="160"/>
                </a:moveTo>
                <a:cubicBezTo>
                  <a:pt x="394" y="160"/>
                  <a:pt x="394" y="160"/>
                  <a:pt x="394" y="160"/>
                </a:cubicBezTo>
                <a:cubicBezTo>
                  <a:pt x="394" y="341"/>
                  <a:pt x="394" y="341"/>
                  <a:pt x="394" y="341"/>
                </a:cubicBezTo>
                <a:cubicBezTo>
                  <a:pt x="394" y="347"/>
                  <a:pt x="390" y="352"/>
                  <a:pt x="384" y="352"/>
                </a:cubicBezTo>
                <a:cubicBezTo>
                  <a:pt x="158" y="352"/>
                  <a:pt x="158" y="352"/>
                  <a:pt x="158" y="352"/>
                </a:cubicBezTo>
                <a:cubicBezTo>
                  <a:pt x="159" y="348"/>
                  <a:pt x="160" y="345"/>
                  <a:pt x="160" y="341"/>
                </a:cubicBezTo>
                <a:lnTo>
                  <a:pt x="160" y="160"/>
                </a:lnTo>
                <a:close/>
                <a:moveTo>
                  <a:pt x="288" y="192"/>
                </a:moveTo>
                <a:cubicBezTo>
                  <a:pt x="288" y="198"/>
                  <a:pt x="292" y="202"/>
                  <a:pt x="298" y="202"/>
                </a:cubicBezTo>
                <a:cubicBezTo>
                  <a:pt x="362" y="202"/>
                  <a:pt x="362" y="202"/>
                  <a:pt x="362" y="202"/>
                </a:cubicBezTo>
                <a:cubicBezTo>
                  <a:pt x="368" y="202"/>
                  <a:pt x="373" y="198"/>
                  <a:pt x="373" y="192"/>
                </a:cubicBezTo>
                <a:cubicBezTo>
                  <a:pt x="373" y="186"/>
                  <a:pt x="368" y="181"/>
                  <a:pt x="362" y="181"/>
                </a:cubicBezTo>
                <a:cubicBezTo>
                  <a:pt x="298" y="181"/>
                  <a:pt x="298" y="181"/>
                  <a:pt x="298" y="181"/>
                </a:cubicBezTo>
                <a:cubicBezTo>
                  <a:pt x="292" y="181"/>
                  <a:pt x="288" y="186"/>
                  <a:pt x="288" y="192"/>
                </a:cubicBezTo>
                <a:close/>
                <a:moveTo>
                  <a:pt x="288" y="234"/>
                </a:moveTo>
                <a:cubicBezTo>
                  <a:pt x="288" y="240"/>
                  <a:pt x="292" y="245"/>
                  <a:pt x="298" y="245"/>
                </a:cubicBezTo>
                <a:cubicBezTo>
                  <a:pt x="362" y="245"/>
                  <a:pt x="362" y="245"/>
                  <a:pt x="362" y="245"/>
                </a:cubicBezTo>
                <a:cubicBezTo>
                  <a:pt x="368" y="245"/>
                  <a:pt x="373" y="240"/>
                  <a:pt x="373" y="234"/>
                </a:cubicBezTo>
                <a:cubicBezTo>
                  <a:pt x="373" y="228"/>
                  <a:pt x="368" y="224"/>
                  <a:pt x="362" y="224"/>
                </a:cubicBezTo>
                <a:cubicBezTo>
                  <a:pt x="298" y="224"/>
                  <a:pt x="298" y="224"/>
                  <a:pt x="298" y="224"/>
                </a:cubicBezTo>
                <a:cubicBezTo>
                  <a:pt x="292" y="224"/>
                  <a:pt x="288" y="228"/>
                  <a:pt x="288" y="234"/>
                </a:cubicBezTo>
                <a:close/>
                <a:moveTo>
                  <a:pt x="288" y="277"/>
                </a:moveTo>
                <a:cubicBezTo>
                  <a:pt x="288" y="283"/>
                  <a:pt x="292" y="288"/>
                  <a:pt x="298" y="288"/>
                </a:cubicBezTo>
                <a:cubicBezTo>
                  <a:pt x="362" y="288"/>
                  <a:pt x="362" y="288"/>
                  <a:pt x="362" y="288"/>
                </a:cubicBezTo>
                <a:cubicBezTo>
                  <a:pt x="368" y="288"/>
                  <a:pt x="373" y="283"/>
                  <a:pt x="373" y="277"/>
                </a:cubicBezTo>
                <a:cubicBezTo>
                  <a:pt x="373" y="271"/>
                  <a:pt x="368" y="266"/>
                  <a:pt x="362" y="266"/>
                </a:cubicBezTo>
                <a:cubicBezTo>
                  <a:pt x="298" y="266"/>
                  <a:pt x="298" y="266"/>
                  <a:pt x="298" y="266"/>
                </a:cubicBezTo>
                <a:cubicBezTo>
                  <a:pt x="292" y="266"/>
                  <a:pt x="288" y="271"/>
                  <a:pt x="288" y="277"/>
                </a:cubicBezTo>
                <a:close/>
                <a:moveTo>
                  <a:pt x="288" y="320"/>
                </a:moveTo>
                <a:cubicBezTo>
                  <a:pt x="288" y="326"/>
                  <a:pt x="292" y="330"/>
                  <a:pt x="298" y="330"/>
                </a:cubicBezTo>
                <a:cubicBezTo>
                  <a:pt x="362" y="330"/>
                  <a:pt x="362" y="330"/>
                  <a:pt x="362" y="330"/>
                </a:cubicBezTo>
                <a:cubicBezTo>
                  <a:pt x="368" y="330"/>
                  <a:pt x="373" y="326"/>
                  <a:pt x="373" y="320"/>
                </a:cubicBezTo>
                <a:cubicBezTo>
                  <a:pt x="373" y="314"/>
                  <a:pt x="368" y="309"/>
                  <a:pt x="362" y="309"/>
                </a:cubicBezTo>
                <a:cubicBezTo>
                  <a:pt x="298" y="309"/>
                  <a:pt x="298" y="309"/>
                  <a:pt x="298" y="309"/>
                </a:cubicBezTo>
                <a:cubicBezTo>
                  <a:pt x="292" y="309"/>
                  <a:pt x="288" y="314"/>
                  <a:pt x="288" y="320"/>
                </a:cubicBezTo>
                <a:close/>
                <a:moveTo>
                  <a:pt x="181" y="277"/>
                </a:moveTo>
                <a:cubicBezTo>
                  <a:pt x="181" y="283"/>
                  <a:pt x="186" y="288"/>
                  <a:pt x="192" y="288"/>
                </a:cubicBezTo>
                <a:cubicBezTo>
                  <a:pt x="256" y="288"/>
                  <a:pt x="256" y="288"/>
                  <a:pt x="256" y="288"/>
                </a:cubicBezTo>
                <a:cubicBezTo>
                  <a:pt x="262" y="288"/>
                  <a:pt x="266" y="283"/>
                  <a:pt x="266" y="277"/>
                </a:cubicBezTo>
                <a:cubicBezTo>
                  <a:pt x="266" y="192"/>
                  <a:pt x="266" y="192"/>
                  <a:pt x="266" y="192"/>
                </a:cubicBezTo>
                <a:cubicBezTo>
                  <a:pt x="266" y="186"/>
                  <a:pt x="262" y="181"/>
                  <a:pt x="256" y="181"/>
                </a:cubicBezTo>
                <a:cubicBezTo>
                  <a:pt x="192" y="181"/>
                  <a:pt x="192" y="181"/>
                  <a:pt x="192" y="181"/>
                </a:cubicBezTo>
                <a:cubicBezTo>
                  <a:pt x="186" y="181"/>
                  <a:pt x="181" y="186"/>
                  <a:pt x="181" y="192"/>
                </a:cubicBezTo>
                <a:lnTo>
                  <a:pt x="181" y="277"/>
                </a:lnTo>
                <a:close/>
                <a:moveTo>
                  <a:pt x="181" y="320"/>
                </a:moveTo>
                <a:cubicBezTo>
                  <a:pt x="181" y="326"/>
                  <a:pt x="186" y="330"/>
                  <a:pt x="192" y="330"/>
                </a:cubicBezTo>
                <a:cubicBezTo>
                  <a:pt x="256" y="330"/>
                  <a:pt x="256" y="330"/>
                  <a:pt x="256" y="330"/>
                </a:cubicBezTo>
                <a:cubicBezTo>
                  <a:pt x="262" y="330"/>
                  <a:pt x="266" y="326"/>
                  <a:pt x="266" y="320"/>
                </a:cubicBezTo>
                <a:cubicBezTo>
                  <a:pt x="266" y="314"/>
                  <a:pt x="262" y="309"/>
                  <a:pt x="256" y="309"/>
                </a:cubicBezTo>
                <a:cubicBezTo>
                  <a:pt x="192" y="309"/>
                  <a:pt x="192" y="309"/>
                  <a:pt x="192" y="309"/>
                </a:cubicBezTo>
                <a:cubicBezTo>
                  <a:pt x="186" y="309"/>
                  <a:pt x="181" y="314"/>
                  <a:pt x="181"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49" y="138"/>
                  <a:pt x="149" y="138"/>
                  <a:pt x="149" y="138"/>
                </a:cubicBezTo>
                <a:cubicBezTo>
                  <a:pt x="143" y="138"/>
                  <a:pt x="138" y="143"/>
                  <a:pt x="138" y="149"/>
                </a:cubicBezTo>
                <a:cubicBezTo>
                  <a:pt x="138" y="341"/>
                  <a:pt x="138" y="341"/>
                  <a:pt x="138" y="341"/>
                </a:cubicBezTo>
                <a:cubicBezTo>
                  <a:pt x="138" y="347"/>
                  <a:pt x="134" y="352"/>
                  <a:pt x="128" y="352"/>
                </a:cubicBezTo>
                <a:cubicBezTo>
                  <a:pt x="122" y="352"/>
                  <a:pt x="117" y="347"/>
                  <a:pt x="117" y="341"/>
                </a:cubicBezTo>
                <a:cubicBezTo>
                  <a:pt x="117" y="149"/>
                  <a:pt x="117" y="149"/>
                  <a:pt x="117" y="149"/>
                </a:cubicBezTo>
                <a:cubicBezTo>
                  <a:pt x="117" y="143"/>
                  <a:pt x="112" y="138"/>
                  <a:pt x="106" y="138"/>
                </a:cubicBezTo>
                <a:cubicBezTo>
                  <a:pt x="100" y="138"/>
                  <a:pt x="96" y="143"/>
                  <a:pt x="96" y="149"/>
                </a:cubicBezTo>
                <a:cubicBezTo>
                  <a:pt x="96" y="341"/>
                  <a:pt x="96" y="341"/>
                  <a:pt x="96" y="341"/>
                </a:cubicBezTo>
                <a:cubicBezTo>
                  <a:pt x="96" y="359"/>
                  <a:pt x="110" y="373"/>
                  <a:pt x="128" y="373"/>
                </a:cubicBezTo>
                <a:cubicBezTo>
                  <a:pt x="384" y="373"/>
                  <a:pt x="384" y="373"/>
                  <a:pt x="384" y="373"/>
                </a:cubicBezTo>
                <a:cubicBezTo>
                  <a:pt x="401" y="373"/>
                  <a:pt x="416" y="359"/>
                  <a:pt x="416" y="341"/>
                </a:cubicBezTo>
                <a:lnTo>
                  <a:pt x="416" y="14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5" name="Group 996"/>
          <p:cNvGrpSpPr>
            <a:grpSpLocks noChangeAspect="1"/>
          </p:cNvGrpSpPr>
          <p:nvPr/>
        </p:nvGrpSpPr>
        <p:grpSpPr bwMode="auto">
          <a:xfrm>
            <a:off x="3340239" y="4196490"/>
            <a:ext cx="367041" cy="368121"/>
            <a:chOff x="3482" y="3998"/>
            <a:chExt cx="340" cy="341"/>
          </a:xfrm>
          <a:solidFill>
            <a:schemeClr val="accent5"/>
          </a:solidFill>
        </p:grpSpPr>
        <p:sp>
          <p:nvSpPr>
            <p:cNvPr id="406" name="Freeform 997"/>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Freeform 998"/>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8" name="Freeform 894"/>
          <p:cNvSpPr>
            <a:spLocks noChangeAspect="1" noEditPoints="1"/>
          </p:cNvSpPr>
          <p:nvPr/>
        </p:nvSpPr>
        <p:spPr bwMode="auto">
          <a:xfrm>
            <a:off x="3760063" y="4196490"/>
            <a:ext cx="367041" cy="368121"/>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9" name="Group 897"/>
          <p:cNvGrpSpPr>
            <a:grpSpLocks noChangeAspect="1"/>
          </p:cNvGrpSpPr>
          <p:nvPr/>
        </p:nvGrpSpPr>
        <p:grpSpPr bwMode="auto">
          <a:xfrm>
            <a:off x="4179887" y="4196490"/>
            <a:ext cx="367041" cy="367041"/>
            <a:chOff x="3863" y="3885"/>
            <a:chExt cx="340" cy="340"/>
          </a:xfrm>
          <a:solidFill>
            <a:schemeClr val="accent4"/>
          </a:solidFill>
        </p:grpSpPr>
        <p:sp>
          <p:nvSpPr>
            <p:cNvPr id="410" name="Freeform 898"/>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1" name="Oval 899"/>
            <p:cNvSpPr>
              <a:spLocks noChangeArrowheads="1"/>
            </p:cNvSpPr>
            <p:nvPr/>
          </p:nvSpPr>
          <p:spPr bwMode="auto">
            <a:xfrm>
              <a:off x="4026" y="412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Freeform 900"/>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Freeform 901"/>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4" name="Freeform 965"/>
          <p:cNvSpPr>
            <a:spLocks noChangeAspect="1" noEditPoints="1"/>
          </p:cNvSpPr>
          <p:nvPr/>
        </p:nvSpPr>
        <p:spPr bwMode="auto">
          <a:xfrm>
            <a:off x="4599711" y="4196490"/>
            <a:ext cx="367041" cy="367041"/>
          </a:xfrm>
          <a:custGeom>
            <a:avLst/>
            <a:gdLst>
              <a:gd name="T0" fmla="*/ 330 w 512"/>
              <a:gd name="T1" fmla="*/ 304 h 512"/>
              <a:gd name="T2" fmla="*/ 309 w 512"/>
              <a:gd name="T3" fmla="*/ 320 h 512"/>
              <a:gd name="T4" fmla="*/ 288 w 512"/>
              <a:gd name="T5" fmla="*/ 304 h 512"/>
              <a:gd name="T6" fmla="*/ 309 w 512"/>
              <a:gd name="T7" fmla="*/ 288 h 512"/>
              <a:gd name="T8" fmla="*/ 330 w 512"/>
              <a:gd name="T9" fmla="*/ 304 h 512"/>
              <a:gd name="T10" fmla="*/ 149 w 512"/>
              <a:gd name="T11" fmla="*/ 330 h 512"/>
              <a:gd name="T12" fmla="*/ 128 w 512"/>
              <a:gd name="T13" fmla="*/ 346 h 512"/>
              <a:gd name="T14" fmla="*/ 149 w 512"/>
              <a:gd name="T15" fmla="*/ 362 h 512"/>
              <a:gd name="T16" fmla="*/ 170 w 512"/>
              <a:gd name="T17" fmla="*/ 346 h 512"/>
              <a:gd name="T18" fmla="*/ 149 w 512"/>
              <a:gd name="T19" fmla="*/ 330 h 512"/>
              <a:gd name="T20" fmla="*/ 192 w 512"/>
              <a:gd name="T21" fmla="*/ 198 h 512"/>
              <a:gd name="T22" fmla="*/ 330 w 512"/>
              <a:gd name="T23" fmla="*/ 152 h 512"/>
              <a:gd name="T24" fmla="*/ 330 w 512"/>
              <a:gd name="T25" fmla="*/ 132 h 512"/>
              <a:gd name="T26" fmla="*/ 192 w 512"/>
              <a:gd name="T27" fmla="*/ 178 h 512"/>
              <a:gd name="T28" fmla="*/ 192 w 512"/>
              <a:gd name="T29" fmla="*/ 1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52 w 512"/>
              <a:gd name="T41" fmla="*/ 117 h 512"/>
              <a:gd name="T42" fmla="*/ 351 w 512"/>
              <a:gd name="T43" fmla="*/ 114 h 512"/>
              <a:gd name="T44" fmla="*/ 338 w 512"/>
              <a:gd name="T45" fmla="*/ 107 h 512"/>
              <a:gd name="T46" fmla="*/ 178 w 512"/>
              <a:gd name="T47" fmla="*/ 160 h 512"/>
              <a:gd name="T48" fmla="*/ 170 w 512"/>
              <a:gd name="T49" fmla="*/ 170 h 512"/>
              <a:gd name="T50" fmla="*/ 170 w 512"/>
              <a:gd name="T51" fmla="*/ 314 h 512"/>
              <a:gd name="T52" fmla="*/ 149 w 512"/>
              <a:gd name="T53" fmla="*/ 309 h 512"/>
              <a:gd name="T54" fmla="*/ 106 w 512"/>
              <a:gd name="T55" fmla="*/ 346 h 512"/>
              <a:gd name="T56" fmla="*/ 149 w 512"/>
              <a:gd name="T57" fmla="*/ 384 h 512"/>
              <a:gd name="T58" fmla="*/ 192 w 512"/>
              <a:gd name="T59" fmla="*/ 346 h 512"/>
              <a:gd name="T60" fmla="*/ 192 w 512"/>
              <a:gd name="T61" fmla="*/ 221 h 512"/>
              <a:gd name="T62" fmla="*/ 330 w 512"/>
              <a:gd name="T63" fmla="*/ 174 h 512"/>
              <a:gd name="T64" fmla="*/ 330 w 512"/>
              <a:gd name="T65" fmla="*/ 272 h 512"/>
              <a:gd name="T66" fmla="*/ 309 w 512"/>
              <a:gd name="T67" fmla="*/ 266 h 512"/>
              <a:gd name="T68" fmla="*/ 266 w 512"/>
              <a:gd name="T69" fmla="*/ 304 h 512"/>
              <a:gd name="T70" fmla="*/ 309 w 512"/>
              <a:gd name="T71" fmla="*/ 341 h 512"/>
              <a:gd name="T72" fmla="*/ 352 w 512"/>
              <a:gd name="T73" fmla="*/ 304 h 512"/>
              <a:gd name="T74" fmla="*/ 352 w 512"/>
              <a:gd name="T75" fmla="*/ 117 h 512"/>
              <a:gd name="T76" fmla="*/ 352 w 512"/>
              <a:gd name="T7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30" y="304"/>
                </a:moveTo>
                <a:cubicBezTo>
                  <a:pt x="330" y="312"/>
                  <a:pt x="321" y="320"/>
                  <a:pt x="309" y="320"/>
                </a:cubicBezTo>
                <a:cubicBezTo>
                  <a:pt x="297" y="320"/>
                  <a:pt x="288" y="312"/>
                  <a:pt x="288" y="304"/>
                </a:cubicBezTo>
                <a:cubicBezTo>
                  <a:pt x="288" y="295"/>
                  <a:pt x="297" y="288"/>
                  <a:pt x="309" y="288"/>
                </a:cubicBezTo>
                <a:cubicBezTo>
                  <a:pt x="321" y="288"/>
                  <a:pt x="330" y="295"/>
                  <a:pt x="330" y="304"/>
                </a:cubicBezTo>
                <a:close/>
                <a:moveTo>
                  <a:pt x="149" y="330"/>
                </a:moveTo>
                <a:cubicBezTo>
                  <a:pt x="137" y="330"/>
                  <a:pt x="128" y="338"/>
                  <a:pt x="128" y="346"/>
                </a:cubicBezTo>
                <a:cubicBezTo>
                  <a:pt x="128" y="355"/>
                  <a:pt x="137" y="362"/>
                  <a:pt x="149" y="362"/>
                </a:cubicBezTo>
                <a:cubicBezTo>
                  <a:pt x="161" y="362"/>
                  <a:pt x="170" y="355"/>
                  <a:pt x="170" y="346"/>
                </a:cubicBezTo>
                <a:cubicBezTo>
                  <a:pt x="170" y="338"/>
                  <a:pt x="161" y="330"/>
                  <a:pt x="149" y="330"/>
                </a:cubicBezTo>
                <a:close/>
                <a:moveTo>
                  <a:pt x="192" y="198"/>
                </a:moveTo>
                <a:cubicBezTo>
                  <a:pt x="330" y="152"/>
                  <a:pt x="330" y="152"/>
                  <a:pt x="330" y="152"/>
                </a:cubicBezTo>
                <a:cubicBezTo>
                  <a:pt x="330" y="132"/>
                  <a:pt x="330" y="132"/>
                  <a:pt x="330" y="132"/>
                </a:cubicBezTo>
                <a:cubicBezTo>
                  <a:pt x="192" y="178"/>
                  <a:pt x="192" y="178"/>
                  <a:pt x="192" y="178"/>
                </a:cubicBezTo>
                <a:lnTo>
                  <a:pt x="192" y="1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17"/>
                </a:moveTo>
                <a:cubicBezTo>
                  <a:pt x="352" y="116"/>
                  <a:pt x="351" y="115"/>
                  <a:pt x="351" y="114"/>
                </a:cubicBezTo>
                <a:cubicBezTo>
                  <a:pt x="349" y="108"/>
                  <a:pt x="343" y="105"/>
                  <a:pt x="338" y="107"/>
                </a:cubicBezTo>
                <a:cubicBezTo>
                  <a:pt x="178" y="160"/>
                  <a:pt x="178" y="160"/>
                  <a:pt x="178" y="160"/>
                </a:cubicBezTo>
                <a:cubicBezTo>
                  <a:pt x="173" y="162"/>
                  <a:pt x="170" y="166"/>
                  <a:pt x="170" y="170"/>
                </a:cubicBezTo>
                <a:cubicBezTo>
                  <a:pt x="170" y="314"/>
                  <a:pt x="170" y="314"/>
                  <a:pt x="170" y="314"/>
                </a:cubicBezTo>
                <a:cubicBezTo>
                  <a:pt x="164" y="311"/>
                  <a:pt x="157" y="309"/>
                  <a:pt x="149" y="309"/>
                </a:cubicBezTo>
                <a:cubicBezTo>
                  <a:pt x="125" y="309"/>
                  <a:pt x="106" y="326"/>
                  <a:pt x="106" y="346"/>
                </a:cubicBezTo>
                <a:cubicBezTo>
                  <a:pt x="106" y="367"/>
                  <a:pt x="125" y="384"/>
                  <a:pt x="149" y="384"/>
                </a:cubicBezTo>
                <a:cubicBezTo>
                  <a:pt x="173" y="384"/>
                  <a:pt x="192" y="367"/>
                  <a:pt x="192" y="346"/>
                </a:cubicBezTo>
                <a:cubicBezTo>
                  <a:pt x="192" y="221"/>
                  <a:pt x="192" y="221"/>
                  <a:pt x="192" y="221"/>
                </a:cubicBezTo>
                <a:cubicBezTo>
                  <a:pt x="330" y="174"/>
                  <a:pt x="330" y="174"/>
                  <a:pt x="330" y="174"/>
                </a:cubicBezTo>
                <a:cubicBezTo>
                  <a:pt x="330" y="272"/>
                  <a:pt x="330" y="272"/>
                  <a:pt x="330" y="272"/>
                </a:cubicBezTo>
                <a:cubicBezTo>
                  <a:pt x="324" y="268"/>
                  <a:pt x="317" y="266"/>
                  <a:pt x="309" y="266"/>
                </a:cubicBezTo>
                <a:cubicBezTo>
                  <a:pt x="285" y="266"/>
                  <a:pt x="266" y="283"/>
                  <a:pt x="266" y="304"/>
                </a:cubicBezTo>
                <a:cubicBezTo>
                  <a:pt x="266" y="324"/>
                  <a:pt x="285" y="341"/>
                  <a:pt x="309" y="341"/>
                </a:cubicBezTo>
                <a:cubicBezTo>
                  <a:pt x="333" y="341"/>
                  <a:pt x="352" y="324"/>
                  <a:pt x="352" y="304"/>
                </a:cubicBezTo>
                <a:cubicBezTo>
                  <a:pt x="352" y="117"/>
                  <a:pt x="352" y="117"/>
                  <a:pt x="352" y="117"/>
                </a:cubicBezTo>
                <a:cubicBezTo>
                  <a:pt x="352" y="117"/>
                  <a:pt x="352" y="117"/>
                  <a:pt x="352" y="117"/>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5" name="Group 968"/>
          <p:cNvGrpSpPr>
            <a:grpSpLocks noChangeAspect="1"/>
          </p:cNvGrpSpPr>
          <p:nvPr/>
        </p:nvGrpSpPr>
        <p:grpSpPr bwMode="auto">
          <a:xfrm>
            <a:off x="5019535" y="4196490"/>
            <a:ext cx="367041" cy="367041"/>
            <a:chOff x="1138" y="4015"/>
            <a:chExt cx="340" cy="340"/>
          </a:xfrm>
          <a:solidFill>
            <a:schemeClr val="accent5"/>
          </a:solidFill>
        </p:grpSpPr>
        <p:sp>
          <p:nvSpPr>
            <p:cNvPr id="416" name="Freeform 969"/>
            <p:cNvSpPr>
              <a:spLocks noEditPoints="1"/>
            </p:cNvSpPr>
            <p:nvPr/>
          </p:nvSpPr>
          <p:spPr bwMode="auto">
            <a:xfrm>
              <a:off x="1138" y="40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970"/>
            <p:cNvSpPr>
              <a:spLocks noEditPoints="1"/>
            </p:cNvSpPr>
            <p:nvPr/>
          </p:nvSpPr>
          <p:spPr bwMode="auto">
            <a:xfrm>
              <a:off x="1208" y="4085"/>
              <a:ext cx="164" cy="185"/>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8" name="Freeform 938"/>
          <p:cNvSpPr>
            <a:spLocks noChangeAspect="1" noEditPoints="1"/>
          </p:cNvSpPr>
          <p:nvPr/>
        </p:nvSpPr>
        <p:spPr bwMode="auto">
          <a:xfrm>
            <a:off x="5439359" y="4196490"/>
            <a:ext cx="367041" cy="367041"/>
          </a:xfrm>
          <a:custGeom>
            <a:avLst/>
            <a:gdLst>
              <a:gd name="T0" fmla="*/ 305 w 512"/>
              <a:gd name="T1" fmla="*/ 234 h 512"/>
              <a:gd name="T2" fmla="*/ 266 w 512"/>
              <a:gd name="T3" fmla="*/ 234 h 512"/>
              <a:gd name="T4" fmla="*/ 266 w 512"/>
              <a:gd name="T5" fmla="*/ 192 h 512"/>
              <a:gd name="T6" fmla="*/ 298 w 512"/>
              <a:gd name="T7" fmla="*/ 192 h 512"/>
              <a:gd name="T8" fmla="*/ 301 w 512"/>
              <a:gd name="T9" fmla="*/ 196 h 512"/>
              <a:gd name="T10" fmla="*/ 305 w 512"/>
              <a:gd name="T11" fmla="*/ 234 h 512"/>
              <a:gd name="T12" fmla="*/ 245 w 512"/>
              <a:gd name="T13" fmla="*/ 192 h 512"/>
              <a:gd name="T14" fmla="*/ 214 w 512"/>
              <a:gd name="T15" fmla="*/ 192 h 512"/>
              <a:gd name="T16" fmla="*/ 211 w 512"/>
              <a:gd name="T17" fmla="*/ 195 h 512"/>
              <a:gd name="T18" fmla="*/ 207 w 512"/>
              <a:gd name="T19" fmla="*/ 234 h 512"/>
              <a:gd name="T20" fmla="*/ 245 w 512"/>
              <a:gd name="T21" fmla="*/ 234 h 512"/>
              <a:gd name="T22" fmla="*/ 245 w 512"/>
              <a:gd name="T23" fmla="*/ 192 h 512"/>
              <a:gd name="T24" fmla="*/ 205 w 512"/>
              <a:gd name="T25" fmla="*/ 256 h 512"/>
              <a:gd name="T26" fmla="*/ 197 w 512"/>
              <a:gd name="T27" fmla="*/ 336 h 512"/>
              <a:gd name="T28" fmla="*/ 256 w 512"/>
              <a:gd name="T29" fmla="*/ 394 h 512"/>
              <a:gd name="T30" fmla="*/ 315 w 512"/>
              <a:gd name="T31" fmla="*/ 335 h 512"/>
              <a:gd name="T32" fmla="*/ 307 w 512"/>
              <a:gd name="T33" fmla="*/ 256 h 512"/>
              <a:gd name="T34" fmla="*/ 205 w 512"/>
              <a:gd name="T35" fmla="*/ 256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36 w 512"/>
              <a:gd name="T47" fmla="*/ 334 h 512"/>
              <a:gd name="T48" fmla="*/ 322 w 512"/>
              <a:gd name="T49" fmla="*/ 195 h 512"/>
              <a:gd name="T50" fmla="*/ 298 w 512"/>
              <a:gd name="T51" fmla="*/ 170 h 512"/>
              <a:gd name="T52" fmla="*/ 266 w 512"/>
              <a:gd name="T53" fmla="*/ 170 h 512"/>
              <a:gd name="T54" fmla="*/ 266 w 512"/>
              <a:gd name="T55" fmla="*/ 168 h 512"/>
              <a:gd name="T56" fmla="*/ 256 w 512"/>
              <a:gd name="T57" fmla="*/ 132 h 512"/>
              <a:gd name="T58" fmla="*/ 248 w 512"/>
              <a:gd name="T59" fmla="*/ 106 h 512"/>
              <a:gd name="T60" fmla="*/ 238 w 512"/>
              <a:gd name="T61" fmla="*/ 96 h 512"/>
              <a:gd name="T62" fmla="*/ 227 w 512"/>
              <a:gd name="T63" fmla="*/ 106 h 512"/>
              <a:gd name="T64" fmla="*/ 237 w 512"/>
              <a:gd name="T65" fmla="*/ 143 h 512"/>
              <a:gd name="T66" fmla="*/ 245 w 512"/>
              <a:gd name="T67" fmla="*/ 168 h 512"/>
              <a:gd name="T68" fmla="*/ 245 w 512"/>
              <a:gd name="T69" fmla="*/ 170 h 512"/>
              <a:gd name="T70" fmla="*/ 214 w 512"/>
              <a:gd name="T71" fmla="*/ 170 h 512"/>
              <a:gd name="T72" fmla="*/ 189 w 512"/>
              <a:gd name="T73" fmla="*/ 194 h 512"/>
              <a:gd name="T74" fmla="*/ 175 w 512"/>
              <a:gd name="T75" fmla="*/ 334 h 512"/>
              <a:gd name="T76" fmla="*/ 175 w 512"/>
              <a:gd name="T77" fmla="*/ 335 h 512"/>
              <a:gd name="T78" fmla="*/ 256 w 512"/>
              <a:gd name="T79" fmla="*/ 416 h 512"/>
              <a:gd name="T80" fmla="*/ 336 w 512"/>
              <a:gd name="T81" fmla="*/ 3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5" y="234"/>
                </a:moveTo>
                <a:cubicBezTo>
                  <a:pt x="266" y="234"/>
                  <a:pt x="266" y="234"/>
                  <a:pt x="266" y="234"/>
                </a:cubicBezTo>
                <a:cubicBezTo>
                  <a:pt x="266" y="192"/>
                  <a:pt x="266" y="192"/>
                  <a:pt x="266" y="192"/>
                </a:cubicBezTo>
                <a:cubicBezTo>
                  <a:pt x="298" y="192"/>
                  <a:pt x="298" y="192"/>
                  <a:pt x="298" y="192"/>
                </a:cubicBezTo>
                <a:cubicBezTo>
                  <a:pt x="299" y="192"/>
                  <a:pt x="301" y="193"/>
                  <a:pt x="301" y="196"/>
                </a:cubicBezTo>
                <a:lnTo>
                  <a:pt x="305" y="234"/>
                </a:lnTo>
                <a:close/>
                <a:moveTo>
                  <a:pt x="245" y="192"/>
                </a:moveTo>
                <a:cubicBezTo>
                  <a:pt x="214" y="192"/>
                  <a:pt x="214" y="192"/>
                  <a:pt x="214" y="192"/>
                </a:cubicBezTo>
                <a:cubicBezTo>
                  <a:pt x="212" y="192"/>
                  <a:pt x="211" y="193"/>
                  <a:pt x="211" y="195"/>
                </a:cubicBezTo>
                <a:cubicBezTo>
                  <a:pt x="207" y="234"/>
                  <a:pt x="207" y="234"/>
                  <a:pt x="207" y="234"/>
                </a:cubicBezTo>
                <a:cubicBezTo>
                  <a:pt x="245" y="234"/>
                  <a:pt x="245" y="234"/>
                  <a:pt x="245" y="234"/>
                </a:cubicBezTo>
                <a:lnTo>
                  <a:pt x="245" y="192"/>
                </a:lnTo>
                <a:close/>
                <a:moveTo>
                  <a:pt x="205" y="256"/>
                </a:moveTo>
                <a:cubicBezTo>
                  <a:pt x="197" y="336"/>
                  <a:pt x="197" y="336"/>
                  <a:pt x="197" y="336"/>
                </a:cubicBezTo>
                <a:cubicBezTo>
                  <a:pt x="197" y="368"/>
                  <a:pt x="223" y="394"/>
                  <a:pt x="256" y="394"/>
                </a:cubicBezTo>
                <a:cubicBezTo>
                  <a:pt x="288" y="394"/>
                  <a:pt x="315" y="368"/>
                  <a:pt x="315" y="335"/>
                </a:cubicBezTo>
                <a:cubicBezTo>
                  <a:pt x="307" y="256"/>
                  <a:pt x="307" y="256"/>
                  <a:pt x="307" y="256"/>
                </a:cubicBezTo>
                <a:lnTo>
                  <a:pt x="205"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6" y="334"/>
                </a:moveTo>
                <a:cubicBezTo>
                  <a:pt x="322" y="195"/>
                  <a:pt x="322" y="195"/>
                  <a:pt x="322" y="195"/>
                </a:cubicBezTo>
                <a:cubicBezTo>
                  <a:pt x="322" y="182"/>
                  <a:pt x="311" y="170"/>
                  <a:pt x="298" y="170"/>
                </a:cubicBezTo>
                <a:cubicBezTo>
                  <a:pt x="266" y="170"/>
                  <a:pt x="266" y="170"/>
                  <a:pt x="266" y="170"/>
                </a:cubicBezTo>
                <a:cubicBezTo>
                  <a:pt x="266" y="168"/>
                  <a:pt x="266" y="168"/>
                  <a:pt x="266" y="168"/>
                </a:cubicBezTo>
                <a:cubicBezTo>
                  <a:pt x="266" y="149"/>
                  <a:pt x="260" y="139"/>
                  <a:pt x="256" y="132"/>
                </a:cubicBezTo>
                <a:cubicBezTo>
                  <a:pt x="252" y="125"/>
                  <a:pt x="248" y="119"/>
                  <a:pt x="248" y="106"/>
                </a:cubicBezTo>
                <a:cubicBezTo>
                  <a:pt x="248" y="100"/>
                  <a:pt x="244" y="96"/>
                  <a:pt x="238" y="96"/>
                </a:cubicBezTo>
                <a:cubicBezTo>
                  <a:pt x="232" y="96"/>
                  <a:pt x="227" y="100"/>
                  <a:pt x="227" y="106"/>
                </a:cubicBezTo>
                <a:cubicBezTo>
                  <a:pt x="227" y="125"/>
                  <a:pt x="233" y="135"/>
                  <a:pt x="237" y="143"/>
                </a:cubicBezTo>
                <a:cubicBezTo>
                  <a:pt x="242" y="150"/>
                  <a:pt x="245" y="155"/>
                  <a:pt x="245" y="168"/>
                </a:cubicBezTo>
                <a:cubicBezTo>
                  <a:pt x="245" y="170"/>
                  <a:pt x="245" y="170"/>
                  <a:pt x="245" y="170"/>
                </a:cubicBezTo>
                <a:cubicBezTo>
                  <a:pt x="214" y="170"/>
                  <a:pt x="214" y="170"/>
                  <a:pt x="214" y="170"/>
                </a:cubicBezTo>
                <a:cubicBezTo>
                  <a:pt x="200" y="170"/>
                  <a:pt x="189" y="182"/>
                  <a:pt x="189" y="194"/>
                </a:cubicBezTo>
                <a:cubicBezTo>
                  <a:pt x="175" y="334"/>
                  <a:pt x="175" y="334"/>
                  <a:pt x="175" y="334"/>
                </a:cubicBezTo>
                <a:cubicBezTo>
                  <a:pt x="175" y="335"/>
                  <a:pt x="175" y="335"/>
                  <a:pt x="175" y="335"/>
                </a:cubicBezTo>
                <a:cubicBezTo>
                  <a:pt x="175" y="380"/>
                  <a:pt x="211" y="416"/>
                  <a:pt x="256" y="416"/>
                </a:cubicBezTo>
                <a:cubicBezTo>
                  <a:pt x="300" y="416"/>
                  <a:pt x="336" y="380"/>
                  <a:pt x="336" y="33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9" name="Group 941"/>
          <p:cNvGrpSpPr>
            <a:grpSpLocks noChangeAspect="1"/>
          </p:cNvGrpSpPr>
          <p:nvPr/>
        </p:nvGrpSpPr>
        <p:grpSpPr bwMode="auto">
          <a:xfrm>
            <a:off x="5859183" y="4196490"/>
            <a:ext cx="367041" cy="367041"/>
            <a:chOff x="6569" y="3572"/>
            <a:chExt cx="340" cy="340"/>
          </a:xfrm>
          <a:solidFill>
            <a:schemeClr val="accent4"/>
          </a:solidFill>
        </p:grpSpPr>
        <p:sp>
          <p:nvSpPr>
            <p:cNvPr id="420" name="Freeform 942"/>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Freeform 943"/>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32" name="Freeform 468"/>
          <p:cNvSpPr>
            <a:spLocks noChangeAspect="1" noEditPoints="1"/>
          </p:cNvSpPr>
          <p:nvPr/>
        </p:nvSpPr>
        <p:spPr bwMode="auto">
          <a:xfrm>
            <a:off x="6279007" y="4196490"/>
            <a:ext cx="367041" cy="367041"/>
          </a:xfrm>
          <a:custGeom>
            <a:avLst/>
            <a:gdLst>
              <a:gd name="T0" fmla="*/ 0 w 512"/>
              <a:gd name="T1" fmla="*/ 256 h 512"/>
              <a:gd name="T2" fmla="*/ 512 w 512"/>
              <a:gd name="T3" fmla="*/ 256 h 512"/>
              <a:gd name="T4" fmla="*/ 416 w 512"/>
              <a:gd name="T5" fmla="*/ 352 h 512"/>
              <a:gd name="T6" fmla="*/ 106 w 512"/>
              <a:gd name="T7" fmla="*/ 362 h 512"/>
              <a:gd name="T8" fmla="*/ 96 w 512"/>
              <a:gd name="T9" fmla="*/ 224 h 512"/>
              <a:gd name="T10" fmla="*/ 240 w 512"/>
              <a:gd name="T11" fmla="*/ 213 h 512"/>
              <a:gd name="T12" fmla="*/ 224 w 512"/>
              <a:gd name="T13" fmla="*/ 181 h 512"/>
              <a:gd name="T14" fmla="*/ 245 w 512"/>
              <a:gd name="T15" fmla="*/ 138 h 512"/>
              <a:gd name="T16" fmla="*/ 266 w 512"/>
              <a:gd name="T17" fmla="*/ 138 h 512"/>
              <a:gd name="T18" fmla="*/ 245 w 512"/>
              <a:gd name="T19" fmla="*/ 181 h 512"/>
              <a:gd name="T20" fmla="*/ 265 w 512"/>
              <a:gd name="T21" fmla="*/ 213 h 512"/>
              <a:gd name="T22" fmla="*/ 416 w 512"/>
              <a:gd name="T23" fmla="*/ 224 h 512"/>
              <a:gd name="T24" fmla="*/ 117 w 512"/>
              <a:gd name="T25" fmla="*/ 341 h 512"/>
              <a:gd name="T26" fmla="*/ 394 w 512"/>
              <a:gd name="T27" fmla="*/ 234 h 512"/>
              <a:gd name="T28" fmla="*/ 117 w 512"/>
              <a:gd name="T29" fmla="*/ 341 h 512"/>
              <a:gd name="T30" fmla="*/ 373 w 512"/>
              <a:gd name="T31" fmla="*/ 256 h 512"/>
              <a:gd name="T32" fmla="*/ 352 w 512"/>
              <a:gd name="T33" fmla="*/ 256 h 512"/>
              <a:gd name="T34" fmla="*/ 362 w 512"/>
              <a:gd name="T35" fmla="*/ 277 h 512"/>
              <a:gd name="T36" fmla="*/ 362 w 512"/>
              <a:gd name="T37" fmla="*/ 298 h 512"/>
              <a:gd name="T38" fmla="*/ 362 w 512"/>
              <a:gd name="T39" fmla="*/ 277 h 512"/>
              <a:gd name="T40" fmla="*/ 373 w 512"/>
              <a:gd name="T41" fmla="*/ 320 h 512"/>
              <a:gd name="T42" fmla="*/ 352 w 512"/>
              <a:gd name="T43" fmla="*/ 320 h 512"/>
              <a:gd name="T44" fmla="*/ 320 w 512"/>
              <a:gd name="T45" fmla="*/ 245 h 512"/>
              <a:gd name="T46" fmla="*/ 320 w 512"/>
              <a:gd name="T47" fmla="*/ 266 h 512"/>
              <a:gd name="T48" fmla="*/ 320 w 512"/>
              <a:gd name="T49" fmla="*/ 245 h 512"/>
              <a:gd name="T50" fmla="*/ 330 w 512"/>
              <a:gd name="T51" fmla="*/ 288 h 512"/>
              <a:gd name="T52" fmla="*/ 309 w 512"/>
              <a:gd name="T53" fmla="*/ 288 h 512"/>
              <a:gd name="T54" fmla="*/ 277 w 512"/>
              <a:gd name="T55" fmla="*/ 245 h 512"/>
              <a:gd name="T56" fmla="*/ 277 w 512"/>
              <a:gd name="T57" fmla="*/ 266 h 512"/>
              <a:gd name="T58" fmla="*/ 277 w 512"/>
              <a:gd name="T59" fmla="*/ 245 h 512"/>
              <a:gd name="T60" fmla="*/ 288 w 512"/>
              <a:gd name="T61" fmla="*/ 288 h 512"/>
              <a:gd name="T62" fmla="*/ 266 w 512"/>
              <a:gd name="T63" fmla="*/ 288 h 512"/>
              <a:gd name="T64" fmla="*/ 234 w 512"/>
              <a:gd name="T65" fmla="*/ 245 h 512"/>
              <a:gd name="T66" fmla="*/ 234 w 512"/>
              <a:gd name="T67" fmla="*/ 266 h 512"/>
              <a:gd name="T68" fmla="*/ 234 w 512"/>
              <a:gd name="T69" fmla="*/ 245 h 512"/>
              <a:gd name="T70" fmla="*/ 245 w 512"/>
              <a:gd name="T71" fmla="*/ 288 h 512"/>
              <a:gd name="T72" fmla="*/ 224 w 512"/>
              <a:gd name="T73" fmla="*/ 288 h 512"/>
              <a:gd name="T74" fmla="*/ 192 w 512"/>
              <a:gd name="T75" fmla="*/ 245 h 512"/>
              <a:gd name="T76" fmla="*/ 192 w 512"/>
              <a:gd name="T77" fmla="*/ 266 h 512"/>
              <a:gd name="T78" fmla="*/ 192 w 512"/>
              <a:gd name="T79" fmla="*/ 245 h 512"/>
              <a:gd name="T80" fmla="*/ 202 w 512"/>
              <a:gd name="T81" fmla="*/ 288 h 512"/>
              <a:gd name="T82" fmla="*/ 181 w 512"/>
              <a:gd name="T83" fmla="*/ 288 h 512"/>
              <a:gd name="T84" fmla="*/ 192 w 512"/>
              <a:gd name="T85" fmla="*/ 309 h 512"/>
              <a:gd name="T86" fmla="*/ 320 w 512"/>
              <a:gd name="T87" fmla="*/ 320 h 512"/>
              <a:gd name="T88" fmla="*/ 192 w 512"/>
              <a:gd name="T89" fmla="*/ 330 h 512"/>
              <a:gd name="T90" fmla="*/ 192 w 512"/>
              <a:gd name="T91" fmla="*/ 309 h 512"/>
              <a:gd name="T92" fmla="*/ 160 w 512"/>
              <a:gd name="T93" fmla="*/ 256 h 512"/>
              <a:gd name="T94" fmla="*/ 138 w 512"/>
              <a:gd name="T95" fmla="*/ 256 h 512"/>
              <a:gd name="T96" fmla="*/ 149 w 512"/>
              <a:gd name="T97" fmla="*/ 277 h 512"/>
              <a:gd name="T98" fmla="*/ 149 w 512"/>
              <a:gd name="T99" fmla="*/ 298 h 512"/>
              <a:gd name="T100" fmla="*/ 149 w 512"/>
              <a:gd name="T101" fmla="*/ 277 h 512"/>
              <a:gd name="T102" fmla="*/ 160 w 512"/>
              <a:gd name="T103" fmla="*/ 320 h 512"/>
              <a:gd name="T104" fmla="*/ 138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52"/>
                </a:moveTo>
                <a:cubicBezTo>
                  <a:pt x="416" y="358"/>
                  <a:pt x="411" y="362"/>
                  <a:pt x="405" y="362"/>
                </a:cubicBezTo>
                <a:cubicBezTo>
                  <a:pt x="106" y="362"/>
                  <a:pt x="106" y="362"/>
                  <a:pt x="106" y="362"/>
                </a:cubicBezTo>
                <a:cubicBezTo>
                  <a:pt x="100" y="362"/>
                  <a:pt x="96" y="358"/>
                  <a:pt x="96" y="352"/>
                </a:cubicBezTo>
                <a:cubicBezTo>
                  <a:pt x="96" y="224"/>
                  <a:pt x="96" y="224"/>
                  <a:pt x="96" y="224"/>
                </a:cubicBezTo>
                <a:cubicBezTo>
                  <a:pt x="96" y="218"/>
                  <a:pt x="100" y="213"/>
                  <a:pt x="106" y="213"/>
                </a:cubicBezTo>
                <a:cubicBezTo>
                  <a:pt x="240" y="213"/>
                  <a:pt x="240" y="213"/>
                  <a:pt x="240" y="213"/>
                </a:cubicBezTo>
                <a:cubicBezTo>
                  <a:pt x="240" y="212"/>
                  <a:pt x="239" y="211"/>
                  <a:pt x="237" y="210"/>
                </a:cubicBezTo>
                <a:cubicBezTo>
                  <a:pt x="232" y="204"/>
                  <a:pt x="224" y="196"/>
                  <a:pt x="224" y="181"/>
                </a:cubicBezTo>
                <a:cubicBezTo>
                  <a:pt x="224" y="166"/>
                  <a:pt x="232" y="158"/>
                  <a:pt x="237" y="152"/>
                </a:cubicBezTo>
                <a:cubicBezTo>
                  <a:pt x="243" y="147"/>
                  <a:pt x="245" y="144"/>
                  <a:pt x="245" y="138"/>
                </a:cubicBezTo>
                <a:cubicBezTo>
                  <a:pt x="245" y="132"/>
                  <a:pt x="250" y="128"/>
                  <a:pt x="256" y="128"/>
                </a:cubicBezTo>
                <a:cubicBezTo>
                  <a:pt x="262" y="128"/>
                  <a:pt x="266" y="132"/>
                  <a:pt x="266" y="138"/>
                </a:cubicBezTo>
                <a:cubicBezTo>
                  <a:pt x="266" y="153"/>
                  <a:pt x="258" y="161"/>
                  <a:pt x="253" y="167"/>
                </a:cubicBezTo>
                <a:cubicBezTo>
                  <a:pt x="247" y="172"/>
                  <a:pt x="245" y="175"/>
                  <a:pt x="245" y="181"/>
                </a:cubicBezTo>
                <a:cubicBezTo>
                  <a:pt x="245" y="187"/>
                  <a:pt x="247" y="190"/>
                  <a:pt x="253" y="195"/>
                </a:cubicBezTo>
                <a:cubicBezTo>
                  <a:pt x="257" y="199"/>
                  <a:pt x="262" y="204"/>
                  <a:pt x="265" y="213"/>
                </a:cubicBezTo>
                <a:cubicBezTo>
                  <a:pt x="405" y="213"/>
                  <a:pt x="405" y="213"/>
                  <a:pt x="405" y="213"/>
                </a:cubicBezTo>
                <a:cubicBezTo>
                  <a:pt x="411" y="213"/>
                  <a:pt x="416" y="218"/>
                  <a:pt x="416" y="224"/>
                </a:cubicBezTo>
                <a:lnTo>
                  <a:pt x="416" y="352"/>
                </a:lnTo>
                <a:close/>
                <a:moveTo>
                  <a:pt x="117" y="341"/>
                </a:moveTo>
                <a:cubicBezTo>
                  <a:pt x="394" y="341"/>
                  <a:pt x="394" y="341"/>
                  <a:pt x="394" y="341"/>
                </a:cubicBezTo>
                <a:cubicBezTo>
                  <a:pt x="394" y="234"/>
                  <a:pt x="394" y="234"/>
                  <a:pt x="394" y="234"/>
                </a:cubicBezTo>
                <a:cubicBezTo>
                  <a:pt x="117" y="234"/>
                  <a:pt x="117" y="234"/>
                  <a:pt x="117" y="234"/>
                </a:cubicBezTo>
                <a:lnTo>
                  <a:pt x="117" y="341"/>
                </a:lnTo>
                <a:close/>
                <a:moveTo>
                  <a:pt x="362" y="245"/>
                </a:moveTo>
                <a:cubicBezTo>
                  <a:pt x="368" y="245"/>
                  <a:pt x="373" y="250"/>
                  <a:pt x="373" y="256"/>
                </a:cubicBezTo>
                <a:cubicBezTo>
                  <a:pt x="373" y="262"/>
                  <a:pt x="368" y="266"/>
                  <a:pt x="362" y="266"/>
                </a:cubicBezTo>
                <a:cubicBezTo>
                  <a:pt x="356" y="266"/>
                  <a:pt x="352" y="262"/>
                  <a:pt x="352" y="256"/>
                </a:cubicBezTo>
                <a:cubicBezTo>
                  <a:pt x="352" y="250"/>
                  <a:pt x="356" y="245"/>
                  <a:pt x="362" y="245"/>
                </a:cubicBezTo>
                <a:close/>
                <a:moveTo>
                  <a:pt x="362" y="277"/>
                </a:moveTo>
                <a:cubicBezTo>
                  <a:pt x="368" y="277"/>
                  <a:pt x="373" y="282"/>
                  <a:pt x="373" y="288"/>
                </a:cubicBezTo>
                <a:cubicBezTo>
                  <a:pt x="373" y="294"/>
                  <a:pt x="368" y="298"/>
                  <a:pt x="362" y="298"/>
                </a:cubicBezTo>
                <a:cubicBezTo>
                  <a:pt x="356" y="298"/>
                  <a:pt x="352" y="294"/>
                  <a:pt x="352" y="288"/>
                </a:cubicBezTo>
                <a:cubicBezTo>
                  <a:pt x="352" y="282"/>
                  <a:pt x="356" y="277"/>
                  <a:pt x="362" y="277"/>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245"/>
                </a:moveTo>
                <a:cubicBezTo>
                  <a:pt x="326" y="245"/>
                  <a:pt x="330" y="250"/>
                  <a:pt x="330" y="256"/>
                </a:cubicBezTo>
                <a:cubicBezTo>
                  <a:pt x="330" y="262"/>
                  <a:pt x="326" y="266"/>
                  <a:pt x="320" y="266"/>
                </a:cubicBezTo>
                <a:cubicBezTo>
                  <a:pt x="314" y="266"/>
                  <a:pt x="309" y="262"/>
                  <a:pt x="309" y="256"/>
                </a:cubicBezTo>
                <a:cubicBezTo>
                  <a:pt x="309" y="250"/>
                  <a:pt x="314" y="245"/>
                  <a:pt x="320" y="245"/>
                </a:cubicBezTo>
                <a:close/>
                <a:moveTo>
                  <a:pt x="320" y="277"/>
                </a:moveTo>
                <a:cubicBezTo>
                  <a:pt x="326" y="277"/>
                  <a:pt x="330" y="282"/>
                  <a:pt x="330" y="288"/>
                </a:cubicBezTo>
                <a:cubicBezTo>
                  <a:pt x="330" y="294"/>
                  <a:pt x="326" y="298"/>
                  <a:pt x="320" y="298"/>
                </a:cubicBezTo>
                <a:cubicBezTo>
                  <a:pt x="314" y="298"/>
                  <a:pt x="309" y="294"/>
                  <a:pt x="309" y="288"/>
                </a:cubicBezTo>
                <a:cubicBezTo>
                  <a:pt x="309" y="282"/>
                  <a:pt x="314" y="277"/>
                  <a:pt x="320" y="277"/>
                </a:cubicBezTo>
                <a:close/>
                <a:moveTo>
                  <a:pt x="277" y="245"/>
                </a:moveTo>
                <a:cubicBezTo>
                  <a:pt x="283" y="245"/>
                  <a:pt x="288" y="250"/>
                  <a:pt x="288" y="256"/>
                </a:cubicBezTo>
                <a:cubicBezTo>
                  <a:pt x="288" y="262"/>
                  <a:pt x="283" y="266"/>
                  <a:pt x="277" y="266"/>
                </a:cubicBezTo>
                <a:cubicBezTo>
                  <a:pt x="271" y="266"/>
                  <a:pt x="266" y="262"/>
                  <a:pt x="266" y="256"/>
                </a:cubicBezTo>
                <a:cubicBezTo>
                  <a:pt x="266" y="250"/>
                  <a:pt x="271" y="245"/>
                  <a:pt x="277" y="245"/>
                </a:cubicBezTo>
                <a:close/>
                <a:moveTo>
                  <a:pt x="277" y="277"/>
                </a:moveTo>
                <a:cubicBezTo>
                  <a:pt x="283" y="277"/>
                  <a:pt x="288" y="282"/>
                  <a:pt x="288" y="288"/>
                </a:cubicBezTo>
                <a:cubicBezTo>
                  <a:pt x="288" y="294"/>
                  <a:pt x="283" y="298"/>
                  <a:pt x="277" y="298"/>
                </a:cubicBezTo>
                <a:cubicBezTo>
                  <a:pt x="271" y="298"/>
                  <a:pt x="266" y="294"/>
                  <a:pt x="266" y="288"/>
                </a:cubicBezTo>
                <a:cubicBezTo>
                  <a:pt x="266" y="282"/>
                  <a:pt x="271" y="277"/>
                  <a:pt x="277" y="277"/>
                </a:cubicBezTo>
                <a:close/>
                <a:moveTo>
                  <a:pt x="234" y="245"/>
                </a:moveTo>
                <a:cubicBezTo>
                  <a:pt x="240" y="245"/>
                  <a:pt x="245" y="250"/>
                  <a:pt x="245" y="256"/>
                </a:cubicBezTo>
                <a:cubicBezTo>
                  <a:pt x="245" y="262"/>
                  <a:pt x="240" y="266"/>
                  <a:pt x="234" y="266"/>
                </a:cubicBezTo>
                <a:cubicBezTo>
                  <a:pt x="228" y="266"/>
                  <a:pt x="224" y="262"/>
                  <a:pt x="224" y="256"/>
                </a:cubicBezTo>
                <a:cubicBezTo>
                  <a:pt x="224" y="250"/>
                  <a:pt x="228" y="245"/>
                  <a:pt x="234" y="245"/>
                </a:cubicBezTo>
                <a:close/>
                <a:moveTo>
                  <a:pt x="234" y="277"/>
                </a:moveTo>
                <a:cubicBezTo>
                  <a:pt x="240" y="277"/>
                  <a:pt x="245" y="282"/>
                  <a:pt x="245" y="288"/>
                </a:cubicBezTo>
                <a:cubicBezTo>
                  <a:pt x="245" y="294"/>
                  <a:pt x="240" y="298"/>
                  <a:pt x="234" y="298"/>
                </a:cubicBezTo>
                <a:cubicBezTo>
                  <a:pt x="228" y="298"/>
                  <a:pt x="224" y="294"/>
                  <a:pt x="224" y="288"/>
                </a:cubicBezTo>
                <a:cubicBezTo>
                  <a:pt x="224" y="282"/>
                  <a:pt x="228" y="277"/>
                  <a:pt x="234" y="277"/>
                </a:cubicBezTo>
                <a:close/>
                <a:moveTo>
                  <a:pt x="192" y="245"/>
                </a:moveTo>
                <a:cubicBezTo>
                  <a:pt x="198" y="245"/>
                  <a:pt x="202" y="250"/>
                  <a:pt x="202" y="256"/>
                </a:cubicBezTo>
                <a:cubicBezTo>
                  <a:pt x="202" y="262"/>
                  <a:pt x="198" y="266"/>
                  <a:pt x="192" y="266"/>
                </a:cubicBezTo>
                <a:cubicBezTo>
                  <a:pt x="186" y="266"/>
                  <a:pt x="181" y="262"/>
                  <a:pt x="181" y="256"/>
                </a:cubicBezTo>
                <a:cubicBezTo>
                  <a:pt x="181" y="250"/>
                  <a:pt x="186" y="245"/>
                  <a:pt x="192" y="245"/>
                </a:cubicBezTo>
                <a:close/>
                <a:moveTo>
                  <a:pt x="192" y="277"/>
                </a:moveTo>
                <a:cubicBezTo>
                  <a:pt x="198" y="277"/>
                  <a:pt x="202" y="282"/>
                  <a:pt x="202" y="288"/>
                </a:cubicBezTo>
                <a:cubicBezTo>
                  <a:pt x="202" y="294"/>
                  <a:pt x="198" y="298"/>
                  <a:pt x="192" y="298"/>
                </a:cubicBezTo>
                <a:cubicBezTo>
                  <a:pt x="186" y="298"/>
                  <a:pt x="181" y="294"/>
                  <a:pt x="181" y="288"/>
                </a:cubicBezTo>
                <a:cubicBezTo>
                  <a:pt x="181" y="282"/>
                  <a:pt x="186" y="277"/>
                  <a:pt x="192" y="277"/>
                </a:cubicBezTo>
                <a:close/>
                <a:moveTo>
                  <a:pt x="192" y="309"/>
                </a:moveTo>
                <a:cubicBezTo>
                  <a:pt x="309" y="309"/>
                  <a:pt x="309" y="309"/>
                  <a:pt x="309" y="309"/>
                </a:cubicBezTo>
                <a:cubicBezTo>
                  <a:pt x="315" y="309"/>
                  <a:pt x="320" y="314"/>
                  <a:pt x="320" y="320"/>
                </a:cubicBezTo>
                <a:cubicBezTo>
                  <a:pt x="320" y="326"/>
                  <a:pt x="315" y="330"/>
                  <a:pt x="309" y="330"/>
                </a:cubicBezTo>
                <a:cubicBezTo>
                  <a:pt x="192" y="330"/>
                  <a:pt x="192" y="330"/>
                  <a:pt x="192" y="330"/>
                </a:cubicBezTo>
                <a:cubicBezTo>
                  <a:pt x="186" y="330"/>
                  <a:pt x="181" y="326"/>
                  <a:pt x="181" y="320"/>
                </a:cubicBezTo>
                <a:cubicBezTo>
                  <a:pt x="181" y="314"/>
                  <a:pt x="186" y="309"/>
                  <a:pt x="192" y="309"/>
                </a:cubicBezTo>
                <a:close/>
                <a:moveTo>
                  <a:pt x="149" y="245"/>
                </a:moveTo>
                <a:cubicBezTo>
                  <a:pt x="155" y="245"/>
                  <a:pt x="160" y="250"/>
                  <a:pt x="160" y="256"/>
                </a:cubicBezTo>
                <a:cubicBezTo>
                  <a:pt x="160" y="262"/>
                  <a:pt x="155" y="266"/>
                  <a:pt x="149" y="266"/>
                </a:cubicBezTo>
                <a:cubicBezTo>
                  <a:pt x="143" y="266"/>
                  <a:pt x="138" y="262"/>
                  <a:pt x="138" y="256"/>
                </a:cubicBezTo>
                <a:cubicBezTo>
                  <a:pt x="138" y="250"/>
                  <a:pt x="143" y="245"/>
                  <a:pt x="149" y="245"/>
                </a:cubicBezTo>
                <a:close/>
                <a:moveTo>
                  <a:pt x="149" y="277"/>
                </a:moveTo>
                <a:cubicBezTo>
                  <a:pt x="155" y="277"/>
                  <a:pt x="160" y="282"/>
                  <a:pt x="160" y="288"/>
                </a:cubicBezTo>
                <a:cubicBezTo>
                  <a:pt x="160" y="294"/>
                  <a:pt x="155" y="298"/>
                  <a:pt x="149" y="298"/>
                </a:cubicBezTo>
                <a:cubicBezTo>
                  <a:pt x="143" y="298"/>
                  <a:pt x="138" y="294"/>
                  <a:pt x="138" y="288"/>
                </a:cubicBezTo>
                <a:cubicBezTo>
                  <a:pt x="138" y="282"/>
                  <a:pt x="143" y="277"/>
                  <a:pt x="149" y="277"/>
                </a:cubicBezTo>
                <a:close/>
                <a:moveTo>
                  <a:pt x="149" y="309"/>
                </a:moveTo>
                <a:cubicBezTo>
                  <a:pt x="155" y="309"/>
                  <a:pt x="160" y="314"/>
                  <a:pt x="160" y="320"/>
                </a:cubicBezTo>
                <a:cubicBezTo>
                  <a:pt x="160" y="326"/>
                  <a:pt x="155" y="330"/>
                  <a:pt x="149" y="330"/>
                </a:cubicBezTo>
                <a:cubicBezTo>
                  <a:pt x="143" y="330"/>
                  <a:pt x="138" y="326"/>
                  <a:pt x="138" y="320"/>
                </a:cubicBezTo>
                <a:cubicBezTo>
                  <a:pt x="138" y="314"/>
                  <a:pt x="143" y="309"/>
                  <a:pt x="149" y="30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33" name="Group 471"/>
          <p:cNvGrpSpPr>
            <a:grpSpLocks noChangeAspect="1"/>
          </p:cNvGrpSpPr>
          <p:nvPr/>
        </p:nvGrpSpPr>
        <p:grpSpPr bwMode="auto">
          <a:xfrm>
            <a:off x="6698831" y="4196490"/>
            <a:ext cx="367041" cy="367041"/>
            <a:chOff x="6130" y="3025"/>
            <a:chExt cx="340" cy="340"/>
          </a:xfrm>
          <a:solidFill>
            <a:schemeClr val="accent5"/>
          </a:solidFill>
        </p:grpSpPr>
        <p:sp>
          <p:nvSpPr>
            <p:cNvPr id="534" name="Freeform 533"/>
            <p:cNvSpPr>
              <a:spLocks noEditPoints="1"/>
            </p:cNvSpPr>
            <p:nvPr/>
          </p:nvSpPr>
          <p:spPr bwMode="auto">
            <a:xfrm>
              <a:off x="6130" y="3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5" name="Freeform 534"/>
            <p:cNvSpPr>
              <a:spLocks noEditPoints="1"/>
            </p:cNvSpPr>
            <p:nvPr/>
          </p:nvSpPr>
          <p:spPr bwMode="auto">
            <a:xfrm>
              <a:off x="6194" y="3110"/>
              <a:ext cx="212" cy="155"/>
            </a:xfrm>
            <a:custGeom>
              <a:avLst/>
              <a:gdLst>
                <a:gd name="T0" fmla="*/ 169 w 320"/>
                <a:gd name="T1" fmla="*/ 85 h 234"/>
                <a:gd name="T2" fmla="*/ 149 w 320"/>
                <a:gd name="T3" fmla="*/ 53 h 234"/>
                <a:gd name="T4" fmla="*/ 170 w 320"/>
                <a:gd name="T5" fmla="*/ 10 h 234"/>
                <a:gd name="T6" fmla="*/ 149 w 320"/>
                <a:gd name="T7" fmla="*/ 10 h 234"/>
                <a:gd name="T8" fmla="*/ 128 w 320"/>
                <a:gd name="T9" fmla="*/ 53 h 234"/>
                <a:gd name="T10" fmla="*/ 144 w 320"/>
                <a:gd name="T11" fmla="*/ 85 h 234"/>
                <a:gd name="T12" fmla="*/ 0 w 320"/>
                <a:gd name="T13" fmla="*/ 96 h 234"/>
                <a:gd name="T14" fmla="*/ 10 w 320"/>
                <a:gd name="T15" fmla="*/ 234 h 234"/>
                <a:gd name="T16" fmla="*/ 320 w 320"/>
                <a:gd name="T17" fmla="*/ 224 h 234"/>
                <a:gd name="T18" fmla="*/ 309 w 320"/>
                <a:gd name="T19" fmla="*/ 85 h 234"/>
                <a:gd name="T20" fmla="*/ 21 w 320"/>
                <a:gd name="T21" fmla="*/ 213 h 234"/>
                <a:gd name="T22" fmla="*/ 298 w 320"/>
                <a:gd name="T23" fmla="*/ 106 h 234"/>
                <a:gd name="T24" fmla="*/ 96 w 320"/>
                <a:gd name="T25" fmla="*/ 181 h 234"/>
                <a:gd name="T26" fmla="*/ 224 w 320"/>
                <a:gd name="T27" fmla="*/ 192 h 234"/>
                <a:gd name="T28" fmla="*/ 96 w 320"/>
                <a:gd name="T29" fmla="*/ 202 h 234"/>
                <a:gd name="T30" fmla="*/ 96 w 320"/>
                <a:gd name="T31" fmla="*/ 181 h 234"/>
                <a:gd name="T32" fmla="*/ 53 w 320"/>
                <a:gd name="T33" fmla="*/ 202 h 234"/>
                <a:gd name="T34" fmla="*/ 53 w 320"/>
                <a:gd name="T35" fmla="*/ 181 h 234"/>
                <a:gd name="T36" fmla="*/ 64 w 320"/>
                <a:gd name="T37" fmla="*/ 160 h 234"/>
                <a:gd name="T38" fmla="*/ 42 w 320"/>
                <a:gd name="T39" fmla="*/ 160 h 234"/>
                <a:gd name="T40" fmla="*/ 64 w 320"/>
                <a:gd name="T41" fmla="*/ 160 h 234"/>
                <a:gd name="T42" fmla="*/ 53 w 320"/>
                <a:gd name="T43" fmla="*/ 138 h 234"/>
                <a:gd name="T44" fmla="*/ 53 w 320"/>
                <a:gd name="T45" fmla="*/ 117 h 234"/>
                <a:gd name="T46" fmla="*/ 85 w 320"/>
                <a:gd name="T47" fmla="*/ 160 h 234"/>
                <a:gd name="T48" fmla="*/ 106 w 320"/>
                <a:gd name="T49" fmla="*/ 160 h 234"/>
                <a:gd name="T50" fmla="*/ 85 w 320"/>
                <a:gd name="T51" fmla="*/ 160 h 234"/>
                <a:gd name="T52" fmla="*/ 96 w 320"/>
                <a:gd name="T53" fmla="*/ 117 h 234"/>
                <a:gd name="T54" fmla="*/ 96 w 320"/>
                <a:gd name="T55" fmla="*/ 138 h 234"/>
                <a:gd name="T56" fmla="*/ 128 w 320"/>
                <a:gd name="T57" fmla="*/ 160 h 234"/>
                <a:gd name="T58" fmla="*/ 149 w 320"/>
                <a:gd name="T59" fmla="*/ 160 h 234"/>
                <a:gd name="T60" fmla="*/ 128 w 320"/>
                <a:gd name="T61" fmla="*/ 160 h 234"/>
                <a:gd name="T62" fmla="*/ 138 w 320"/>
                <a:gd name="T63" fmla="*/ 117 h 234"/>
                <a:gd name="T64" fmla="*/ 138 w 320"/>
                <a:gd name="T65" fmla="*/ 138 h 234"/>
                <a:gd name="T66" fmla="*/ 170 w 320"/>
                <a:gd name="T67" fmla="*/ 160 h 234"/>
                <a:gd name="T68" fmla="*/ 192 w 320"/>
                <a:gd name="T69" fmla="*/ 160 h 234"/>
                <a:gd name="T70" fmla="*/ 170 w 320"/>
                <a:gd name="T71" fmla="*/ 160 h 234"/>
                <a:gd name="T72" fmla="*/ 181 w 320"/>
                <a:gd name="T73" fmla="*/ 117 h 234"/>
                <a:gd name="T74" fmla="*/ 181 w 320"/>
                <a:gd name="T75" fmla="*/ 138 h 234"/>
                <a:gd name="T76" fmla="*/ 213 w 320"/>
                <a:gd name="T77" fmla="*/ 160 h 234"/>
                <a:gd name="T78" fmla="*/ 234 w 320"/>
                <a:gd name="T79" fmla="*/ 160 h 234"/>
                <a:gd name="T80" fmla="*/ 213 w 320"/>
                <a:gd name="T81" fmla="*/ 160 h 234"/>
                <a:gd name="T82" fmla="*/ 224 w 320"/>
                <a:gd name="T83" fmla="*/ 117 h 234"/>
                <a:gd name="T84" fmla="*/ 224 w 320"/>
                <a:gd name="T85" fmla="*/ 138 h 234"/>
                <a:gd name="T86" fmla="*/ 256 w 320"/>
                <a:gd name="T87" fmla="*/ 160 h 234"/>
                <a:gd name="T88" fmla="*/ 277 w 320"/>
                <a:gd name="T89" fmla="*/ 160 h 234"/>
                <a:gd name="T90" fmla="*/ 256 w 320"/>
                <a:gd name="T91" fmla="*/ 160 h 234"/>
                <a:gd name="T92" fmla="*/ 266 w 320"/>
                <a:gd name="T93" fmla="*/ 181 h 234"/>
                <a:gd name="T94" fmla="*/ 266 w 320"/>
                <a:gd name="T95" fmla="*/ 202 h 234"/>
                <a:gd name="T96" fmla="*/ 256 w 320"/>
                <a:gd name="T97" fmla="*/ 128 h 234"/>
                <a:gd name="T98" fmla="*/ 277 w 320"/>
                <a:gd name="T99" fmla="*/ 128 h 234"/>
                <a:gd name="T100" fmla="*/ 256 w 320"/>
                <a:gd name="T101"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4">
                  <a:moveTo>
                    <a:pt x="309" y="85"/>
                  </a:moveTo>
                  <a:cubicBezTo>
                    <a:pt x="169" y="85"/>
                    <a:pt x="169" y="85"/>
                    <a:pt x="169" y="85"/>
                  </a:cubicBezTo>
                  <a:cubicBezTo>
                    <a:pt x="166" y="76"/>
                    <a:pt x="161" y="71"/>
                    <a:pt x="157" y="67"/>
                  </a:cubicBezTo>
                  <a:cubicBezTo>
                    <a:pt x="151" y="62"/>
                    <a:pt x="149" y="59"/>
                    <a:pt x="149" y="53"/>
                  </a:cubicBezTo>
                  <a:cubicBezTo>
                    <a:pt x="149" y="47"/>
                    <a:pt x="151" y="44"/>
                    <a:pt x="157" y="39"/>
                  </a:cubicBezTo>
                  <a:cubicBezTo>
                    <a:pt x="162" y="33"/>
                    <a:pt x="170" y="25"/>
                    <a:pt x="170" y="10"/>
                  </a:cubicBezTo>
                  <a:cubicBezTo>
                    <a:pt x="170" y="4"/>
                    <a:pt x="166" y="0"/>
                    <a:pt x="160" y="0"/>
                  </a:cubicBezTo>
                  <a:cubicBezTo>
                    <a:pt x="154" y="0"/>
                    <a:pt x="149" y="4"/>
                    <a:pt x="149" y="10"/>
                  </a:cubicBezTo>
                  <a:cubicBezTo>
                    <a:pt x="149" y="16"/>
                    <a:pt x="147" y="19"/>
                    <a:pt x="141" y="24"/>
                  </a:cubicBezTo>
                  <a:cubicBezTo>
                    <a:pt x="136" y="30"/>
                    <a:pt x="128" y="38"/>
                    <a:pt x="128" y="53"/>
                  </a:cubicBezTo>
                  <a:cubicBezTo>
                    <a:pt x="128" y="68"/>
                    <a:pt x="136" y="76"/>
                    <a:pt x="141" y="82"/>
                  </a:cubicBezTo>
                  <a:cubicBezTo>
                    <a:pt x="143" y="83"/>
                    <a:pt x="144" y="84"/>
                    <a:pt x="144" y="85"/>
                  </a:cubicBezTo>
                  <a:cubicBezTo>
                    <a:pt x="10" y="85"/>
                    <a:pt x="10" y="85"/>
                    <a:pt x="10" y="85"/>
                  </a:cubicBezTo>
                  <a:cubicBezTo>
                    <a:pt x="4" y="85"/>
                    <a:pt x="0" y="90"/>
                    <a:pt x="0" y="96"/>
                  </a:cubicBezTo>
                  <a:cubicBezTo>
                    <a:pt x="0" y="224"/>
                    <a:pt x="0" y="224"/>
                    <a:pt x="0" y="224"/>
                  </a:cubicBezTo>
                  <a:cubicBezTo>
                    <a:pt x="0" y="230"/>
                    <a:pt x="4" y="234"/>
                    <a:pt x="10" y="234"/>
                  </a:cubicBezTo>
                  <a:cubicBezTo>
                    <a:pt x="309" y="234"/>
                    <a:pt x="309" y="234"/>
                    <a:pt x="309" y="234"/>
                  </a:cubicBezTo>
                  <a:cubicBezTo>
                    <a:pt x="315" y="234"/>
                    <a:pt x="320" y="230"/>
                    <a:pt x="320" y="224"/>
                  </a:cubicBezTo>
                  <a:cubicBezTo>
                    <a:pt x="320" y="96"/>
                    <a:pt x="320" y="96"/>
                    <a:pt x="320" y="96"/>
                  </a:cubicBezTo>
                  <a:cubicBezTo>
                    <a:pt x="320" y="90"/>
                    <a:pt x="315" y="85"/>
                    <a:pt x="309" y="85"/>
                  </a:cubicBezTo>
                  <a:close/>
                  <a:moveTo>
                    <a:pt x="298" y="213"/>
                  </a:moveTo>
                  <a:cubicBezTo>
                    <a:pt x="21" y="213"/>
                    <a:pt x="21" y="213"/>
                    <a:pt x="21" y="213"/>
                  </a:cubicBezTo>
                  <a:cubicBezTo>
                    <a:pt x="21" y="106"/>
                    <a:pt x="21" y="106"/>
                    <a:pt x="21" y="106"/>
                  </a:cubicBezTo>
                  <a:cubicBezTo>
                    <a:pt x="298" y="106"/>
                    <a:pt x="298" y="106"/>
                    <a:pt x="298" y="106"/>
                  </a:cubicBezTo>
                  <a:lnTo>
                    <a:pt x="298" y="213"/>
                  </a:lnTo>
                  <a:close/>
                  <a:moveTo>
                    <a:pt x="96" y="181"/>
                  </a:moveTo>
                  <a:cubicBezTo>
                    <a:pt x="213" y="181"/>
                    <a:pt x="213" y="181"/>
                    <a:pt x="213" y="181"/>
                  </a:cubicBezTo>
                  <a:cubicBezTo>
                    <a:pt x="219" y="181"/>
                    <a:pt x="224" y="186"/>
                    <a:pt x="224" y="192"/>
                  </a:cubicBezTo>
                  <a:cubicBezTo>
                    <a:pt x="224" y="198"/>
                    <a:pt x="219" y="202"/>
                    <a:pt x="213" y="202"/>
                  </a:cubicBezTo>
                  <a:cubicBezTo>
                    <a:pt x="96" y="202"/>
                    <a:pt x="96" y="202"/>
                    <a:pt x="96" y="202"/>
                  </a:cubicBezTo>
                  <a:cubicBezTo>
                    <a:pt x="90" y="202"/>
                    <a:pt x="85" y="198"/>
                    <a:pt x="85" y="192"/>
                  </a:cubicBezTo>
                  <a:cubicBezTo>
                    <a:pt x="85" y="186"/>
                    <a:pt x="90" y="181"/>
                    <a:pt x="96" y="181"/>
                  </a:cubicBezTo>
                  <a:close/>
                  <a:moveTo>
                    <a:pt x="64" y="192"/>
                  </a:moveTo>
                  <a:cubicBezTo>
                    <a:pt x="64" y="198"/>
                    <a:pt x="59" y="202"/>
                    <a:pt x="53" y="202"/>
                  </a:cubicBezTo>
                  <a:cubicBezTo>
                    <a:pt x="47" y="202"/>
                    <a:pt x="42" y="198"/>
                    <a:pt x="42" y="192"/>
                  </a:cubicBezTo>
                  <a:cubicBezTo>
                    <a:pt x="42" y="186"/>
                    <a:pt x="47" y="181"/>
                    <a:pt x="53" y="181"/>
                  </a:cubicBezTo>
                  <a:cubicBezTo>
                    <a:pt x="59" y="181"/>
                    <a:pt x="64" y="186"/>
                    <a:pt x="64" y="192"/>
                  </a:cubicBezTo>
                  <a:close/>
                  <a:moveTo>
                    <a:pt x="64" y="160"/>
                  </a:moveTo>
                  <a:cubicBezTo>
                    <a:pt x="64" y="166"/>
                    <a:pt x="59" y="170"/>
                    <a:pt x="53" y="170"/>
                  </a:cubicBezTo>
                  <a:cubicBezTo>
                    <a:pt x="47" y="170"/>
                    <a:pt x="42" y="166"/>
                    <a:pt x="42" y="160"/>
                  </a:cubicBezTo>
                  <a:cubicBezTo>
                    <a:pt x="42" y="154"/>
                    <a:pt x="47" y="149"/>
                    <a:pt x="53" y="149"/>
                  </a:cubicBezTo>
                  <a:cubicBezTo>
                    <a:pt x="59" y="149"/>
                    <a:pt x="64" y="154"/>
                    <a:pt x="64" y="160"/>
                  </a:cubicBezTo>
                  <a:close/>
                  <a:moveTo>
                    <a:pt x="64" y="128"/>
                  </a:moveTo>
                  <a:cubicBezTo>
                    <a:pt x="64" y="134"/>
                    <a:pt x="59" y="138"/>
                    <a:pt x="53" y="138"/>
                  </a:cubicBezTo>
                  <a:cubicBezTo>
                    <a:pt x="47" y="138"/>
                    <a:pt x="42" y="134"/>
                    <a:pt x="42" y="128"/>
                  </a:cubicBezTo>
                  <a:cubicBezTo>
                    <a:pt x="42" y="122"/>
                    <a:pt x="47" y="117"/>
                    <a:pt x="53" y="117"/>
                  </a:cubicBezTo>
                  <a:cubicBezTo>
                    <a:pt x="59" y="117"/>
                    <a:pt x="64" y="122"/>
                    <a:pt x="64" y="128"/>
                  </a:cubicBezTo>
                  <a:close/>
                  <a:moveTo>
                    <a:pt x="85" y="160"/>
                  </a:moveTo>
                  <a:cubicBezTo>
                    <a:pt x="85" y="154"/>
                    <a:pt x="90" y="149"/>
                    <a:pt x="96" y="149"/>
                  </a:cubicBezTo>
                  <a:cubicBezTo>
                    <a:pt x="102" y="149"/>
                    <a:pt x="106" y="154"/>
                    <a:pt x="106" y="160"/>
                  </a:cubicBezTo>
                  <a:cubicBezTo>
                    <a:pt x="106" y="166"/>
                    <a:pt x="102" y="170"/>
                    <a:pt x="96" y="170"/>
                  </a:cubicBezTo>
                  <a:cubicBezTo>
                    <a:pt x="90" y="170"/>
                    <a:pt x="85" y="166"/>
                    <a:pt x="85" y="160"/>
                  </a:cubicBezTo>
                  <a:close/>
                  <a:moveTo>
                    <a:pt x="85" y="128"/>
                  </a:moveTo>
                  <a:cubicBezTo>
                    <a:pt x="85" y="122"/>
                    <a:pt x="90" y="117"/>
                    <a:pt x="96" y="117"/>
                  </a:cubicBezTo>
                  <a:cubicBezTo>
                    <a:pt x="102" y="117"/>
                    <a:pt x="106" y="122"/>
                    <a:pt x="106" y="128"/>
                  </a:cubicBezTo>
                  <a:cubicBezTo>
                    <a:pt x="106" y="134"/>
                    <a:pt x="102" y="138"/>
                    <a:pt x="96" y="138"/>
                  </a:cubicBezTo>
                  <a:cubicBezTo>
                    <a:pt x="90" y="138"/>
                    <a:pt x="85" y="134"/>
                    <a:pt x="85" y="128"/>
                  </a:cubicBezTo>
                  <a:close/>
                  <a:moveTo>
                    <a:pt x="128" y="160"/>
                  </a:moveTo>
                  <a:cubicBezTo>
                    <a:pt x="128" y="154"/>
                    <a:pt x="132" y="149"/>
                    <a:pt x="138" y="149"/>
                  </a:cubicBezTo>
                  <a:cubicBezTo>
                    <a:pt x="144" y="149"/>
                    <a:pt x="149" y="154"/>
                    <a:pt x="149" y="160"/>
                  </a:cubicBezTo>
                  <a:cubicBezTo>
                    <a:pt x="149" y="166"/>
                    <a:pt x="144" y="170"/>
                    <a:pt x="138" y="170"/>
                  </a:cubicBezTo>
                  <a:cubicBezTo>
                    <a:pt x="132" y="170"/>
                    <a:pt x="128" y="166"/>
                    <a:pt x="128" y="160"/>
                  </a:cubicBezTo>
                  <a:close/>
                  <a:moveTo>
                    <a:pt x="128" y="128"/>
                  </a:moveTo>
                  <a:cubicBezTo>
                    <a:pt x="128" y="122"/>
                    <a:pt x="132" y="117"/>
                    <a:pt x="138" y="117"/>
                  </a:cubicBezTo>
                  <a:cubicBezTo>
                    <a:pt x="144" y="117"/>
                    <a:pt x="149" y="122"/>
                    <a:pt x="149" y="128"/>
                  </a:cubicBezTo>
                  <a:cubicBezTo>
                    <a:pt x="149" y="134"/>
                    <a:pt x="144" y="138"/>
                    <a:pt x="138" y="138"/>
                  </a:cubicBezTo>
                  <a:cubicBezTo>
                    <a:pt x="132" y="138"/>
                    <a:pt x="128" y="134"/>
                    <a:pt x="128" y="128"/>
                  </a:cubicBezTo>
                  <a:close/>
                  <a:moveTo>
                    <a:pt x="170" y="160"/>
                  </a:moveTo>
                  <a:cubicBezTo>
                    <a:pt x="170" y="154"/>
                    <a:pt x="175" y="149"/>
                    <a:pt x="181" y="149"/>
                  </a:cubicBezTo>
                  <a:cubicBezTo>
                    <a:pt x="187" y="149"/>
                    <a:pt x="192" y="154"/>
                    <a:pt x="192" y="160"/>
                  </a:cubicBezTo>
                  <a:cubicBezTo>
                    <a:pt x="192" y="166"/>
                    <a:pt x="187" y="170"/>
                    <a:pt x="181" y="170"/>
                  </a:cubicBezTo>
                  <a:cubicBezTo>
                    <a:pt x="175" y="170"/>
                    <a:pt x="170" y="166"/>
                    <a:pt x="170" y="160"/>
                  </a:cubicBezTo>
                  <a:close/>
                  <a:moveTo>
                    <a:pt x="170" y="128"/>
                  </a:moveTo>
                  <a:cubicBezTo>
                    <a:pt x="170" y="122"/>
                    <a:pt x="175" y="117"/>
                    <a:pt x="181" y="117"/>
                  </a:cubicBezTo>
                  <a:cubicBezTo>
                    <a:pt x="187" y="117"/>
                    <a:pt x="192" y="122"/>
                    <a:pt x="192" y="128"/>
                  </a:cubicBezTo>
                  <a:cubicBezTo>
                    <a:pt x="192" y="134"/>
                    <a:pt x="187" y="138"/>
                    <a:pt x="181" y="138"/>
                  </a:cubicBezTo>
                  <a:cubicBezTo>
                    <a:pt x="175" y="138"/>
                    <a:pt x="170" y="134"/>
                    <a:pt x="170" y="128"/>
                  </a:cubicBezTo>
                  <a:close/>
                  <a:moveTo>
                    <a:pt x="213" y="160"/>
                  </a:moveTo>
                  <a:cubicBezTo>
                    <a:pt x="213" y="154"/>
                    <a:pt x="218" y="149"/>
                    <a:pt x="224" y="149"/>
                  </a:cubicBezTo>
                  <a:cubicBezTo>
                    <a:pt x="230" y="149"/>
                    <a:pt x="234" y="154"/>
                    <a:pt x="234" y="160"/>
                  </a:cubicBezTo>
                  <a:cubicBezTo>
                    <a:pt x="234" y="166"/>
                    <a:pt x="230" y="170"/>
                    <a:pt x="224" y="170"/>
                  </a:cubicBezTo>
                  <a:cubicBezTo>
                    <a:pt x="218" y="170"/>
                    <a:pt x="213" y="166"/>
                    <a:pt x="213" y="160"/>
                  </a:cubicBezTo>
                  <a:close/>
                  <a:moveTo>
                    <a:pt x="213" y="128"/>
                  </a:moveTo>
                  <a:cubicBezTo>
                    <a:pt x="213" y="122"/>
                    <a:pt x="218" y="117"/>
                    <a:pt x="224" y="117"/>
                  </a:cubicBezTo>
                  <a:cubicBezTo>
                    <a:pt x="230" y="117"/>
                    <a:pt x="234" y="122"/>
                    <a:pt x="234" y="128"/>
                  </a:cubicBezTo>
                  <a:cubicBezTo>
                    <a:pt x="234" y="134"/>
                    <a:pt x="230" y="138"/>
                    <a:pt x="224" y="138"/>
                  </a:cubicBezTo>
                  <a:cubicBezTo>
                    <a:pt x="218" y="138"/>
                    <a:pt x="213" y="134"/>
                    <a:pt x="213" y="128"/>
                  </a:cubicBezTo>
                  <a:close/>
                  <a:moveTo>
                    <a:pt x="256" y="160"/>
                  </a:moveTo>
                  <a:cubicBezTo>
                    <a:pt x="256" y="154"/>
                    <a:pt x="260" y="149"/>
                    <a:pt x="266" y="149"/>
                  </a:cubicBezTo>
                  <a:cubicBezTo>
                    <a:pt x="272" y="149"/>
                    <a:pt x="277" y="154"/>
                    <a:pt x="277" y="160"/>
                  </a:cubicBezTo>
                  <a:cubicBezTo>
                    <a:pt x="277" y="166"/>
                    <a:pt x="272" y="170"/>
                    <a:pt x="266" y="170"/>
                  </a:cubicBezTo>
                  <a:cubicBezTo>
                    <a:pt x="260" y="170"/>
                    <a:pt x="256" y="166"/>
                    <a:pt x="256" y="160"/>
                  </a:cubicBezTo>
                  <a:close/>
                  <a:moveTo>
                    <a:pt x="256" y="192"/>
                  </a:moveTo>
                  <a:cubicBezTo>
                    <a:pt x="256" y="186"/>
                    <a:pt x="260" y="181"/>
                    <a:pt x="266" y="181"/>
                  </a:cubicBezTo>
                  <a:cubicBezTo>
                    <a:pt x="272" y="181"/>
                    <a:pt x="277" y="186"/>
                    <a:pt x="277" y="192"/>
                  </a:cubicBezTo>
                  <a:cubicBezTo>
                    <a:pt x="277" y="198"/>
                    <a:pt x="272" y="202"/>
                    <a:pt x="266" y="202"/>
                  </a:cubicBezTo>
                  <a:cubicBezTo>
                    <a:pt x="260" y="202"/>
                    <a:pt x="256" y="198"/>
                    <a:pt x="256" y="192"/>
                  </a:cubicBezTo>
                  <a:close/>
                  <a:moveTo>
                    <a:pt x="256" y="128"/>
                  </a:moveTo>
                  <a:cubicBezTo>
                    <a:pt x="256" y="122"/>
                    <a:pt x="260" y="117"/>
                    <a:pt x="266" y="117"/>
                  </a:cubicBezTo>
                  <a:cubicBezTo>
                    <a:pt x="272" y="117"/>
                    <a:pt x="277" y="122"/>
                    <a:pt x="277" y="128"/>
                  </a:cubicBezTo>
                  <a:cubicBezTo>
                    <a:pt x="277" y="134"/>
                    <a:pt x="272" y="138"/>
                    <a:pt x="266" y="138"/>
                  </a:cubicBezTo>
                  <a:cubicBezTo>
                    <a:pt x="260" y="138"/>
                    <a:pt x="256" y="134"/>
                    <a:pt x="256"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36" name="Freeform 207"/>
          <p:cNvSpPr>
            <a:spLocks noChangeAspect="1" noEditPoints="1"/>
          </p:cNvSpPr>
          <p:nvPr/>
        </p:nvSpPr>
        <p:spPr bwMode="auto">
          <a:xfrm>
            <a:off x="7118655" y="4196490"/>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37" name="Group 210"/>
          <p:cNvGrpSpPr>
            <a:grpSpLocks noChangeAspect="1"/>
          </p:cNvGrpSpPr>
          <p:nvPr/>
        </p:nvGrpSpPr>
        <p:grpSpPr bwMode="auto">
          <a:xfrm>
            <a:off x="7539559" y="4196490"/>
            <a:ext cx="368121" cy="367041"/>
            <a:chOff x="1926" y="713"/>
            <a:chExt cx="341" cy="340"/>
          </a:xfrm>
          <a:solidFill>
            <a:schemeClr val="accent3"/>
          </a:solidFill>
        </p:grpSpPr>
        <p:sp>
          <p:nvSpPr>
            <p:cNvPr id="538" name="Freeform 211"/>
            <p:cNvSpPr>
              <a:spLocks noEditPoints="1"/>
            </p:cNvSpPr>
            <p:nvPr/>
          </p:nvSpPr>
          <p:spPr bwMode="auto">
            <a:xfrm>
              <a:off x="1926" y="7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9" name="Freeform 212"/>
            <p:cNvSpPr>
              <a:spLocks noEditPoints="1"/>
            </p:cNvSpPr>
            <p:nvPr/>
          </p:nvSpPr>
          <p:spPr bwMode="auto">
            <a:xfrm>
              <a:off x="2004" y="890"/>
              <a:ext cx="184" cy="71"/>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0" name="Freeform 213"/>
            <p:cNvSpPr>
              <a:spLocks/>
            </p:cNvSpPr>
            <p:nvPr/>
          </p:nvSpPr>
          <p:spPr bwMode="auto">
            <a:xfrm>
              <a:off x="2004" y="804"/>
              <a:ext cx="43" cy="114"/>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1" name="Freeform 214"/>
            <p:cNvSpPr>
              <a:spLocks/>
            </p:cNvSpPr>
            <p:nvPr/>
          </p:nvSpPr>
          <p:spPr bwMode="auto">
            <a:xfrm>
              <a:off x="2145" y="804"/>
              <a:ext cx="43" cy="114"/>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2" name="Freeform 215"/>
            <p:cNvSpPr>
              <a:spLocks/>
            </p:cNvSpPr>
            <p:nvPr/>
          </p:nvSpPr>
          <p:spPr bwMode="auto">
            <a:xfrm>
              <a:off x="2033" y="805"/>
              <a:ext cx="127" cy="1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3" name="Freeform 216"/>
            <p:cNvSpPr>
              <a:spLocks/>
            </p:cNvSpPr>
            <p:nvPr/>
          </p:nvSpPr>
          <p:spPr bwMode="auto">
            <a:xfrm>
              <a:off x="2146" y="918"/>
              <a:ext cx="14" cy="1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4" name="Freeform 217"/>
            <p:cNvSpPr>
              <a:spLocks/>
            </p:cNvSpPr>
            <p:nvPr/>
          </p:nvSpPr>
          <p:spPr bwMode="auto">
            <a:xfrm>
              <a:off x="2118" y="918"/>
              <a:ext cx="14" cy="1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45" name="Freeform 636"/>
          <p:cNvSpPr>
            <a:spLocks noChangeAspect="1" noEditPoints="1"/>
          </p:cNvSpPr>
          <p:nvPr/>
        </p:nvSpPr>
        <p:spPr bwMode="auto">
          <a:xfrm>
            <a:off x="7960463" y="4196490"/>
            <a:ext cx="367041" cy="367041"/>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46" name="Group 639"/>
          <p:cNvGrpSpPr>
            <a:grpSpLocks noChangeAspect="1"/>
          </p:cNvGrpSpPr>
          <p:nvPr/>
        </p:nvGrpSpPr>
        <p:grpSpPr bwMode="auto">
          <a:xfrm>
            <a:off x="8380281" y="4196490"/>
            <a:ext cx="367041" cy="368120"/>
            <a:chOff x="5418" y="2871"/>
            <a:chExt cx="340" cy="341"/>
          </a:xfrm>
          <a:solidFill>
            <a:schemeClr val="accent1"/>
          </a:solidFill>
        </p:grpSpPr>
        <p:sp>
          <p:nvSpPr>
            <p:cNvPr id="547" name="Freeform 640"/>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8" name="Freeform 641"/>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49" name="Freeform 947"/>
          <p:cNvSpPr>
            <a:spLocks noChangeAspect="1" noEditPoints="1"/>
          </p:cNvSpPr>
          <p:nvPr/>
        </p:nvSpPr>
        <p:spPr bwMode="auto">
          <a:xfrm>
            <a:off x="395767" y="5003782"/>
            <a:ext cx="367041" cy="367041"/>
          </a:xfrm>
          <a:custGeom>
            <a:avLst/>
            <a:gdLst>
              <a:gd name="T0" fmla="*/ 245 w 512"/>
              <a:gd name="T1" fmla="*/ 330 h 512"/>
              <a:gd name="T2" fmla="*/ 213 w 512"/>
              <a:gd name="T3" fmla="*/ 352 h 512"/>
              <a:gd name="T4" fmla="*/ 266 w 512"/>
              <a:gd name="T5" fmla="*/ 352 h 512"/>
              <a:gd name="T6" fmla="*/ 298 w 512"/>
              <a:gd name="T7" fmla="*/ 330 h 512"/>
              <a:gd name="T8" fmla="*/ 266 w 512"/>
              <a:gd name="T9" fmla="*/ 352 h 512"/>
              <a:gd name="T10" fmla="*/ 192 w 512"/>
              <a:gd name="T11" fmla="*/ 352 h 512"/>
              <a:gd name="T12" fmla="*/ 160 w 512"/>
              <a:gd name="T13" fmla="*/ 330 h 512"/>
              <a:gd name="T14" fmla="*/ 245 w 512"/>
              <a:gd name="T15" fmla="*/ 160 h 512"/>
              <a:gd name="T16" fmla="*/ 213 w 512"/>
              <a:gd name="T17" fmla="*/ 181 h 512"/>
              <a:gd name="T18" fmla="*/ 245 w 512"/>
              <a:gd name="T19" fmla="*/ 160 h 512"/>
              <a:gd name="T20" fmla="*/ 160 w 512"/>
              <a:gd name="T21" fmla="*/ 160 h 512"/>
              <a:gd name="T22" fmla="*/ 192 w 512"/>
              <a:gd name="T23" fmla="*/ 181 h 512"/>
              <a:gd name="T24" fmla="*/ 320 w 512"/>
              <a:gd name="T25" fmla="*/ 352 h 512"/>
              <a:gd name="T26" fmla="*/ 352 w 512"/>
              <a:gd name="T27" fmla="*/ 330 h 512"/>
              <a:gd name="T28" fmla="*/ 320 w 512"/>
              <a:gd name="T29" fmla="*/ 352 h 512"/>
              <a:gd name="T30" fmla="*/ 352 w 512"/>
              <a:gd name="T31" fmla="*/ 181 h 512"/>
              <a:gd name="T32" fmla="*/ 320 w 512"/>
              <a:gd name="T33" fmla="*/ 160 h 512"/>
              <a:gd name="T34" fmla="*/ 512 w 512"/>
              <a:gd name="T35" fmla="*/ 256 h 512"/>
              <a:gd name="T36" fmla="*/ 0 w 512"/>
              <a:gd name="T37" fmla="*/ 256 h 512"/>
              <a:gd name="T38" fmla="*/ 512 w 512"/>
              <a:gd name="T39" fmla="*/ 256 h 512"/>
              <a:gd name="T40" fmla="*/ 373 w 512"/>
              <a:gd name="T41" fmla="*/ 160 h 512"/>
              <a:gd name="T42" fmla="*/ 416 w 512"/>
              <a:gd name="T43" fmla="*/ 149 h 512"/>
              <a:gd name="T44" fmla="*/ 106 w 512"/>
              <a:gd name="T45" fmla="*/ 138 h 512"/>
              <a:gd name="T46" fmla="*/ 106 w 512"/>
              <a:gd name="T47" fmla="*/ 160 h 512"/>
              <a:gd name="T48" fmla="*/ 138 w 512"/>
              <a:gd name="T49" fmla="*/ 181 h 512"/>
              <a:gd name="T50" fmla="*/ 96 w 512"/>
              <a:gd name="T51" fmla="*/ 192 h 512"/>
              <a:gd name="T52" fmla="*/ 138 w 512"/>
              <a:gd name="T53" fmla="*/ 202 h 512"/>
              <a:gd name="T54" fmla="*/ 106 w 512"/>
              <a:gd name="T55" fmla="*/ 309 h 512"/>
              <a:gd name="T56" fmla="*/ 106 w 512"/>
              <a:gd name="T57" fmla="*/ 330 h 512"/>
              <a:gd name="T58" fmla="*/ 138 w 512"/>
              <a:gd name="T59" fmla="*/ 352 h 512"/>
              <a:gd name="T60" fmla="*/ 96 w 512"/>
              <a:gd name="T61" fmla="*/ 362 h 512"/>
              <a:gd name="T62" fmla="*/ 405 w 512"/>
              <a:gd name="T63" fmla="*/ 373 h 512"/>
              <a:gd name="T64" fmla="*/ 405 w 512"/>
              <a:gd name="T65" fmla="*/ 352 h 512"/>
              <a:gd name="T66" fmla="*/ 373 w 512"/>
              <a:gd name="T67" fmla="*/ 330 h 512"/>
              <a:gd name="T68" fmla="*/ 416 w 512"/>
              <a:gd name="T69" fmla="*/ 320 h 512"/>
              <a:gd name="T70" fmla="*/ 373 w 512"/>
              <a:gd name="T71" fmla="*/ 309 h 512"/>
              <a:gd name="T72" fmla="*/ 405 w 512"/>
              <a:gd name="T73" fmla="*/ 202 h 512"/>
              <a:gd name="T74" fmla="*/ 405 w 512"/>
              <a:gd name="T75" fmla="*/ 181 h 512"/>
              <a:gd name="T76" fmla="*/ 298 w 512"/>
              <a:gd name="T77" fmla="*/ 160 h 512"/>
              <a:gd name="T78" fmla="*/ 266 w 512"/>
              <a:gd name="T79" fmla="*/ 181 h 512"/>
              <a:gd name="T80" fmla="*/ 298 w 512"/>
              <a:gd name="T81" fmla="*/ 160 h 512"/>
              <a:gd name="T82" fmla="*/ 352 w 512"/>
              <a:gd name="T83" fmla="*/ 309 h 512"/>
              <a:gd name="T84" fmla="*/ 160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13" y="330"/>
                </a:moveTo>
                <a:cubicBezTo>
                  <a:pt x="245" y="330"/>
                  <a:pt x="245" y="330"/>
                  <a:pt x="245" y="330"/>
                </a:cubicBezTo>
                <a:cubicBezTo>
                  <a:pt x="245" y="352"/>
                  <a:pt x="245" y="352"/>
                  <a:pt x="245" y="352"/>
                </a:cubicBezTo>
                <a:cubicBezTo>
                  <a:pt x="213" y="352"/>
                  <a:pt x="213" y="352"/>
                  <a:pt x="213" y="352"/>
                </a:cubicBezTo>
                <a:lnTo>
                  <a:pt x="213" y="330"/>
                </a:lnTo>
                <a:close/>
                <a:moveTo>
                  <a:pt x="266" y="352"/>
                </a:moveTo>
                <a:cubicBezTo>
                  <a:pt x="298" y="352"/>
                  <a:pt x="298" y="352"/>
                  <a:pt x="298" y="352"/>
                </a:cubicBezTo>
                <a:cubicBezTo>
                  <a:pt x="298" y="330"/>
                  <a:pt x="298" y="330"/>
                  <a:pt x="298" y="330"/>
                </a:cubicBezTo>
                <a:cubicBezTo>
                  <a:pt x="266" y="330"/>
                  <a:pt x="266" y="330"/>
                  <a:pt x="266" y="330"/>
                </a:cubicBezTo>
                <a:lnTo>
                  <a:pt x="266" y="352"/>
                </a:lnTo>
                <a:close/>
                <a:moveTo>
                  <a:pt x="160" y="352"/>
                </a:moveTo>
                <a:cubicBezTo>
                  <a:pt x="192" y="352"/>
                  <a:pt x="192" y="352"/>
                  <a:pt x="192" y="352"/>
                </a:cubicBezTo>
                <a:cubicBezTo>
                  <a:pt x="192" y="330"/>
                  <a:pt x="192" y="330"/>
                  <a:pt x="192" y="330"/>
                </a:cubicBezTo>
                <a:cubicBezTo>
                  <a:pt x="160" y="330"/>
                  <a:pt x="160" y="330"/>
                  <a:pt x="160" y="330"/>
                </a:cubicBezTo>
                <a:lnTo>
                  <a:pt x="160" y="352"/>
                </a:lnTo>
                <a:close/>
                <a:moveTo>
                  <a:pt x="245" y="160"/>
                </a:moveTo>
                <a:cubicBezTo>
                  <a:pt x="213" y="160"/>
                  <a:pt x="213" y="160"/>
                  <a:pt x="213" y="160"/>
                </a:cubicBezTo>
                <a:cubicBezTo>
                  <a:pt x="213" y="181"/>
                  <a:pt x="213" y="181"/>
                  <a:pt x="213" y="181"/>
                </a:cubicBezTo>
                <a:cubicBezTo>
                  <a:pt x="245" y="181"/>
                  <a:pt x="245" y="181"/>
                  <a:pt x="245" y="181"/>
                </a:cubicBezTo>
                <a:lnTo>
                  <a:pt x="245" y="160"/>
                </a:lnTo>
                <a:close/>
                <a:moveTo>
                  <a:pt x="192" y="160"/>
                </a:moveTo>
                <a:cubicBezTo>
                  <a:pt x="160" y="160"/>
                  <a:pt x="160" y="160"/>
                  <a:pt x="160" y="160"/>
                </a:cubicBezTo>
                <a:cubicBezTo>
                  <a:pt x="160" y="181"/>
                  <a:pt x="160" y="181"/>
                  <a:pt x="160" y="181"/>
                </a:cubicBezTo>
                <a:cubicBezTo>
                  <a:pt x="192" y="181"/>
                  <a:pt x="192" y="181"/>
                  <a:pt x="192" y="181"/>
                </a:cubicBezTo>
                <a:lnTo>
                  <a:pt x="192" y="160"/>
                </a:lnTo>
                <a:close/>
                <a:moveTo>
                  <a:pt x="320" y="352"/>
                </a:moveTo>
                <a:cubicBezTo>
                  <a:pt x="352" y="352"/>
                  <a:pt x="352" y="352"/>
                  <a:pt x="352" y="352"/>
                </a:cubicBezTo>
                <a:cubicBezTo>
                  <a:pt x="352" y="330"/>
                  <a:pt x="352" y="330"/>
                  <a:pt x="352" y="330"/>
                </a:cubicBezTo>
                <a:cubicBezTo>
                  <a:pt x="320" y="330"/>
                  <a:pt x="320" y="330"/>
                  <a:pt x="320" y="330"/>
                </a:cubicBezTo>
                <a:lnTo>
                  <a:pt x="320" y="352"/>
                </a:lnTo>
                <a:close/>
                <a:moveTo>
                  <a:pt x="320" y="181"/>
                </a:moveTo>
                <a:cubicBezTo>
                  <a:pt x="352" y="181"/>
                  <a:pt x="352" y="181"/>
                  <a:pt x="352" y="181"/>
                </a:cubicBezTo>
                <a:cubicBezTo>
                  <a:pt x="352" y="160"/>
                  <a:pt x="352" y="160"/>
                  <a:pt x="352" y="160"/>
                </a:cubicBezTo>
                <a:cubicBezTo>
                  <a:pt x="320" y="160"/>
                  <a:pt x="320" y="160"/>
                  <a:pt x="320" y="160"/>
                </a:cubicBezTo>
                <a:lnTo>
                  <a:pt x="320" y="18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06" y="138"/>
                  <a:pt x="106" y="138"/>
                  <a:pt x="106" y="138"/>
                </a:cubicBezTo>
                <a:cubicBezTo>
                  <a:pt x="100" y="138"/>
                  <a:pt x="96" y="143"/>
                  <a:pt x="96" y="149"/>
                </a:cubicBezTo>
                <a:cubicBezTo>
                  <a:pt x="96" y="155"/>
                  <a:pt x="100" y="160"/>
                  <a:pt x="106" y="160"/>
                </a:cubicBezTo>
                <a:cubicBezTo>
                  <a:pt x="138" y="160"/>
                  <a:pt x="138" y="160"/>
                  <a:pt x="138" y="160"/>
                </a:cubicBezTo>
                <a:cubicBezTo>
                  <a:pt x="138" y="181"/>
                  <a:pt x="138" y="181"/>
                  <a:pt x="138" y="181"/>
                </a:cubicBezTo>
                <a:cubicBezTo>
                  <a:pt x="106" y="181"/>
                  <a:pt x="106" y="181"/>
                  <a:pt x="106" y="181"/>
                </a:cubicBezTo>
                <a:cubicBezTo>
                  <a:pt x="100" y="181"/>
                  <a:pt x="96" y="186"/>
                  <a:pt x="96" y="192"/>
                </a:cubicBezTo>
                <a:cubicBezTo>
                  <a:pt x="96" y="198"/>
                  <a:pt x="100" y="202"/>
                  <a:pt x="106" y="202"/>
                </a:cubicBezTo>
                <a:cubicBezTo>
                  <a:pt x="138" y="202"/>
                  <a:pt x="138" y="202"/>
                  <a:pt x="138" y="202"/>
                </a:cubicBezTo>
                <a:cubicBezTo>
                  <a:pt x="138" y="309"/>
                  <a:pt x="138" y="309"/>
                  <a:pt x="138" y="309"/>
                </a:cubicBezTo>
                <a:cubicBezTo>
                  <a:pt x="106" y="309"/>
                  <a:pt x="106" y="309"/>
                  <a:pt x="106" y="309"/>
                </a:cubicBezTo>
                <a:cubicBezTo>
                  <a:pt x="100" y="309"/>
                  <a:pt x="96" y="314"/>
                  <a:pt x="96" y="320"/>
                </a:cubicBezTo>
                <a:cubicBezTo>
                  <a:pt x="96" y="326"/>
                  <a:pt x="100" y="330"/>
                  <a:pt x="106" y="330"/>
                </a:cubicBezTo>
                <a:cubicBezTo>
                  <a:pt x="138" y="330"/>
                  <a:pt x="138" y="330"/>
                  <a:pt x="138" y="330"/>
                </a:cubicBezTo>
                <a:cubicBezTo>
                  <a:pt x="138" y="352"/>
                  <a:pt x="138" y="352"/>
                  <a:pt x="138" y="352"/>
                </a:cubicBezTo>
                <a:cubicBezTo>
                  <a:pt x="106" y="352"/>
                  <a:pt x="106" y="352"/>
                  <a:pt x="106" y="352"/>
                </a:cubicBezTo>
                <a:cubicBezTo>
                  <a:pt x="100" y="352"/>
                  <a:pt x="96" y="356"/>
                  <a:pt x="96" y="362"/>
                </a:cubicBezTo>
                <a:cubicBezTo>
                  <a:pt x="96" y="368"/>
                  <a:pt x="100" y="373"/>
                  <a:pt x="106" y="373"/>
                </a:cubicBezTo>
                <a:cubicBezTo>
                  <a:pt x="405" y="373"/>
                  <a:pt x="405" y="373"/>
                  <a:pt x="405" y="373"/>
                </a:cubicBezTo>
                <a:cubicBezTo>
                  <a:pt x="411" y="373"/>
                  <a:pt x="416" y="368"/>
                  <a:pt x="416" y="362"/>
                </a:cubicBezTo>
                <a:cubicBezTo>
                  <a:pt x="416" y="356"/>
                  <a:pt x="411" y="352"/>
                  <a:pt x="405" y="352"/>
                </a:cubicBezTo>
                <a:cubicBezTo>
                  <a:pt x="373" y="352"/>
                  <a:pt x="373" y="352"/>
                  <a:pt x="373" y="352"/>
                </a:cubicBezTo>
                <a:cubicBezTo>
                  <a:pt x="373" y="330"/>
                  <a:pt x="373" y="330"/>
                  <a:pt x="373" y="330"/>
                </a:cubicBezTo>
                <a:cubicBezTo>
                  <a:pt x="405" y="330"/>
                  <a:pt x="405" y="330"/>
                  <a:pt x="405" y="330"/>
                </a:cubicBezTo>
                <a:cubicBezTo>
                  <a:pt x="411" y="330"/>
                  <a:pt x="416" y="326"/>
                  <a:pt x="416" y="320"/>
                </a:cubicBezTo>
                <a:cubicBezTo>
                  <a:pt x="416" y="314"/>
                  <a:pt x="411" y="309"/>
                  <a:pt x="405" y="309"/>
                </a:cubicBezTo>
                <a:cubicBezTo>
                  <a:pt x="373" y="309"/>
                  <a:pt x="373" y="309"/>
                  <a:pt x="373" y="309"/>
                </a:cubicBezTo>
                <a:cubicBezTo>
                  <a:pt x="373" y="202"/>
                  <a:pt x="373" y="202"/>
                  <a:pt x="373" y="202"/>
                </a:cubicBezTo>
                <a:cubicBezTo>
                  <a:pt x="405" y="202"/>
                  <a:pt x="405" y="202"/>
                  <a:pt x="405" y="202"/>
                </a:cubicBezTo>
                <a:cubicBezTo>
                  <a:pt x="411" y="202"/>
                  <a:pt x="416" y="198"/>
                  <a:pt x="416" y="192"/>
                </a:cubicBezTo>
                <a:cubicBezTo>
                  <a:pt x="416" y="186"/>
                  <a:pt x="411" y="181"/>
                  <a:pt x="405" y="181"/>
                </a:cubicBezTo>
                <a:lnTo>
                  <a:pt x="373" y="181"/>
                </a:lnTo>
                <a:close/>
                <a:moveTo>
                  <a:pt x="298" y="160"/>
                </a:moveTo>
                <a:cubicBezTo>
                  <a:pt x="266" y="160"/>
                  <a:pt x="266" y="160"/>
                  <a:pt x="266" y="160"/>
                </a:cubicBezTo>
                <a:cubicBezTo>
                  <a:pt x="266" y="181"/>
                  <a:pt x="266" y="181"/>
                  <a:pt x="266" y="181"/>
                </a:cubicBezTo>
                <a:cubicBezTo>
                  <a:pt x="298" y="181"/>
                  <a:pt x="298" y="181"/>
                  <a:pt x="298" y="181"/>
                </a:cubicBezTo>
                <a:lnTo>
                  <a:pt x="298" y="160"/>
                </a:lnTo>
                <a:close/>
                <a:moveTo>
                  <a:pt x="160" y="309"/>
                </a:moveTo>
                <a:cubicBezTo>
                  <a:pt x="352" y="309"/>
                  <a:pt x="352" y="309"/>
                  <a:pt x="352" y="309"/>
                </a:cubicBezTo>
                <a:cubicBezTo>
                  <a:pt x="352" y="202"/>
                  <a:pt x="352" y="202"/>
                  <a:pt x="352" y="202"/>
                </a:cubicBezTo>
                <a:cubicBezTo>
                  <a:pt x="160" y="202"/>
                  <a:pt x="160" y="202"/>
                  <a:pt x="160" y="202"/>
                </a:cubicBezTo>
                <a:lnTo>
                  <a:pt x="160" y="30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50" name="Group 950"/>
          <p:cNvGrpSpPr>
            <a:grpSpLocks noChangeAspect="1"/>
          </p:cNvGrpSpPr>
          <p:nvPr/>
        </p:nvGrpSpPr>
        <p:grpSpPr bwMode="auto">
          <a:xfrm>
            <a:off x="815359" y="5003782"/>
            <a:ext cx="367041" cy="367041"/>
            <a:chOff x="7370" y="3509"/>
            <a:chExt cx="340" cy="340"/>
          </a:xfrm>
          <a:solidFill>
            <a:schemeClr val="accent4"/>
          </a:solidFill>
        </p:grpSpPr>
        <p:sp>
          <p:nvSpPr>
            <p:cNvPr id="551" name="Freeform 951"/>
            <p:cNvSpPr>
              <a:spLocks noEditPoints="1"/>
            </p:cNvSpPr>
            <p:nvPr/>
          </p:nvSpPr>
          <p:spPr bwMode="auto">
            <a:xfrm>
              <a:off x="7370" y="3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2" name="Freeform 952"/>
            <p:cNvSpPr>
              <a:spLocks noEditPoints="1"/>
            </p:cNvSpPr>
            <p:nvPr/>
          </p:nvSpPr>
          <p:spPr bwMode="auto">
            <a:xfrm>
              <a:off x="7434" y="3601"/>
              <a:ext cx="212" cy="156"/>
            </a:xfrm>
            <a:custGeom>
              <a:avLst/>
              <a:gdLst>
                <a:gd name="T0" fmla="*/ 320 w 320"/>
                <a:gd name="T1" fmla="*/ 54 h 235"/>
                <a:gd name="T2" fmla="*/ 277 w 320"/>
                <a:gd name="T3" fmla="*/ 43 h 235"/>
                <a:gd name="T4" fmla="*/ 309 w 320"/>
                <a:gd name="T5" fmla="*/ 22 h 235"/>
                <a:gd name="T6" fmla="*/ 309 w 320"/>
                <a:gd name="T7" fmla="*/ 0 h 235"/>
                <a:gd name="T8" fmla="*/ 0 w 320"/>
                <a:gd name="T9" fmla="*/ 11 h 235"/>
                <a:gd name="T10" fmla="*/ 42 w 320"/>
                <a:gd name="T11" fmla="*/ 22 h 235"/>
                <a:gd name="T12" fmla="*/ 10 w 320"/>
                <a:gd name="T13" fmla="*/ 43 h 235"/>
                <a:gd name="T14" fmla="*/ 10 w 320"/>
                <a:gd name="T15" fmla="*/ 64 h 235"/>
                <a:gd name="T16" fmla="*/ 42 w 320"/>
                <a:gd name="T17" fmla="*/ 171 h 235"/>
                <a:gd name="T18" fmla="*/ 0 w 320"/>
                <a:gd name="T19" fmla="*/ 182 h 235"/>
                <a:gd name="T20" fmla="*/ 42 w 320"/>
                <a:gd name="T21" fmla="*/ 192 h 235"/>
                <a:gd name="T22" fmla="*/ 10 w 320"/>
                <a:gd name="T23" fmla="*/ 214 h 235"/>
                <a:gd name="T24" fmla="*/ 10 w 320"/>
                <a:gd name="T25" fmla="*/ 235 h 235"/>
                <a:gd name="T26" fmla="*/ 320 w 320"/>
                <a:gd name="T27" fmla="*/ 224 h 235"/>
                <a:gd name="T28" fmla="*/ 277 w 320"/>
                <a:gd name="T29" fmla="*/ 214 h 235"/>
                <a:gd name="T30" fmla="*/ 309 w 320"/>
                <a:gd name="T31" fmla="*/ 192 h 235"/>
                <a:gd name="T32" fmla="*/ 309 w 320"/>
                <a:gd name="T33" fmla="*/ 171 h 235"/>
                <a:gd name="T34" fmla="*/ 277 w 320"/>
                <a:gd name="T35" fmla="*/ 64 h 235"/>
                <a:gd name="T36" fmla="*/ 256 w 320"/>
                <a:gd name="T37" fmla="*/ 43 h 235"/>
                <a:gd name="T38" fmla="*/ 224 w 320"/>
                <a:gd name="T39" fmla="*/ 22 h 235"/>
                <a:gd name="T40" fmla="*/ 256 w 320"/>
                <a:gd name="T41" fmla="*/ 43 h 235"/>
                <a:gd name="T42" fmla="*/ 170 w 320"/>
                <a:gd name="T43" fmla="*/ 22 h 235"/>
                <a:gd name="T44" fmla="*/ 202 w 320"/>
                <a:gd name="T45" fmla="*/ 43 h 235"/>
                <a:gd name="T46" fmla="*/ 117 w 320"/>
                <a:gd name="T47" fmla="*/ 43 h 235"/>
                <a:gd name="T48" fmla="*/ 149 w 320"/>
                <a:gd name="T49" fmla="*/ 22 h 235"/>
                <a:gd name="T50" fmla="*/ 117 w 320"/>
                <a:gd name="T51" fmla="*/ 43 h 235"/>
                <a:gd name="T52" fmla="*/ 96 w 320"/>
                <a:gd name="T53" fmla="*/ 22 h 235"/>
                <a:gd name="T54" fmla="*/ 64 w 320"/>
                <a:gd name="T55" fmla="*/ 43 h 235"/>
                <a:gd name="T56" fmla="*/ 64 w 320"/>
                <a:gd name="T57" fmla="*/ 192 h 235"/>
                <a:gd name="T58" fmla="*/ 96 w 320"/>
                <a:gd name="T59" fmla="*/ 214 h 235"/>
                <a:gd name="T60" fmla="*/ 64 w 320"/>
                <a:gd name="T61" fmla="*/ 192 h 235"/>
                <a:gd name="T62" fmla="*/ 149 w 320"/>
                <a:gd name="T63" fmla="*/ 214 h 235"/>
                <a:gd name="T64" fmla="*/ 117 w 320"/>
                <a:gd name="T65" fmla="*/ 192 h 235"/>
                <a:gd name="T66" fmla="*/ 202 w 320"/>
                <a:gd name="T67" fmla="*/ 192 h 235"/>
                <a:gd name="T68" fmla="*/ 170 w 320"/>
                <a:gd name="T69" fmla="*/ 214 h 235"/>
                <a:gd name="T70" fmla="*/ 202 w 320"/>
                <a:gd name="T71" fmla="*/ 192 h 235"/>
                <a:gd name="T72" fmla="*/ 224 w 320"/>
                <a:gd name="T73" fmla="*/ 214 h 235"/>
                <a:gd name="T74" fmla="*/ 256 w 320"/>
                <a:gd name="T75" fmla="*/ 192 h 235"/>
                <a:gd name="T76" fmla="*/ 256 w 320"/>
                <a:gd name="T77" fmla="*/ 171 h 235"/>
                <a:gd name="T78" fmla="*/ 64 w 320"/>
                <a:gd name="T79" fmla="*/ 64 h 235"/>
                <a:gd name="T80" fmla="*/ 256 w 320"/>
                <a:gd name="T81" fmla="*/ 17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309" y="64"/>
                  </a:moveTo>
                  <a:cubicBezTo>
                    <a:pt x="315" y="64"/>
                    <a:pt x="320" y="60"/>
                    <a:pt x="320" y="54"/>
                  </a:cubicBezTo>
                  <a:cubicBezTo>
                    <a:pt x="320" y="48"/>
                    <a:pt x="315" y="43"/>
                    <a:pt x="309" y="43"/>
                  </a:cubicBezTo>
                  <a:cubicBezTo>
                    <a:pt x="277" y="43"/>
                    <a:pt x="277" y="43"/>
                    <a:pt x="277" y="43"/>
                  </a:cubicBezTo>
                  <a:cubicBezTo>
                    <a:pt x="277" y="22"/>
                    <a:pt x="277" y="22"/>
                    <a:pt x="277" y="22"/>
                  </a:cubicBezTo>
                  <a:cubicBezTo>
                    <a:pt x="309" y="22"/>
                    <a:pt x="309" y="22"/>
                    <a:pt x="309" y="22"/>
                  </a:cubicBezTo>
                  <a:cubicBezTo>
                    <a:pt x="315" y="22"/>
                    <a:pt x="320" y="17"/>
                    <a:pt x="320" y="11"/>
                  </a:cubicBezTo>
                  <a:cubicBezTo>
                    <a:pt x="320" y="5"/>
                    <a:pt x="315" y="0"/>
                    <a:pt x="309" y="0"/>
                  </a:cubicBezTo>
                  <a:cubicBezTo>
                    <a:pt x="10" y="0"/>
                    <a:pt x="10" y="0"/>
                    <a:pt x="10" y="0"/>
                  </a:cubicBezTo>
                  <a:cubicBezTo>
                    <a:pt x="4" y="0"/>
                    <a:pt x="0" y="5"/>
                    <a:pt x="0" y="11"/>
                  </a:cubicBezTo>
                  <a:cubicBezTo>
                    <a:pt x="0" y="17"/>
                    <a:pt x="4" y="22"/>
                    <a:pt x="10" y="22"/>
                  </a:cubicBezTo>
                  <a:cubicBezTo>
                    <a:pt x="42" y="22"/>
                    <a:pt x="42" y="22"/>
                    <a:pt x="42" y="22"/>
                  </a:cubicBezTo>
                  <a:cubicBezTo>
                    <a:pt x="42" y="43"/>
                    <a:pt x="42" y="43"/>
                    <a:pt x="42" y="43"/>
                  </a:cubicBezTo>
                  <a:cubicBezTo>
                    <a:pt x="10" y="43"/>
                    <a:pt x="10" y="43"/>
                    <a:pt x="10" y="43"/>
                  </a:cubicBezTo>
                  <a:cubicBezTo>
                    <a:pt x="4" y="43"/>
                    <a:pt x="0" y="48"/>
                    <a:pt x="0" y="54"/>
                  </a:cubicBezTo>
                  <a:cubicBezTo>
                    <a:pt x="0" y="60"/>
                    <a:pt x="4" y="64"/>
                    <a:pt x="10" y="64"/>
                  </a:cubicBezTo>
                  <a:cubicBezTo>
                    <a:pt x="42" y="64"/>
                    <a:pt x="42" y="64"/>
                    <a:pt x="42" y="64"/>
                  </a:cubicBezTo>
                  <a:cubicBezTo>
                    <a:pt x="42" y="171"/>
                    <a:pt x="42" y="171"/>
                    <a:pt x="42" y="171"/>
                  </a:cubicBezTo>
                  <a:cubicBezTo>
                    <a:pt x="10" y="171"/>
                    <a:pt x="10" y="171"/>
                    <a:pt x="10" y="171"/>
                  </a:cubicBezTo>
                  <a:cubicBezTo>
                    <a:pt x="4" y="171"/>
                    <a:pt x="0" y="176"/>
                    <a:pt x="0" y="182"/>
                  </a:cubicBezTo>
                  <a:cubicBezTo>
                    <a:pt x="0" y="188"/>
                    <a:pt x="4" y="192"/>
                    <a:pt x="10" y="192"/>
                  </a:cubicBezTo>
                  <a:cubicBezTo>
                    <a:pt x="42" y="192"/>
                    <a:pt x="42" y="192"/>
                    <a:pt x="42" y="192"/>
                  </a:cubicBezTo>
                  <a:cubicBezTo>
                    <a:pt x="42" y="214"/>
                    <a:pt x="42" y="214"/>
                    <a:pt x="42" y="214"/>
                  </a:cubicBezTo>
                  <a:cubicBezTo>
                    <a:pt x="10" y="214"/>
                    <a:pt x="10" y="214"/>
                    <a:pt x="10" y="214"/>
                  </a:cubicBezTo>
                  <a:cubicBezTo>
                    <a:pt x="4" y="214"/>
                    <a:pt x="0" y="218"/>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ubicBezTo>
                    <a:pt x="277" y="214"/>
                    <a:pt x="277" y="214"/>
                    <a:pt x="277" y="214"/>
                  </a:cubicBezTo>
                  <a:cubicBezTo>
                    <a:pt x="277" y="192"/>
                    <a:pt x="277" y="192"/>
                    <a:pt x="277" y="192"/>
                  </a:cubicBezTo>
                  <a:cubicBezTo>
                    <a:pt x="309" y="192"/>
                    <a:pt x="309" y="192"/>
                    <a:pt x="309" y="192"/>
                  </a:cubicBezTo>
                  <a:cubicBezTo>
                    <a:pt x="315" y="192"/>
                    <a:pt x="320" y="188"/>
                    <a:pt x="320" y="182"/>
                  </a:cubicBezTo>
                  <a:cubicBezTo>
                    <a:pt x="320" y="176"/>
                    <a:pt x="315" y="171"/>
                    <a:pt x="309" y="171"/>
                  </a:cubicBezTo>
                  <a:cubicBezTo>
                    <a:pt x="277" y="171"/>
                    <a:pt x="277" y="171"/>
                    <a:pt x="277" y="171"/>
                  </a:cubicBezTo>
                  <a:cubicBezTo>
                    <a:pt x="277" y="64"/>
                    <a:pt x="277" y="64"/>
                    <a:pt x="277" y="64"/>
                  </a:cubicBezTo>
                  <a:lnTo>
                    <a:pt x="309" y="64"/>
                  </a:lnTo>
                  <a:close/>
                  <a:moveTo>
                    <a:pt x="256" y="43"/>
                  </a:moveTo>
                  <a:cubicBezTo>
                    <a:pt x="224" y="43"/>
                    <a:pt x="224" y="43"/>
                    <a:pt x="224" y="43"/>
                  </a:cubicBezTo>
                  <a:cubicBezTo>
                    <a:pt x="224" y="22"/>
                    <a:pt x="224" y="22"/>
                    <a:pt x="224" y="22"/>
                  </a:cubicBezTo>
                  <a:cubicBezTo>
                    <a:pt x="256" y="22"/>
                    <a:pt x="256" y="22"/>
                    <a:pt x="256" y="22"/>
                  </a:cubicBezTo>
                  <a:lnTo>
                    <a:pt x="256" y="43"/>
                  </a:lnTo>
                  <a:close/>
                  <a:moveTo>
                    <a:pt x="170" y="43"/>
                  </a:moveTo>
                  <a:cubicBezTo>
                    <a:pt x="170" y="22"/>
                    <a:pt x="170" y="22"/>
                    <a:pt x="170" y="22"/>
                  </a:cubicBezTo>
                  <a:cubicBezTo>
                    <a:pt x="202" y="22"/>
                    <a:pt x="202" y="22"/>
                    <a:pt x="202" y="22"/>
                  </a:cubicBezTo>
                  <a:cubicBezTo>
                    <a:pt x="202" y="43"/>
                    <a:pt x="202" y="43"/>
                    <a:pt x="202" y="43"/>
                  </a:cubicBezTo>
                  <a:lnTo>
                    <a:pt x="170" y="43"/>
                  </a:lnTo>
                  <a:close/>
                  <a:moveTo>
                    <a:pt x="117" y="43"/>
                  </a:moveTo>
                  <a:cubicBezTo>
                    <a:pt x="117" y="22"/>
                    <a:pt x="117" y="22"/>
                    <a:pt x="117" y="22"/>
                  </a:cubicBezTo>
                  <a:cubicBezTo>
                    <a:pt x="149" y="22"/>
                    <a:pt x="149" y="22"/>
                    <a:pt x="149" y="22"/>
                  </a:cubicBezTo>
                  <a:cubicBezTo>
                    <a:pt x="149" y="43"/>
                    <a:pt x="149" y="43"/>
                    <a:pt x="149" y="43"/>
                  </a:cubicBezTo>
                  <a:lnTo>
                    <a:pt x="117" y="43"/>
                  </a:lnTo>
                  <a:close/>
                  <a:moveTo>
                    <a:pt x="64" y="22"/>
                  </a:moveTo>
                  <a:cubicBezTo>
                    <a:pt x="96" y="22"/>
                    <a:pt x="96" y="22"/>
                    <a:pt x="96" y="22"/>
                  </a:cubicBezTo>
                  <a:cubicBezTo>
                    <a:pt x="96" y="43"/>
                    <a:pt x="96" y="43"/>
                    <a:pt x="96" y="43"/>
                  </a:cubicBezTo>
                  <a:cubicBezTo>
                    <a:pt x="64" y="43"/>
                    <a:pt x="64" y="43"/>
                    <a:pt x="64" y="43"/>
                  </a:cubicBezTo>
                  <a:lnTo>
                    <a:pt x="64" y="22"/>
                  </a:lnTo>
                  <a:close/>
                  <a:moveTo>
                    <a:pt x="64" y="192"/>
                  </a:moveTo>
                  <a:cubicBezTo>
                    <a:pt x="96" y="192"/>
                    <a:pt x="96" y="192"/>
                    <a:pt x="96" y="192"/>
                  </a:cubicBezTo>
                  <a:cubicBezTo>
                    <a:pt x="96" y="214"/>
                    <a:pt x="96" y="214"/>
                    <a:pt x="96" y="214"/>
                  </a:cubicBezTo>
                  <a:cubicBezTo>
                    <a:pt x="64" y="214"/>
                    <a:pt x="64" y="214"/>
                    <a:pt x="64" y="214"/>
                  </a:cubicBezTo>
                  <a:lnTo>
                    <a:pt x="64" y="192"/>
                  </a:lnTo>
                  <a:close/>
                  <a:moveTo>
                    <a:pt x="149" y="192"/>
                  </a:moveTo>
                  <a:cubicBezTo>
                    <a:pt x="149" y="214"/>
                    <a:pt x="149" y="214"/>
                    <a:pt x="149" y="214"/>
                  </a:cubicBezTo>
                  <a:cubicBezTo>
                    <a:pt x="117" y="214"/>
                    <a:pt x="117" y="214"/>
                    <a:pt x="117" y="214"/>
                  </a:cubicBezTo>
                  <a:cubicBezTo>
                    <a:pt x="117" y="192"/>
                    <a:pt x="117" y="192"/>
                    <a:pt x="117" y="192"/>
                  </a:cubicBezTo>
                  <a:lnTo>
                    <a:pt x="149" y="192"/>
                  </a:lnTo>
                  <a:close/>
                  <a:moveTo>
                    <a:pt x="202" y="192"/>
                  </a:moveTo>
                  <a:cubicBezTo>
                    <a:pt x="202" y="214"/>
                    <a:pt x="202" y="214"/>
                    <a:pt x="202" y="214"/>
                  </a:cubicBezTo>
                  <a:cubicBezTo>
                    <a:pt x="170" y="214"/>
                    <a:pt x="170" y="214"/>
                    <a:pt x="170" y="214"/>
                  </a:cubicBezTo>
                  <a:cubicBezTo>
                    <a:pt x="170" y="192"/>
                    <a:pt x="170" y="192"/>
                    <a:pt x="170" y="192"/>
                  </a:cubicBezTo>
                  <a:lnTo>
                    <a:pt x="202" y="192"/>
                  </a:lnTo>
                  <a:close/>
                  <a:moveTo>
                    <a:pt x="256" y="214"/>
                  </a:moveTo>
                  <a:cubicBezTo>
                    <a:pt x="224" y="214"/>
                    <a:pt x="224" y="214"/>
                    <a:pt x="224" y="214"/>
                  </a:cubicBezTo>
                  <a:cubicBezTo>
                    <a:pt x="224" y="192"/>
                    <a:pt x="224" y="192"/>
                    <a:pt x="224" y="192"/>
                  </a:cubicBezTo>
                  <a:cubicBezTo>
                    <a:pt x="256" y="192"/>
                    <a:pt x="256" y="192"/>
                    <a:pt x="256" y="192"/>
                  </a:cubicBezTo>
                  <a:lnTo>
                    <a:pt x="256" y="214"/>
                  </a:lnTo>
                  <a:close/>
                  <a:moveTo>
                    <a:pt x="256" y="171"/>
                  </a:moveTo>
                  <a:cubicBezTo>
                    <a:pt x="64" y="171"/>
                    <a:pt x="64" y="171"/>
                    <a:pt x="64" y="171"/>
                  </a:cubicBezTo>
                  <a:cubicBezTo>
                    <a:pt x="64" y="64"/>
                    <a:pt x="64" y="64"/>
                    <a:pt x="64" y="64"/>
                  </a:cubicBezTo>
                  <a:cubicBezTo>
                    <a:pt x="256" y="64"/>
                    <a:pt x="256" y="64"/>
                    <a:pt x="256" y="64"/>
                  </a:cubicBezTo>
                  <a:lnTo>
                    <a:pt x="25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3" name="TextBox 552"/>
          <p:cNvSpPr txBox="1"/>
          <p:nvPr/>
        </p:nvSpPr>
        <p:spPr>
          <a:xfrm>
            <a:off x="389468" y="5420025"/>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ovie clip</a:t>
            </a:r>
          </a:p>
        </p:txBody>
      </p:sp>
      <p:sp>
        <p:nvSpPr>
          <p:cNvPr id="554" name="TextBox 553"/>
          <p:cNvSpPr txBox="1"/>
          <p:nvPr/>
        </p:nvSpPr>
        <p:spPr>
          <a:xfrm>
            <a:off x="1215556" y="54200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crochip</a:t>
            </a:r>
          </a:p>
        </p:txBody>
      </p:sp>
      <p:sp>
        <p:nvSpPr>
          <p:cNvPr id="555" name="TextBox 554"/>
          <p:cNvSpPr txBox="1"/>
          <p:nvPr/>
        </p:nvSpPr>
        <p:spPr>
          <a:xfrm>
            <a:off x="3731921" y="54200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crophone 2</a:t>
            </a:r>
          </a:p>
        </p:txBody>
      </p:sp>
      <p:sp>
        <p:nvSpPr>
          <p:cNvPr id="556" name="TextBox 555"/>
          <p:cNvSpPr txBox="1"/>
          <p:nvPr/>
        </p:nvSpPr>
        <p:spPr>
          <a:xfrm>
            <a:off x="4569651" y="54200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crophone 2 off</a:t>
            </a:r>
          </a:p>
        </p:txBody>
      </p:sp>
      <p:sp>
        <p:nvSpPr>
          <p:cNvPr id="557" name="TextBox 556"/>
          <p:cNvSpPr txBox="1"/>
          <p:nvPr/>
        </p:nvSpPr>
        <p:spPr>
          <a:xfrm>
            <a:off x="2894191" y="54200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crophone 1</a:t>
            </a:r>
          </a:p>
        </p:txBody>
      </p:sp>
      <p:sp>
        <p:nvSpPr>
          <p:cNvPr id="558" name="TextBox 557"/>
          <p:cNvSpPr txBox="1"/>
          <p:nvPr/>
        </p:nvSpPr>
        <p:spPr>
          <a:xfrm>
            <a:off x="5407381" y="54200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D</a:t>
            </a:r>
          </a:p>
        </p:txBody>
      </p:sp>
      <p:sp>
        <p:nvSpPr>
          <p:cNvPr id="559" name="TextBox 558"/>
          <p:cNvSpPr txBox="1"/>
          <p:nvPr/>
        </p:nvSpPr>
        <p:spPr>
          <a:xfrm>
            <a:off x="7920568" y="54200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ype cursor</a:t>
            </a:r>
          </a:p>
        </p:txBody>
      </p:sp>
      <p:sp>
        <p:nvSpPr>
          <p:cNvPr id="560" name="TextBox 559"/>
          <p:cNvSpPr txBox="1"/>
          <p:nvPr/>
        </p:nvSpPr>
        <p:spPr>
          <a:xfrm>
            <a:off x="7082841" y="54200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bject ungroup</a:t>
            </a:r>
          </a:p>
        </p:txBody>
      </p:sp>
      <p:sp>
        <p:nvSpPr>
          <p:cNvPr id="561" name="TextBox 560"/>
          <p:cNvSpPr txBox="1"/>
          <p:nvPr/>
        </p:nvSpPr>
        <p:spPr>
          <a:xfrm>
            <a:off x="6245111" y="54200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bject group</a:t>
            </a:r>
          </a:p>
        </p:txBody>
      </p:sp>
      <p:sp>
        <p:nvSpPr>
          <p:cNvPr id="562" name="TextBox 561"/>
          <p:cNvSpPr txBox="1"/>
          <p:nvPr/>
        </p:nvSpPr>
        <p:spPr>
          <a:xfrm>
            <a:off x="2056461" y="54200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CTV</a:t>
            </a:r>
          </a:p>
        </p:txBody>
      </p:sp>
      <p:sp>
        <p:nvSpPr>
          <p:cNvPr id="563" name="Freeform 831"/>
          <p:cNvSpPr>
            <a:spLocks noChangeAspect="1" noEditPoints="1"/>
          </p:cNvSpPr>
          <p:nvPr/>
        </p:nvSpPr>
        <p:spPr bwMode="auto">
          <a:xfrm>
            <a:off x="1234951" y="5003782"/>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64" name="Group 834"/>
          <p:cNvGrpSpPr>
            <a:grpSpLocks noChangeAspect="1"/>
          </p:cNvGrpSpPr>
          <p:nvPr/>
        </p:nvGrpSpPr>
        <p:grpSpPr bwMode="auto">
          <a:xfrm>
            <a:off x="1654543" y="5003782"/>
            <a:ext cx="367041" cy="367041"/>
            <a:chOff x="5977" y="3324"/>
            <a:chExt cx="340" cy="340"/>
          </a:xfrm>
          <a:solidFill>
            <a:schemeClr val="accent3"/>
          </a:solidFill>
        </p:grpSpPr>
        <p:sp>
          <p:nvSpPr>
            <p:cNvPr id="565" name="Freeform 835"/>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6" name="Freeform 836"/>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7" name="Freeform 837"/>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68" name="Freeform 869"/>
          <p:cNvSpPr>
            <a:spLocks noChangeAspect="1" noEditPoints="1"/>
          </p:cNvSpPr>
          <p:nvPr/>
        </p:nvSpPr>
        <p:spPr bwMode="auto">
          <a:xfrm>
            <a:off x="2074135" y="5003782"/>
            <a:ext cx="369064" cy="367982"/>
          </a:xfrm>
          <a:custGeom>
            <a:avLst/>
            <a:gdLst>
              <a:gd name="T0" fmla="*/ 277 w 512"/>
              <a:gd name="T1" fmla="*/ 131 h 512"/>
              <a:gd name="T2" fmla="*/ 125 w 512"/>
              <a:gd name="T3" fmla="*/ 274 h 512"/>
              <a:gd name="T4" fmla="*/ 190 w 512"/>
              <a:gd name="T5" fmla="*/ 307 h 512"/>
              <a:gd name="T6" fmla="*/ 325 w 512"/>
              <a:gd name="T7" fmla="*/ 171 h 512"/>
              <a:gd name="T8" fmla="*/ 277 w 512"/>
              <a:gd name="T9" fmla="*/ 131 h 512"/>
              <a:gd name="T10" fmla="*/ 277 w 512"/>
              <a:gd name="T11" fmla="*/ 181 h 512"/>
              <a:gd name="T12" fmla="*/ 266 w 512"/>
              <a:gd name="T13" fmla="*/ 170 h 512"/>
              <a:gd name="T14" fmla="*/ 277 w 512"/>
              <a:gd name="T15" fmla="*/ 160 h 512"/>
              <a:gd name="T16" fmla="*/ 288 w 512"/>
              <a:gd name="T17" fmla="*/ 170 h 512"/>
              <a:gd name="T18" fmla="*/ 277 w 512"/>
              <a:gd name="T19" fmla="*/ 181 h 512"/>
              <a:gd name="T20" fmla="*/ 256 w 512"/>
              <a:gd name="T21" fmla="*/ 0 h 512"/>
              <a:gd name="T22" fmla="*/ 0 w 512"/>
              <a:gd name="T23" fmla="*/ 256 h 512"/>
              <a:gd name="T24" fmla="*/ 256 w 512"/>
              <a:gd name="T25" fmla="*/ 512 h 512"/>
              <a:gd name="T26" fmla="*/ 512 w 512"/>
              <a:gd name="T27" fmla="*/ 256 h 512"/>
              <a:gd name="T28" fmla="*/ 256 w 512"/>
              <a:gd name="T29" fmla="*/ 0 h 512"/>
              <a:gd name="T30" fmla="*/ 416 w 512"/>
              <a:gd name="T31" fmla="*/ 362 h 512"/>
              <a:gd name="T32" fmla="*/ 405 w 512"/>
              <a:gd name="T33" fmla="*/ 373 h 512"/>
              <a:gd name="T34" fmla="*/ 394 w 512"/>
              <a:gd name="T35" fmla="*/ 362 h 512"/>
              <a:gd name="T36" fmla="*/ 394 w 512"/>
              <a:gd name="T37" fmla="*/ 320 h 512"/>
              <a:gd name="T38" fmla="*/ 288 w 512"/>
              <a:gd name="T39" fmla="*/ 320 h 512"/>
              <a:gd name="T40" fmla="*/ 277 w 512"/>
              <a:gd name="T41" fmla="*/ 309 h 512"/>
              <a:gd name="T42" fmla="*/ 277 w 512"/>
              <a:gd name="T43" fmla="*/ 249 h 512"/>
              <a:gd name="T44" fmla="*/ 199 w 512"/>
              <a:gd name="T45" fmla="*/ 327 h 512"/>
              <a:gd name="T46" fmla="*/ 192 w 512"/>
              <a:gd name="T47" fmla="*/ 330 h 512"/>
              <a:gd name="T48" fmla="*/ 187 w 512"/>
              <a:gd name="T49" fmla="*/ 329 h 512"/>
              <a:gd name="T50" fmla="*/ 102 w 512"/>
              <a:gd name="T51" fmla="*/ 287 h 512"/>
              <a:gd name="T52" fmla="*/ 96 w 512"/>
              <a:gd name="T53" fmla="*/ 279 h 512"/>
              <a:gd name="T54" fmla="*/ 99 w 512"/>
              <a:gd name="T55" fmla="*/ 269 h 512"/>
              <a:gd name="T56" fmla="*/ 270 w 512"/>
              <a:gd name="T57" fmla="*/ 109 h 512"/>
              <a:gd name="T58" fmla="*/ 284 w 512"/>
              <a:gd name="T59" fmla="*/ 109 h 512"/>
              <a:gd name="T60" fmla="*/ 348 w 512"/>
              <a:gd name="T61" fmla="*/ 162 h 512"/>
              <a:gd name="T62" fmla="*/ 352 w 512"/>
              <a:gd name="T63" fmla="*/ 170 h 512"/>
              <a:gd name="T64" fmla="*/ 349 w 512"/>
              <a:gd name="T65" fmla="*/ 178 h 512"/>
              <a:gd name="T66" fmla="*/ 298 w 512"/>
              <a:gd name="T67" fmla="*/ 228 h 512"/>
              <a:gd name="T68" fmla="*/ 298 w 512"/>
              <a:gd name="T69" fmla="*/ 298 h 512"/>
              <a:gd name="T70" fmla="*/ 394 w 512"/>
              <a:gd name="T71" fmla="*/ 298 h 512"/>
              <a:gd name="T72" fmla="*/ 394 w 512"/>
              <a:gd name="T73" fmla="*/ 256 h 512"/>
              <a:gd name="T74" fmla="*/ 405 w 512"/>
              <a:gd name="T75" fmla="*/ 245 h 512"/>
              <a:gd name="T76" fmla="*/ 416 w 512"/>
              <a:gd name="T77" fmla="*/ 256 h 512"/>
              <a:gd name="T78" fmla="*/ 416 w 512"/>
              <a:gd name="T7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77" y="131"/>
                </a:moveTo>
                <a:cubicBezTo>
                  <a:pt x="125" y="274"/>
                  <a:pt x="125" y="274"/>
                  <a:pt x="125" y="274"/>
                </a:cubicBezTo>
                <a:cubicBezTo>
                  <a:pt x="190" y="307"/>
                  <a:pt x="190" y="307"/>
                  <a:pt x="190" y="307"/>
                </a:cubicBezTo>
                <a:cubicBezTo>
                  <a:pt x="325" y="171"/>
                  <a:pt x="325" y="171"/>
                  <a:pt x="325" y="171"/>
                </a:cubicBezTo>
                <a:lnTo>
                  <a:pt x="277" y="131"/>
                </a:lnTo>
                <a:close/>
                <a:moveTo>
                  <a:pt x="277" y="181"/>
                </a:moveTo>
                <a:cubicBezTo>
                  <a:pt x="271" y="181"/>
                  <a:pt x="266" y="176"/>
                  <a:pt x="266" y="170"/>
                </a:cubicBezTo>
                <a:cubicBezTo>
                  <a:pt x="266" y="164"/>
                  <a:pt x="271" y="160"/>
                  <a:pt x="277" y="160"/>
                </a:cubicBezTo>
                <a:cubicBezTo>
                  <a:pt x="283" y="160"/>
                  <a:pt x="288" y="164"/>
                  <a:pt x="288" y="170"/>
                </a:cubicBezTo>
                <a:cubicBezTo>
                  <a:pt x="288" y="176"/>
                  <a:pt x="283" y="181"/>
                  <a:pt x="277"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399" y="373"/>
                  <a:pt x="394" y="368"/>
                  <a:pt x="394" y="362"/>
                </a:cubicBezTo>
                <a:cubicBezTo>
                  <a:pt x="394" y="320"/>
                  <a:pt x="394" y="320"/>
                  <a:pt x="394" y="320"/>
                </a:cubicBezTo>
                <a:cubicBezTo>
                  <a:pt x="288" y="320"/>
                  <a:pt x="288" y="320"/>
                  <a:pt x="288" y="320"/>
                </a:cubicBezTo>
                <a:cubicBezTo>
                  <a:pt x="282" y="320"/>
                  <a:pt x="277" y="315"/>
                  <a:pt x="277" y="309"/>
                </a:cubicBezTo>
                <a:cubicBezTo>
                  <a:pt x="277" y="249"/>
                  <a:pt x="277" y="249"/>
                  <a:pt x="277" y="249"/>
                </a:cubicBezTo>
                <a:cubicBezTo>
                  <a:pt x="199" y="327"/>
                  <a:pt x="199" y="327"/>
                  <a:pt x="199" y="327"/>
                </a:cubicBezTo>
                <a:cubicBezTo>
                  <a:pt x="197" y="329"/>
                  <a:pt x="194" y="330"/>
                  <a:pt x="192" y="330"/>
                </a:cubicBezTo>
                <a:cubicBezTo>
                  <a:pt x="190" y="330"/>
                  <a:pt x="188" y="330"/>
                  <a:pt x="187" y="329"/>
                </a:cubicBezTo>
                <a:cubicBezTo>
                  <a:pt x="102" y="287"/>
                  <a:pt x="102" y="287"/>
                  <a:pt x="102" y="287"/>
                </a:cubicBezTo>
                <a:cubicBezTo>
                  <a:pt x="98" y="285"/>
                  <a:pt x="96" y="282"/>
                  <a:pt x="96" y="279"/>
                </a:cubicBezTo>
                <a:cubicBezTo>
                  <a:pt x="95" y="275"/>
                  <a:pt x="96" y="272"/>
                  <a:pt x="99" y="269"/>
                </a:cubicBezTo>
                <a:cubicBezTo>
                  <a:pt x="270" y="109"/>
                  <a:pt x="270" y="109"/>
                  <a:pt x="270" y="109"/>
                </a:cubicBezTo>
                <a:cubicBezTo>
                  <a:pt x="274" y="106"/>
                  <a:pt x="280" y="105"/>
                  <a:pt x="284" y="109"/>
                </a:cubicBezTo>
                <a:cubicBezTo>
                  <a:pt x="348" y="162"/>
                  <a:pt x="348" y="162"/>
                  <a:pt x="348" y="162"/>
                </a:cubicBezTo>
                <a:cubicBezTo>
                  <a:pt x="350" y="164"/>
                  <a:pt x="352" y="167"/>
                  <a:pt x="352" y="170"/>
                </a:cubicBezTo>
                <a:cubicBezTo>
                  <a:pt x="352" y="173"/>
                  <a:pt x="351" y="176"/>
                  <a:pt x="349" y="178"/>
                </a:cubicBezTo>
                <a:cubicBezTo>
                  <a:pt x="298" y="228"/>
                  <a:pt x="298" y="228"/>
                  <a:pt x="298" y="228"/>
                </a:cubicBezTo>
                <a:cubicBezTo>
                  <a:pt x="298" y="298"/>
                  <a:pt x="298" y="298"/>
                  <a:pt x="298" y="298"/>
                </a:cubicBezTo>
                <a:cubicBezTo>
                  <a:pt x="394" y="298"/>
                  <a:pt x="394" y="298"/>
                  <a:pt x="394" y="298"/>
                </a:cubicBezTo>
                <a:cubicBezTo>
                  <a:pt x="394" y="256"/>
                  <a:pt x="394" y="256"/>
                  <a:pt x="394" y="256"/>
                </a:cubicBezTo>
                <a:cubicBezTo>
                  <a:pt x="394" y="250"/>
                  <a:pt x="399" y="245"/>
                  <a:pt x="405" y="245"/>
                </a:cubicBezTo>
                <a:cubicBezTo>
                  <a:pt x="411" y="245"/>
                  <a:pt x="416" y="250"/>
                  <a:pt x="416" y="256"/>
                </a:cubicBezTo>
                <a:lnTo>
                  <a:pt x="416" y="36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69" name="Group 872"/>
          <p:cNvGrpSpPr>
            <a:grpSpLocks noChangeAspect="1"/>
          </p:cNvGrpSpPr>
          <p:nvPr/>
        </p:nvGrpSpPr>
        <p:grpSpPr bwMode="auto">
          <a:xfrm>
            <a:off x="2495750" y="5003782"/>
            <a:ext cx="367982" cy="367982"/>
            <a:chOff x="4335" y="3710"/>
            <a:chExt cx="340" cy="340"/>
          </a:xfrm>
          <a:solidFill>
            <a:schemeClr val="accent4"/>
          </a:solidFill>
        </p:grpSpPr>
        <p:sp>
          <p:nvSpPr>
            <p:cNvPr id="570" name="Freeform 873"/>
            <p:cNvSpPr>
              <a:spLocks noEditPoints="1"/>
            </p:cNvSpPr>
            <p:nvPr/>
          </p:nvSpPr>
          <p:spPr bwMode="auto">
            <a:xfrm>
              <a:off x="4398" y="3780"/>
              <a:ext cx="213" cy="178"/>
            </a:xfrm>
            <a:custGeom>
              <a:avLst/>
              <a:gdLst>
                <a:gd name="T0" fmla="*/ 310 w 321"/>
                <a:gd name="T1" fmla="*/ 140 h 268"/>
                <a:gd name="T2" fmla="*/ 299 w 321"/>
                <a:gd name="T3" fmla="*/ 151 h 268"/>
                <a:gd name="T4" fmla="*/ 299 w 321"/>
                <a:gd name="T5" fmla="*/ 193 h 268"/>
                <a:gd name="T6" fmla="*/ 203 w 321"/>
                <a:gd name="T7" fmla="*/ 193 h 268"/>
                <a:gd name="T8" fmla="*/ 203 w 321"/>
                <a:gd name="T9" fmla="*/ 123 h 268"/>
                <a:gd name="T10" fmla="*/ 254 w 321"/>
                <a:gd name="T11" fmla="*/ 73 h 268"/>
                <a:gd name="T12" fmla="*/ 257 w 321"/>
                <a:gd name="T13" fmla="*/ 65 h 268"/>
                <a:gd name="T14" fmla="*/ 253 w 321"/>
                <a:gd name="T15" fmla="*/ 57 h 268"/>
                <a:gd name="T16" fmla="*/ 189 w 321"/>
                <a:gd name="T17" fmla="*/ 4 h 268"/>
                <a:gd name="T18" fmla="*/ 175 w 321"/>
                <a:gd name="T19" fmla="*/ 4 h 268"/>
                <a:gd name="T20" fmla="*/ 4 w 321"/>
                <a:gd name="T21" fmla="*/ 164 h 268"/>
                <a:gd name="T22" fmla="*/ 1 w 321"/>
                <a:gd name="T23" fmla="*/ 174 h 268"/>
                <a:gd name="T24" fmla="*/ 7 w 321"/>
                <a:gd name="T25" fmla="*/ 182 h 268"/>
                <a:gd name="T26" fmla="*/ 92 w 321"/>
                <a:gd name="T27" fmla="*/ 224 h 268"/>
                <a:gd name="T28" fmla="*/ 97 w 321"/>
                <a:gd name="T29" fmla="*/ 225 h 268"/>
                <a:gd name="T30" fmla="*/ 104 w 321"/>
                <a:gd name="T31" fmla="*/ 222 h 268"/>
                <a:gd name="T32" fmla="*/ 182 w 321"/>
                <a:gd name="T33" fmla="*/ 144 h 268"/>
                <a:gd name="T34" fmla="*/ 182 w 321"/>
                <a:gd name="T35" fmla="*/ 204 h 268"/>
                <a:gd name="T36" fmla="*/ 193 w 321"/>
                <a:gd name="T37" fmla="*/ 215 h 268"/>
                <a:gd name="T38" fmla="*/ 299 w 321"/>
                <a:gd name="T39" fmla="*/ 215 h 268"/>
                <a:gd name="T40" fmla="*/ 299 w 321"/>
                <a:gd name="T41" fmla="*/ 257 h 268"/>
                <a:gd name="T42" fmla="*/ 310 w 321"/>
                <a:gd name="T43" fmla="*/ 268 h 268"/>
                <a:gd name="T44" fmla="*/ 321 w 321"/>
                <a:gd name="T45" fmla="*/ 257 h 268"/>
                <a:gd name="T46" fmla="*/ 321 w 321"/>
                <a:gd name="T47" fmla="*/ 151 h 268"/>
                <a:gd name="T48" fmla="*/ 310 w 321"/>
                <a:gd name="T49" fmla="*/ 140 h 268"/>
                <a:gd name="T50" fmla="*/ 95 w 321"/>
                <a:gd name="T51" fmla="*/ 202 h 268"/>
                <a:gd name="T52" fmla="*/ 30 w 321"/>
                <a:gd name="T53" fmla="*/ 169 h 268"/>
                <a:gd name="T54" fmla="*/ 182 w 321"/>
                <a:gd name="T55" fmla="*/ 26 h 268"/>
                <a:gd name="T56" fmla="*/ 230 w 321"/>
                <a:gd name="T57" fmla="*/ 66 h 268"/>
                <a:gd name="T58" fmla="*/ 95 w 321"/>
                <a:gd name="T5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1" h="268">
                  <a:moveTo>
                    <a:pt x="310" y="140"/>
                  </a:moveTo>
                  <a:cubicBezTo>
                    <a:pt x="304" y="140"/>
                    <a:pt x="299" y="145"/>
                    <a:pt x="299" y="151"/>
                  </a:cubicBezTo>
                  <a:cubicBezTo>
                    <a:pt x="299" y="193"/>
                    <a:pt x="299" y="193"/>
                    <a:pt x="299" y="193"/>
                  </a:cubicBezTo>
                  <a:cubicBezTo>
                    <a:pt x="203" y="193"/>
                    <a:pt x="203" y="193"/>
                    <a:pt x="203" y="193"/>
                  </a:cubicBezTo>
                  <a:cubicBezTo>
                    <a:pt x="203" y="123"/>
                    <a:pt x="203" y="123"/>
                    <a:pt x="203" y="123"/>
                  </a:cubicBezTo>
                  <a:cubicBezTo>
                    <a:pt x="254" y="73"/>
                    <a:pt x="254" y="73"/>
                    <a:pt x="254" y="73"/>
                  </a:cubicBezTo>
                  <a:cubicBezTo>
                    <a:pt x="256" y="71"/>
                    <a:pt x="257" y="68"/>
                    <a:pt x="257" y="65"/>
                  </a:cubicBezTo>
                  <a:cubicBezTo>
                    <a:pt x="257" y="62"/>
                    <a:pt x="255" y="59"/>
                    <a:pt x="253" y="57"/>
                  </a:cubicBezTo>
                  <a:cubicBezTo>
                    <a:pt x="189" y="4"/>
                    <a:pt x="189" y="4"/>
                    <a:pt x="189" y="4"/>
                  </a:cubicBezTo>
                  <a:cubicBezTo>
                    <a:pt x="185" y="0"/>
                    <a:pt x="179" y="1"/>
                    <a:pt x="175" y="4"/>
                  </a:cubicBezTo>
                  <a:cubicBezTo>
                    <a:pt x="4" y="164"/>
                    <a:pt x="4" y="164"/>
                    <a:pt x="4" y="164"/>
                  </a:cubicBezTo>
                  <a:cubicBezTo>
                    <a:pt x="1" y="167"/>
                    <a:pt x="0" y="170"/>
                    <a:pt x="1" y="174"/>
                  </a:cubicBezTo>
                  <a:cubicBezTo>
                    <a:pt x="1" y="177"/>
                    <a:pt x="3" y="180"/>
                    <a:pt x="7" y="182"/>
                  </a:cubicBezTo>
                  <a:cubicBezTo>
                    <a:pt x="92" y="224"/>
                    <a:pt x="92" y="224"/>
                    <a:pt x="92" y="224"/>
                  </a:cubicBezTo>
                  <a:cubicBezTo>
                    <a:pt x="93" y="225"/>
                    <a:pt x="95" y="225"/>
                    <a:pt x="97" y="225"/>
                  </a:cubicBezTo>
                  <a:cubicBezTo>
                    <a:pt x="99" y="225"/>
                    <a:pt x="102" y="224"/>
                    <a:pt x="104" y="222"/>
                  </a:cubicBezTo>
                  <a:cubicBezTo>
                    <a:pt x="182" y="144"/>
                    <a:pt x="182" y="144"/>
                    <a:pt x="182" y="144"/>
                  </a:cubicBezTo>
                  <a:cubicBezTo>
                    <a:pt x="182" y="204"/>
                    <a:pt x="182" y="204"/>
                    <a:pt x="182" y="204"/>
                  </a:cubicBezTo>
                  <a:cubicBezTo>
                    <a:pt x="182" y="210"/>
                    <a:pt x="187" y="215"/>
                    <a:pt x="193" y="215"/>
                  </a:cubicBezTo>
                  <a:cubicBezTo>
                    <a:pt x="299" y="215"/>
                    <a:pt x="299" y="215"/>
                    <a:pt x="299" y="215"/>
                  </a:cubicBezTo>
                  <a:cubicBezTo>
                    <a:pt x="299" y="257"/>
                    <a:pt x="299" y="257"/>
                    <a:pt x="299" y="257"/>
                  </a:cubicBezTo>
                  <a:cubicBezTo>
                    <a:pt x="299" y="263"/>
                    <a:pt x="304" y="268"/>
                    <a:pt x="310" y="268"/>
                  </a:cubicBezTo>
                  <a:cubicBezTo>
                    <a:pt x="316" y="268"/>
                    <a:pt x="321" y="263"/>
                    <a:pt x="321" y="257"/>
                  </a:cubicBezTo>
                  <a:cubicBezTo>
                    <a:pt x="321" y="151"/>
                    <a:pt x="321" y="151"/>
                    <a:pt x="321" y="151"/>
                  </a:cubicBezTo>
                  <a:cubicBezTo>
                    <a:pt x="321" y="145"/>
                    <a:pt x="316" y="140"/>
                    <a:pt x="310" y="140"/>
                  </a:cubicBezTo>
                  <a:close/>
                  <a:moveTo>
                    <a:pt x="95" y="202"/>
                  </a:moveTo>
                  <a:cubicBezTo>
                    <a:pt x="30" y="169"/>
                    <a:pt x="30" y="169"/>
                    <a:pt x="30" y="169"/>
                  </a:cubicBezTo>
                  <a:cubicBezTo>
                    <a:pt x="182" y="26"/>
                    <a:pt x="182" y="26"/>
                    <a:pt x="182" y="26"/>
                  </a:cubicBezTo>
                  <a:cubicBezTo>
                    <a:pt x="230" y="66"/>
                    <a:pt x="230" y="66"/>
                    <a:pt x="230" y="66"/>
                  </a:cubicBezTo>
                  <a:lnTo>
                    <a:pt x="95"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1" name="Oval 874"/>
            <p:cNvSpPr>
              <a:spLocks noChangeArrowheads="1"/>
            </p:cNvSpPr>
            <p:nvPr/>
          </p:nvSpPr>
          <p:spPr bwMode="auto">
            <a:xfrm>
              <a:off x="4512" y="381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2" name="Freeform 875"/>
            <p:cNvSpPr>
              <a:spLocks noEditPoints="1"/>
            </p:cNvSpPr>
            <p:nvPr/>
          </p:nvSpPr>
          <p:spPr bwMode="auto">
            <a:xfrm>
              <a:off x="4335" y="37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73" name="Freeform 841"/>
          <p:cNvSpPr>
            <a:spLocks noChangeAspect="1" noEditPoints="1"/>
          </p:cNvSpPr>
          <p:nvPr/>
        </p:nvSpPr>
        <p:spPr bwMode="auto">
          <a:xfrm>
            <a:off x="2916283" y="5003782"/>
            <a:ext cx="368120" cy="367041"/>
          </a:xfrm>
          <a:custGeom>
            <a:avLst/>
            <a:gdLst>
              <a:gd name="T0" fmla="*/ 270 w 512"/>
              <a:gd name="T1" fmla="*/ 198 h 512"/>
              <a:gd name="T2" fmla="*/ 165 w 512"/>
              <a:gd name="T3" fmla="*/ 316 h 512"/>
              <a:gd name="T4" fmla="*/ 196 w 512"/>
              <a:gd name="T5" fmla="*/ 347 h 512"/>
              <a:gd name="T6" fmla="*/ 313 w 512"/>
              <a:gd name="T7" fmla="*/ 241 h 512"/>
              <a:gd name="T8" fmla="*/ 286 w 512"/>
              <a:gd name="T9" fmla="*/ 226 h 512"/>
              <a:gd name="T10" fmla="*/ 270 w 512"/>
              <a:gd name="T11" fmla="*/ 198 h 512"/>
              <a:gd name="T12" fmla="*/ 263 w 512"/>
              <a:gd name="T13" fmla="*/ 263 h 512"/>
              <a:gd name="T14" fmla="*/ 248 w 512"/>
              <a:gd name="T15" fmla="*/ 263 h 512"/>
              <a:gd name="T16" fmla="*/ 248 w 512"/>
              <a:gd name="T17" fmla="*/ 248 h 512"/>
              <a:gd name="T18" fmla="*/ 263 w 512"/>
              <a:gd name="T19" fmla="*/ 248 h 512"/>
              <a:gd name="T20" fmla="*/ 263 w 512"/>
              <a:gd name="T21" fmla="*/ 263 h 512"/>
              <a:gd name="T22" fmla="*/ 150 w 512"/>
              <a:gd name="T23" fmla="*/ 331 h 512"/>
              <a:gd name="T24" fmla="*/ 180 w 512"/>
              <a:gd name="T25" fmla="*/ 361 h 512"/>
              <a:gd name="T26" fmla="*/ 165 w 512"/>
              <a:gd name="T27" fmla="*/ 376 h 512"/>
              <a:gd name="T28" fmla="*/ 135 w 512"/>
              <a:gd name="T29" fmla="*/ 346 h 512"/>
              <a:gd name="T30" fmla="*/ 150 w 512"/>
              <a:gd name="T31" fmla="*/ 331 h 512"/>
              <a:gd name="T32" fmla="*/ 294 w 512"/>
              <a:gd name="T33" fmla="*/ 159 h 512"/>
              <a:gd name="T34" fmla="*/ 353 w 512"/>
              <a:gd name="T35" fmla="*/ 217 h 512"/>
              <a:gd name="T36" fmla="*/ 301 w 512"/>
              <a:gd name="T37" fmla="*/ 210 h 512"/>
              <a:gd name="T38" fmla="*/ 288 w 512"/>
              <a:gd name="T39" fmla="*/ 180 h 512"/>
              <a:gd name="T40" fmla="*/ 294 w 512"/>
              <a:gd name="T41" fmla="*/ 159 h 512"/>
              <a:gd name="T42" fmla="*/ 256 w 512"/>
              <a:gd name="T43" fmla="*/ 0 h 512"/>
              <a:gd name="T44" fmla="*/ 0 w 512"/>
              <a:gd name="T45" fmla="*/ 256 h 512"/>
              <a:gd name="T46" fmla="*/ 256 w 512"/>
              <a:gd name="T47" fmla="*/ 512 h 512"/>
              <a:gd name="T48" fmla="*/ 512 w 512"/>
              <a:gd name="T49" fmla="*/ 256 h 512"/>
              <a:gd name="T50" fmla="*/ 256 w 512"/>
              <a:gd name="T51" fmla="*/ 0 h 512"/>
              <a:gd name="T52" fmla="*/ 376 w 512"/>
              <a:gd name="T53" fmla="*/ 226 h 512"/>
              <a:gd name="T54" fmla="*/ 344 w 512"/>
              <a:gd name="T55" fmla="*/ 243 h 512"/>
              <a:gd name="T56" fmla="*/ 203 w 512"/>
              <a:gd name="T57" fmla="*/ 369 h 512"/>
              <a:gd name="T58" fmla="*/ 173 w 512"/>
              <a:gd name="T59" fmla="*/ 399 h 512"/>
              <a:gd name="T60" fmla="*/ 165 w 512"/>
              <a:gd name="T61" fmla="*/ 402 h 512"/>
              <a:gd name="T62" fmla="*/ 158 w 512"/>
              <a:gd name="T63" fmla="*/ 399 h 512"/>
              <a:gd name="T64" fmla="*/ 112 w 512"/>
              <a:gd name="T65" fmla="*/ 354 h 512"/>
              <a:gd name="T66" fmla="*/ 109 w 512"/>
              <a:gd name="T67" fmla="*/ 346 h 512"/>
              <a:gd name="T68" fmla="*/ 112 w 512"/>
              <a:gd name="T69" fmla="*/ 339 h 512"/>
              <a:gd name="T70" fmla="*/ 142 w 512"/>
              <a:gd name="T71" fmla="*/ 309 h 512"/>
              <a:gd name="T72" fmla="*/ 268 w 512"/>
              <a:gd name="T73" fmla="*/ 168 h 512"/>
              <a:gd name="T74" fmla="*/ 286 w 512"/>
              <a:gd name="T75" fmla="*/ 135 h 512"/>
              <a:gd name="T76" fmla="*/ 331 w 512"/>
              <a:gd name="T77" fmla="*/ 116 h 512"/>
              <a:gd name="T78" fmla="*/ 376 w 512"/>
              <a:gd name="T79" fmla="*/ 135 h 512"/>
              <a:gd name="T80" fmla="*/ 395 w 512"/>
              <a:gd name="T81" fmla="*/ 180 h 512"/>
              <a:gd name="T82" fmla="*/ 376 w 512"/>
              <a:gd name="T83" fmla="*/ 226 h 512"/>
              <a:gd name="T84" fmla="*/ 361 w 512"/>
              <a:gd name="T85" fmla="*/ 150 h 512"/>
              <a:gd name="T86" fmla="*/ 374 w 512"/>
              <a:gd name="T87" fmla="*/ 180 h 512"/>
              <a:gd name="T88" fmla="*/ 368 w 512"/>
              <a:gd name="T89" fmla="*/ 202 h 512"/>
              <a:gd name="T90" fmla="*/ 310 w 512"/>
              <a:gd name="T91" fmla="*/ 144 h 512"/>
              <a:gd name="T92" fmla="*/ 331 w 512"/>
              <a:gd name="T93" fmla="*/ 138 h 512"/>
              <a:gd name="T94" fmla="*/ 361 w 512"/>
              <a:gd name="T95"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70" y="198"/>
                </a:moveTo>
                <a:cubicBezTo>
                  <a:pt x="165" y="316"/>
                  <a:pt x="165" y="316"/>
                  <a:pt x="165" y="316"/>
                </a:cubicBezTo>
                <a:cubicBezTo>
                  <a:pt x="196" y="347"/>
                  <a:pt x="196" y="347"/>
                  <a:pt x="196" y="347"/>
                </a:cubicBezTo>
                <a:cubicBezTo>
                  <a:pt x="313" y="241"/>
                  <a:pt x="313" y="241"/>
                  <a:pt x="313" y="241"/>
                </a:cubicBezTo>
                <a:cubicBezTo>
                  <a:pt x="303" y="239"/>
                  <a:pt x="294" y="233"/>
                  <a:pt x="286" y="226"/>
                </a:cubicBezTo>
                <a:cubicBezTo>
                  <a:pt x="278" y="218"/>
                  <a:pt x="273" y="208"/>
                  <a:pt x="270" y="198"/>
                </a:cubicBezTo>
                <a:close/>
                <a:moveTo>
                  <a:pt x="263" y="263"/>
                </a:moveTo>
                <a:cubicBezTo>
                  <a:pt x="259" y="267"/>
                  <a:pt x="252" y="267"/>
                  <a:pt x="248" y="263"/>
                </a:cubicBezTo>
                <a:cubicBezTo>
                  <a:pt x="244" y="259"/>
                  <a:pt x="244" y="252"/>
                  <a:pt x="248" y="248"/>
                </a:cubicBezTo>
                <a:cubicBezTo>
                  <a:pt x="252" y="244"/>
                  <a:pt x="259" y="244"/>
                  <a:pt x="263" y="248"/>
                </a:cubicBezTo>
                <a:cubicBezTo>
                  <a:pt x="267" y="252"/>
                  <a:pt x="267" y="259"/>
                  <a:pt x="263" y="263"/>
                </a:cubicBezTo>
                <a:close/>
                <a:moveTo>
                  <a:pt x="150" y="331"/>
                </a:moveTo>
                <a:cubicBezTo>
                  <a:pt x="180" y="361"/>
                  <a:pt x="180" y="361"/>
                  <a:pt x="180" y="361"/>
                </a:cubicBezTo>
                <a:cubicBezTo>
                  <a:pt x="165" y="376"/>
                  <a:pt x="165" y="376"/>
                  <a:pt x="165" y="376"/>
                </a:cubicBezTo>
                <a:cubicBezTo>
                  <a:pt x="135" y="346"/>
                  <a:pt x="135" y="346"/>
                  <a:pt x="135" y="346"/>
                </a:cubicBezTo>
                <a:lnTo>
                  <a:pt x="150" y="331"/>
                </a:lnTo>
                <a:close/>
                <a:moveTo>
                  <a:pt x="294" y="159"/>
                </a:moveTo>
                <a:cubicBezTo>
                  <a:pt x="353" y="217"/>
                  <a:pt x="353" y="217"/>
                  <a:pt x="353" y="217"/>
                </a:cubicBezTo>
                <a:cubicBezTo>
                  <a:pt x="336" y="226"/>
                  <a:pt x="315" y="224"/>
                  <a:pt x="301" y="210"/>
                </a:cubicBezTo>
                <a:cubicBezTo>
                  <a:pt x="293" y="202"/>
                  <a:pt x="288" y="192"/>
                  <a:pt x="288" y="180"/>
                </a:cubicBezTo>
                <a:cubicBezTo>
                  <a:pt x="288" y="173"/>
                  <a:pt x="291" y="165"/>
                  <a:pt x="294" y="159"/>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6" y="226"/>
                </a:moveTo>
                <a:cubicBezTo>
                  <a:pt x="367" y="235"/>
                  <a:pt x="356" y="241"/>
                  <a:pt x="344" y="243"/>
                </a:cubicBezTo>
                <a:cubicBezTo>
                  <a:pt x="203" y="369"/>
                  <a:pt x="203" y="369"/>
                  <a:pt x="203" y="369"/>
                </a:cubicBezTo>
                <a:cubicBezTo>
                  <a:pt x="173" y="399"/>
                  <a:pt x="173" y="399"/>
                  <a:pt x="173" y="399"/>
                </a:cubicBezTo>
                <a:cubicBezTo>
                  <a:pt x="171" y="401"/>
                  <a:pt x="168" y="402"/>
                  <a:pt x="165" y="402"/>
                </a:cubicBezTo>
                <a:cubicBezTo>
                  <a:pt x="162" y="402"/>
                  <a:pt x="160" y="401"/>
                  <a:pt x="158" y="399"/>
                </a:cubicBezTo>
                <a:cubicBezTo>
                  <a:pt x="112" y="354"/>
                  <a:pt x="112" y="354"/>
                  <a:pt x="112" y="354"/>
                </a:cubicBezTo>
                <a:cubicBezTo>
                  <a:pt x="110" y="352"/>
                  <a:pt x="109" y="349"/>
                  <a:pt x="109" y="346"/>
                </a:cubicBezTo>
                <a:cubicBezTo>
                  <a:pt x="109" y="343"/>
                  <a:pt x="110" y="341"/>
                  <a:pt x="112" y="339"/>
                </a:cubicBezTo>
                <a:cubicBezTo>
                  <a:pt x="142" y="309"/>
                  <a:pt x="142" y="309"/>
                  <a:pt x="142" y="309"/>
                </a:cubicBezTo>
                <a:cubicBezTo>
                  <a:pt x="268" y="168"/>
                  <a:pt x="268" y="168"/>
                  <a:pt x="268" y="168"/>
                </a:cubicBezTo>
                <a:cubicBezTo>
                  <a:pt x="271" y="155"/>
                  <a:pt x="277" y="144"/>
                  <a:pt x="286" y="135"/>
                </a:cubicBezTo>
                <a:cubicBezTo>
                  <a:pt x="298" y="123"/>
                  <a:pt x="314" y="116"/>
                  <a:pt x="331" y="116"/>
                </a:cubicBezTo>
                <a:cubicBezTo>
                  <a:pt x="348" y="116"/>
                  <a:pt x="364" y="123"/>
                  <a:pt x="376" y="135"/>
                </a:cubicBezTo>
                <a:cubicBezTo>
                  <a:pt x="388" y="147"/>
                  <a:pt x="395" y="163"/>
                  <a:pt x="395" y="180"/>
                </a:cubicBezTo>
                <a:cubicBezTo>
                  <a:pt x="395" y="197"/>
                  <a:pt x="388" y="213"/>
                  <a:pt x="376" y="226"/>
                </a:cubicBezTo>
                <a:close/>
                <a:moveTo>
                  <a:pt x="361" y="150"/>
                </a:moveTo>
                <a:cubicBezTo>
                  <a:pt x="369" y="158"/>
                  <a:pt x="374" y="169"/>
                  <a:pt x="374" y="180"/>
                </a:cubicBezTo>
                <a:cubicBezTo>
                  <a:pt x="374" y="188"/>
                  <a:pt x="372" y="195"/>
                  <a:pt x="368" y="202"/>
                </a:cubicBezTo>
                <a:cubicBezTo>
                  <a:pt x="310" y="144"/>
                  <a:pt x="310" y="144"/>
                  <a:pt x="310" y="144"/>
                </a:cubicBezTo>
                <a:cubicBezTo>
                  <a:pt x="316" y="140"/>
                  <a:pt x="323" y="138"/>
                  <a:pt x="331" y="138"/>
                </a:cubicBezTo>
                <a:cubicBezTo>
                  <a:pt x="342" y="138"/>
                  <a:pt x="353" y="142"/>
                  <a:pt x="361" y="15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74" name="Group 844"/>
          <p:cNvGrpSpPr>
            <a:grpSpLocks noChangeAspect="1"/>
          </p:cNvGrpSpPr>
          <p:nvPr/>
        </p:nvGrpSpPr>
        <p:grpSpPr bwMode="auto">
          <a:xfrm>
            <a:off x="3336954" y="5003782"/>
            <a:ext cx="367041" cy="367041"/>
            <a:chOff x="6259" y="4031"/>
            <a:chExt cx="340" cy="340"/>
          </a:xfrm>
          <a:solidFill>
            <a:schemeClr val="accent3"/>
          </a:solidFill>
        </p:grpSpPr>
        <p:sp>
          <p:nvSpPr>
            <p:cNvPr id="575" name="Freeform 845"/>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6" name="Freeform 846"/>
            <p:cNvSpPr>
              <a:spLocks noEditPoints="1"/>
            </p:cNvSpPr>
            <p:nvPr/>
          </p:nvSpPr>
          <p:spPr bwMode="auto">
            <a:xfrm>
              <a:off x="6331" y="4108"/>
              <a:ext cx="190" cy="190"/>
            </a:xfrm>
            <a:custGeom>
              <a:avLst/>
              <a:gdLst>
                <a:gd name="T0" fmla="*/ 267 w 286"/>
                <a:gd name="T1" fmla="*/ 110 h 286"/>
                <a:gd name="T2" fmla="*/ 286 w 286"/>
                <a:gd name="T3" fmla="*/ 64 h 286"/>
                <a:gd name="T4" fmla="*/ 267 w 286"/>
                <a:gd name="T5" fmla="*/ 19 h 286"/>
                <a:gd name="T6" fmla="*/ 222 w 286"/>
                <a:gd name="T7" fmla="*/ 0 h 286"/>
                <a:gd name="T8" fmla="*/ 177 w 286"/>
                <a:gd name="T9" fmla="*/ 19 h 286"/>
                <a:gd name="T10" fmla="*/ 159 w 286"/>
                <a:gd name="T11" fmla="*/ 52 h 286"/>
                <a:gd name="T12" fmla="*/ 33 w 286"/>
                <a:gd name="T13" fmla="*/ 193 h 286"/>
                <a:gd name="T14" fmla="*/ 3 w 286"/>
                <a:gd name="T15" fmla="*/ 223 h 286"/>
                <a:gd name="T16" fmla="*/ 0 w 286"/>
                <a:gd name="T17" fmla="*/ 230 h 286"/>
                <a:gd name="T18" fmla="*/ 3 w 286"/>
                <a:gd name="T19" fmla="*/ 238 h 286"/>
                <a:gd name="T20" fmla="*/ 49 w 286"/>
                <a:gd name="T21" fmla="*/ 283 h 286"/>
                <a:gd name="T22" fmla="*/ 56 w 286"/>
                <a:gd name="T23" fmla="*/ 286 h 286"/>
                <a:gd name="T24" fmla="*/ 64 w 286"/>
                <a:gd name="T25" fmla="*/ 283 h 286"/>
                <a:gd name="T26" fmla="*/ 94 w 286"/>
                <a:gd name="T27" fmla="*/ 253 h 286"/>
                <a:gd name="T28" fmla="*/ 235 w 286"/>
                <a:gd name="T29" fmla="*/ 127 h 286"/>
                <a:gd name="T30" fmla="*/ 267 w 286"/>
                <a:gd name="T31" fmla="*/ 110 h 286"/>
                <a:gd name="T32" fmla="*/ 185 w 286"/>
                <a:gd name="T33" fmla="*/ 43 h 286"/>
                <a:gd name="T34" fmla="*/ 244 w 286"/>
                <a:gd name="T35" fmla="*/ 101 h 286"/>
                <a:gd name="T36" fmla="*/ 192 w 286"/>
                <a:gd name="T37" fmla="*/ 94 h 286"/>
                <a:gd name="T38" fmla="*/ 179 w 286"/>
                <a:gd name="T39" fmla="*/ 64 h 286"/>
                <a:gd name="T40" fmla="*/ 185 w 286"/>
                <a:gd name="T41" fmla="*/ 43 h 286"/>
                <a:gd name="T42" fmla="*/ 252 w 286"/>
                <a:gd name="T43" fmla="*/ 34 h 286"/>
                <a:gd name="T44" fmla="*/ 265 w 286"/>
                <a:gd name="T45" fmla="*/ 64 h 286"/>
                <a:gd name="T46" fmla="*/ 259 w 286"/>
                <a:gd name="T47" fmla="*/ 86 h 286"/>
                <a:gd name="T48" fmla="*/ 201 w 286"/>
                <a:gd name="T49" fmla="*/ 28 h 286"/>
                <a:gd name="T50" fmla="*/ 222 w 286"/>
                <a:gd name="T51" fmla="*/ 22 h 286"/>
                <a:gd name="T52" fmla="*/ 252 w 286"/>
                <a:gd name="T53" fmla="*/ 34 h 286"/>
                <a:gd name="T54" fmla="*/ 161 w 286"/>
                <a:gd name="T55" fmla="*/ 82 h 286"/>
                <a:gd name="T56" fmla="*/ 177 w 286"/>
                <a:gd name="T57" fmla="*/ 110 h 286"/>
                <a:gd name="T58" fmla="*/ 204 w 286"/>
                <a:gd name="T59" fmla="*/ 125 h 286"/>
                <a:gd name="T60" fmla="*/ 87 w 286"/>
                <a:gd name="T61" fmla="*/ 231 h 286"/>
                <a:gd name="T62" fmla="*/ 56 w 286"/>
                <a:gd name="T63" fmla="*/ 200 h 286"/>
                <a:gd name="T64" fmla="*/ 161 w 286"/>
                <a:gd name="T65" fmla="*/ 82 h 286"/>
                <a:gd name="T66" fmla="*/ 56 w 286"/>
                <a:gd name="T67" fmla="*/ 260 h 286"/>
                <a:gd name="T68" fmla="*/ 26 w 286"/>
                <a:gd name="T69" fmla="*/ 230 h 286"/>
                <a:gd name="T70" fmla="*/ 41 w 286"/>
                <a:gd name="T71" fmla="*/ 215 h 286"/>
                <a:gd name="T72" fmla="*/ 71 w 286"/>
                <a:gd name="T73" fmla="*/ 245 h 286"/>
                <a:gd name="T74" fmla="*/ 56 w 286"/>
                <a:gd name="T75" fmla="*/ 2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286">
                  <a:moveTo>
                    <a:pt x="267" y="110"/>
                  </a:moveTo>
                  <a:cubicBezTo>
                    <a:pt x="279" y="97"/>
                    <a:pt x="286" y="81"/>
                    <a:pt x="286" y="64"/>
                  </a:cubicBezTo>
                  <a:cubicBezTo>
                    <a:pt x="286" y="47"/>
                    <a:pt x="279" y="31"/>
                    <a:pt x="267" y="19"/>
                  </a:cubicBezTo>
                  <a:cubicBezTo>
                    <a:pt x="255" y="7"/>
                    <a:pt x="239" y="0"/>
                    <a:pt x="222" y="0"/>
                  </a:cubicBezTo>
                  <a:cubicBezTo>
                    <a:pt x="205" y="0"/>
                    <a:pt x="189" y="7"/>
                    <a:pt x="177" y="19"/>
                  </a:cubicBezTo>
                  <a:cubicBezTo>
                    <a:pt x="168" y="28"/>
                    <a:pt x="162" y="39"/>
                    <a:pt x="159" y="52"/>
                  </a:cubicBezTo>
                  <a:cubicBezTo>
                    <a:pt x="33" y="193"/>
                    <a:pt x="33" y="193"/>
                    <a:pt x="33" y="193"/>
                  </a:cubicBezTo>
                  <a:cubicBezTo>
                    <a:pt x="3" y="223"/>
                    <a:pt x="3" y="223"/>
                    <a:pt x="3" y="223"/>
                  </a:cubicBezTo>
                  <a:cubicBezTo>
                    <a:pt x="1" y="225"/>
                    <a:pt x="0" y="227"/>
                    <a:pt x="0" y="230"/>
                  </a:cubicBezTo>
                  <a:cubicBezTo>
                    <a:pt x="0" y="233"/>
                    <a:pt x="1" y="236"/>
                    <a:pt x="3" y="238"/>
                  </a:cubicBezTo>
                  <a:cubicBezTo>
                    <a:pt x="49" y="283"/>
                    <a:pt x="49" y="283"/>
                    <a:pt x="49" y="283"/>
                  </a:cubicBezTo>
                  <a:cubicBezTo>
                    <a:pt x="51" y="285"/>
                    <a:pt x="53" y="286"/>
                    <a:pt x="56" y="286"/>
                  </a:cubicBezTo>
                  <a:cubicBezTo>
                    <a:pt x="59" y="286"/>
                    <a:pt x="62" y="285"/>
                    <a:pt x="64" y="283"/>
                  </a:cubicBezTo>
                  <a:cubicBezTo>
                    <a:pt x="94" y="253"/>
                    <a:pt x="94" y="253"/>
                    <a:pt x="94" y="253"/>
                  </a:cubicBezTo>
                  <a:cubicBezTo>
                    <a:pt x="235" y="127"/>
                    <a:pt x="235" y="127"/>
                    <a:pt x="235" y="127"/>
                  </a:cubicBezTo>
                  <a:cubicBezTo>
                    <a:pt x="247" y="125"/>
                    <a:pt x="258" y="119"/>
                    <a:pt x="267" y="110"/>
                  </a:cubicBezTo>
                  <a:close/>
                  <a:moveTo>
                    <a:pt x="185" y="43"/>
                  </a:moveTo>
                  <a:cubicBezTo>
                    <a:pt x="244" y="101"/>
                    <a:pt x="244" y="101"/>
                    <a:pt x="244" y="101"/>
                  </a:cubicBezTo>
                  <a:cubicBezTo>
                    <a:pt x="227" y="110"/>
                    <a:pt x="206" y="108"/>
                    <a:pt x="192" y="94"/>
                  </a:cubicBezTo>
                  <a:cubicBezTo>
                    <a:pt x="184" y="86"/>
                    <a:pt x="179" y="76"/>
                    <a:pt x="179" y="64"/>
                  </a:cubicBezTo>
                  <a:cubicBezTo>
                    <a:pt x="179" y="57"/>
                    <a:pt x="182" y="49"/>
                    <a:pt x="185" y="43"/>
                  </a:cubicBezTo>
                  <a:close/>
                  <a:moveTo>
                    <a:pt x="252" y="34"/>
                  </a:moveTo>
                  <a:cubicBezTo>
                    <a:pt x="260" y="42"/>
                    <a:pt x="265" y="53"/>
                    <a:pt x="265" y="64"/>
                  </a:cubicBezTo>
                  <a:cubicBezTo>
                    <a:pt x="265" y="72"/>
                    <a:pt x="263" y="79"/>
                    <a:pt x="259" y="86"/>
                  </a:cubicBezTo>
                  <a:cubicBezTo>
                    <a:pt x="201" y="28"/>
                    <a:pt x="201" y="28"/>
                    <a:pt x="201" y="28"/>
                  </a:cubicBezTo>
                  <a:cubicBezTo>
                    <a:pt x="207" y="24"/>
                    <a:pt x="214" y="22"/>
                    <a:pt x="222" y="22"/>
                  </a:cubicBezTo>
                  <a:cubicBezTo>
                    <a:pt x="233" y="22"/>
                    <a:pt x="244" y="26"/>
                    <a:pt x="252" y="34"/>
                  </a:cubicBezTo>
                  <a:close/>
                  <a:moveTo>
                    <a:pt x="161" y="82"/>
                  </a:moveTo>
                  <a:cubicBezTo>
                    <a:pt x="164" y="92"/>
                    <a:pt x="169" y="102"/>
                    <a:pt x="177" y="110"/>
                  </a:cubicBezTo>
                  <a:cubicBezTo>
                    <a:pt x="185" y="117"/>
                    <a:pt x="194" y="123"/>
                    <a:pt x="204" y="125"/>
                  </a:cubicBezTo>
                  <a:cubicBezTo>
                    <a:pt x="87" y="231"/>
                    <a:pt x="87" y="231"/>
                    <a:pt x="87" y="231"/>
                  </a:cubicBezTo>
                  <a:cubicBezTo>
                    <a:pt x="56" y="200"/>
                    <a:pt x="56" y="200"/>
                    <a:pt x="56" y="200"/>
                  </a:cubicBezTo>
                  <a:lnTo>
                    <a:pt x="161" y="82"/>
                  </a:lnTo>
                  <a:close/>
                  <a:moveTo>
                    <a:pt x="56" y="260"/>
                  </a:moveTo>
                  <a:cubicBezTo>
                    <a:pt x="26" y="230"/>
                    <a:pt x="26" y="230"/>
                    <a:pt x="26" y="230"/>
                  </a:cubicBezTo>
                  <a:cubicBezTo>
                    <a:pt x="41" y="215"/>
                    <a:pt x="41" y="215"/>
                    <a:pt x="41" y="215"/>
                  </a:cubicBezTo>
                  <a:cubicBezTo>
                    <a:pt x="71" y="245"/>
                    <a:pt x="71" y="245"/>
                    <a:pt x="71" y="245"/>
                  </a:cubicBezTo>
                  <a:lnTo>
                    <a:pt x="56" y="2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7" name="Freeform 847"/>
            <p:cNvSpPr>
              <a:spLocks/>
            </p:cNvSpPr>
            <p:nvPr/>
          </p:nvSpPr>
          <p:spPr bwMode="auto">
            <a:xfrm>
              <a:off x="6421" y="4193"/>
              <a:ext cx="15" cy="15"/>
            </a:xfrm>
            <a:custGeom>
              <a:avLst/>
              <a:gdLst>
                <a:gd name="T0" fmla="*/ 19 w 23"/>
                <a:gd name="T1" fmla="*/ 19 h 23"/>
                <a:gd name="T2" fmla="*/ 19 w 23"/>
                <a:gd name="T3" fmla="*/ 4 h 23"/>
                <a:gd name="T4" fmla="*/ 4 w 23"/>
                <a:gd name="T5" fmla="*/ 4 h 23"/>
                <a:gd name="T6" fmla="*/ 4 w 23"/>
                <a:gd name="T7" fmla="*/ 19 h 23"/>
                <a:gd name="T8" fmla="*/ 19 w 23"/>
                <a:gd name="T9" fmla="*/ 19 h 23"/>
              </a:gdLst>
              <a:ahLst/>
              <a:cxnLst>
                <a:cxn ang="0">
                  <a:pos x="T0" y="T1"/>
                </a:cxn>
                <a:cxn ang="0">
                  <a:pos x="T2" y="T3"/>
                </a:cxn>
                <a:cxn ang="0">
                  <a:pos x="T4" y="T5"/>
                </a:cxn>
                <a:cxn ang="0">
                  <a:pos x="T6" y="T7"/>
                </a:cxn>
                <a:cxn ang="0">
                  <a:pos x="T8" y="T9"/>
                </a:cxn>
              </a:cxnLst>
              <a:rect l="0" t="0" r="r" b="b"/>
              <a:pathLst>
                <a:path w="23" h="23">
                  <a:moveTo>
                    <a:pt x="19" y="19"/>
                  </a:moveTo>
                  <a:cubicBezTo>
                    <a:pt x="23" y="15"/>
                    <a:pt x="23" y="8"/>
                    <a:pt x="19" y="4"/>
                  </a:cubicBezTo>
                  <a:cubicBezTo>
                    <a:pt x="15" y="0"/>
                    <a:pt x="8" y="0"/>
                    <a:pt x="4" y="4"/>
                  </a:cubicBezTo>
                  <a:cubicBezTo>
                    <a:pt x="0" y="8"/>
                    <a:pt x="0" y="15"/>
                    <a:pt x="4" y="19"/>
                  </a:cubicBezTo>
                  <a:cubicBezTo>
                    <a:pt x="8" y="23"/>
                    <a:pt x="15" y="23"/>
                    <a:pt x="19"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8" name="Freeform 848"/>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1" name="Freeform 852"/>
          <p:cNvSpPr>
            <a:spLocks noChangeAspect="1" noEditPoints="1"/>
          </p:cNvSpPr>
          <p:nvPr/>
        </p:nvSpPr>
        <p:spPr bwMode="auto">
          <a:xfrm>
            <a:off x="3756546" y="5003782"/>
            <a:ext cx="367041" cy="368121"/>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83" name="Freeform 682"/>
          <p:cNvSpPr>
            <a:spLocks noChangeAspect="1" noEditPoints="1"/>
          </p:cNvSpPr>
          <p:nvPr/>
        </p:nvSpPr>
        <p:spPr bwMode="auto">
          <a:xfrm>
            <a:off x="4176138" y="5003782"/>
            <a:ext cx="368120"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84" name="Freeform 860"/>
          <p:cNvSpPr>
            <a:spLocks noChangeAspect="1" noEditPoints="1"/>
          </p:cNvSpPr>
          <p:nvPr/>
        </p:nvSpPr>
        <p:spPr bwMode="auto">
          <a:xfrm>
            <a:off x="4596809" y="5003782"/>
            <a:ext cx="367041" cy="367041"/>
          </a:xfrm>
          <a:custGeom>
            <a:avLst/>
            <a:gdLst>
              <a:gd name="T0" fmla="*/ 288 w 512"/>
              <a:gd name="T1" fmla="*/ 149 h 512"/>
              <a:gd name="T2" fmla="*/ 288 w 512"/>
              <a:gd name="T3" fmla="*/ 209 h 512"/>
              <a:gd name="T4" fmla="*/ 227 w 512"/>
              <a:gd name="T5" fmla="*/ 269 h 512"/>
              <a:gd name="T6" fmla="*/ 224 w 512"/>
              <a:gd name="T7" fmla="*/ 256 h 512"/>
              <a:gd name="T8" fmla="*/ 224 w 512"/>
              <a:gd name="T9" fmla="*/ 149 h 512"/>
              <a:gd name="T10" fmla="*/ 256 w 512"/>
              <a:gd name="T11" fmla="*/ 117 h 512"/>
              <a:gd name="T12" fmla="*/ 288 w 512"/>
              <a:gd name="T13" fmla="*/ 149 h 512"/>
              <a:gd name="T14" fmla="*/ 256 w 512"/>
              <a:gd name="T15" fmla="*/ 288 h 512"/>
              <a:gd name="T16" fmla="*/ 288 w 512"/>
              <a:gd name="T17" fmla="*/ 256 h 512"/>
              <a:gd name="T18" fmla="*/ 288 w 512"/>
              <a:gd name="T19" fmla="*/ 239 h 512"/>
              <a:gd name="T20" fmla="*/ 242 w 512"/>
              <a:gd name="T21" fmla="*/ 284 h 512"/>
              <a:gd name="T22" fmla="*/ 256 w 512"/>
              <a:gd name="T23" fmla="*/ 288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91 w 512"/>
              <a:gd name="T35" fmla="*/ 120 h 512"/>
              <a:gd name="T36" fmla="*/ 376 w 512"/>
              <a:gd name="T37" fmla="*/ 120 h 512"/>
              <a:gd name="T38" fmla="*/ 309 w 512"/>
              <a:gd name="T39" fmla="*/ 187 h 512"/>
              <a:gd name="T40" fmla="*/ 309 w 512"/>
              <a:gd name="T41" fmla="*/ 149 h 512"/>
              <a:gd name="T42" fmla="*/ 256 w 512"/>
              <a:gd name="T43" fmla="*/ 96 h 512"/>
              <a:gd name="T44" fmla="*/ 202 w 512"/>
              <a:gd name="T45" fmla="*/ 149 h 512"/>
              <a:gd name="T46" fmla="*/ 202 w 512"/>
              <a:gd name="T47" fmla="*/ 256 h 512"/>
              <a:gd name="T48" fmla="*/ 211 w 512"/>
              <a:gd name="T49" fmla="*/ 285 h 512"/>
              <a:gd name="T50" fmla="*/ 196 w 512"/>
              <a:gd name="T51" fmla="*/ 300 h 512"/>
              <a:gd name="T52" fmla="*/ 181 w 512"/>
              <a:gd name="T53" fmla="*/ 256 h 512"/>
              <a:gd name="T54" fmla="*/ 170 w 512"/>
              <a:gd name="T55" fmla="*/ 245 h 512"/>
              <a:gd name="T56" fmla="*/ 160 w 512"/>
              <a:gd name="T57" fmla="*/ 256 h 512"/>
              <a:gd name="T58" fmla="*/ 181 w 512"/>
              <a:gd name="T59" fmla="*/ 316 h 512"/>
              <a:gd name="T60" fmla="*/ 120 w 512"/>
              <a:gd name="T61" fmla="*/ 376 h 512"/>
              <a:gd name="T62" fmla="*/ 120 w 512"/>
              <a:gd name="T63" fmla="*/ 391 h 512"/>
              <a:gd name="T64" fmla="*/ 128 w 512"/>
              <a:gd name="T65" fmla="*/ 394 h 512"/>
              <a:gd name="T66" fmla="*/ 135 w 512"/>
              <a:gd name="T67" fmla="*/ 391 h 512"/>
              <a:gd name="T68" fmla="*/ 196 w 512"/>
              <a:gd name="T69" fmla="*/ 331 h 512"/>
              <a:gd name="T70" fmla="*/ 245 w 512"/>
              <a:gd name="T71" fmla="*/ 351 h 512"/>
              <a:gd name="T72" fmla="*/ 245 w 512"/>
              <a:gd name="T73" fmla="*/ 394 h 512"/>
              <a:gd name="T74" fmla="*/ 202 w 512"/>
              <a:gd name="T75" fmla="*/ 394 h 512"/>
              <a:gd name="T76" fmla="*/ 192 w 512"/>
              <a:gd name="T77" fmla="*/ 405 h 512"/>
              <a:gd name="T78" fmla="*/ 202 w 512"/>
              <a:gd name="T79" fmla="*/ 416 h 512"/>
              <a:gd name="T80" fmla="*/ 309 w 512"/>
              <a:gd name="T81" fmla="*/ 416 h 512"/>
              <a:gd name="T82" fmla="*/ 320 w 512"/>
              <a:gd name="T83" fmla="*/ 405 h 512"/>
              <a:gd name="T84" fmla="*/ 309 w 512"/>
              <a:gd name="T85" fmla="*/ 394 h 512"/>
              <a:gd name="T86" fmla="*/ 266 w 512"/>
              <a:gd name="T87" fmla="*/ 394 h 512"/>
              <a:gd name="T88" fmla="*/ 266 w 512"/>
              <a:gd name="T89" fmla="*/ 351 h 512"/>
              <a:gd name="T90" fmla="*/ 352 w 512"/>
              <a:gd name="T91" fmla="*/ 256 h 512"/>
              <a:gd name="T92" fmla="*/ 341 w 512"/>
              <a:gd name="T93" fmla="*/ 245 h 512"/>
              <a:gd name="T94" fmla="*/ 330 w 512"/>
              <a:gd name="T95" fmla="*/ 256 h 512"/>
              <a:gd name="T96" fmla="*/ 256 w 512"/>
              <a:gd name="T97" fmla="*/ 330 h 512"/>
              <a:gd name="T98" fmla="*/ 211 w 512"/>
              <a:gd name="T99" fmla="*/ 315 h 512"/>
              <a:gd name="T100" fmla="*/ 226 w 512"/>
              <a:gd name="T101" fmla="*/ 300 h 512"/>
              <a:gd name="T102" fmla="*/ 256 w 512"/>
              <a:gd name="T103" fmla="*/ 309 h 512"/>
              <a:gd name="T104" fmla="*/ 309 w 512"/>
              <a:gd name="T105" fmla="*/ 256 h 512"/>
              <a:gd name="T106" fmla="*/ 309 w 512"/>
              <a:gd name="T107" fmla="*/ 217 h 512"/>
              <a:gd name="T108" fmla="*/ 391 w 512"/>
              <a:gd name="T109" fmla="*/ 135 h 512"/>
              <a:gd name="T110" fmla="*/ 391 w 512"/>
              <a:gd name="T111"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149"/>
                </a:moveTo>
                <a:cubicBezTo>
                  <a:pt x="288" y="209"/>
                  <a:pt x="288" y="209"/>
                  <a:pt x="288" y="209"/>
                </a:cubicBezTo>
                <a:cubicBezTo>
                  <a:pt x="227" y="269"/>
                  <a:pt x="227" y="269"/>
                  <a:pt x="227" y="269"/>
                </a:cubicBezTo>
                <a:cubicBezTo>
                  <a:pt x="225" y="265"/>
                  <a:pt x="224" y="261"/>
                  <a:pt x="224" y="256"/>
                </a:cubicBezTo>
                <a:cubicBezTo>
                  <a:pt x="224" y="149"/>
                  <a:pt x="224" y="149"/>
                  <a:pt x="224" y="149"/>
                </a:cubicBezTo>
                <a:cubicBezTo>
                  <a:pt x="224" y="131"/>
                  <a:pt x="238" y="117"/>
                  <a:pt x="256" y="117"/>
                </a:cubicBezTo>
                <a:cubicBezTo>
                  <a:pt x="273" y="117"/>
                  <a:pt x="288" y="131"/>
                  <a:pt x="288" y="149"/>
                </a:cubicBezTo>
                <a:close/>
                <a:moveTo>
                  <a:pt x="256" y="288"/>
                </a:moveTo>
                <a:cubicBezTo>
                  <a:pt x="273" y="288"/>
                  <a:pt x="288" y="273"/>
                  <a:pt x="288" y="256"/>
                </a:cubicBezTo>
                <a:cubicBezTo>
                  <a:pt x="288" y="239"/>
                  <a:pt x="288" y="239"/>
                  <a:pt x="288" y="239"/>
                </a:cubicBezTo>
                <a:cubicBezTo>
                  <a:pt x="242" y="284"/>
                  <a:pt x="242" y="284"/>
                  <a:pt x="242" y="284"/>
                </a:cubicBezTo>
                <a:cubicBezTo>
                  <a:pt x="246" y="286"/>
                  <a:pt x="251" y="288"/>
                  <a:pt x="256"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20"/>
                </a:moveTo>
                <a:cubicBezTo>
                  <a:pt x="387" y="116"/>
                  <a:pt x="380" y="116"/>
                  <a:pt x="376" y="120"/>
                </a:cubicBezTo>
                <a:cubicBezTo>
                  <a:pt x="309" y="187"/>
                  <a:pt x="309" y="187"/>
                  <a:pt x="309" y="187"/>
                </a:cubicBezTo>
                <a:cubicBezTo>
                  <a:pt x="309" y="149"/>
                  <a:pt x="309" y="149"/>
                  <a:pt x="309" y="149"/>
                </a:cubicBezTo>
                <a:cubicBezTo>
                  <a:pt x="309" y="120"/>
                  <a:pt x="285" y="96"/>
                  <a:pt x="256" y="96"/>
                </a:cubicBezTo>
                <a:cubicBezTo>
                  <a:pt x="226" y="96"/>
                  <a:pt x="202" y="120"/>
                  <a:pt x="202" y="149"/>
                </a:cubicBezTo>
                <a:cubicBezTo>
                  <a:pt x="202" y="256"/>
                  <a:pt x="202" y="256"/>
                  <a:pt x="202" y="256"/>
                </a:cubicBezTo>
                <a:cubicBezTo>
                  <a:pt x="202" y="267"/>
                  <a:pt x="206" y="277"/>
                  <a:pt x="211" y="285"/>
                </a:cubicBezTo>
                <a:cubicBezTo>
                  <a:pt x="196" y="300"/>
                  <a:pt x="196" y="300"/>
                  <a:pt x="196" y="300"/>
                </a:cubicBezTo>
                <a:cubicBezTo>
                  <a:pt x="187" y="288"/>
                  <a:pt x="181" y="272"/>
                  <a:pt x="181" y="256"/>
                </a:cubicBezTo>
                <a:cubicBezTo>
                  <a:pt x="181" y="250"/>
                  <a:pt x="176" y="245"/>
                  <a:pt x="170" y="245"/>
                </a:cubicBezTo>
                <a:cubicBezTo>
                  <a:pt x="164" y="245"/>
                  <a:pt x="160" y="250"/>
                  <a:pt x="160" y="256"/>
                </a:cubicBezTo>
                <a:cubicBezTo>
                  <a:pt x="160" y="278"/>
                  <a:pt x="168" y="299"/>
                  <a:pt x="181" y="316"/>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96" y="331"/>
                  <a:pt x="196" y="331"/>
                  <a:pt x="196" y="331"/>
                </a:cubicBezTo>
                <a:cubicBezTo>
                  <a:pt x="210" y="342"/>
                  <a:pt x="227" y="349"/>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ubicBezTo>
                  <a:pt x="352" y="250"/>
                  <a:pt x="347" y="245"/>
                  <a:pt x="341" y="245"/>
                </a:cubicBezTo>
                <a:cubicBezTo>
                  <a:pt x="335" y="245"/>
                  <a:pt x="330" y="250"/>
                  <a:pt x="330" y="256"/>
                </a:cubicBezTo>
                <a:cubicBezTo>
                  <a:pt x="330" y="297"/>
                  <a:pt x="297" y="330"/>
                  <a:pt x="256" y="330"/>
                </a:cubicBezTo>
                <a:cubicBezTo>
                  <a:pt x="239" y="330"/>
                  <a:pt x="224" y="325"/>
                  <a:pt x="211" y="315"/>
                </a:cubicBezTo>
                <a:cubicBezTo>
                  <a:pt x="226" y="300"/>
                  <a:pt x="226" y="300"/>
                  <a:pt x="226" y="300"/>
                </a:cubicBezTo>
                <a:cubicBezTo>
                  <a:pt x="235" y="306"/>
                  <a:pt x="245" y="309"/>
                  <a:pt x="256" y="309"/>
                </a:cubicBezTo>
                <a:cubicBezTo>
                  <a:pt x="285" y="309"/>
                  <a:pt x="309" y="285"/>
                  <a:pt x="309" y="256"/>
                </a:cubicBezTo>
                <a:cubicBezTo>
                  <a:pt x="309" y="217"/>
                  <a:pt x="309" y="217"/>
                  <a:pt x="309" y="217"/>
                </a:cubicBezTo>
                <a:cubicBezTo>
                  <a:pt x="391" y="135"/>
                  <a:pt x="391" y="135"/>
                  <a:pt x="391" y="135"/>
                </a:cubicBezTo>
                <a:cubicBezTo>
                  <a:pt x="395" y="131"/>
                  <a:pt x="395" y="124"/>
                  <a:pt x="391" y="12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85" name="Group 863"/>
          <p:cNvGrpSpPr>
            <a:grpSpLocks noChangeAspect="1"/>
          </p:cNvGrpSpPr>
          <p:nvPr/>
        </p:nvGrpSpPr>
        <p:grpSpPr bwMode="auto">
          <a:xfrm>
            <a:off x="5016401" y="5003782"/>
            <a:ext cx="367041" cy="367041"/>
            <a:chOff x="2318" y="3860"/>
            <a:chExt cx="340" cy="340"/>
          </a:xfrm>
          <a:solidFill>
            <a:schemeClr val="accent4"/>
          </a:solidFill>
        </p:grpSpPr>
        <p:sp>
          <p:nvSpPr>
            <p:cNvPr id="686" name="Freeform 864"/>
            <p:cNvSpPr>
              <a:spLocks noEditPoints="1"/>
            </p:cNvSpPr>
            <p:nvPr/>
          </p:nvSpPr>
          <p:spPr bwMode="auto">
            <a:xfrm>
              <a:off x="2395" y="3924"/>
              <a:ext cx="185" cy="212"/>
            </a:xfrm>
            <a:custGeom>
              <a:avLst/>
              <a:gdLst>
                <a:gd name="T0" fmla="*/ 140 w 279"/>
                <a:gd name="T1" fmla="*/ 213 h 320"/>
                <a:gd name="T2" fmla="*/ 193 w 279"/>
                <a:gd name="T3" fmla="*/ 160 h 320"/>
                <a:gd name="T4" fmla="*/ 193 w 279"/>
                <a:gd name="T5" fmla="*/ 121 h 320"/>
                <a:gd name="T6" fmla="*/ 275 w 279"/>
                <a:gd name="T7" fmla="*/ 39 h 320"/>
                <a:gd name="T8" fmla="*/ 275 w 279"/>
                <a:gd name="T9" fmla="*/ 24 h 320"/>
                <a:gd name="T10" fmla="*/ 260 w 279"/>
                <a:gd name="T11" fmla="*/ 24 h 320"/>
                <a:gd name="T12" fmla="*/ 193 w 279"/>
                <a:gd name="T13" fmla="*/ 91 h 320"/>
                <a:gd name="T14" fmla="*/ 193 w 279"/>
                <a:gd name="T15" fmla="*/ 53 h 320"/>
                <a:gd name="T16" fmla="*/ 140 w 279"/>
                <a:gd name="T17" fmla="*/ 0 h 320"/>
                <a:gd name="T18" fmla="*/ 86 w 279"/>
                <a:gd name="T19" fmla="*/ 53 h 320"/>
                <a:gd name="T20" fmla="*/ 86 w 279"/>
                <a:gd name="T21" fmla="*/ 160 h 320"/>
                <a:gd name="T22" fmla="*/ 95 w 279"/>
                <a:gd name="T23" fmla="*/ 189 h 320"/>
                <a:gd name="T24" fmla="*/ 80 w 279"/>
                <a:gd name="T25" fmla="*/ 204 h 320"/>
                <a:gd name="T26" fmla="*/ 65 w 279"/>
                <a:gd name="T27" fmla="*/ 160 h 320"/>
                <a:gd name="T28" fmla="*/ 54 w 279"/>
                <a:gd name="T29" fmla="*/ 149 h 320"/>
                <a:gd name="T30" fmla="*/ 44 w 279"/>
                <a:gd name="T31" fmla="*/ 160 h 320"/>
                <a:gd name="T32" fmla="*/ 65 w 279"/>
                <a:gd name="T33" fmla="*/ 220 h 320"/>
                <a:gd name="T34" fmla="*/ 4 w 279"/>
                <a:gd name="T35" fmla="*/ 280 h 320"/>
                <a:gd name="T36" fmla="*/ 4 w 279"/>
                <a:gd name="T37" fmla="*/ 295 h 320"/>
                <a:gd name="T38" fmla="*/ 12 w 279"/>
                <a:gd name="T39" fmla="*/ 298 h 320"/>
                <a:gd name="T40" fmla="*/ 19 w 279"/>
                <a:gd name="T41" fmla="*/ 295 h 320"/>
                <a:gd name="T42" fmla="*/ 80 w 279"/>
                <a:gd name="T43" fmla="*/ 235 h 320"/>
                <a:gd name="T44" fmla="*/ 129 w 279"/>
                <a:gd name="T45" fmla="*/ 255 h 320"/>
                <a:gd name="T46" fmla="*/ 129 w 279"/>
                <a:gd name="T47" fmla="*/ 298 h 320"/>
                <a:gd name="T48" fmla="*/ 86 w 279"/>
                <a:gd name="T49" fmla="*/ 298 h 320"/>
                <a:gd name="T50" fmla="*/ 76 w 279"/>
                <a:gd name="T51" fmla="*/ 309 h 320"/>
                <a:gd name="T52" fmla="*/ 86 w 279"/>
                <a:gd name="T53" fmla="*/ 320 h 320"/>
                <a:gd name="T54" fmla="*/ 193 w 279"/>
                <a:gd name="T55" fmla="*/ 320 h 320"/>
                <a:gd name="T56" fmla="*/ 204 w 279"/>
                <a:gd name="T57" fmla="*/ 309 h 320"/>
                <a:gd name="T58" fmla="*/ 193 w 279"/>
                <a:gd name="T59" fmla="*/ 298 h 320"/>
                <a:gd name="T60" fmla="*/ 150 w 279"/>
                <a:gd name="T61" fmla="*/ 298 h 320"/>
                <a:gd name="T62" fmla="*/ 150 w 279"/>
                <a:gd name="T63" fmla="*/ 255 h 320"/>
                <a:gd name="T64" fmla="*/ 236 w 279"/>
                <a:gd name="T65" fmla="*/ 160 h 320"/>
                <a:gd name="T66" fmla="*/ 225 w 279"/>
                <a:gd name="T67" fmla="*/ 149 h 320"/>
                <a:gd name="T68" fmla="*/ 214 w 279"/>
                <a:gd name="T69" fmla="*/ 160 h 320"/>
                <a:gd name="T70" fmla="*/ 140 w 279"/>
                <a:gd name="T71" fmla="*/ 234 h 320"/>
                <a:gd name="T72" fmla="*/ 95 w 279"/>
                <a:gd name="T73" fmla="*/ 219 h 320"/>
                <a:gd name="T74" fmla="*/ 110 w 279"/>
                <a:gd name="T75" fmla="*/ 204 h 320"/>
                <a:gd name="T76" fmla="*/ 140 w 279"/>
                <a:gd name="T77" fmla="*/ 213 h 320"/>
                <a:gd name="T78" fmla="*/ 172 w 279"/>
                <a:gd name="T79" fmla="*/ 160 h 320"/>
                <a:gd name="T80" fmla="*/ 140 w 279"/>
                <a:gd name="T81" fmla="*/ 192 h 320"/>
                <a:gd name="T82" fmla="*/ 126 w 279"/>
                <a:gd name="T83" fmla="*/ 188 h 320"/>
                <a:gd name="T84" fmla="*/ 172 w 279"/>
                <a:gd name="T85" fmla="*/ 143 h 320"/>
                <a:gd name="T86" fmla="*/ 172 w 279"/>
                <a:gd name="T87" fmla="*/ 160 h 320"/>
                <a:gd name="T88" fmla="*/ 108 w 279"/>
                <a:gd name="T89" fmla="*/ 160 h 320"/>
                <a:gd name="T90" fmla="*/ 108 w 279"/>
                <a:gd name="T91" fmla="*/ 53 h 320"/>
                <a:gd name="T92" fmla="*/ 140 w 279"/>
                <a:gd name="T93" fmla="*/ 21 h 320"/>
                <a:gd name="T94" fmla="*/ 172 w 279"/>
                <a:gd name="T95" fmla="*/ 53 h 320"/>
                <a:gd name="T96" fmla="*/ 172 w 279"/>
                <a:gd name="T97" fmla="*/ 113 h 320"/>
                <a:gd name="T98" fmla="*/ 111 w 279"/>
                <a:gd name="T99" fmla="*/ 173 h 320"/>
                <a:gd name="T100" fmla="*/ 108 w 279"/>
                <a:gd name="T101"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320">
                  <a:moveTo>
                    <a:pt x="140" y="213"/>
                  </a:moveTo>
                  <a:cubicBezTo>
                    <a:pt x="169" y="213"/>
                    <a:pt x="193" y="189"/>
                    <a:pt x="193" y="160"/>
                  </a:cubicBezTo>
                  <a:cubicBezTo>
                    <a:pt x="193" y="121"/>
                    <a:pt x="193" y="121"/>
                    <a:pt x="193" y="121"/>
                  </a:cubicBezTo>
                  <a:cubicBezTo>
                    <a:pt x="275" y="39"/>
                    <a:pt x="275" y="39"/>
                    <a:pt x="275" y="39"/>
                  </a:cubicBezTo>
                  <a:cubicBezTo>
                    <a:pt x="279" y="35"/>
                    <a:pt x="279" y="28"/>
                    <a:pt x="275" y="24"/>
                  </a:cubicBezTo>
                  <a:cubicBezTo>
                    <a:pt x="271" y="20"/>
                    <a:pt x="264" y="20"/>
                    <a:pt x="260" y="24"/>
                  </a:cubicBezTo>
                  <a:cubicBezTo>
                    <a:pt x="193" y="91"/>
                    <a:pt x="193" y="91"/>
                    <a:pt x="193" y="91"/>
                  </a:cubicBezTo>
                  <a:cubicBezTo>
                    <a:pt x="193" y="53"/>
                    <a:pt x="193" y="53"/>
                    <a:pt x="193" y="53"/>
                  </a:cubicBezTo>
                  <a:cubicBezTo>
                    <a:pt x="193" y="24"/>
                    <a:pt x="169" y="0"/>
                    <a:pt x="140" y="0"/>
                  </a:cubicBezTo>
                  <a:cubicBezTo>
                    <a:pt x="110" y="0"/>
                    <a:pt x="86" y="24"/>
                    <a:pt x="86" y="53"/>
                  </a:cubicBezTo>
                  <a:cubicBezTo>
                    <a:pt x="86" y="160"/>
                    <a:pt x="86" y="160"/>
                    <a:pt x="86" y="160"/>
                  </a:cubicBezTo>
                  <a:cubicBezTo>
                    <a:pt x="86" y="171"/>
                    <a:pt x="90" y="181"/>
                    <a:pt x="95" y="189"/>
                  </a:cubicBezTo>
                  <a:cubicBezTo>
                    <a:pt x="80" y="204"/>
                    <a:pt x="80" y="204"/>
                    <a:pt x="80" y="204"/>
                  </a:cubicBezTo>
                  <a:cubicBezTo>
                    <a:pt x="71" y="192"/>
                    <a:pt x="65" y="176"/>
                    <a:pt x="65" y="160"/>
                  </a:cubicBezTo>
                  <a:cubicBezTo>
                    <a:pt x="65" y="154"/>
                    <a:pt x="60" y="149"/>
                    <a:pt x="54" y="149"/>
                  </a:cubicBezTo>
                  <a:cubicBezTo>
                    <a:pt x="48" y="149"/>
                    <a:pt x="44" y="154"/>
                    <a:pt x="44" y="160"/>
                  </a:cubicBezTo>
                  <a:cubicBezTo>
                    <a:pt x="44" y="182"/>
                    <a:pt x="52" y="203"/>
                    <a:pt x="65" y="220"/>
                  </a:cubicBezTo>
                  <a:cubicBezTo>
                    <a:pt x="4" y="280"/>
                    <a:pt x="4" y="280"/>
                    <a:pt x="4" y="280"/>
                  </a:cubicBezTo>
                  <a:cubicBezTo>
                    <a:pt x="0" y="284"/>
                    <a:pt x="0" y="291"/>
                    <a:pt x="4" y="295"/>
                  </a:cubicBezTo>
                  <a:cubicBezTo>
                    <a:pt x="6" y="297"/>
                    <a:pt x="9" y="298"/>
                    <a:pt x="12" y="298"/>
                  </a:cubicBezTo>
                  <a:cubicBezTo>
                    <a:pt x="14" y="298"/>
                    <a:pt x="17" y="297"/>
                    <a:pt x="19" y="295"/>
                  </a:cubicBezTo>
                  <a:cubicBezTo>
                    <a:pt x="80" y="235"/>
                    <a:pt x="80" y="235"/>
                    <a:pt x="80" y="235"/>
                  </a:cubicBezTo>
                  <a:cubicBezTo>
                    <a:pt x="94" y="246"/>
                    <a:pt x="111" y="253"/>
                    <a:pt x="129" y="255"/>
                  </a:cubicBezTo>
                  <a:cubicBezTo>
                    <a:pt x="129" y="298"/>
                    <a:pt x="129" y="298"/>
                    <a:pt x="129" y="298"/>
                  </a:cubicBezTo>
                  <a:cubicBezTo>
                    <a:pt x="86" y="298"/>
                    <a:pt x="86" y="298"/>
                    <a:pt x="86" y="298"/>
                  </a:cubicBezTo>
                  <a:cubicBezTo>
                    <a:pt x="80" y="298"/>
                    <a:pt x="76" y="303"/>
                    <a:pt x="76" y="309"/>
                  </a:cubicBezTo>
                  <a:cubicBezTo>
                    <a:pt x="76" y="315"/>
                    <a:pt x="80" y="320"/>
                    <a:pt x="86" y="320"/>
                  </a:cubicBezTo>
                  <a:cubicBezTo>
                    <a:pt x="193" y="320"/>
                    <a:pt x="193" y="320"/>
                    <a:pt x="193" y="320"/>
                  </a:cubicBezTo>
                  <a:cubicBezTo>
                    <a:pt x="199" y="320"/>
                    <a:pt x="204" y="315"/>
                    <a:pt x="204" y="309"/>
                  </a:cubicBezTo>
                  <a:cubicBezTo>
                    <a:pt x="204" y="303"/>
                    <a:pt x="199" y="298"/>
                    <a:pt x="193" y="298"/>
                  </a:cubicBezTo>
                  <a:cubicBezTo>
                    <a:pt x="150" y="298"/>
                    <a:pt x="150" y="298"/>
                    <a:pt x="150" y="298"/>
                  </a:cubicBezTo>
                  <a:cubicBezTo>
                    <a:pt x="150" y="255"/>
                    <a:pt x="150" y="255"/>
                    <a:pt x="150" y="255"/>
                  </a:cubicBezTo>
                  <a:cubicBezTo>
                    <a:pt x="198" y="250"/>
                    <a:pt x="236" y="209"/>
                    <a:pt x="236" y="160"/>
                  </a:cubicBezTo>
                  <a:cubicBezTo>
                    <a:pt x="236" y="154"/>
                    <a:pt x="231" y="149"/>
                    <a:pt x="225" y="149"/>
                  </a:cubicBezTo>
                  <a:cubicBezTo>
                    <a:pt x="219" y="149"/>
                    <a:pt x="214" y="154"/>
                    <a:pt x="214" y="160"/>
                  </a:cubicBezTo>
                  <a:cubicBezTo>
                    <a:pt x="214" y="201"/>
                    <a:pt x="181" y="234"/>
                    <a:pt x="140" y="234"/>
                  </a:cubicBezTo>
                  <a:cubicBezTo>
                    <a:pt x="123" y="234"/>
                    <a:pt x="108" y="229"/>
                    <a:pt x="95" y="219"/>
                  </a:cubicBezTo>
                  <a:cubicBezTo>
                    <a:pt x="110" y="204"/>
                    <a:pt x="110" y="204"/>
                    <a:pt x="110" y="204"/>
                  </a:cubicBezTo>
                  <a:cubicBezTo>
                    <a:pt x="119" y="210"/>
                    <a:pt x="129" y="213"/>
                    <a:pt x="140" y="213"/>
                  </a:cubicBezTo>
                  <a:close/>
                  <a:moveTo>
                    <a:pt x="172" y="160"/>
                  </a:moveTo>
                  <a:cubicBezTo>
                    <a:pt x="172" y="177"/>
                    <a:pt x="157" y="192"/>
                    <a:pt x="140" y="192"/>
                  </a:cubicBezTo>
                  <a:cubicBezTo>
                    <a:pt x="135" y="192"/>
                    <a:pt x="130" y="190"/>
                    <a:pt x="126" y="188"/>
                  </a:cubicBezTo>
                  <a:cubicBezTo>
                    <a:pt x="172" y="143"/>
                    <a:pt x="172" y="143"/>
                    <a:pt x="172" y="143"/>
                  </a:cubicBezTo>
                  <a:lnTo>
                    <a:pt x="172" y="160"/>
                  </a:lnTo>
                  <a:close/>
                  <a:moveTo>
                    <a:pt x="108" y="160"/>
                  </a:moveTo>
                  <a:cubicBezTo>
                    <a:pt x="108" y="53"/>
                    <a:pt x="108" y="53"/>
                    <a:pt x="108" y="53"/>
                  </a:cubicBezTo>
                  <a:cubicBezTo>
                    <a:pt x="108" y="35"/>
                    <a:pt x="122" y="21"/>
                    <a:pt x="140" y="21"/>
                  </a:cubicBezTo>
                  <a:cubicBezTo>
                    <a:pt x="157" y="21"/>
                    <a:pt x="172" y="35"/>
                    <a:pt x="172" y="53"/>
                  </a:cubicBezTo>
                  <a:cubicBezTo>
                    <a:pt x="172" y="113"/>
                    <a:pt x="172" y="113"/>
                    <a:pt x="172" y="113"/>
                  </a:cubicBezTo>
                  <a:cubicBezTo>
                    <a:pt x="111" y="173"/>
                    <a:pt x="111" y="173"/>
                    <a:pt x="111" y="173"/>
                  </a:cubicBezTo>
                  <a:cubicBezTo>
                    <a:pt x="109" y="169"/>
                    <a:pt x="108" y="165"/>
                    <a:pt x="108"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7" name="Freeform 865"/>
            <p:cNvSpPr>
              <a:spLocks noEditPoints="1"/>
            </p:cNvSpPr>
            <p:nvPr/>
          </p:nvSpPr>
          <p:spPr bwMode="auto">
            <a:xfrm>
              <a:off x="2318" y="38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8" name="Freeform 879"/>
          <p:cNvSpPr>
            <a:spLocks noChangeAspect="1" noEditPoints="1"/>
          </p:cNvSpPr>
          <p:nvPr/>
        </p:nvSpPr>
        <p:spPr bwMode="auto">
          <a:xfrm>
            <a:off x="5435993" y="5003782"/>
            <a:ext cx="367982" cy="367982"/>
          </a:xfrm>
          <a:custGeom>
            <a:avLst/>
            <a:gdLst>
              <a:gd name="T0" fmla="*/ 256 w 512"/>
              <a:gd name="T1" fmla="*/ 309 h 512"/>
              <a:gd name="T2" fmla="*/ 309 w 512"/>
              <a:gd name="T3" fmla="*/ 256 h 512"/>
              <a:gd name="T4" fmla="*/ 256 w 512"/>
              <a:gd name="T5" fmla="*/ 202 h 512"/>
              <a:gd name="T6" fmla="*/ 202 w 512"/>
              <a:gd name="T7" fmla="*/ 256 h 512"/>
              <a:gd name="T8" fmla="*/ 233 w 512"/>
              <a:gd name="T9" fmla="*/ 233 h 512"/>
              <a:gd name="T10" fmla="*/ 278 w 512"/>
              <a:gd name="T11" fmla="*/ 233 h 512"/>
              <a:gd name="T12" fmla="*/ 256 w 512"/>
              <a:gd name="T13" fmla="*/ 288 h 512"/>
              <a:gd name="T14" fmla="*/ 233 w 512"/>
              <a:gd name="T15" fmla="*/ 233 h 512"/>
              <a:gd name="T16" fmla="*/ 158 w 512"/>
              <a:gd name="T17" fmla="*/ 158 h 512"/>
              <a:gd name="T18" fmla="*/ 213 w 512"/>
              <a:gd name="T19" fmla="*/ 195 h 512"/>
              <a:gd name="T20" fmla="*/ 195 w 512"/>
              <a:gd name="T21" fmla="*/ 213 h 512"/>
              <a:gd name="T22" fmla="*/ 279 w 512"/>
              <a:gd name="T23" fmla="*/ 326 h 512"/>
              <a:gd name="T24" fmla="*/ 256 w 512"/>
              <a:gd name="T25" fmla="*/ 394 h 512"/>
              <a:gd name="T26" fmla="*/ 117 w 512"/>
              <a:gd name="T27" fmla="*/ 256 h 512"/>
              <a:gd name="T28" fmla="*/ 141 w 512"/>
              <a:gd name="T29" fmla="*/ 207 h 512"/>
              <a:gd name="T30" fmla="*/ 181 w 512"/>
              <a:gd name="T31" fmla="*/ 256 h 512"/>
              <a:gd name="T32" fmla="*/ 256 w 512"/>
              <a:gd name="T33" fmla="*/ 330 h 512"/>
              <a:gd name="T34" fmla="*/ 248 w 512"/>
              <a:gd name="T35" fmla="*/ 263 h 512"/>
              <a:gd name="T36" fmla="*/ 256 w 512"/>
              <a:gd name="T37" fmla="*/ 245 h 512"/>
              <a:gd name="T38" fmla="*/ 263 w 512"/>
              <a:gd name="T39" fmla="*/ 248 h 512"/>
              <a:gd name="T40" fmla="*/ 248 w 512"/>
              <a:gd name="T41" fmla="*/ 263 h 512"/>
              <a:gd name="T42" fmla="*/ 0 w 512"/>
              <a:gd name="T43" fmla="*/ 256 h 512"/>
              <a:gd name="T44" fmla="*/ 512 w 512"/>
              <a:gd name="T45" fmla="*/ 256 h 512"/>
              <a:gd name="T46" fmla="*/ 369 w 512"/>
              <a:gd name="T47" fmla="*/ 369 h 512"/>
              <a:gd name="T48" fmla="*/ 143 w 512"/>
              <a:gd name="T49" fmla="*/ 369 h 512"/>
              <a:gd name="T50" fmla="*/ 143 w 512"/>
              <a:gd name="T51" fmla="*/ 143 h 512"/>
              <a:gd name="T52" fmla="*/ 369 w 512"/>
              <a:gd name="T53" fmla="*/ 143 h 512"/>
              <a:gd name="T54" fmla="*/ 369 w 512"/>
              <a:gd name="T55" fmla="*/ 369 h 512"/>
              <a:gd name="T56" fmla="*/ 394 w 512"/>
              <a:gd name="T57" fmla="*/ 256 h 512"/>
              <a:gd name="T58" fmla="*/ 326 w 512"/>
              <a:gd name="T59" fmla="*/ 279 h 512"/>
              <a:gd name="T60" fmla="*/ 308 w 512"/>
              <a:gd name="T61" fmla="*/ 203 h 512"/>
              <a:gd name="T62" fmla="*/ 232 w 512"/>
              <a:gd name="T63" fmla="*/ 185 h 512"/>
              <a:gd name="T64" fmla="*/ 256 w 512"/>
              <a:gd name="T65" fmla="*/ 117 h 512"/>
              <a:gd name="T66" fmla="*/ 317 w 512"/>
              <a:gd name="T67" fmla="*/ 298 h 512"/>
              <a:gd name="T68" fmla="*/ 354 w 512"/>
              <a:gd name="T69" fmla="*/ 354 h 512"/>
              <a:gd name="T70" fmla="*/ 298 w 512"/>
              <a:gd name="T71" fmla="*/ 317 h 512"/>
              <a:gd name="T72" fmla="*/ 317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18" y="293"/>
                </a:moveTo>
                <a:cubicBezTo>
                  <a:pt x="228" y="303"/>
                  <a:pt x="241" y="309"/>
                  <a:pt x="256" y="309"/>
                </a:cubicBezTo>
                <a:cubicBezTo>
                  <a:pt x="270" y="309"/>
                  <a:pt x="283" y="303"/>
                  <a:pt x="293" y="293"/>
                </a:cubicBezTo>
                <a:cubicBezTo>
                  <a:pt x="303" y="283"/>
                  <a:pt x="309" y="270"/>
                  <a:pt x="309" y="256"/>
                </a:cubicBezTo>
                <a:cubicBezTo>
                  <a:pt x="309" y="241"/>
                  <a:pt x="303" y="228"/>
                  <a:pt x="293" y="218"/>
                </a:cubicBezTo>
                <a:cubicBezTo>
                  <a:pt x="283" y="208"/>
                  <a:pt x="270" y="202"/>
                  <a:pt x="256" y="202"/>
                </a:cubicBezTo>
                <a:cubicBezTo>
                  <a:pt x="241" y="202"/>
                  <a:pt x="228" y="208"/>
                  <a:pt x="218" y="218"/>
                </a:cubicBezTo>
                <a:cubicBezTo>
                  <a:pt x="208" y="228"/>
                  <a:pt x="202" y="241"/>
                  <a:pt x="202" y="256"/>
                </a:cubicBezTo>
                <a:cubicBezTo>
                  <a:pt x="202" y="270"/>
                  <a:pt x="208" y="283"/>
                  <a:pt x="218" y="293"/>
                </a:cubicBezTo>
                <a:close/>
                <a:moveTo>
                  <a:pt x="233" y="233"/>
                </a:moveTo>
                <a:cubicBezTo>
                  <a:pt x="245" y="221"/>
                  <a:pt x="266" y="221"/>
                  <a:pt x="278" y="233"/>
                </a:cubicBezTo>
                <a:cubicBezTo>
                  <a:pt x="278" y="233"/>
                  <a:pt x="278" y="233"/>
                  <a:pt x="278" y="233"/>
                </a:cubicBezTo>
                <a:cubicBezTo>
                  <a:pt x="291" y="245"/>
                  <a:pt x="291" y="266"/>
                  <a:pt x="278" y="278"/>
                </a:cubicBezTo>
                <a:cubicBezTo>
                  <a:pt x="272" y="284"/>
                  <a:pt x="264" y="288"/>
                  <a:pt x="256" y="288"/>
                </a:cubicBezTo>
                <a:cubicBezTo>
                  <a:pt x="247" y="288"/>
                  <a:pt x="239" y="284"/>
                  <a:pt x="233" y="278"/>
                </a:cubicBezTo>
                <a:cubicBezTo>
                  <a:pt x="221" y="266"/>
                  <a:pt x="221" y="246"/>
                  <a:pt x="233" y="233"/>
                </a:cubicBezTo>
                <a:close/>
                <a:moveTo>
                  <a:pt x="138" y="182"/>
                </a:moveTo>
                <a:cubicBezTo>
                  <a:pt x="144" y="173"/>
                  <a:pt x="150" y="165"/>
                  <a:pt x="158" y="158"/>
                </a:cubicBezTo>
                <a:cubicBezTo>
                  <a:pt x="165" y="150"/>
                  <a:pt x="173" y="144"/>
                  <a:pt x="182" y="138"/>
                </a:cubicBezTo>
                <a:cubicBezTo>
                  <a:pt x="213" y="195"/>
                  <a:pt x="213" y="195"/>
                  <a:pt x="213" y="195"/>
                </a:cubicBezTo>
                <a:cubicBezTo>
                  <a:pt x="209" y="197"/>
                  <a:pt x="206" y="200"/>
                  <a:pt x="203" y="203"/>
                </a:cubicBezTo>
                <a:cubicBezTo>
                  <a:pt x="200" y="206"/>
                  <a:pt x="197" y="209"/>
                  <a:pt x="195" y="213"/>
                </a:cubicBezTo>
                <a:lnTo>
                  <a:pt x="138" y="182"/>
                </a:lnTo>
                <a:close/>
                <a:moveTo>
                  <a:pt x="279" y="326"/>
                </a:moveTo>
                <a:cubicBezTo>
                  <a:pt x="311" y="383"/>
                  <a:pt x="311" y="383"/>
                  <a:pt x="311" y="383"/>
                </a:cubicBezTo>
                <a:cubicBezTo>
                  <a:pt x="294" y="390"/>
                  <a:pt x="275" y="394"/>
                  <a:pt x="256" y="394"/>
                </a:cubicBezTo>
                <a:cubicBezTo>
                  <a:pt x="219" y="394"/>
                  <a:pt x="184" y="380"/>
                  <a:pt x="158" y="354"/>
                </a:cubicBezTo>
                <a:cubicBezTo>
                  <a:pt x="131" y="328"/>
                  <a:pt x="117" y="293"/>
                  <a:pt x="117" y="256"/>
                </a:cubicBezTo>
                <a:cubicBezTo>
                  <a:pt x="117" y="236"/>
                  <a:pt x="121" y="218"/>
                  <a:pt x="128" y="201"/>
                </a:cubicBezTo>
                <a:cubicBezTo>
                  <a:pt x="141" y="207"/>
                  <a:pt x="141" y="207"/>
                  <a:pt x="141" y="207"/>
                </a:cubicBezTo>
                <a:cubicBezTo>
                  <a:pt x="185" y="232"/>
                  <a:pt x="185" y="232"/>
                  <a:pt x="185" y="232"/>
                </a:cubicBezTo>
                <a:cubicBezTo>
                  <a:pt x="182" y="239"/>
                  <a:pt x="181" y="247"/>
                  <a:pt x="181" y="256"/>
                </a:cubicBezTo>
                <a:cubicBezTo>
                  <a:pt x="181" y="276"/>
                  <a:pt x="189" y="294"/>
                  <a:pt x="203" y="308"/>
                </a:cubicBezTo>
                <a:cubicBezTo>
                  <a:pt x="217" y="323"/>
                  <a:pt x="236" y="330"/>
                  <a:pt x="256" y="330"/>
                </a:cubicBezTo>
                <a:cubicBezTo>
                  <a:pt x="264" y="330"/>
                  <a:pt x="272" y="329"/>
                  <a:pt x="279" y="326"/>
                </a:cubicBezTo>
                <a:close/>
                <a:moveTo>
                  <a:pt x="248" y="263"/>
                </a:moveTo>
                <a:cubicBezTo>
                  <a:pt x="244" y="259"/>
                  <a:pt x="244" y="252"/>
                  <a:pt x="248" y="248"/>
                </a:cubicBezTo>
                <a:cubicBezTo>
                  <a:pt x="250" y="246"/>
                  <a:pt x="253" y="245"/>
                  <a:pt x="256" y="245"/>
                </a:cubicBezTo>
                <a:cubicBezTo>
                  <a:pt x="259" y="245"/>
                  <a:pt x="261" y="246"/>
                  <a:pt x="263" y="248"/>
                </a:cubicBezTo>
                <a:cubicBezTo>
                  <a:pt x="263" y="248"/>
                  <a:pt x="263" y="248"/>
                  <a:pt x="263" y="248"/>
                </a:cubicBezTo>
                <a:cubicBezTo>
                  <a:pt x="267" y="252"/>
                  <a:pt x="267" y="259"/>
                  <a:pt x="263" y="263"/>
                </a:cubicBezTo>
                <a:cubicBezTo>
                  <a:pt x="259" y="267"/>
                  <a:pt x="252" y="267"/>
                  <a:pt x="248"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369"/>
                </a:moveTo>
                <a:cubicBezTo>
                  <a:pt x="339" y="399"/>
                  <a:pt x="298" y="416"/>
                  <a:pt x="256" y="416"/>
                </a:cubicBezTo>
                <a:cubicBezTo>
                  <a:pt x="213" y="416"/>
                  <a:pt x="173" y="399"/>
                  <a:pt x="143" y="369"/>
                </a:cubicBezTo>
                <a:cubicBezTo>
                  <a:pt x="112" y="339"/>
                  <a:pt x="96" y="298"/>
                  <a:pt x="96" y="256"/>
                </a:cubicBezTo>
                <a:cubicBezTo>
                  <a:pt x="96" y="213"/>
                  <a:pt x="112" y="173"/>
                  <a:pt x="143" y="143"/>
                </a:cubicBezTo>
                <a:cubicBezTo>
                  <a:pt x="173" y="112"/>
                  <a:pt x="213" y="96"/>
                  <a:pt x="256" y="96"/>
                </a:cubicBezTo>
                <a:cubicBezTo>
                  <a:pt x="298" y="96"/>
                  <a:pt x="339" y="112"/>
                  <a:pt x="369" y="143"/>
                </a:cubicBezTo>
                <a:cubicBezTo>
                  <a:pt x="399" y="173"/>
                  <a:pt x="416" y="213"/>
                  <a:pt x="416" y="256"/>
                </a:cubicBezTo>
                <a:cubicBezTo>
                  <a:pt x="416" y="298"/>
                  <a:pt x="399" y="339"/>
                  <a:pt x="369" y="369"/>
                </a:cubicBezTo>
                <a:close/>
                <a:moveTo>
                  <a:pt x="354" y="158"/>
                </a:moveTo>
                <a:cubicBezTo>
                  <a:pt x="380" y="184"/>
                  <a:pt x="394" y="219"/>
                  <a:pt x="394" y="256"/>
                </a:cubicBezTo>
                <a:cubicBezTo>
                  <a:pt x="394" y="275"/>
                  <a:pt x="390" y="294"/>
                  <a:pt x="383" y="311"/>
                </a:cubicBezTo>
                <a:cubicBezTo>
                  <a:pt x="326" y="279"/>
                  <a:pt x="326" y="279"/>
                  <a:pt x="326" y="279"/>
                </a:cubicBezTo>
                <a:cubicBezTo>
                  <a:pt x="329" y="272"/>
                  <a:pt x="330" y="264"/>
                  <a:pt x="330" y="256"/>
                </a:cubicBezTo>
                <a:cubicBezTo>
                  <a:pt x="330" y="236"/>
                  <a:pt x="323" y="217"/>
                  <a:pt x="308" y="203"/>
                </a:cubicBezTo>
                <a:cubicBezTo>
                  <a:pt x="294" y="189"/>
                  <a:pt x="276" y="181"/>
                  <a:pt x="256" y="181"/>
                </a:cubicBezTo>
                <a:cubicBezTo>
                  <a:pt x="247" y="181"/>
                  <a:pt x="239" y="182"/>
                  <a:pt x="232" y="185"/>
                </a:cubicBezTo>
                <a:cubicBezTo>
                  <a:pt x="201" y="128"/>
                  <a:pt x="201" y="128"/>
                  <a:pt x="201" y="128"/>
                </a:cubicBezTo>
                <a:cubicBezTo>
                  <a:pt x="218" y="121"/>
                  <a:pt x="236" y="117"/>
                  <a:pt x="256" y="117"/>
                </a:cubicBezTo>
                <a:cubicBezTo>
                  <a:pt x="293" y="117"/>
                  <a:pt x="328" y="131"/>
                  <a:pt x="354" y="158"/>
                </a:cubicBezTo>
                <a:close/>
                <a:moveTo>
                  <a:pt x="317" y="298"/>
                </a:moveTo>
                <a:cubicBezTo>
                  <a:pt x="373" y="330"/>
                  <a:pt x="373" y="330"/>
                  <a:pt x="373" y="330"/>
                </a:cubicBezTo>
                <a:cubicBezTo>
                  <a:pt x="367" y="338"/>
                  <a:pt x="361" y="346"/>
                  <a:pt x="354" y="354"/>
                </a:cubicBezTo>
                <a:cubicBezTo>
                  <a:pt x="346" y="361"/>
                  <a:pt x="338" y="367"/>
                  <a:pt x="330" y="373"/>
                </a:cubicBezTo>
                <a:cubicBezTo>
                  <a:pt x="298" y="317"/>
                  <a:pt x="298" y="317"/>
                  <a:pt x="298" y="317"/>
                </a:cubicBezTo>
                <a:cubicBezTo>
                  <a:pt x="302" y="314"/>
                  <a:pt x="305" y="312"/>
                  <a:pt x="308" y="308"/>
                </a:cubicBezTo>
                <a:cubicBezTo>
                  <a:pt x="312" y="305"/>
                  <a:pt x="314" y="302"/>
                  <a:pt x="317" y="29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89" name="Group 882"/>
          <p:cNvGrpSpPr>
            <a:grpSpLocks noChangeAspect="1"/>
          </p:cNvGrpSpPr>
          <p:nvPr/>
        </p:nvGrpSpPr>
        <p:grpSpPr bwMode="auto">
          <a:xfrm>
            <a:off x="5856526" y="5003782"/>
            <a:ext cx="367982" cy="367982"/>
            <a:chOff x="4643" y="3798"/>
            <a:chExt cx="340" cy="340"/>
          </a:xfrm>
          <a:solidFill>
            <a:schemeClr val="accent4"/>
          </a:solidFill>
        </p:grpSpPr>
        <p:sp>
          <p:nvSpPr>
            <p:cNvPr id="690" name="Freeform 689"/>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1" name="Freeform 690"/>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2" name="Freeform 691"/>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3" name="Freeform 692"/>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4" name="Freeform 1020"/>
          <p:cNvSpPr>
            <a:spLocks noChangeAspect="1" noEditPoints="1"/>
          </p:cNvSpPr>
          <p:nvPr/>
        </p:nvSpPr>
        <p:spPr bwMode="auto">
          <a:xfrm>
            <a:off x="6277059" y="5003782"/>
            <a:ext cx="367041" cy="368121"/>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95" name="Group 1023"/>
          <p:cNvGrpSpPr>
            <a:grpSpLocks noChangeAspect="1"/>
          </p:cNvGrpSpPr>
          <p:nvPr/>
        </p:nvGrpSpPr>
        <p:grpSpPr bwMode="auto">
          <a:xfrm>
            <a:off x="6696651" y="5003782"/>
            <a:ext cx="367041" cy="367041"/>
            <a:chOff x="5852" y="4018"/>
            <a:chExt cx="340" cy="340"/>
          </a:xfrm>
          <a:solidFill>
            <a:schemeClr val="accent5"/>
          </a:solidFill>
        </p:grpSpPr>
        <p:sp>
          <p:nvSpPr>
            <p:cNvPr id="696" name="Freeform 1024"/>
            <p:cNvSpPr>
              <a:spLocks noEditPoints="1"/>
            </p:cNvSpPr>
            <p:nvPr/>
          </p:nvSpPr>
          <p:spPr bwMode="auto">
            <a:xfrm>
              <a:off x="5852" y="4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7" name="Freeform 1025"/>
            <p:cNvSpPr>
              <a:spLocks noEditPoints="1"/>
            </p:cNvSpPr>
            <p:nvPr/>
          </p:nvSpPr>
          <p:spPr bwMode="auto">
            <a:xfrm>
              <a:off x="5930" y="4096"/>
              <a:ext cx="184" cy="18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8" name="Freeform 1029"/>
          <p:cNvSpPr>
            <a:spLocks noChangeAspect="1" noEditPoints="1"/>
          </p:cNvSpPr>
          <p:nvPr/>
        </p:nvSpPr>
        <p:spPr bwMode="auto">
          <a:xfrm>
            <a:off x="7116243" y="5003782"/>
            <a:ext cx="367041" cy="367041"/>
          </a:xfrm>
          <a:custGeom>
            <a:avLst/>
            <a:gdLst>
              <a:gd name="T0" fmla="*/ 181 w 512"/>
              <a:gd name="T1" fmla="*/ 277 h 512"/>
              <a:gd name="T2" fmla="*/ 160 w 512"/>
              <a:gd name="T3" fmla="*/ 202 h 512"/>
              <a:gd name="T4" fmla="*/ 181 w 512"/>
              <a:gd name="T5" fmla="*/ 181 h 512"/>
              <a:gd name="T6" fmla="*/ 256 w 512"/>
              <a:gd name="T7" fmla="*/ 202 h 512"/>
              <a:gd name="T8" fmla="*/ 256 w 512"/>
              <a:gd name="T9" fmla="*/ 266 h 512"/>
              <a:gd name="T10" fmla="*/ 160 w 512"/>
              <a:gd name="T11" fmla="*/ 160 h 512"/>
              <a:gd name="T12" fmla="*/ 160 w 512"/>
              <a:gd name="T13" fmla="*/ 181 h 512"/>
              <a:gd name="T14" fmla="*/ 266 w 512"/>
              <a:gd name="T15" fmla="*/ 160 h 512"/>
              <a:gd name="T16" fmla="*/ 288 w 512"/>
              <a:gd name="T17" fmla="*/ 160 h 512"/>
              <a:gd name="T18" fmla="*/ 224 w 512"/>
              <a:gd name="T19" fmla="*/ 352 h 512"/>
              <a:gd name="T20" fmla="*/ 266 w 512"/>
              <a:gd name="T21" fmla="*/ 309 h 512"/>
              <a:gd name="T22" fmla="*/ 266 w 512"/>
              <a:gd name="T23" fmla="*/ 288 h 512"/>
              <a:gd name="T24" fmla="*/ 160 w 512"/>
              <a:gd name="T25" fmla="*/ 309 h 512"/>
              <a:gd name="T26" fmla="*/ 138 w 512"/>
              <a:gd name="T27" fmla="*/ 309 h 512"/>
              <a:gd name="T28" fmla="*/ 0 w 512"/>
              <a:gd name="T29" fmla="*/ 256 h 512"/>
              <a:gd name="T30" fmla="*/ 373 w 512"/>
              <a:gd name="T31" fmla="*/ 213 h 512"/>
              <a:gd name="T32" fmla="*/ 309 w 512"/>
              <a:gd name="T33" fmla="*/ 213 h 512"/>
              <a:gd name="T34" fmla="*/ 288 w 512"/>
              <a:gd name="T35" fmla="*/ 202 h 512"/>
              <a:gd name="T36" fmla="*/ 309 w 512"/>
              <a:gd name="T37" fmla="*/ 149 h 512"/>
              <a:gd name="T38" fmla="*/ 245 w 512"/>
              <a:gd name="T39" fmla="*/ 149 h 512"/>
              <a:gd name="T40" fmla="*/ 181 w 512"/>
              <a:gd name="T41" fmla="*/ 149 h 512"/>
              <a:gd name="T42" fmla="*/ 117 w 512"/>
              <a:gd name="T43" fmla="*/ 149 h 512"/>
              <a:gd name="T44" fmla="*/ 138 w 512"/>
              <a:gd name="T45" fmla="*/ 202 h 512"/>
              <a:gd name="T46" fmla="*/ 117 w 512"/>
              <a:gd name="T47" fmla="*/ 277 h 512"/>
              <a:gd name="T48" fmla="*/ 170 w 512"/>
              <a:gd name="T49" fmla="*/ 330 h 512"/>
              <a:gd name="T50" fmla="*/ 202 w 512"/>
              <a:gd name="T51" fmla="*/ 309 h 512"/>
              <a:gd name="T52" fmla="*/ 181 w 512"/>
              <a:gd name="T53" fmla="*/ 341 h 512"/>
              <a:gd name="T54" fmla="*/ 234 w 512"/>
              <a:gd name="T55" fmla="*/ 394 h 512"/>
              <a:gd name="T56" fmla="*/ 309 w 512"/>
              <a:gd name="T57" fmla="*/ 373 h 512"/>
              <a:gd name="T58" fmla="*/ 362 w 512"/>
              <a:gd name="T59" fmla="*/ 394 h 512"/>
              <a:gd name="T60" fmla="*/ 362 w 512"/>
              <a:gd name="T61" fmla="*/ 330 h 512"/>
              <a:gd name="T62" fmla="*/ 362 w 512"/>
              <a:gd name="T63" fmla="*/ 266 h 512"/>
              <a:gd name="T64" fmla="*/ 330 w 512"/>
              <a:gd name="T65" fmla="*/ 266 h 512"/>
              <a:gd name="T66" fmla="*/ 309 w 512"/>
              <a:gd name="T67" fmla="*/ 245 h 512"/>
              <a:gd name="T68" fmla="*/ 298 w 512"/>
              <a:gd name="T69" fmla="*/ 266 h 512"/>
              <a:gd name="T70" fmla="*/ 298 w 512"/>
              <a:gd name="T71" fmla="*/ 330 h 512"/>
              <a:gd name="T72" fmla="*/ 245 w 512"/>
              <a:gd name="T73" fmla="*/ 309 h 512"/>
              <a:gd name="T74" fmla="*/ 234 w 512"/>
              <a:gd name="T75" fmla="*/ 330 h 512"/>
              <a:gd name="T76" fmla="*/ 309 w 512"/>
              <a:gd name="T77" fmla="*/ 352 h 512"/>
              <a:gd name="T78" fmla="*/ 330 w 512"/>
              <a:gd name="T79" fmla="*/ 330 h 512"/>
              <a:gd name="T80" fmla="*/ 352 w 512"/>
              <a:gd name="T81" fmla="*/ 245 h 512"/>
              <a:gd name="T82" fmla="*/ 330 w 512"/>
              <a:gd name="T83" fmla="*/ 245 h 512"/>
              <a:gd name="T84" fmla="*/ 352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45" y="288"/>
                </a:moveTo>
                <a:cubicBezTo>
                  <a:pt x="181" y="288"/>
                  <a:pt x="181" y="288"/>
                  <a:pt x="181" y="288"/>
                </a:cubicBezTo>
                <a:cubicBezTo>
                  <a:pt x="181" y="277"/>
                  <a:pt x="181" y="277"/>
                  <a:pt x="181" y="277"/>
                </a:cubicBezTo>
                <a:cubicBezTo>
                  <a:pt x="181" y="271"/>
                  <a:pt x="176" y="266"/>
                  <a:pt x="170" y="266"/>
                </a:cubicBezTo>
                <a:cubicBezTo>
                  <a:pt x="160" y="266"/>
                  <a:pt x="160" y="266"/>
                  <a:pt x="160" y="266"/>
                </a:cubicBezTo>
                <a:cubicBezTo>
                  <a:pt x="160" y="202"/>
                  <a:pt x="160" y="202"/>
                  <a:pt x="160" y="202"/>
                </a:cubicBezTo>
                <a:cubicBezTo>
                  <a:pt x="170" y="202"/>
                  <a:pt x="170" y="202"/>
                  <a:pt x="170" y="202"/>
                </a:cubicBezTo>
                <a:cubicBezTo>
                  <a:pt x="176" y="202"/>
                  <a:pt x="181" y="198"/>
                  <a:pt x="181" y="192"/>
                </a:cubicBezTo>
                <a:cubicBezTo>
                  <a:pt x="181" y="181"/>
                  <a:pt x="181" y="181"/>
                  <a:pt x="181" y="181"/>
                </a:cubicBezTo>
                <a:cubicBezTo>
                  <a:pt x="245" y="181"/>
                  <a:pt x="245" y="181"/>
                  <a:pt x="245" y="181"/>
                </a:cubicBezTo>
                <a:cubicBezTo>
                  <a:pt x="245" y="192"/>
                  <a:pt x="245" y="192"/>
                  <a:pt x="245" y="192"/>
                </a:cubicBezTo>
                <a:cubicBezTo>
                  <a:pt x="245" y="198"/>
                  <a:pt x="250" y="202"/>
                  <a:pt x="256" y="202"/>
                </a:cubicBezTo>
                <a:cubicBezTo>
                  <a:pt x="266" y="202"/>
                  <a:pt x="266" y="202"/>
                  <a:pt x="266" y="202"/>
                </a:cubicBezTo>
                <a:cubicBezTo>
                  <a:pt x="266" y="266"/>
                  <a:pt x="266" y="266"/>
                  <a:pt x="266" y="266"/>
                </a:cubicBezTo>
                <a:cubicBezTo>
                  <a:pt x="256" y="266"/>
                  <a:pt x="256" y="266"/>
                  <a:pt x="256" y="266"/>
                </a:cubicBezTo>
                <a:cubicBezTo>
                  <a:pt x="250" y="266"/>
                  <a:pt x="245" y="271"/>
                  <a:pt x="245" y="277"/>
                </a:cubicBezTo>
                <a:lnTo>
                  <a:pt x="245" y="288"/>
                </a:lnTo>
                <a:close/>
                <a:moveTo>
                  <a:pt x="160" y="160"/>
                </a:moveTo>
                <a:cubicBezTo>
                  <a:pt x="138" y="160"/>
                  <a:pt x="138" y="160"/>
                  <a:pt x="138" y="160"/>
                </a:cubicBezTo>
                <a:cubicBezTo>
                  <a:pt x="138" y="181"/>
                  <a:pt x="138" y="181"/>
                  <a:pt x="138" y="181"/>
                </a:cubicBezTo>
                <a:cubicBezTo>
                  <a:pt x="160" y="181"/>
                  <a:pt x="160" y="181"/>
                  <a:pt x="160" y="181"/>
                </a:cubicBezTo>
                <a:lnTo>
                  <a:pt x="160" y="160"/>
                </a:lnTo>
                <a:close/>
                <a:moveTo>
                  <a:pt x="288" y="160"/>
                </a:moveTo>
                <a:cubicBezTo>
                  <a:pt x="266" y="160"/>
                  <a:pt x="266" y="160"/>
                  <a:pt x="266" y="160"/>
                </a:cubicBezTo>
                <a:cubicBezTo>
                  <a:pt x="266" y="181"/>
                  <a:pt x="266" y="181"/>
                  <a:pt x="266" y="181"/>
                </a:cubicBezTo>
                <a:cubicBezTo>
                  <a:pt x="288" y="181"/>
                  <a:pt x="288" y="181"/>
                  <a:pt x="288" y="181"/>
                </a:cubicBezTo>
                <a:lnTo>
                  <a:pt x="288" y="160"/>
                </a:lnTo>
                <a:close/>
                <a:moveTo>
                  <a:pt x="202" y="373"/>
                </a:moveTo>
                <a:cubicBezTo>
                  <a:pt x="224" y="373"/>
                  <a:pt x="224" y="373"/>
                  <a:pt x="224" y="373"/>
                </a:cubicBezTo>
                <a:cubicBezTo>
                  <a:pt x="224" y="352"/>
                  <a:pt x="224" y="352"/>
                  <a:pt x="224" y="352"/>
                </a:cubicBezTo>
                <a:cubicBezTo>
                  <a:pt x="202" y="352"/>
                  <a:pt x="202" y="352"/>
                  <a:pt x="202" y="352"/>
                </a:cubicBezTo>
                <a:lnTo>
                  <a:pt x="202" y="373"/>
                </a:lnTo>
                <a:close/>
                <a:moveTo>
                  <a:pt x="266" y="309"/>
                </a:moveTo>
                <a:cubicBezTo>
                  <a:pt x="288" y="309"/>
                  <a:pt x="288" y="309"/>
                  <a:pt x="288" y="309"/>
                </a:cubicBezTo>
                <a:cubicBezTo>
                  <a:pt x="288" y="288"/>
                  <a:pt x="288" y="288"/>
                  <a:pt x="288" y="288"/>
                </a:cubicBezTo>
                <a:cubicBezTo>
                  <a:pt x="266" y="288"/>
                  <a:pt x="266" y="288"/>
                  <a:pt x="266" y="288"/>
                </a:cubicBezTo>
                <a:lnTo>
                  <a:pt x="266" y="309"/>
                </a:lnTo>
                <a:close/>
                <a:moveTo>
                  <a:pt x="138" y="309"/>
                </a:moveTo>
                <a:cubicBezTo>
                  <a:pt x="160" y="309"/>
                  <a:pt x="160" y="309"/>
                  <a:pt x="160" y="309"/>
                </a:cubicBezTo>
                <a:cubicBezTo>
                  <a:pt x="160" y="288"/>
                  <a:pt x="160" y="288"/>
                  <a:pt x="160" y="288"/>
                </a:cubicBezTo>
                <a:cubicBezTo>
                  <a:pt x="138" y="288"/>
                  <a:pt x="138" y="288"/>
                  <a:pt x="138" y="288"/>
                </a:cubicBezTo>
                <a:lnTo>
                  <a:pt x="138"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320" y="202"/>
                  <a:pt x="320" y="202"/>
                  <a:pt x="320" y="202"/>
                </a:cubicBezTo>
                <a:cubicBezTo>
                  <a:pt x="314" y="202"/>
                  <a:pt x="309" y="207"/>
                  <a:pt x="309" y="213"/>
                </a:cubicBezTo>
                <a:cubicBezTo>
                  <a:pt x="309" y="224"/>
                  <a:pt x="309" y="224"/>
                  <a:pt x="309" y="224"/>
                </a:cubicBezTo>
                <a:cubicBezTo>
                  <a:pt x="288" y="224"/>
                  <a:pt x="288" y="224"/>
                  <a:pt x="288" y="224"/>
                </a:cubicBezTo>
                <a:cubicBezTo>
                  <a:pt x="288" y="202"/>
                  <a:pt x="288" y="202"/>
                  <a:pt x="288" y="202"/>
                </a:cubicBezTo>
                <a:cubicBezTo>
                  <a:pt x="298" y="202"/>
                  <a:pt x="298" y="202"/>
                  <a:pt x="298" y="202"/>
                </a:cubicBezTo>
                <a:cubicBezTo>
                  <a:pt x="304" y="202"/>
                  <a:pt x="309" y="198"/>
                  <a:pt x="309" y="192"/>
                </a:cubicBezTo>
                <a:cubicBezTo>
                  <a:pt x="309" y="149"/>
                  <a:pt x="309" y="149"/>
                  <a:pt x="309" y="149"/>
                </a:cubicBezTo>
                <a:cubicBezTo>
                  <a:pt x="309" y="143"/>
                  <a:pt x="304" y="138"/>
                  <a:pt x="298" y="138"/>
                </a:cubicBezTo>
                <a:cubicBezTo>
                  <a:pt x="256" y="138"/>
                  <a:pt x="256" y="138"/>
                  <a:pt x="256" y="138"/>
                </a:cubicBezTo>
                <a:cubicBezTo>
                  <a:pt x="250" y="138"/>
                  <a:pt x="245" y="143"/>
                  <a:pt x="245" y="149"/>
                </a:cubicBezTo>
                <a:cubicBezTo>
                  <a:pt x="245" y="160"/>
                  <a:pt x="245" y="160"/>
                  <a:pt x="245" y="160"/>
                </a:cubicBezTo>
                <a:cubicBezTo>
                  <a:pt x="181" y="160"/>
                  <a:pt x="181" y="160"/>
                  <a:pt x="181" y="160"/>
                </a:cubicBezTo>
                <a:cubicBezTo>
                  <a:pt x="181" y="149"/>
                  <a:pt x="181" y="149"/>
                  <a:pt x="181" y="149"/>
                </a:cubicBezTo>
                <a:cubicBezTo>
                  <a:pt x="181" y="143"/>
                  <a:pt x="176" y="138"/>
                  <a:pt x="170" y="138"/>
                </a:cubicBezTo>
                <a:cubicBezTo>
                  <a:pt x="128" y="138"/>
                  <a:pt x="128" y="138"/>
                  <a:pt x="128" y="138"/>
                </a:cubicBezTo>
                <a:cubicBezTo>
                  <a:pt x="122" y="138"/>
                  <a:pt x="117" y="143"/>
                  <a:pt x="117" y="149"/>
                </a:cubicBezTo>
                <a:cubicBezTo>
                  <a:pt x="117" y="192"/>
                  <a:pt x="117" y="192"/>
                  <a:pt x="117" y="192"/>
                </a:cubicBezTo>
                <a:cubicBezTo>
                  <a:pt x="117" y="198"/>
                  <a:pt x="122" y="202"/>
                  <a:pt x="128" y="202"/>
                </a:cubicBezTo>
                <a:cubicBezTo>
                  <a:pt x="138" y="202"/>
                  <a:pt x="138" y="202"/>
                  <a:pt x="138" y="202"/>
                </a:cubicBezTo>
                <a:cubicBezTo>
                  <a:pt x="138" y="266"/>
                  <a:pt x="138" y="266"/>
                  <a:pt x="138" y="266"/>
                </a:cubicBezTo>
                <a:cubicBezTo>
                  <a:pt x="128" y="266"/>
                  <a:pt x="128" y="266"/>
                  <a:pt x="128" y="266"/>
                </a:cubicBezTo>
                <a:cubicBezTo>
                  <a:pt x="122" y="266"/>
                  <a:pt x="117" y="271"/>
                  <a:pt x="117" y="277"/>
                </a:cubicBezTo>
                <a:cubicBezTo>
                  <a:pt x="117" y="320"/>
                  <a:pt x="117" y="320"/>
                  <a:pt x="117" y="320"/>
                </a:cubicBezTo>
                <a:cubicBezTo>
                  <a:pt x="117" y="326"/>
                  <a:pt x="122" y="330"/>
                  <a:pt x="128" y="330"/>
                </a:cubicBezTo>
                <a:cubicBezTo>
                  <a:pt x="170" y="330"/>
                  <a:pt x="170" y="330"/>
                  <a:pt x="170" y="330"/>
                </a:cubicBezTo>
                <a:cubicBezTo>
                  <a:pt x="176" y="330"/>
                  <a:pt x="181" y="326"/>
                  <a:pt x="181" y="320"/>
                </a:cubicBezTo>
                <a:cubicBezTo>
                  <a:pt x="181" y="309"/>
                  <a:pt x="181" y="309"/>
                  <a:pt x="181" y="309"/>
                </a:cubicBezTo>
                <a:cubicBezTo>
                  <a:pt x="202" y="309"/>
                  <a:pt x="202" y="309"/>
                  <a:pt x="202" y="309"/>
                </a:cubicBezTo>
                <a:cubicBezTo>
                  <a:pt x="202" y="330"/>
                  <a:pt x="202" y="330"/>
                  <a:pt x="202" y="330"/>
                </a:cubicBezTo>
                <a:cubicBezTo>
                  <a:pt x="192" y="330"/>
                  <a:pt x="192" y="330"/>
                  <a:pt x="192" y="330"/>
                </a:cubicBezTo>
                <a:cubicBezTo>
                  <a:pt x="186" y="330"/>
                  <a:pt x="181" y="335"/>
                  <a:pt x="181" y="341"/>
                </a:cubicBezTo>
                <a:cubicBezTo>
                  <a:pt x="181" y="384"/>
                  <a:pt x="181" y="384"/>
                  <a:pt x="181" y="384"/>
                </a:cubicBezTo>
                <a:cubicBezTo>
                  <a:pt x="181" y="390"/>
                  <a:pt x="186" y="394"/>
                  <a:pt x="192" y="394"/>
                </a:cubicBezTo>
                <a:cubicBezTo>
                  <a:pt x="234" y="394"/>
                  <a:pt x="234" y="394"/>
                  <a:pt x="234" y="394"/>
                </a:cubicBezTo>
                <a:cubicBezTo>
                  <a:pt x="240" y="394"/>
                  <a:pt x="245" y="390"/>
                  <a:pt x="245" y="384"/>
                </a:cubicBezTo>
                <a:cubicBezTo>
                  <a:pt x="245" y="373"/>
                  <a:pt x="245" y="373"/>
                  <a:pt x="245" y="373"/>
                </a:cubicBezTo>
                <a:cubicBezTo>
                  <a:pt x="309" y="373"/>
                  <a:pt x="309" y="373"/>
                  <a:pt x="309" y="373"/>
                </a:cubicBezTo>
                <a:cubicBezTo>
                  <a:pt x="309" y="384"/>
                  <a:pt x="309" y="384"/>
                  <a:pt x="309" y="384"/>
                </a:cubicBezTo>
                <a:cubicBezTo>
                  <a:pt x="309" y="390"/>
                  <a:pt x="314" y="394"/>
                  <a:pt x="320" y="394"/>
                </a:cubicBezTo>
                <a:cubicBezTo>
                  <a:pt x="362" y="394"/>
                  <a:pt x="362" y="394"/>
                  <a:pt x="362" y="394"/>
                </a:cubicBezTo>
                <a:cubicBezTo>
                  <a:pt x="368" y="394"/>
                  <a:pt x="373" y="390"/>
                  <a:pt x="373" y="384"/>
                </a:cubicBezTo>
                <a:cubicBezTo>
                  <a:pt x="373" y="341"/>
                  <a:pt x="373" y="341"/>
                  <a:pt x="373" y="341"/>
                </a:cubicBezTo>
                <a:cubicBezTo>
                  <a:pt x="373" y="335"/>
                  <a:pt x="368" y="330"/>
                  <a:pt x="362" y="330"/>
                </a:cubicBezTo>
                <a:cubicBezTo>
                  <a:pt x="352" y="330"/>
                  <a:pt x="352" y="330"/>
                  <a:pt x="352" y="330"/>
                </a:cubicBezTo>
                <a:cubicBezTo>
                  <a:pt x="352" y="266"/>
                  <a:pt x="352" y="266"/>
                  <a:pt x="352" y="266"/>
                </a:cubicBezTo>
                <a:cubicBezTo>
                  <a:pt x="362" y="266"/>
                  <a:pt x="362" y="266"/>
                  <a:pt x="362" y="266"/>
                </a:cubicBezTo>
                <a:cubicBezTo>
                  <a:pt x="368" y="266"/>
                  <a:pt x="373" y="262"/>
                  <a:pt x="373" y="256"/>
                </a:cubicBezTo>
                <a:lnTo>
                  <a:pt x="373" y="213"/>
                </a:lnTo>
                <a:close/>
                <a:moveTo>
                  <a:pt x="330" y="266"/>
                </a:moveTo>
                <a:cubicBezTo>
                  <a:pt x="320" y="266"/>
                  <a:pt x="320" y="266"/>
                  <a:pt x="320" y="266"/>
                </a:cubicBezTo>
                <a:cubicBezTo>
                  <a:pt x="314" y="266"/>
                  <a:pt x="309" y="262"/>
                  <a:pt x="309" y="256"/>
                </a:cubicBezTo>
                <a:cubicBezTo>
                  <a:pt x="309" y="245"/>
                  <a:pt x="309" y="245"/>
                  <a:pt x="309" y="245"/>
                </a:cubicBezTo>
                <a:cubicBezTo>
                  <a:pt x="288" y="245"/>
                  <a:pt x="288" y="245"/>
                  <a:pt x="288" y="245"/>
                </a:cubicBezTo>
                <a:cubicBezTo>
                  <a:pt x="288" y="266"/>
                  <a:pt x="288" y="266"/>
                  <a:pt x="288" y="266"/>
                </a:cubicBezTo>
                <a:cubicBezTo>
                  <a:pt x="298" y="266"/>
                  <a:pt x="298" y="266"/>
                  <a:pt x="298" y="266"/>
                </a:cubicBezTo>
                <a:cubicBezTo>
                  <a:pt x="304" y="266"/>
                  <a:pt x="309" y="271"/>
                  <a:pt x="309" y="277"/>
                </a:cubicBezTo>
                <a:cubicBezTo>
                  <a:pt x="309" y="320"/>
                  <a:pt x="309" y="320"/>
                  <a:pt x="309" y="320"/>
                </a:cubicBezTo>
                <a:cubicBezTo>
                  <a:pt x="309" y="326"/>
                  <a:pt x="304" y="330"/>
                  <a:pt x="298" y="330"/>
                </a:cubicBezTo>
                <a:cubicBezTo>
                  <a:pt x="256" y="330"/>
                  <a:pt x="256" y="330"/>
                  <a:pt x="256" y="330"/>
                </a:cubicBezTo>
                <a:cubicBezTo>
                  <a:pt x="250" y="330"/>
                  <a:pt x="245" y="326"/>
                  <a:pt x="245" y="320"/>
                </a:cubicBezTo>
                <a:cubicBezTo>
                  <a:pt x="245" y="309"/>
                  <a:pt x="245" y="309"/>
                  <a:pt x="245" y="309"/>
                </a:cubicBezTo>
                <a:cubicBezTo>
                  <a:pt x="224" y="309"/>
                  <a:pt x="224" y="309"/>
                  <a:pt x="224" y="309"/>
                </a:cubicBezTo>
                <a:cubicBezTo>
                  <a:pt x="224" y="330"/>
                  <a:pt x="224" y="330"/>
                  <a:pt x="224" y="330"/>
                </a:cubicBezTo>
                <a:cubicBezTo>
                  <a:pt x="234" y="330"/>
                  <a:pt x="234" y="330"/>
                  <a:pt x="234" y="330"/>
                </a:cubicBezTo>
                <a:cubicBezTo>
                  <a:pt x="240" y="330"/>
                  <a:pt x="245" y="335"/>
                  <a:pt x="245" y="341"/>
                </a:cubicBezTo>
                <a:cubicBezTo>
                  <a:pt x="245" y="352"/>
                  <a:pt x="245" y="352"/>
                  <a:pt x="245" y="352"/>
                </a:cubicBezTo>
                <a:cubicBezTo>
                  <a:pt x="309" y="352"/>
                  <a:pt x="309" y="352"/>
                  <a:pt x="309" y="352"/>
                </a:cubicBezTo>
                <a:cubicBezTo>
                  <a:pt x="309" y="341"/>
                  <a:pt x="309" y="341"/>
                  <a:pt x="309" y="341"/>
                </a:cubicBezTo>
                <a:cubicBezTo>
                  <a:pt x="309" y="335"/>
                  <a:pt x="314" y="330"/>
                  <a:pt x="320" y="330"/>
                </a:cubicBezTo>
                <a:cubicBezTo>
                  <a:pt x="330" y="330"/>
                  <a:pt x="330" y="330"/>
                  <a:pt x="330" y="330"/>
                </a:cubicBezTo>
                <a:lnTo>
                  <a:pt x="330" y="266"/>
                </a:lnTo>
                <a:close/>
                <a:moveTo>
                  <a:pt x="330" y="245"/>
                </a:moveTo>
                <a:cubicBezTo>
                  <a:pt x="352" y="245"/>
                  <a:pt x="352" y="245"/>
                  <a:pt x="352" y="245"/>
                </a:cubicBezTo>
                <a:cubicBezTo>
                  <a:pt x="352" y="224"/>
                  <a:pt x="352" y="224"/>
                  <a:pt x="352" y="224"/>
                </a:cubicBezTo>
                <a:cubicBezTo>
                  <a:pt x="330" y="224"/>
                  <a:pt x="330" y="224"/>
                  <a:pt x="330" y="224"/>
                </a:cubicBezTo>
                <a:lnTo>
                  <a:pt x="330" y="245"/>
                </a:lnTo>
                <a:close/>
                <a:moveTo>
                  <a:pt x="330" y="373"/>
                </a:moveTo>
                <a:cubicBezTo>
                  <a:pt x="352" y="373"/>
                  <a:pt x="352" y="373"/>
                  <a:pt x="352" y="373"/>
                </a:cubicBezTo>
                <a:cubicBezTo>
                  <a:pt x="352" y="352"/>
                  <a:pt x="352" y="352"/>
                  <a:pt x="352" y="352"/>
                </a:cubicBezTo>
                <a:cubicBezTo>
                  <a:pt x="330" y="352"/>
                  <a:pt x="330" y="352"/>
                  <a:pt x="330" y="352"/>
                </a:cubicBezTo>
                <a:lnTo>
                  <a:pt x="330"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99" name="Group 1032"/>
          <p:cNvGrpSpPr>
            <a:grpSpLocks noChangeAspect="1"/>
          </p:cNvGrpSpPr>
          <p:nvPr/>
        </p:nvGrpSpPr>
        <p:grpSpPr bwMode="auto">
          <a:xfrm>
            <a:off x="7535835" y="5003782"/>
            <a:ext cx="367041" cy="367041"/>
            <a:chOff x="6579" y="4030"/>
            <a:chExt cx="340" cy="340"/>
          </a:xfrm>
          <a:solidFill>
            <a:schemeClr val="accent5"/>
          </a:solidFill>
        </p:grpSpPr>
        <p:sp>
          <p:nvSpPr>
            <p:cNvPr id="700" name="Freeform 1033"/>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1" name="Freeform 1034"/>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5" name="Group 629"/>
          <p:cNvGrpSpPr>
            <a:grpSpLocks noChangeAspect="1"/>
          </p:cNvGrpSpPr>
          <p:nvPr/>
        </p:nvGrpSpPr>
        <p:grpSpPr bwMode="auto">
          <a:xfrm>
            <a:off x="8377646" y="5003782"/>
            <a:ext cx="369676" cy="370763"/>
            <a:chOff x="5034" y="2282"/>
            <a:chExt cx="340" cy="341"/>
          </a:xfrm>
          <a:solidFill>
            <a:schemeClr val="accent1"/>
          </a:solidFill>
        </p:grpSpPr>
        <p:sp>
          <p:nvSpPr>
            <p:cNvPr id="432" name="Freeform 630"/>
            <p:cNvSpPr>
              <a:spLocks noEditPoints="1"/>
            </p:cNvSpPr>
            <p:nvPr/>
          </p:nvSpPr>
          <p:spPr bwMode="auto">
            <a:xfrm>
              <a:off x="5034" y="22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Freeform 631"/>
            <p:cNvSpPr>
              <a:spLocks/>
            </p:cNvSpPr>
            <p:nvPr/>
          </p:nvSpPr>
          <p:spPr bwMode="auto">
            <a:xfrm>
              <a:off x="5158" y="2360"/>
              <a:ext cx="92" cy="184"/>
            </a:xfrm>
            <a:custGeom>
              <a:avLst/>
              <a:gdLst>
                <a:gd name="T0" fmla="*/ 128 w 139"/>
                <a:gd name="T1" fmla="*/ 256 h 277"/>
                <a:gd name="T2" fmla="*/ 104 w 139"/>
                <a:gd name="T3" fmla="*/ 256 h 277"/>
                <a:gd name="T4" fmla="*/ 80 w 139"/>
                <a:gd name="T5" fmla="*/ 232 h 277"/>
                <a:gd name="T6" fmla="*/ 80 w 139"/>
                <a:gd name="T7" fmla="*/ 149 h 277"/>
                <a:gd name="T8" fmla="*/ 102 w 139"/>
                <a:gd name="T9" fmla="*/ 149 h 277"/>
                <a:gd name="T10" fmla="*/ 112 w 139"/>
                <a:gd name="T11" fmla="*/ 139 h 277"/>
                <a:gd name="T12" fmla="*/ 102 w 139"/>
                <a:gd name="T13" fmla="*/ 128 h 277"/>
                <a:gd name="T14" fmla="*/ 80 w 139"/>
                <a:gd name="T15" fmla="*/ 128 h 277"/>
                <a:gd name="T16" fmla="*/ 80 w 139"/>
                <a:gd name="T17" fmla="*/ 45 h 277"/>
                <a:gd name="T18" fmla="*/ 104 w 139"/>
                <a:gd name="T19" fmla="*/ 21 h 277"/>
                <a:gd name="T20" fmla="*/ 128 w 139"/>
                <a:gd name="T21" fmla="*/ 21 h 277"/>
                <a:gd name="T22" fmla="*/ 139 w 139"/>
                <a:gd name="T23" fmla="*/ 11 h 277"/>
                <a:gd name="T24" fmla="*/ 128 w 139"/>
                <a:gd name="T25" fmla="*/ 0 h 277"/>
                <a:gd name="T26" fmla="*/ 104 w 139"/>
                <a:gd name="T27" fmla="*/ 0 h 277"/>
                <a:gd name="T28" fmla="*/ 70 w 139"/>
                <a:gd name="T29" fmla="*/ 16 h 277"/>
                <a:gd name="T30" fmla="*/ 35 w 139"/>
                <a:gd name="T31" fmla="*/ 0 h 277"/>
                <a:gd name="T32" fmla="*/ 11 w 139"/>
                <a:gd name="T33" fmla="*/ 0 h 277"/>
                <a:gd name="T34" fmla="*/ 0 w 139"/>
                <a:gd name="T35" fmla="*/ 11 h 277"/>
                <a:gd name="T36" fmla="*/ 11 w 139"/>
                <a:gd name="T37" fmla="*/ 21 h 277"/>
                <a:gd name="T38" fmla="*/ 35 w 139"/>
                <a:gd name="T39" fmla="*/ 21 h 277"/>
                <a:gd name="T40" fmla="*/ 59 w 139"/>
                <a:gd name="T41" fmla="*/ 45 h 277"/>
                <a:gd name="T42" fmla="*/ 59 w 139"/>
                <a:gd name="T43" fmla="*/ 128 h 277"/>
                <a:gd name="T44" fmla="*/ 38 w 139"/>
                <a:gd name="T45" fmla="*/ 128 h 277"/>
                <a:gd name="T46" fmla="*/ 27 w 139"/>
                <a:gd name="T47" fmla="*/ 139 h 277"/>
                <a:gd name="T48" fmla="*/ 38 w 139"/>
                <a:gd name="T49" fmla="*/ 149 h 277"/>
                <a:gd name="T50" fmla="*/ 59 w 139"/>
                <a:gd name="T51" fmla="*/ 149 h 277"/>
                <a:gd name="T52" fmla="*/ 59 w 139"/>
                <a:gd name="T53" fmla="*/ 232 h 277"/>
                <a:gd name="T54" fmla="*/ 35 w 139"/>
                <a:gd name="T55" fmla="*/ 256 h 277"/>
                <a:gd name="T56" fmla="*/ 11 w 139"/>
                <a:gd name="T57" fmla="*/ 256 h 277"/>
                <a:gd name="T58" fmla="*/ 0 w 139"/>
                <a:gd name="T59" fmla="*/ 267 h 277"/>
                <a:gd name="T60" fmla="*/ 11 w 139"/>
                <a:gd name="T61" fmla="*/ 277 h 277"/>
                <a:gd name="T62" fmla="*/ 35 w 139"/>
                <a:gd name="T63" fmla="*/ 277 h 277"/>
                <a:gd name="T64" fmla="*/ 70 w 139"/>
                <a:gd name="T65" fmla="*/ 261 h 277"/>
                <a:gd name="T66" fmla="*/ 104 w 139"/>
                <a:gd name="T67" fmla="*/ 277 h 277"/>
                <a:gd name="T68" fmla="*/ 128 w 139"/>
                <a:gd name="T69" fmla="*/ 277 h 277"/>
                <a:gd name="T70" fmla="*/ 139 w 139"/>
                <a:gd name="T71" fmla="*/ 267 h 277"/>
                <a:gd name="T72" fmla="*/ 128 w 139"/>
                <a:gd name="T73"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277">
                  <a:moveTo>
                    <a:pt x="128" y="256"/>
                  </a:moveTo>
                  <a:cubicBezTo>
                    <a:pt x="104" y="256"/>
                    <a:pt x="104" y="256"/>
                    <a:pt x="104" y="256"/>
                  </a:cubicBezTo>
                  <a:cubicBezTo>
                    <a:pt x="91" y="256"/>
                    <a:pt x="80" y="245"/>
                    <a:pt x="80" y="232"/>
                  </a:cubicBezTo>
                  <a:cubicBezTo>
                    <a:pt x="80" y="149"/>
                    <a:pt x="80" y="149"/>
                    <a:pt x="80" y="149"/>
                  </a:cubicBezTo>
                  <a:cubicBezTo>
                    <a:pt x="102" y="149"/>
                    <a:pt x="102" y="149"/>
                    <a:pt x="102" y="149"/>
                  </a:cubicBezTo>
                  <a:cubicBezTo>
                    <a:pt x="108" y="149"/>
                    <a:pt x="112" y="145"/>
                    <a:pt x="112" y="139"/>
                  </a:cubicBezTo>
                  <a:cubicBezTo>
                    <a:pt x="112" y="133"/>
                    <a:pt x="108" y="128"/>
                    <a:pt x="102" y="128"/>
                  </a:cubicBezTo>
                  <a:cubicBezTo>
                    <a:pt x="80" y="128"/>
                    <a:pt x="80" y="128"/>
                    <a:pt x="80" y="128"/>
                  </a:cubicBezTo>
                  <a:cubicBezTo>
                    <a:pt x="80" y="45"/>
                    <a:pt x="80" y="45"/>
                    <a:pt x="80" y="45"/>
                  </a:cubicBezTo>
                  <a:cubicBezTo>
                    <a:pt x="80" y="32"/>
                    <a:pt x="91" y="21"/>
                    <a:pt x="104" y="21"/>
                  </a:cubicBezTo>
                  <a:cubicBezTo>
                    <a:pt x="128" y="21"/>
                    <a:pt x="128" y="21"/>
                    <a:pt x="128" y="21"/>
                  </a:cubicBezTo>
                  <a:cubicBezTo>
                    <a:pt x="134" y="21"/>
                    <a:pt x="139" y="17"/>
                    <a:pt x="139" y="11"/>
                  </a:cubicBezTo>
                  <a:cubicBezTo>
                    <a:pt x="139" y="5"/>
                    <a:pt x="134" y="0"/>
                    <a:pt x="128" y="0"/>
                  </a:cubicBezTo>
                  <a:cubicBezTo>
                    <a:pt x="104" y="0"/>
                    <a:pt x="104" y="0"/>
                    <a:pt x="104" y="0"/>
                  </a:cubicBezTo>
                  <a:cubicBezTo>
                    <a:pt x="90" y="0"/>
                    <a:pt x="78" y="6"/>
                    <a:pt x="70" y="16"/>
                  </a:cubicBezTo>
                  <a:cubicBezTo>
                    <a:pt x="61" y="6"/>
                    <a:pt x="49" y="0"/>
                    <a:pt x="35" y="0"/>
                  </a:cubicBezTo>
                  <a:cubicBezTo>
                    <a:pt x="11" y="0"/>
                    <a:pt x="11" y="0"/>
                    <a:pt x="11" y="0"/>
                  </a:cubicBezTo>
                  <a:cubicBezTo>
                    <a:pt x="5" y="0"/>
                    <a:pt x="0" y="5"/>
                    <a:pt x="0" y="11"/>
                  </a:cubicBezTo>
                  <a:cubicBezTo>
                    <a:pt x="0" y="17"/>
                    <a:pt x="5" y="21"/>
                    <a:pt x="11" y="21"/>
                  </a:cubicBezTo>
                  <a:cubicBezTo>
                    <a:pt x="35" y="21"/>
                    <a:pt x="35" y="21"/>
                    <a:pt x="35" y="21"/>
                  </a:cubicBezTo>
                  <a:cubicBezTo>
                    <a:pt x="48" y="21"/>
                    <a:pt x="59" y="32"/>
                    <a:pt x="59" y="45"/>
                  </a:cubicBezTo>
                  <a:cubicBezTo>
                    <a:pt x="59" y="128"/>
                    <a:pt x="59" y="128"/>
                    <a:pt x="59" y="128"/>
                  </a:cubicBezTo>
                  <a:cubicBezTo>
                    <a:pt x="38" y="128"/>
                    <a:pt x="38" y="128"/>
                    <a:pt x="38" y="128"/>
                  </a:cubicBezTo>
                  <a:cubicBezTo>
                    <a:pt x="32" y="128"/>
                    <a:pt x="27" y="133"/>
                    <a:pt x="27" y="139"/>
                  </a:cubicBezTo>
                  <a:cubicBezTo>
                    <a:pt x="27" y="145"/>
                    <a:pt x="32" y="149"/>
                    <a:pt x="38" y="149"/>
                  </a:cubicBezTo>
                  <a:cubicBezTo>
                    <a:pt x="59" y="149"/>
                    <a:pt x="59" y="149"/>
                    <a:pt x="59" y="149"/>
                  </a:cubicBezTo>
                  <a:cubicBezTo>
                    <a:pt x="59" y="232"/>
                    <a:pt x="59" y="232"/>
                    <a:pt x="59" y="232"/>
                  </a:cubicBezTo>
                  <a:cubicBezTo>
                    <a:pt x="59" y="245"/>
                    <a:pt x="48" y="256"/>
                    <a:pt x="35" y="256"/>
                  </a:cubicBezTo>
                  <a:cubicBezTo>
                    <a:pt x="11" y="256"/>
                    <a:pt x="11" y="256"/>
                    <a:pt x="11" y="256"/>
                  </a:cubicBezTo>
                  <a:cubicBezTo>
                    <a:pt x="5" y="256"/>
                    <a:pt x="0" y="261"/>
                    <a:pt x="0" y="267"/>
                  </a:cubicBezTo>
                  <a:cubicBezTo>
                    <a:pt x="0" y="273"/>
                    <a:pt x="5" y="277"/>
                    <a:pt x="11" y="277"/>
                  </a:cubicBezTo>
                  <a:cubicBezTo>
                    <a:pt x="35" y="277"/>
                    <a:pt x="35" y="277"/>
                    <a:pt x="35" y="277"/>
                  </a:cubicBezTo>
                  <a:cubicBezTo>
                    <a:pt x="49" y="277"/>
                    <a:pt x="61" y="271"/>
                    <a:pt x="70" y="261"/>
                  </a:cubicBezTo>
                  <a:cubicBezTo>
                    <a:pt x="78" y="271"/>
                    <a:pt x="90" y="277"/>
                    <a:pt x="104" y="277"/>
                  </a:cubicBezTo>
                  <a:cubicBezTo>
                    <a:pt x="128" y="277"/>
                    <a:pt x="128" y="277"/>
                    <a:pt x="128" y="277"/>
                  </a:cubicBezTo>
                  <a:cubicBezTo>
                    <a:pt x="134" y="277"/>
                    <a:pt x="139" y="273"/>
                    <a:pt x="139" y="267"/>
                  </a:cubicBezTo>
                  <a:cubicBezTo>
                    <a:pt x="139" y="261"/>
                    <a:pt x="134" y="256"/>
                    <a:pt x="128"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4" name="Freeform 635"/>
          <p:cNvSpPr>
            <a:spLocks noChangeAspect="1" noEditPoints="1"/>
          </p:cNvSpPr>
          <p:nvPr/>
        </p:nvSpPr>
        <p:spPr bwMode="auto">
          <a:xfrm>
            <a:off x="7955427" y="500378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50102659"/>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435" name="TextBox 434"/>
          <p:cNvSpPr txBox="1"/>
          <p:nvPr/>
        </p:nvSpPr>
        <p:spPr>
          <a:xfrm>
            <a:off x="360792"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op</a:t>
            </a:r>
          </a:p>
        </p:txBody>
      </p:sp>
      <p:grpSp>
        <p:nvGrpSpPr>
          <p:cNvPr id="436" name="Group 334"/>
          <p:cNvGrpSpPr>
            <a:grpSpLocks noChangeAspect="1"/>
          </p:cNvGrpSpPr>
          <p:nvPr/>
        </p:nvGrpSpPr>
        <p:grpSpPr bwMode="auto">
          <a:xfrm>
            <a:off x="827106" y="1700213"/>
            <a:ext cx="370763" cy="369676"/>
            <a:chOff x="4278" y="1171"/>
            <a:chExt cx="341" cy="340"/>
          </a:xfrm>
          <a:solidFill>
            <a:schemeClr val="accent4"/>
          </a:solidFill>
        </p:grpSpPr>
        <p:sp>
          <p:nvSpPr>
            <p:cNvPr id="437" name="Freeform 335"/>
            <p:cNvSpPr>
              <a:spLocks noEditPoints="1"/>
            </p:cNvSpPr>
            <p:nvPr/>
          </p:nvSpPr>
          <p:spPr bwMode="auto">
            <a:xfrm>
              <a:off x="4356" y="1249"/>
              <a:ext cx="184" cy="184"/>
            </a:xfrm>
            <a:custGeom>
              <a:avLst/>
              <a:gdLst>
                <a:gd name="T0" fmla="*/ 267 w 277"/>
                <a:gd name="T1" fmla="*/ 277 h 277"/>
                <a:gd name="T2" fmla="*/ 11 w 277"/>
                <a:gd name="T3" fmla="*/ 277 h 277"/>
                <a:gd name="T4" fmla="*/ 0 w 277"/>
                <a:gd name="T5" fmla="*/ 267 h 277"/>
                <a:gd name="T6" fmla="*/ 0 w 277"/>
                <a:gd name="T7" fmla="*/ 11 h 277"/>
                <a:gd name="T8" fmla="*/ 11 w 277"/>
                <a:gd name="T9" fmla="*/ 0 h 277"/>
                <a:gd name="T10" fmla="*/ 267 w 277"/>
                <a:gd name="T11" fmla="*/ 0 h 277"/>
                <a:gd name="T12" fmla="*/ 277 w 277"/>
                <a:gd name="T13" fmla="*/ 11 h 277"/>
                <a:gd name="T14" fmla="*/ 277 w 277"/>
                <a:gd name="T15" fmla="*/ 267 h 277"/>
                <a:gd name="T16" fmla="*/ 267 w 277"/>
                <a:gd name="T17" fmla="*/ 277 h 277"/>
                <a:gd name="T18" fmla="*/ 21 w 277"/>
                <a:gd name="T19" fmla="*/ 256 h 277"/>
                <a:gd name="T20" fmla="*/ 256 w 277"/>
                <a:gd name="T21" fmla="*/ 256 h 277"/>
                <a:gd name="T22" fmla="*/ 256 w 277"/>
                <a:gd name="T23" fmla="*/ 21 h 277"/>
                <a:gd name="T24" fmla="*/ 21 w 277"/>
                <a:gd name="T25" fmla="*/ 21 h 277"/>
                <a:gd name="T26" fmla="*/ 21 w 277"/>
                <a:gd name="T2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277">
                  <a:moveTo>
                    <a:pt x="267" y="277"/>
                  </a:moveTo>
                  <a:cubicBezTo>
                    <a:pt x="11" y="277"/>
                    <a:pt x="11" y="277"/>
                    <a:pt x="11" y="277"/>
                  </a:cubicBezTo>
                  <a:cubicBezTo>
                    <a:pt x="5" y="277"/>
                    <a:pt x="0" y="273"/>
                    <a:pt x="0" y="267"/>
                  </a:cubicBezTo>
                  <a:cubicBezTo>
                    <a:pt x="0" y="11"/>
                    <a:pt x="0" y="11"/>
                    <a:pt x="0" y="11"/>
                  </a:cubicBezTo>
                  <a:cubicBezTo>
                    <a:pt x="0" y="5"/>
                    <a:pt x="5" y="0"/>
                    <a:pt x="11" y="0"/>
                  </a:cubicBezTo>
                  <a:cubicBezTo>
                    <a:pt x="267" y="0"/>
                    <a:pt x="267" y="0"/>
                    <a:pt x="267" y="0"/>
                  </a:cubicBezTo>
                  <a:cubicBezTo>
                    <a:pt x="273" y="0"/>
                    <a:pt x="277" y="5"/>
                    <a:pt x="277" y="11"/>
                  </a:cubicBezTo>
                  <a:cubicBezTo>
                    <a:pt x="277" y="267"/>
                    <a:pt x="277" y="267"/>
                    <a:pt x="277" y="267"/>
                  </a:cubicBezTo>
                  <a:cubicBezTo>
                    <a:pt x="277" y="273"/>
                    <a:pt x="273" y="277"/>
                    <a:pt x="267" y="277"/>
                  </a:cubicBezTo>
                  <a:close/>
                  <a:moveTo>
                    <a:pt x="21" y="256"/>
                  </a:moveTo>
                  <a:cubicBezTo>
                    <a:pt x="256" y="256"/>
                    <a:pt x="256" y="256"/>
                    <a:pt x="256" y="256"/>
                  </a:cubicBezTo>
                  <a:cubicBezTo>
                    <a:pt x="256" y="21"/>
                    <a:pt x="256" y="21"/>
                    <a:pt x="256" y="21"/>
                  </a:cubicBezTo>
                  <a:cubicBezTo>
                    <a:pt x="21" y="21"/>
                    <a:pt x="21" y="21"/>
                    <a:pt x="21" y="21"/>
                  </a:cubicBezTo>
                  <a:lnTo>
                    <a:pt x="21"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Freeform 336"/>
            <p:cNvSpPr>
              <a:spLocks noEditPoints="1"/>
            </p:cNvSpPr>
            <p:nvPr/>
          </p:nvSpPr>
          <p:spPr bwMode="auto">
            <a:xfrm>
              <a:off x="4278" y="11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9" name="Freeform 340"/>
          <p:cNvSpPr>
            <a:spLocks noChangeAspect="1" noEditPoints="1"/>
          </p:cNvSpPr>
          <p:nvPr/>
        </p:nvSpPr>
        <p:spPr bwMode="auto">
          <a:xfrm>
            <a:off x="406400" y="1700213"/>
            <a:ext cx="369676" cy="370763"/>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0" name="TextBox 439"/>
          <p:cNvSpPr txBox="1"/>
          <p:nvPr/>
        </p:nvSpPr>
        <p:spPr>
          <a:xfrm>
            <a:off x="1205193"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wind</a:t>
            </a:r>
          </a:p>
        </p:txBody>
      </p:sp>
      <p:grpSp>
        <p:nvGrpSpPr>
          <p:cNvPr id="441" name="Group 715"/>
          <p:cNvGrpSpPr>
            <a:grpSpLocks noChangeAspect="1"/>
          </p:cNvGrpSpPr>
          <p:nvPr/>
        </p:nvGrpSpPr>
        <p:grpSpPr bwMode="auto">
          <a:xfrm>
            <a:off x="1668950" y="1700213"/>
            <a:ext cx="369021" cy="370106"/>
            <a:chOff x="3459" y="2705"/>
            <a:chExt cx="340" cy="341"/>
          </a:xfrm>
          <a:solidFill>
            <a:schemeClr val="accent2"/>
          </a:solidFill>
        </p:grpSpPr>
        <p:sp>
          <p:nvSpPr>
            <p:cNvPr id="442" name="Freeform 716"/>
            <p:cNvSpPr>
              <a:spLocks noEditPoints="1"/>
            </p:cNvSpPr>
            <p:nvPr/>
          </p:nvSpPr>
          <p:spPr bwMode="auto">
            <a:xfrm>
              <a:off x="3459" y="27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Freeform 717"/>
            <p:cNvSpPr>
              <a:spLocks noEditPoints="1"/>
            </p:cNvSpPr>
            <p:nvPr/>
          </p:nvSpPr>
          <p:spPr bwMode="auto">
            <a:xfrm>
              <a:off x="3523" y="2797"/>
              <a:ext cx="205" cy="157"/>
            </a:xfrm>
            <a:custGeom>
              <a:avLst/>
              <a:gdLst>
                <a:gd name="T0" fmla="*/ 298 w 309"/>
                <a:gd name="T1" fmla="*/ 235 h 236"/>
                <a:gd name="T2" fmla="*/ 293 w 309"/>
                <a:gd name="T3" fmla="*/ 233 h 236"/>
                <a:gd name="T4" fmla="*/ 192 w 309"/>
                <a:gd name="T5" fmla="*/ 170 h 236"/>
                <a:gd name="T6" fmla="*/ 192 w 309"/>
                <a:gd name="T7" fmla="*/ 224 h 236"/>
                <a:gd name="T8" fmla="*/ 186 w 309"/>
                <a:gd name="T9" fmla="*/ 234 h 236"/>
                <a:gd name="T10" fmla="*/ 175 w 309"/>
                <a:gd name="T11" fmla="*/ 233 h 236"/>
                <a:gd name="T12" fmla="*/ 5 w 309"/>
                <a:gd name="T13" fmla="*/ 127 h 236"/>
                <a:gd name="T14" fmla="*/ 0 w 309"/>
                <a:gd name="T15" fmla="*/ 118 h 236"/>
                <a:gd name="T16" fmla="*/ 5 w 309"/>
                <a:gd name="T17" fmla="*/ 109 h 236"/>
                <a:gd name="T18" fmla="*/ 175 w 309"/>
                <a:gd name="T19" fmla="*/ 2 h 236"/>
                <a:gd name="T20" fmla="*/ 186 w 309"/>
                <a:gd name="T21" fmla="*/ 2 h 236"/>
                <a:gd name="T22" fmla="*/ 192 w 309"/>
                <a:gd name="T23" fmla="*/ 11 h 236"/>
                <a:gd name="T24" fmla="*/ 192 w 309"/>
                <a:gd name="T25" fmla="*/ 65 h 236"/>
                <a:gd name="T26" fmla="*/ 293 w 309"/>
                <a:gd name="T27" fmla="*/ 2 h 236"/>
                <a:gd name="T28" fmla="*/ 304 w 309"/>
                <a:gd name="T29" fmla="*/ 2 h 236"/>
                <a:gd name="T30" fmla="*/ 309 w 309"/>
                <a:gd name="T31" fmla="*/ 11 h 236"/>
                <a:gd name="T32" fmla="*/ 309 w 309"/>
                <a:gd name="T33" fmla="*/ 224 h 236"/>
                <a:gd name="T34" fmla="*/ 304 w 309"/>
                <a:gd name="T35" fmla="*/ 234 h 236"/>
                <a:gd name="T36" fmla="*/ 298 w 309"/>
                <a:gd name="T37" fmla="*/ 235 h 236"/>
                <a:gd name="T38" fmla="*/ 181 w 309"/>
                <a:gd name="T39" fmla="*/ 140 h 236"/>
                <a:gd name="T40" fmla="*/ 187 w 309"/>
                <a:gd name="T41" fmla="*/ 142 h 236"/>
                <a:gd name="T42" fmla="*/ 288 w 309"/>
                <a:gd name="T43" fmla="*/ 205 h 236"/>
                <a:gd name="T44" fmla="*/ 288 w 309"/>
                <a:gd name="T45" fmla="*/ 30 h 236"/>
                <a:gd name="T46" fmla="*/ 187 w 309"/>
                <a:gd name="T47" fmla="*/ 93 h 236"/>
                <a:gd name="T48" fmla="*/ 176 w 309"/>
                <a:gd name="T49" fmla="*/ 94 h 236"/>
                <a:gd name="T50" fmla="*/ 170 w 309"/>
                <a:gd name="T51" fmla="*/ 84 h 236"/>
                <a:gd name="T52" fmla="*/ 170 w 309"/>
                <a:gd name="T53" fmla="*/ 30 h 236"/>
                <a:gd name="T54" fmla="*/ 30 w 309"/>
                <a:gd name="T55" fmla="*/ 118 h 236"/>
                <a:gd name="T56" fmla="*/ 170 w 309"/>
                <a:gd name="T57" fmla="*/ 205 h 236"/>
                <a:gd name="T58" fmla="*/ 170 w 309"/>
                <a:gd name="T59" fmla="*/ 151 h 236"/>
                <a:gd name="T60" fmla="*/ 176 w 309"/>
                <a:gd name="T61" fmla="*/ 142 h 236"/>
                <a:gd name="T62" fmla="*/ 181 w 309"/>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9" h="236">
                  <a:moveTo>
                    <a:pt x="298" y="235"/>
                  </a:moveTo>
                  <a:cubicBezTo>
                    <a:pt x="296" y="235"/>
                    <a:pt x="294" y="234"/>
                    <a:pt x="293" y="233"/>
                  </a:cubicBezTo>
                  <a:cubicBezTo>
                    <a:pt x="192" y="170"/>
                    <a:pt x="192" y="170"/>
                    <a:pt x="192" y="170"/>
                  </a:cubicBezTo>
                  <a:cubicBezTo>
                    <a:pt x="192" y="224"/>
                    <a:pt x="192" y="224"/>
                    <a:pt x="192" y="224"/>
                  </a:cubicBezTo>
                  <a:cubicBezTo>
                    <a:pt x="192" y="228"/>
                    <a:pt x="190" y="232"/>
                    <a:pt x="186" y="234"/>
                  </a:cubicBezTo>
                  <a:cubicBezTo>
                    <a:pt x="183" y="236"/>
                    <a:pt x="179" y="235"/>
                    <a:pt x="175" y="233"/>
                  </a:cubicBezTo>
                  <a:cubicBezTo>
                    <a:pt x="5" y="127"/>
                    <a:pt x="5" y="127"/>
                    <a:pt x="5" y="127"/>
                  </a:cubicBezTo>
                  <a:cubicBezTo>
                    <a:pt x="2" y="125"/>
                    <a:pt x="0" y="121"/>
                    <a:pt x="0" y="118"/>
                  </a:cubicBezTo>
                  <a:cubicBezTo>
                    <a:pt x="0" y="114"/>
                    <a:pt x="2" y="111"/>
                    <a:pt x="5" y="109"/>
                  </a:cubicBezTo>
                  <a:cubicBezTo>
                    <a:pt x="175" y="2"/>
                    <a:pt x="175" y="2"/>
                    <a:pt x="175" y="2"/>
                  </a:cubicBezTo>
                  <a:cubicBezTo>
                    <a:pt x="179" y="0"/>
                    <a:pt x="183" y="0"/>
                    <a:pt x="186" y="2"/>
                  </a:cubicBezTo>
                  <a:cubicBezTo>
                    <a:pt x="190" y="4"/>
                    <a:pt x="192" y="7"/>
                    <a:pt x="192" y="11"/>
                  </a:cubicBezTo>
                  <a:cubicBezTo>
                    <a:pt x="192" y="65"/>
                    <a:pt x="192" y="65"/>
                    <a:pt x="192" y="65"/>
                  </a:cubicBezTo>
                  <a:cubicBezTo>
                    <a:pt x="293" y="2"/>
                    <a:pt x="293" y="2"/>
                    <a:pt x="293" y="2"/>
                  </a:cubicBezTo>
                  <a:cubicBezTo>
                    <a:pt x="296" y="0"/>
                    <a:pt x="300" y="0"/>
                    <a:pt x="304" y="2"/>
                  </a:cubicBezTo>
                  <a:cubicBezTo>
                    <a:pt x="307" y="4"/>
                    <a:pt x="309" y="7"/>
                    <a:pt x="309" y="11"/>
                  </a:cubicBezTo>
                  <a:cubicBezTo>
                    <a:pt x="309" y="224"/>
                    <a:pt x="309" y="224"/>
                    <a:pt x="309" y="224"/>
                  </a:cubicBezTo>
                  <a:cubicBezTo>
                    <a:pt x="309" y="228"/>
                    <a:pt x="307" y="232"/>
                    <a:pt x="304" y="234"/>
                  </a:cubicBezTo>
                  <a:cubicBezTo>
                    <a:pt x="302" y="235"/>
                    <a:pt x="300" y="235"/>
                    <a:pt x="298" y="235"/>
                  </a:cubicBezTo>
                  <a:close/>
                  <a:moveTo>
                    <a:pt x="181" y="140"/>
                  </a:moveTo>
                  <a:cubicBezTo>
                    <a:pt x="183" y="140"/>
                    <a:pt x="185" y="141"/>
                    <a:pt x="187" y="142"/>
                  </a:cubicBezTo>
                  <a:cubicBezTo>
                    <a:pt x="288" y="205"/>
                    <a:pt x="288" y="205"/>
                    <a:pt x="288" y="205"/>
                  </a:cubicBezTo>
                  <a:cubicBezTo>
                    <a:pt x="288" y="30"/>
                    <a:pt x="288" y="30"/>
                    <a:pt x="288" y="30"/>
                  </a:cubicBezTo>
                  <a:cubicBezTo>
                    <a:pt x="187" y="93"/>
                    <a:pt x="187" y="93"/>
                    <a:pt x="187" y="93"/>
                  </a:cubicBezTo>
                  <a:cubicBezTo>
                    <a:pt x="183" y="95"/>
                    <a:pt x="179" y="96"/>
                    <a:pt x="176" y="94"/>
                  </a:cubicBezTo>
                  <a:cubicBezTo>
                    <a:pt x="172" y="92"/>
                    <a:pt x="170" y="88"/>
                    <a:pt x="170" y="84"/>
                  </a:cubicBezTo>
                  <a:cubicBezTo>
                    <a:pt x="170" y="30"/>
                    <a:pt x="170" y="30"/>
                    <a:pt x="170" y="30"/>
                  </a:cubicBezTo>
                  <a:cubicBezTo>
                    <a:pt x="30" y="118"/>
                    <a:pt x="30" y="118"/>
                    <a:pt x="30" y="118"/>
                  </a:cubicBezTo>
                  <a:cubicBezTo>
                    <a:pt x="170" y="205"/>
                    <a:pt x="170" y="205"/>
                    <a:pt x="170" y="205"/>
                  </a:cubicBezTo>
                  <a:cubicBezTo>
                    <a:pt x="170" y="151"/>
                    <a:pt x="170" y="151"/>
                    <a:pt x="170" y="151"/>
                  </a:cubicBezTo>
                  <a:cubicBezTo>
                    <a:pt x="170" y="147"/>
                    <a:pt x="172" y="144"/>
                    <a:pt x="176" y="142"/>
                  </a:cubicBezTo>
                  <a:cubicBezTo>
                    <a:pt x="177" y="141"/>
                    <a:pt x="179" y="140"/>
                    <a:pt x="181"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4" name="Freeform 721"/>
          <p:cNvSpPr>
            <a:spLocks noChangeAspect="1" noEditPoints="1"/>
          </p:cNvSpPr>
          <p:nvPr/>
        </p:nvSpPr>
        <p:spPr bwMode="auto">
          <a:xfrm>
            <a:off x="1248899" y="1700213"/>
            <a:ext cx="369021" cy="369021"/>
          </a:xfrm>
          <a:custGeom>
            <a:avLst/>
            <a:gdLst>
              <a:gd name="T0" fmla="*/ 283 w 512"/>
              <a:gd name="T1" fmla="*/ 231 h 512"/>
              <a:gd name="T2" fmla="*/ 384 w 512"/>
              <a:gd name="T3" fmla="*/ 168 h 512"/>
              <a:gd name="T4" fmla="*/ 384 w 512"/>
              <a:gd name="T5" fmla="*/ 343 h 512"/>
              <a:gd name="T6" fmla="*/ 283 w 512"/>
              <a:gd name="T7" fmla="*/ 280 h 512"/>
              <a:gd name="T8" fmla="*/ 277 w 512"/>
              <a:gd name="T9" fmla="*/ 278 h 512"/>
              <a:gd name="T10" fmla="*/ 272 w 512"/>
              <a:gd name="T11" fmla="*/ 280 h 512"/>
              <a:gd name="T12" fmla="*/ 266 w 512"/>
              <a:gd name="T13" fmla="*/ 289 h 512"/>
              <a:gd name="T14" fmla="*/ 266 w 512"/>
              <a:gd name="T15" fmla="*/ 343 h 512"/>
              <a:gd name="T16" fmla="*/ 126 w 512"/>
              <a:gd name="T17" fmla="*/ 256 h 512"/>
              <a:gd name="T18" fmla="*/ 266 w 512"/>
              <a:gd name="T19" fmla="*/ 168 h 512"/>
              <a:gd name="T20" fmla="*/ 266 w 512"/>
              <a:gd name="T21" fmla="*/ 222 h 512"/>
              <a:gd name="T22" fmla="*/ 272 w 512"/>
              <a:gd name="T23" fmla="*/ 232 h 512"/>
              <a:gd name="T24" fmla="*/ 283 w 512"/>
              <a:gd name="T25" fmla="*/ 231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05 w 512"/>
              <a:gd name="T37" fmla="*/ 149 h 512"/>
              <a:gd name="T38" fmla="*/ 400 w 512"/>
              <a:gd name="T39" fmla="*/ 140 h 512"/>
              <a:gd name="T40" fmla="*/ 389 w 512"/>
              <a:gd name="T41" fmla="*/ 140 h 512"/>
              <a:gd name="T42" fmla="*/ 288 w 512"/>
              <a:gd name="T43" fmla="*/ 203 h 512"/>
              <a:gd name="T44" fmla="*/ 288 w 512"/>
              <a:gd name="T45" fmla="*/ 149 h 512"/>
              <a:gd name="T46" fmla="*/ 282 w 512"/>
              <a:gd name="T47" fmla="*/ 140 h 512"/>
              <a:gd name="T48" fmla="*/ 271 w 512"/>
              <a:gd name="T49" fmla="*/ 140 h 512"/>
              <a:gd name="T50" fmla="*/ 101 w 512"/>
              <a:gd name="T51" fmla="*/ 247 h 512"/>
              <a:gd name="T52" fmla="*/ 96 w 512"/>
              <a:gd name="T53" fmla="*/ 256 h 512"/>
              <a:gd name="T54" fmla="*/ 101 w 512"/>
              <a:gd name="T55" fmla="*/ 265 h 512"/>
              <a:gd name="T56" fmla="*/ 271 w 512"/>
              <a:gd name="T57" fmla="*/ 371 h 512"/>
              <a:gd name="T58" fmla="*/ 282 w 512"/>
              <a:gd name="T59" fmla="*/ 372 h 512"/>
              <a:gd name="T60" fmla="*/ 288 w 512"/>
              <a:gd name="T61" fmla="*/ 362 h 512"/>
              <a:gd name="T62" fmla="*/ 288 w 512"/>
              <a:gd name="T63" fmla="*/ 308 h 512"/>
              <a:gd name="T64" fmla="*/ 389 w 512"/>
              <a:gd name="T65" fmla="*/ 371 h 512"/>
              <a:gd name="T66" fmla="*/ 394 w 512"/>
              <a:gd name="T67" fmla="*/ 373 h 512"/>
              <a:gd name="T68" fmla="*/ 400 w 512"/>
              <a:gd name="T69" fmla="*/ 372 h 512"/>
              <a:gd name="T70" fmla="*/ 405 w 512"/>
              <a:gd name="T71" fmla="*/ 362 h 512"/>
              <a:gd name="T72" fmla="*/ 405 w 512"/>
              <a:gd name="T7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3" y="231"/>
                </a:moveTo>
                <a:cubicBezTo>
                  <a:pt x="384" y="168"/>
                  <a:pt x="384" y="168"/>
                  <a:pt x="384" y="168"/>
                </a:cubicBezTo>
                <a:cubicBezTo>
                  <a:pt x="384" y="343"/>
                  <a:pt x="384" y="343"/>
                  <a:pt x="384" y="343"/>
                </a:cubicBezTo>
                <a:cubicBezTo>
                  <a:pt x="283" y="280"/>
                  <a:pt x="283" y="280"/>
                  <a:pt x="283" y="280"/>
                </a:cubicBezTo>
                <a:cubicBezTo>
                  <a:pt x="281" y="279"/>
                  <a:pt x="279" y="278"/>
                  <a:pt x="277" y="278"/>
                </a:cubicBezTo>
                <a:cubicBezTo>
                  <a:pt x="275" y="278"/>
                  <a:pt x="273" y="279"/>
                  <a:pt x="272" y="280"/>
                </a:cubicBezTo>
                <a:cubicBezTo>
                  <a:pt x="268" y="282"/>
                  <a:pt x="266" y="285"/>
                  <a:pt x="266" y="289"/>
                </a:cubicBezTo>
                <a:cubicBezTo>
                  <a:pt x="266" y="343"/>
                  <a:pt x="266" y="343"/>
                  <a:pt x="266" y="343"/>
                </a:cubicBezTo>
                <a:cubicBezTo>
                  <a:pt x="126" y="256"/>
                  <a:pt x="126" y="256"/>
                  <a:pt x="126" y="256"/>
                </a:cubicBezTo>
                <a:cubicBezTo>
                  <a:pt x="266" y="168"/>
                  <a:pt x="266" y="168"/>
                  <a:pt x="266" y="168"/>
                </a:cubicBezTo>
                <a:cubicBezTo>
                  <a:pt x="266" y="222"/>
                  <a:pt x="266" y="222"/>
                  <a:pt x="266" y="222"/>
                </a:cubicBezTo>
                <a:cubicBezTo>
                  <a:pt x="266" y="226"/>
                  <a:pt x="268" y="230"/>
                  <a:pt x="272" y="232"/>
                </a:cubicBezTo>
                <a:cubicBezTo>
                  <a:pt x="275" y="234"/>
                  <a:pt x="279" y="233"/>
                  <a:pt x="283" y="23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5"/>
                  <a:pt x="403" y="142"/>
                  <a:pt x="400" y="140"/>
                </a:cubicBezTo>
                <a:cubicBezTo>
                  <a:pt x="396" y="138"/>
                  <a:pt x="392" y="138"/>
                  <a:pt x="389" y="140"/>
                </a:cubicBezTo>
                <a:cubicBezTo>
                  <a:pt x="288" y="203"/>
                  <a:pt x="288" y="203"/>
                  <a:pt x="288" y="203"/>
                </a:cubicBezTo>
                <a:cubicBezTo>
                  <a:pt x="288" y="149"/>
                  <a:pt x="288" y="149"/>
                  <a:pt x="288" y="149"/>
                </a:cubicBezTo>
                <a:cubicBezTo>
                  <a:pt x="288" y="145"/>
                  <a:pt x="286" y="142"/>
                  <a:pt x="282" y="140"/>
                </a:cubicBezTo>
                <a:cubicBezTo>
                  <a:pt x="279" y="138"/>
                  <a:pt x="275" y="138"/>
                  <a:pt x="271" y="140"/>
                </a:cubicBezTo>
                <a:cubicBezTo>
                  <a:pt x="101" y="247"/>
                  <a:pt x="101" y="247"/>
                  <a:pt x="101" y="247"/>
                </a:cubicBezTo>
                <a:cubicBezTo>
                  <a:pt x="98" y="249"/>
                  <a:pt x="96" y="252"/>
                  <a:pt x="96" y="256"/>
                </a:cubicBezTo>
                <a:cubicBezTo>
                  <a:pt x="96" y="259"/>
                  <a:pt x="98" y="263"/>
                  <a:pt x="101" y="265"/>
                </a:cubicBezTo>
                <a:cubicBezTo>
                  <a:pt x="271" y="371"/>
                  <a:pt x="271" y="371"/>
                  <a:pt x="271" y="371"/>
                </a:cubicBezTo>
                <a:cubicBezTo>
                  <a:pt x="275" y="373"/>
                  <a:pt x="279" y="374"/>
                  <a:pt x="282" y="372"/>
                </a:cubicBezTo>
                <a:cubicBezTo>
                  <a:pt x="286" y="370"/>
                  <a:pt x="288" y="366"/>
                  <a:pt x="288" y="362"/>
                </a:cubicBezTo>
                <a:cubicBezTo>
                  <a:pt x="288" y="308"/>
                  <a:pt x="288" y="308"/>
                  <a:pt x="288" y="308"/>
                </a:cubicBezTo>
                <a:cubicBezTo>
                  <a:pt x="389" y="371"/>
                  <a:pt x="389" y="371"/>
                  <a:pt x="389" y="371"/>
                </a:cubicBezTo>
                <a:cubicBezTo>
                  <a:pt x="390" y="372"/>
                  <a:pt x="392" y="373"/>
                  <a:pt x="394" y="373"/>
                </a:cubicBezTo>
                <a:cubicBezTo>
                  <a:pt x="396" y="373"/>
                  <a:pt x="398" y="373"/>
                  <a:pt x="400" y="372"/>
                </a:cubicBezTo>
                <a:cubicBezTo>
                  <a:pt x="403" y="370"/>
                  <a:pt x="405" y="366"/>
                  <a:pt x="405" y="362"/>
                </a:cubicBezTo>
                <a:lnTo>
                  <a:pt x="405" y="14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5" name="TextBox 444"/>
          <p:cNvSpPr txBox="1"/>
          <p:nvPr/>
        </p:nvSpPr>
        <p:spPr>
          <a:xfrm>
            <a:off x="2049594"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cord</a:t>
            </a:r>
          </a:p>
        </p:txBody>
      </p:sp>
      <p:grpSp>
        <p:nvGrpSpPr>
          <p:cNvPr id="446" name="Group 594"/>
          <p:cNvGrpSpPr>
            <a:grpSpLocks noChangeAspect="1"/>
          </p:cNvGrpSpPr>
          <p:nvPr/>
        </p:nvGrpSpPr>
        <p:grpSpPr bwMode="auto">
          <a:xfrm>
            <a:off x="2509052" y="1700213"/>
            <a:ext cx="369021" cy="369021"/>
            <a:chOff x="5828" y="2316"/>
            <a:chExt cx="340" cy="340"/>
          </a:xfrm>
          <a:solidFill>
            <a:schemeClr val="accent1"/>
          </a:solidFill>
        </p:grpSpPr>
        <p:sp>
          <p:nvSpPr>
            <p:cNvPr id="447" name="Freeform 595"/>
            <p:cNvSpPr>
              <a:spLocks noEditPoints="1"/>
            </p:cNvSpPr>
            <p:nvPr/>
          </p:nvSpPr>
          <p:spPr bwMode="auto">
            <a:xfrm>
              <a:off x="5892" y="2436"/>
              <a:ext cx="212" cy="92"/>
            </a:xfrm>
            <a:custGeom>
              <a:avLst/>
              <a:gdLst>
                <a:gd name="T0" fmla="*/ 320 w 320"/>
                <a:gd name="T1" fmla="*/ 69 h 139"/>
                <a:gd name="T2" fmla="*/ 250 w 320"/>
                <a:gd name="T3" fmla="*/ 0 h 139"/>
                <a:gd name="T4" fmla="*/ 181 w 320"/>
                <a:gd name="T5" fmla="*/ 69 h 139"/>
                <a:gd name="T6" fmla="*/ 200 w 320"/>
                <a:gd name="T7" fmla="*/ 117 h 139"/>
                <a:gd name="T8" fmla="*/ 119 w 320"/>
                <a:gd name="T9" fmla="*/ 117 h 139"/>
                <a:gd name="T10" fmla="*/ 138 w 320"/>
                <a:gd name="T11" fmla="*/ 69 h 139"/>
                <a:gd name="T12" fmla="*/ 69 w 320"/>
                <a:gd name="T13" fmla="*/ 0 h 139"/>
                <a:gd name="T14" fmla="*/ 0 w 320"/>
                <a:gd name="T15" fmla="*/ 69 h 139"/>
                <a:gd name="T16" fmla="*/ 62 w 320"/>
                <a:gd name="T17" fmla="*/ 138 h 139"/>
                <a:gd name="T18" fmla="*/ 64 w 320"/>
                <a:gd name="T19" fmla="*/ 139 h 139"/>
                <a:gd name="T20" fmla="*/ 256 w 320"/>
                <a:gd name="T21" fmla="*/ 139 h 139"/>
                <a:gd name="T22" fmla="*/ 258 w 320"/>
                <a:gd name="T23" fmla="*/ 138 h 139"/>
                <a:gd name="T24" fmla="*/ 320 w 320"/>
                <a:gd name="T25" fmla="*/ 69 h 139"/>
                <a:gd name="T26" fmla="*/ 21 w 320"/>
                <a:gd name="T27" fmla="*/ 69 h 139"/>
                <a:gd name="T28" fmla="*/ 69 w 320"/>
                <a:gd name="T29" fmla="*/ 21 h 139"/>
                <a:gd name="T30" fmla="*/ 117 w 320"/>
                <a:gd name="T31" fmla="*/ 69 h 139"/>
                <a:gd name="T32" fmla="*/ 69 w 320"/>
                <a:gd name="T33" fmla="*/ 117 h 139"/>
                <a:gd name="T34" fmla="*/ 21 w 320"/>
                <a:gd name="T35" fmla="*/ 69 h 139"/>
                <a:gd name="T36" fmla="*/ 250 w 320"/>
                <a:gd name="T37" fmla="*/ 117 h 139"/>
                <a:gd name="T38" fmla="*/ 202 w 320"/>
                <a:gd name="T39" fmla="*/ 69 h 139"/>
                <a:gd name="T40" fmla="*/ 250 w 320"/>
                <a:gd name="T41" fmla="*/ 21 h 139"/>
                <a:gd name="T42" fmla="*/ 298 w 320"/>
                <a:gd name="T43" fmla="*/ 69 h 139"/>
                <a:gd name="T44" fmla="*/ 250 w 320"/>
                <a:gd name="T45" fmla="*/ 11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139">
                  <a:moveTo>
                    <a:pt x="320" y="69"/>
                  </a:moveTo>
                  <a:cubicBezTo>
                    <a:pt x="320" y="31"/>
                    <a:pt x="289" y="0"/>
                    <a:pt x="250" y="0"/>
                  </a:cubicBezTo>
                  <a:cubicBezTo>
                    <a:pt x="212" y="0"/>
                    <a:pt x="181" y="31"/>
                    <a:pt x="181" y="69"/>
                  </a:cubicBezTo>
                  <a:cubicBezTo>
                    <a:pt x="181" y="88"/>
                    <a:pt x="188" y="105"/>
                    <a:pt x="200" y="117"/>
                  </a:cubicBezTo>
                  <a:cubicBezTo>
                    <a:pt x="119" y="117"/>
                    <a:pt x="119" y="117"/>
                    <a:pt x="119" y="117"/>
                  </a:cubicBezTo>
                  <a:cubicBezTo>
                    <a:pt x="131" y="105"/>
                    <a:pt x="138" y="88"/>
                    <a:pt x="138" y="69"/>
                  </a:cubicBezTo>
                  <a:cubicBezTo>
                    <a:pt x="138" y="31"/>
                    <a:pt x="107" y="0"/>
                    <a:pt x="69" y="0"/>
                  </a:cubicBezTo>
                  <a:cubicBezTo>
                    <a:pt x="31" y="0"/>
                    <a:pt x="0" y="31"/>
                    <a:pt x="0" y="69"/>
                  </a:cubicBezTo>
                  <a:cubicBezTo>
                    <a:pt x="0" y="105"/>
                    <a:pt x="27" y="135"/>
                    <a:pt x="62" y="138"/>
                  </a:cubicBezTo>
                  <a:cubicBezTo>
                    <a:pt x="62" y="138"/>
                    <a:pt x="63" y="139"/>
                    <a:pt x="64" y="139"/>
                  </a:cubicBezTo>
                  <a:cubicBezTo>
                    <a:pt x="256" y="139"/>
                    <a:pt x="256" y="139"/>
                    <a:pt x="256" y="139"/>
                  </a:cubicBezTo>
                  <a:cubicBezTo>
                    <a:pt x="256" y="139"/>
                    <a:pt x="257" y="138"/>
                    <a:pt x="258" y="138"/>
                  </a:cubicBezTo>
                  <a:cubicBezTo>
                    <a:pt x="292" y="135"/>
                    <a:pt x="320" y="105"/>
                    <a:pt x="320" y="69"/>
                  </a:cubicBezTo>
                  <a:close/>
                  <a:moveTo>
                    <a:pt x="21" y="69"/>
                  </a:moveTo>
                  <a:cubicBezTo>
                    <a:pt x="21" y="43"/>
                    <a:pt x="43" y="21"/>
                    <a:pt x="69" y="21"/>
                  </a:cubicBezTo>
                  <a:cubicBezTo>
                    <a:pt x="95" y="21"/>
                    <a:pt x="117" y="43"/>
                    <a:pt x="117" y="69"/>
                  </a:cubicBezTo>
                  <a:cubicBezTo>
                    <a:pt x="117" y="96"/>
                    <a:pt x="95" y="117"/>
                    <a:pt x="69" y="117"/>
                  </a:cubicBezTo>
                  <a:cubicBezTo>
                    <a:pt x="43" y="117"/>
                    <a:pt x="21" y="96"/>
                    <a:pt x="21" y="69"/>
                  </a:cubicBezTo>
                  <a:close/>
                  <a:moveTo>
                    <a:pt x="250" y="117"/>
                  </a:moveTo>
                  <a:cubicBezTo>
                    <a:pt x="224" y="117"/>
                    <a:pt x="202" y="96"/>
                    <a:pt x="202" y="69"/>
                  </a:cubicBezTo>
                  <a:cubicBezTo>
                    <a:pt x="202" y="43"/>
                    <a:pt x="224" y="21"/>
                    <a:pt x="250" y="21"/>
                  </a:cubicBezTo>
                  <a:cubicBezTo>
                    <a:pt x="277" y="21"/>
                    <a:pt x="298" y="43"/>
                    <a:pt x="298" y="69"/>
                  </a:cubicBezTo>
                  <a:cubicBezTo>
                    <a:pt x="298" y="96"/>
                    <a:pt x="277" y="117"/>
                    <a:pt x="250"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Freeform 596"/>
            <p:cNvSpPr>
              <a:spLocks noEditPoints="1"/>
            </p:cNvSpPr>
            <p:nvPr/>
          </p:nvSpPr>
          <p:spPr bwMode="auto">
            <a:xfrm>
              <a:off x="5828" y="23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9" name="Freeform 600"/>
          <p:cNvSpPr>
            <a:spLocks noChangeAspect="1" noEditPoints="1"/>
          </p:cNvSpPr>
          <p:nvPr/>
        </p:nvSpPr>
        <p:spPr bwMode="auto">
          <a:xfrm>
            <a:off x="2089001" y="1700213"/>
            <a:ext cx="369021" cy="370106"/>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0" name="TextBox 449"/>
          <p:cNvSpPr txBox="1"/>
          <p:nvPr/>
        </p:nvSpPr>
        <p:spPr>
          <a:xfrm>
            <a:off x="2893995" y="21051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ject</a:t>
            </a:r>
          </a:p>
        </p:txBody>
      </p:sp>
      <p:sp>
        <p:nvSpPr>
          <p:cNvPr id="451" name="Freeform 453"/>
          <p:cNvSpPr>
            <a:spLocks noChangeAspect="1" noEditPoints="1"/>
          </p:cNvSpPr>
          <p:nvPr/>
        </p:nvSpPr>
        <p:spPr bwMode="auto">
          <a:xfrm>
            <a:off x="2929103"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9 w 512"/>
              <a:gd name="T11" fmla="*/ 260 h 512"/>
              <a:gd name="T12" fmla="*/ 247 w 512"/>
              <a:gd name="T13" fmla="*/ 106 h 512"/>
              <a:gd name="T14" fmla="*/ 264 w 512"/>
              <a:gd name="T15" fmla="*/ 106 h 512"/>
              <a:gd name="T16" fmla="*/ 392 w 512"/>
              <a:gd name="T17" fmla="*/ 260 h 512"/>
              <a:gd name="T18" fmla="*/ 393 w 512"/>
              <a:gd name="T19" fmla="*/ 271 h 512"/>
              <a:gd name="T20" fmla="*/ 384 w 512"/>
              <a:gd name="T21" fmla="*/ 277 h 512"/>
              <a:gd name="T22" fmla="*/ 128 w 512"/>
              <a:gd name="T23" fmla="*/ 277 h 512"/>
              <a:gd name="T24" fmla="*/ 118 w 512"/>
              <a:gd name="T25" fmla="*/ 271 h 512"/>
              <a:gd name="T26" fmla="*/ 119 w 512"/>
              <a:gd name="T27" fmla="*/ 260 h 512"/>
              <a:gd name="T28" fmla="*/ 394 w 512"/>
              <a:gd name="T29" fmla="*/ 373 h 512"/>
              <a:gd name="T30" fmla="*/ 384 w 512"/>
              <a:gd name="T31" fmla="*/ 384 h 512"/>
              <a:gd name="T32" fmla="*/ 128 w 512"/>
              <a:gd name="T33" fmla="*/ 384 h 512"/>
              <a:gd name="T34" fmla="*/ 117 w 512"/>
              <a:gd name="T35" fmla="*/ 373 h 512"/>
              <a:gd name="T36" fmla="*/ 117 w 512"/>
              <a:gd name="T37" fmla="*/ 309 h 512"/>
              <a:gd name="T38" fmla="*/ 128 w 512"/>
              <a:gd name="T39" fmla="*/ 298 h 512"/>
              <a:gd name="T40" fmla="*/ 384 w 512"/>
              <a:gd name="T41" fmla="*/ 298 h 512"/>
              <a:gd name="T42" fmla="*/ 394 w 512"/>
              <a:gd name="T43" fmla="*/ 309 h 512"/>
              <a:gd name="T44" fmla="*/ 394 w 512"/>
              <a:gd name="T45" fmla="*/ 373 h 512"/>
              <a:gd name="T46" fmla="*/ 138 w 512"/>
              <a:gd name="T47" fmla="*/ 320 h 512"/>
              <a:gd name="T48" fmla="*/ 373 w 512"/>
              <a:gd name="T49" fmla="*/ 320 h 512"/>
              <a:gd name="T50" fmla="*/ 373 w 512"/>
              <a:gd name="T51" fmla="*/ 362 h 512"/>
              <a:gd name="T52" fmla="*/ 138 w 512"/>
              <a:gd name="T53" fmla="*/ 362 h 512"/>
              <a:gd name="T54" fmla="*/ 138 w 512"/>
              <a:gd name="T55" fmla="*/ 320 h 512"/>
              <a:gd name="T56" fmla="*/ 361 w 512"/>
              <a:gd name="T57" fmla="*/ 256 h 512"/>
              <a:gd name="T58" fmla="*/ 150 w 512"/>
              <a:gd name="T59" fmla="*/ 256 h 512"/>
              <a:gd name="T60" fmla="*/ 256 w 512"/>
              <a:gd name="T61" fmla="*/ 129 h 512"/>
              <a:gd name="T62" fmla="*/ 361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9" y="260"/>
                </a:moveTo>
                <a:cubicBezTo>
                  <a:pt x="247" y="106"/>
                  <a:pt x="247" y="106"/>
                  <a:pt x="247" y="106"/>
                </a:cubicBezTo>
                <a:cubicBezTo>
                  <a:pt x="252" y="101"/>
                  <a:pt x="260" y="101"/>
                  <a:pt x="264" y="106"/>
                </a:cubicBezTo>
                <a:cubicBezTo>
                  <a:pt x="392" y="260"/>
                  <a:pt x="392" y="260"/>
                  <a:pt x="392" y="260"/>
                </a:cubicBezTo>
                <a:cubicBezTo>
                  <a:pt x="395" y="263"/>
                  <a:pt x="395" y="267"/>
                  <a:pt x="393" y="271"/>
                </a:cubicBezTo>
                <a:cubicBezTo>
                  <a:pt x="392" y="275"/>
                  <a:pt x="388" y="277"/>
                  <a:pt x="384" y="277"/>
                </a:cubicBezTo>
                <a:cubicBezTo>
                  <a:pt x="128" y="277"/>
                  <a:pt x="128" y="277"/>
                  <a:pt x="128" y="277"/>
                </a:cubicBezTo>
                <a:cubicBezTo>
                  <a:pt x="124" y="277"/>
                  <a:pt x="120" y="275"/>
                  <a:pt x="118" y="271"/>
                </a:cubicBezTo>
                <a:cubicBezTo>
                  <a:pt x="116" y="267"/>
                  <a:pt x="117" y="263"/>
                  <a:pt x="119" y="260"/>
                </a:cubicBezTo>
                <a:close/>
                <a:moveTo>
                  <a:pt x="394" y="373"/>
                </a:moveTo>
                <a:cubicBezTo>
                  <a:pt x="394" y="379"/>
                  <a:pt x="390" y="384"/>
                  <a:pt x="384" y="384"/>
                </a:cubicBezTo>
                <a:cubicBezTo>
                  <a:pt x="128" y="384"/>
                  <a:pt x="128" y="384"/>
                  <a:pt x="128" y="384"/>
                </a:cubicBezTo>
                <a:cubicBezTo>
                  <a:pt x="122" y="384"/>
                  <a:pt x="117" y="379"/>
                  <a:pt x="117" y="373"/>
                </a:cubicBezTo>
                <a:cubicBezTo>
                  <a:pt x="117" y="309"/>
                  <a:pt x="117" y="309"/>
                  <a:pt x="117" y="309"/>
                </a:cubicBezTo>
                <a:cubicBezTo>
                  <a:pt x="117" y="303"/>
                  <a:pt x="122" y="298"/>
                  <a:pt x="128" y="298"/>
                </a:cubicBezTo>
                <a:cubicBezTo>
                  <a:pt x="384" y="298"/>
                  <a:pt x="384" y="298"/>
                  <a:pt x="384" y="298"/>
                </a:cubicBezTo>
                <a:cubicBezTo>
                  <a:pt x="390" y="298"/>
                  <a:pt x="394" y="303"/>
                  <a:pt x="394" y="309"/>
                </a:cubicBezTo>
                <a:lnTo>
                  <a:pt x="394" y="373"/>
                </a:lnTo>
                <a:close/>
                <a:moveTo>
                  <a:pt x="138" y="320"/>
                </a:moveTo>
                <a:cubicBezTo>
                  <a:pt x="373" y="320"/>
                  <a:pt x="373" y="320"/>
                  <a:pt x="373" y="320"/>
                </a:cubicBezTo>
                <a:cubicBezTo>
                  <a:pt x="373" y="362"/>
                  <a:pt x="373" y="362"/>
                  <a:pt x="373" y="362"/>
                </a:cubicBezTo>
                <a:cubicBezTo>
                  <a:pt x="138" y="362"/>
                  <a:pt x="138" y="362"/>
                  <a:pt x="138" y="362"/>
                </a:cubicBezTo>
                <a:lnTo>
                  <a:pt x="138" y="320"/>
                </a:lnTo>
                <a:close/>
                <a:moveTo>
                  <a:pt x="361" y="256"/>
                </a:moveTo>
                <a:cubicBezTo>
                  <a:pt x="150" y="256"/>
                  <a:pt x="150" y="256"/>
                  <a:pt x="150" y="256"/>
                </a:cubicBezTo>
                <a:cubicBezTo>
                  <a:pt x="256" y="129"/>
                  <a:pt x="256" y="129"/>
                  <a:pt x="256" y="129"/>
                </a:cubicBezTo>
                <a:lnTo>
                  <a:pt x="361" y="25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52" name="Group 456"/>
          <p:cNvGrpSpPr>
            <a:grpSpLocks noChangeAspect="1"/>
          </p:cNvGrpSpPr>
          <p:nvPr/>
        </p:nvGrpSpPr>
        <p:grpSpPr bwMode="auto">
          <a:xfrm>
            <a:off x="3347764" y="1700213"/>
            <a:ext cx="367631" cy="367631"/>
            <a:chOff x="5846" y="1739"/>
            <a:chExt cx="340" cy="340"/>
          </a:xfrm>
          <a:solidFill>
            <a:schemeClr val="accent5"/>
          </a:solidFill>
        </p:grpSpPr>
        <p:sp>
          <p:nvSpPr>
            <p:cNvPr id="453" name="Freeform 457"/>
            <p:cNvSpPr>
              <a:spLocks noEditPoints="1"/>
            </p:cNvSpPr>
            <p:nvPr/>
          </p:nvSpPr>
          <p:spPr bwMode="auto">
            <a:xfrm>
              <a:off x="5846" y="1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4" name="Freeform 458"/>
            <p:cNvSpPr>
              <a:spLocks noEditPoints="1"/>
            </p:cNvSpPr>
            <p:nvPr/>
          </p:nvSpPr>
          <p:spPr bwMode="auto">
            <a:xfrm>
              <a:off x="5924" y="1937"/>
              <a:ext cx="184" cy="57"/>
            </a:xfrm>
            <a:custGeom>
              <a:avLst/>
              <a:gdLst>
                <a:gd name="T0" fmla="*/ 267 w 277"/>
                <a:gd name="T1" fmla="*/ 0 h 86"/>
                <a:gd name="T2" fmla="*/ 11 w 277"/>
                <a:gd name="T3" fmla="*/ 0 h 86"/>
                <a:gd name="T4" fmla="*/ 0 w 277"/>
                <a:gd name="T5" fmla="*/ 11 h 86"/>
                <a:gd name="T6" fmla="*/ 0 w 277"/>
                <a:gd name="T7" fmla="*/ 75 h 86"/>
                <a:gd name="T8" fmla="*/ 11 w 277"/>
                <a:gd name="T9" fmla="*/ 86 h 86"/>
                <a:gd name="T10" fmla="*/ 267 w 277"/>
                <a:gd name="T11" fmla="*/ 86 h 86"/>
                <a:gd name="T12" fmla="*/ 277 w 277"/>
                <a:gd name="T13" fmla="*/ 75 h 86"/>
                <a:gd name="T14" fmla="*/ 277 w 277"/>
                <a:gd name="T15" fmla="*/ 11 h 86"/>
                <a:gd name="T16" fmla="*/ 267 w 277"/>
                <a:gd name="T17" fmla="*/ 0 h 86"/>
                <a:gd name="T18" fmla="*/ 256 w 277"/>
                <a:gd name="T19" fmla="*/ 64 h 86"/>
                <a:gd name="T20" fmla="*/ 21 w 277"/>
                <a:gd name="T21" fmla="*/ 64 h 86"/>
                <a:gd name="T22" fmla="*/ 21 w 277"/>
                <a:gd name="T23" fmla="*/ 22 h 86"/>
                <a:gd name="T24" fmla="*/ 256 w 277"/>
                <a:gd name="T25" fmla="*/ 22 h 86"/>
                <a:gd name="T26" fmla="*/ 256 w 277"/>
                <a:gd name="T27" fmla="*/ 6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86">
                  <a:moveTo>
                    <a:pt x="267" y="0"/>
                  </a:moveTo>
                  <a:cubicBezTo>
                    <a:pt x="11" y="0"/>
                    <a:pt x="11" y="0"/>
                    <a:pt x="11" y="0"/>
                  </a:cubicBezTo>
                  <a:cubicBezTo>
                    <a:pt x="5" y="0"/>
                    <a:pt x="0" y="5"/>
                    <a:pt x="0" y="11"/>
                  </a:cubicBezTo>
                  <a:cubicBezTo>
                    <a:pt x="0" y="75"/>
                    <a:pt x="0" y="75"/>
                    <a:pt x="0" y="75"/>
                  </a:cubicBezTo>
                  <a:cubicBezTo>
                    <a:pt x="0" y="81"/>
                    <a:pt x="5" y="86"/>
                    <a:pt x="11" y="86"/>
                  </a:cubicBezTo>
                  <a:cubicBezTo>
                    <a:pt x="267" y="86"/>
                    <a:pt x="267" y="86"/>
                    <a:pt x="267" y="86"/>
                  </a:cubicBezTo>
                  <a:cubicBezTo>
                    <a:pt x="273" y="86"/>
                    <a:pt x="277" y="81"/>
                    <a:pt x="277" y="75"/>
                  </a:cubicBezTo>
                  <a:cubicBezTo>
                    <a:pt x="277" y="11"/>
                    <a:pt x="277" y="11"/>
                    <a:pt x="277" y="11"/>
                  </a:cubicBezTo>
                  <a:cubicBezTo>
                    <a:pt x="277" y="5"/>
                    <a:pt x="273" y="0"/>
                    <a:pt x="267" y="0"/>
                  </a:cubicBezTo>
                  <a:close/>
                  <a:moveTo>
                    <a:pt x="256" y="64"/>
                  </a:moveTo>
                  <a:cubicBezTo>
                    <a:pt x="21" y="64"/>
                    <a:pt x="21" y="64"/>
                    <a:pt x="21" y="64"/>
                  </a:cubicBezTo>
                  <a:cubicBezTo>
                    <a:pt x="21" y="22"/>
                    <a:pt x="21" y="22"/>
                    <a:pt x="21" y="22"/>
                  </a:cubicBezTo>
                  <a:cubicBezTo>
                    <a:pt x="256" y="22"/>
                    <a:pt x="256" y="22"/>
                    <a:pt x="256" y="22"/>
                  </a:cubicBezTo>
                  <a:lnTo>
                    <a:pt x="25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5" name="Freeform 459"/>
            <p:cNvSpPr>
              <a:spLocks noEditPoints="1"/>
            </p:cNvSpPr>
            <p:nvPr/>
          </p:nvSpPr>
          <p:spPr bwMode="auto">
            <a:xfrm>
              <a:off x="5923" y="1806"/>
              <a:ext cx="185" cy="117"/>
            </a:xfrm>
            <a:custGeom>
              <a:avLst/>
              <a:gdLst>
                <a:gd name="T0" fmla="*/ 12 w 279"/>
                <a:gd name="T1" fmla="*/ 176 h 176"/>
                <a:gd name="T2" fmla="*/ 268 w 279"/>
                <a:gd name="T3" fmla="*/ 176 h 176"/>
                <a:gd name="T4" fmla="*/ 277 w 279"/>
                <a:gd name="T5" fmla="*/ 170 h 176"/>
                <a:gd name="T6" fmla="*/ 276 w 279"/>
                <a:gd name="T7" fmla="*/ 159 h 176"/>
                <a:gd name="T8" fmla="*/ 148 w 279"/>
                <a:gd name="T9" fmla="*/ 5 h 176"/>
                <a:gd name="T10" fmla="*/ 131 w 279"/>
                <a:gd name="T11" fmla="*/ 5 h 176"/>
                <a:gd name="T12" fmla="*/ 3 w 279"/>
                <a:gd name="T13" fmla="*/ 159 h 176"/>
                <a:gd name="T14" fmla="*/ 2 w 279"/>
                <a:gd name="T15" fmla="*/ 170 h 176"/>
                <a:gd name="T16" fmla="*/ 12 w 279"/>
                <a:gd name="T17" fmla="*/ 176 h 176"/>
                <a:gd name="T18" fmla="*/ 140 w 279"/>
                <a:gd name="T19" fmla="*/ 28 h 176"/>
                <a:gd name="T20" fmla="*/ 245 w 279"/>
                <a:gd name="T21" fmla="*/ 155 h 176"/>
                <a:gd name="T22" fmla="*/ 34 w 279"/>
                <a:gd name="T23" fmla="*/ 155 h 176"/>
                <a:gd name="T24" fmla="*/ 140 w 279"/>
                <a:gd name="T25"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176">
                  <a:moveTo>
                    <a:pt x="12" y="176"/>
                  </a:moveTo>
                  <a:cubicBezTo>
                    <a:pt x="268" y="176"/>
                    <a:pt x="268" y="176"/>
                    <a:pt x="268" y="176"/>
                  </a:cubicBezTo>
                  <a:cubicBezTo>
                    <a:pt x="272" y="176"/>
                    <a:pt x="276" y="174"/>
                    <a:pt x="277" y="170"/>
                  </a:cubicBezTo>
                  <a:cubicBezTo>
                    <a:pt x="279" y="166"/>
                    <a:pt x="279" y="162"/>
                    <a:pt x="276" y="159"/>
                  </a:cubicBezTo>
                  <a:cubicBezTo>
                    <a:pt x="148" y="5"/>
                    <a:pt x="148" y="5"/>
                    <a:pt x="148" y="5"/>
                  </a:cubicBezTo>
                  <a:cubicBezTo>
                    <a:pt x="144" y="0"/>
                    <a:pt x="136" y="0"/>
                    <a:pt x="131" y="5"/>
                  </a:cubicBezTo>
                  <a:cubicBezTo>
                    <a:pt x="3" y="159"/>
                    <a:pt x="3" y="159"/>
                    <a:pt x="3" y="159"/>
                  </a:cubicBezTo>
                  <a:cubicBezTo>
                    <a:pt x="1" y="162"/>
                    <a:pt x="0" y="166"/>
                    <a:pt x="2" y="170"/>
                  </a:cubicBezTo>
                  <a:cubicBezTo>
                    <a:pt x="4" y="174"/>
                    <a:pt x="8" y="176"/>
                    <a:pt x="12" y="176"/>
                  </a:cubicBezTo>
                  <a:close/>
                  <a:moveTo>
                    <a:pt x="140" y="28"/>
                  </a:moveTo>
                  <a:cubicBezTo>
                    <a:pt x="245" y="155"/>
                    <a:pt x="245" y="155"/>
                    <a:pt x="245" y="155"/>
                  </a:cubicBezTo>
                  <a:cubicBezTo>
                    <a:pt x="34" y="155"/>
                    <a:pt x="34" y="155"/>
                    <a:pt x="34" y="155"/>
                  </a:cubicBezTo>
                  <a:lnTo>
                    <a:pt x="140" y="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6" name="TextBox 455"/>
          <p:cNvSpPr txBox="1"/>
          <p:nvPr/>
        </p:nvSpPr>
        <p:spPr>
          <a:xfrm>
            <a:off x="3741571" y="2105125"/>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kip backwards</a:t>
            </a:r>
          </a:p>
        </p:txBody>
      </p:sp>
      <p:sp>
        <p:nvSpPr>
          <p:cNvPr id="457" name="TextBox 456"/>
          <p:cNvSpPr txBox="1"/>
          <p:nvPr/>
        </p:nvSpPr>
        <p:spPr>
          <a:xfrm>
            <a:off x="4574330" y="210512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kip forward</a:t>
            </a:r>
          </a:p>
        </p:txBody>
      </p:sp>
      <p:sp>
        <p:nvSpPr>
          <p:cNvPr id="458" name="TextBox 457"/>
          <p:cNvSpPr txBox="1"/>
          <p:nvPr/>
        </p:nvSpPr>
        <p:spPr>
          <a:xfrm>
            <a:off x="5421906" y="21051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kip forwards</a:t>
            </a:r>
          </a:p>
        </p:txBody>
      </p:sp>
      <p:sp>
        <p:nvSpPr>
          <p:cNvPr id="459" name="TextBox 458"/>
          <p:cNvSpPr txBox="1"/>
          <p:nvPr/>
        </p:nvSpPr>
        <p:spPr>
          <a:xfrm>
            <a:off x="6266307"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kip rewind</a:t>
            </a:r>
          </a:p>
        </p:txBody>
      </p:sp>
      <p:grpSp>
        <p:nvGrpSpPr>
          <p:cNvPr id="460" name="Group 18"/>
          <p:cNvGrpSpPr>
            <a:grpSpLocks noChangeAspect="1"/>
          </p:cNvGrpSpPr>
          <p:nvPr/>
        </p:nvGrpSpPr>
        <p:grpSpPr bwMode="auto">
          <a:xfrm>
            <a:off x="6707514" y="1700213"/>
            <a:ext cx="369676" cy="369676"/>
            <a:chOff x="6612" y="6"/>
            <a:chExt cx="340" cy="340"/>
          </a:xfrm>
          <a:solidFill>
            <a:schemeClr val="accent1"/>
          </a:solidFill>
        </p:grpSpPr>
        <p:sp>
          <p:nvSpPr>
            <p:cNvPr id="461" name="Freeform 19"/>
            <p:cNvSpPr>
              <a:spLocks noEditPoints="1"/>
            </p:cNvSpPr>
            <p:nvPr/>
          </p:nvSpPr>
          <p:spPr bwMode="auto">
            <a:xfrm>
              <a:off x="6704" y="76"/>
              <a:ext cx="156" cy="199"/>
            </a:xfrm>
            <a:custGeom>
              <a:avLst/>
              <a:gdLst>
                <a:gd name="T0" fmla="*/ 229 w 235"/>
                <a:gd name="T1" fmla="*/ 2 h 299"/>
                <a:gd name="T2" fmla="*/ 219 w 235"/>
                <a:gd name="T3" fmla="*/ 2 h 299"/>
                <a:gd name="T4" fmla="*/ 22 w 235"/>
                <a:gd name="T5" fmla="*/ 130 h 299"/>
                <a:gd name="T6" fmla="*/ 22 w 235"/>
                <a:gd name="T7" fmla="*/ 11 h 299"/>
                <a:gd name="T8" fmla="*/ 11 w 235"/>
                <a:gd name="T9" fmla="*/ 0 h 299"/>
                <a:gd name="T10" fmla="*/ 0 w 235"/>
                <a:gd name="T11" fmla="*/ 11 h 299"/>
                <a:gd name="T12" fmla="*/ 0 w 235"/>
                <a:gd name="T13" fmla="*/ 288 h 299"/>
                <a:gd name="T14" fmla="*/ 11 w 235"/>
                <a:gd name="T15" fmla="*/ 299 h 299"/>
                <a:gd name="T16" fmla="*/ 22 w 235"/>
                <a:gd name="T17" fmla="*/ 288 h 299"/>
                <a:gd name="T18" fmla="*/ 22 w 235"/>
                <a:gd name="T19" fmla="*/ 169 h 299"/>
                <a:gd name="T20" fmla="*/ 219 w 235"/>
                <a:gd name="T21" fmla="*/ 297 h 299"/>
                <a:gd name="T22" fmla="*/ 224 w 235"/>
                <a:gd name="T23" fmla="*/ 299 h 299"/>
                <a:gd name="T24" fmla="*/ 229 w 235"/>
                <a:gd name="T25" fmla="*/ 298 h 299"/>
                <a:gd name="T26" fmla="*/ 235 w 235"/>
                <a:gd name="T27" fmla="*/ 288 h 299"/>
                <a:gd name="T28" fmla="*/ 235 w 235"/>
                <a:gd name="T29" fmla="*/ 11 h 299"/>
                <a:gd name="T30" fmla="*/ 229 w 235"/>
                <a:gd name="T31" fmla="*/ 2 h 299"/>
                <a:gd name="T32" fmla="*/ 214 w 235"/>
                <a:gd name="T33" fmla="*/ 269 h 299"/>
                <a:gd name="T34" fmla="*/ 31 w 235"/>
                <a:gd name="T35" fmla="*/ 150 h 299"/>
                <a:gd name="T36" fmla="*/ 214 w 235"/>
                <a:gd name="T37" fmla="*/ 31 h 299"/>
                <a:gd name="T38" fmla="*/ 214 w 235"/>
                <a:gd name="T39" fmla="*/ 26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99">
                  <a:moveTo>
                    <a:pt x="229" y="2"/>
                  </a:moveTo>
                  <a:cubicBezTo>
                    <a:pt x="226" y="0"/>
                    <a:pt x="222" y="0"/>
                    <a:pt x="219" y="2"/>
                  </a:cubicBezTo>
                  <a:cubicBezTo>
                    <a:pt x="22" y="130"/>
                    <a:pt x="22" y="130"/>
                    <a:pt x="22" y="130"/>
                  </a:cubicBezTo>
                  <a:cubicBezTo>
                    <a:pt x="22" y="11"/>
                    <a:pt x="22" y="11"/>
                    <a:pt x="22" y="11"/>
                  </a:cubicBezTo>
                  <a:cubicBezTo>
                    <a:pt x="22" y="5"/>
                    <a:pt x="17" y="0"/>
                    <a:pt x="11" y="0"/>
                  </a:cubicBezTo>
                  <a:cubicBezTo>
                    <a:pt x="5" y="0"/>
                    <a:pt x="0" y="5"/>
                    <a:pt x="0" y="11"/>
                  </a:cubicBezTo>
                  <a:cubicBezTo>
                    <a:pt x="0" y="288"/>
                    <a:pt x="0" y="288"/>
                    <a:pt x="0" y="288"/>
                  </a:cubicBezTo>
                  <a:cubicBezTo>
                    <a:pt x="0" y="294"/>
                    <a:pt x="5" y="299"/>
                    <a:pt x="11" y="299"/>
                  </a:cubicBezTo>
                  <a:cubicBezTo>
                    <a:pt x="17" y="299"/>
                    <a:pt x="22" y="294"/>
                    <a:pt x="22" y="288"/>
                  </a:cubicBezTo>
                  <a:cubicBezTo>
                    <a:pt x="22" y="169"/>
                    <a:pt x="22" y="169"/>
                    <a:pt x="22" y="169"/>
                  </a:cubicBezTo>
                  <a:cubicBezTo>
                    <a:pt x="219" y="297"/>
                    <a:pt x="219" y="297"/>
                    <a:pt x="219" y="297"/>
                  </a:cubicBezTo>
                  <a:cubicBezTo>
                    <a:pt x="220" y="298"/>
                    <a:pt x="222" y="299"/>
                    <a:pt x="224" y="299"/>
                  </a:cubicBezTo>
                  <a:cubicBezTo>
                    <a:pt x="226" y="299"/>
                    <a:pt x="228" y="299"/>
                    <a:pt x="229" y="298"/>
                  </a:cubicBezTo>
                  <a:cubicBezTo>
                    <a:pt x="233" y="296"/>
                    <a:pt x="235" y="292"/>
                    <a:pt x="235" y="288"/>
                  </a:cubicBezTo>
                  <a:cubicBezTo>
                    <a:pt x="235" y="11"/>
                    <a:pt x="235" y="11"/>
                    <a:pt x="235" y="11"/>
                  </a:cubicBezTo>
                  <a:cubicBezTo>
                    <a:pt x="235" y="7"/>
                    <a:pt x="233" y="3"/>
                    <a:pt x="229" y="2"/>
                  </a:cubicBezTo>
                  <a:close/>
                  <a:moveTo>
                    <a:pt x="214" y="269"/>
                  </a:moveTo>
                  <a:cubicBezTo>
                    <a:pt x="31" y="150"/>
                    <a:pt x="31" y="150"/>
                    <a:pt x="31" y="150"/>
                  </a:cubicBezTo>
                  <a:cubicBezTo>
                    <a:pt x="214" y="31"/>
                    <a:pt x="214" y="31"/>
                    <a:pt x="214" y="31"/>
                  </a:cubicBezTo>
                  <a:lnTo>
                    <a:pt x="214" y="2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20"/>
            <p:cNvSpPr>
              <a:spLocks noEditPoints="1"/>
            </p:cNvSpPr>
            <p:nvPr/>
          </p:nvSpPr>
          <p:spPr bwMode="auto">
            <a:xfrm>
              <a:off x="6612"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3" name="Freeform 24"/>
          <p:cNvSpPr>
            <a:spLocks noChangeAspect="1" noEditPoints="1"/>
          </p:cNvSpPr>
          <p:nvPr/>
        </p:nvSpPr>
        <p:spPr bwMode="auto">
          <a:xfrm>
            <a:off x="6290661" y="1700213"/>
            <a:ext cx="369676" cy="369676"/>
          </a:xfrm>
          <a:custGeom>
            <a:avLst/>
            <a:gdLst>
              <a:gd name="T0" fmla="*/ 169 w 512"/>
              <a:gd name="T1" fmla="*/ 256 h 512"/>
              <a:gd name="T2" fmla="*/ 352 w 512"/>
              <a:gd name="T3" fmla="*/ 137 h 512"/>
              <a:gd name="T4" fmla="*/ 352 w 512"/>
              <a:gd name="T5" fmla="*/ 375 h 512"/>
              <a:gd name="T6" fmla="*/ 169 w 512"/>
              <a:gd name="T7" fmla="*/ 25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7 h 512"/>
              <a:gd name="T20" fmla="*/ 367 w 512"/>
              <a:gd name="T21" fmla="*/ 108 h 512"/>
              <a:gd name="T22" fmla="*/ 357 w 512"/>
              <a:gd name="T23" fmla="*/ 108 h 512"/>
              <a:gd name="T24" fmla="*/ 160 w 512"/>
              <a:gd name="T25" fmla="*/ 236 h 512"/>
              <a:gd name="T26" fmla="*/ 160 w 512"/>
              <a:gd name="T27" fmla="*/ 117 h 512"/>
              <a:gd name="T28" fmla="*/ 149 w 512"/>
              <a:gd name="T29" fmla="*/ 106 h 512"/>
              <a:gd name="T30" fmla="*/ 138 w 512"/>
              <a:gd name="T31" fmla="*/ 117 h 512"/>
              <a:gd name="T32" fmla="*/ 138 w 512"/>
              <a:gd name="T33" fmla="*/ 394 h 512"/>
              <a:gd name="T34" fmla="*/ 149 w 512"/>
              <a:gd name="T35" fmla="*/ 405 h 512"/>
              <a:gd name="T36" fmla="*/ 160 w 512"/>
              <a:gd name="T37" fmla="*/ 394 h 512"/>
              <a:gd name="T38" fmla="*/ 160 w 512"/>
              <a:gd name="T39" fmla="*/ 275 h 512"/>
              <a:gd name="T40" fmla="*/ 357 w 512"/>
              <a:gd name="T41" fmla="*/ 403 h 512"/>
              <a:gd name="T42" fmla="*/ 362 w 512"/>
              <a:gd name="T43" fmla="*/ 405 h 512"/>
              <a:gd name="T44" fmla="*/ 367 w 512"/>
              <a:gd name="T45" fmla="*/ 404 h 512"/>
              <a:gd name="T46" fmla="*/ 373 w 512"/>
              <a:gd name="T47" fmla="*/ 394 h 512"/>
              <a:gd name="T48" fmla="*/ 373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9" y="256"/>
                </a:moveTo>
                <a:cubicBezTo>
                  <a:pt x="352" y="137"/>
                  <a:pt x="352" y="137"/>
                  <a:pt x="352" y="137"/>
                </a:cubicBezTo>
                <a:cubicBezTo>
                  <a:pt x="352" y="375"/>
                  <a:pt x="352" y="375"/>
                  <a:pt x="352" y="375"/>
                </a:cubicBezTo>
                <a:lnTo>
                  <a:pt x="16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3"/>
                  <a:pt x="371" y="109"/>
                  <a:pt x="367" y="108"/>
                </a:cubicBezTo>
                <a:cubicBezTo>
                  <a:pt x="364" y="106"/>
                  <a:pt x="360" y="106"/>
                  <a:pt x="357" y="108"/>
                </a:cubicBezTo>
                <a:cubicBezTo>
                  <a:pt x="160" y="236"/>
                  <a:pt x="160" y="236"/>
                  <a:pt x="160" y="236"/>
                </a:cubicBezTo>
                <a:cubicBezTo>
                  <a:pt x="160" y="117"/>
                  <a:pt x="160" y="117"/>
                  <a:pt x="160" y="117"/>
                </a:cubicBezTo>
                <a:cubicBezTo>
                  <a:pt x="160" y="111"/>
                  <a:pt x="155" y="106"/>
                  <a:pt x="149" y="106"/>
                </a:cubicBezTo>
                <a:cubicBezTo>
                  <a:pt x="143" y="106"/>
                  <a:pt x="138" y="111"/>
                  <a:pt x="138" y="117"/>
                </a:cubicBezTo>
                <a:cubicBezTo>
                  <a:pt x="138" y="394"/>
                  <a:pt x="138" y="394"/>
                  <a:pt x="138" y="394"/>
                </a:cubicBezTo>
                <a:cubicBezTo>
                  <a:pt x="138" y="400"/>
                  <a:pt x="143" y="405"/>
                  <a:pt x="149" y="405"/>
                </a:cubicBezTo>
                <a:cubicBezTo>
                  <a:pt x="155" y="405"/>
                  <a:pt x="160" y="400"/>
                  <a:pt x="160" y="394"/>
                </a:cubicBezTo>
                <a:cubicBezTo>
                  <a:pt x="160" y="275"/>
                  <a:pt x="160" y="275"/>
                  <a:pt x="160" y="275"/>
                </a:cubicBezTo>
                <a:cubicBezTo>
                  <a:pt x="357" y="403"/>
                  <a:pt x="357" y="403"/>
                  <a:pt x="357" y="403"/>
                </a:cubicBezTo>
                <a:cubicBezTo>
                  <a:pt x="358" y="404"/>
                  <a:pt x="360" y="405"/>
                  <a:pt x="362" y="405"/>
                </a:cubicBezTo>
                <a:cubicBezTo>
                  <a:pt x="364" y="405"/>
                  <a:pt x="366" y="405"/>
                  <a:pt x="367" y="404"/>
                </a:cubicBezTo>
                <a:cubicBezTo>
                  <a:pt x="371" y="402"/>
                  <a:pt x="373" y="398"/>
                  <a:pt x="373" y="394"/>
                </a:cubicBezTo>
                <a:lnTo>
                  <a:pt x="373" y="11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4" name="Freeform 28"/>
          <p:cNvSpPr>
            <a:spLocks noChangeAspect="1" noEditPoints="1"/>
          </p:cNvSpPr>
          <p:nvPr/>
        </p:nvSpPr>
        <p:spPr bwMode="auto">
          <a:xfrm>
            <a:off x="5869955"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38 h 512"/>
              <a:gd name="T22" fmla="*/ 394 w 512"/>
              <a:gd name="T23" fmla="*/ 149 h 512"/>
              <a:gd name="T24" fmla="*/ 394 w 512"/>
              <a:gd name="T25" fmla="*/ 243 h 512"/>
              <a:gd name="T26" fmla="*/ 229 w 512"/>
              <a:gd name="T27" fmla="*/ 140 h 512"/>
              <a:gd name="T28" fmla="*/ 218 w 512"/>
              <a:gd name="T29" fmla="*/ 140 h 512"/>
              <a:gd name="T30" fmla="*/ 213 w 512"/>
              <a:gd name="T31" fmla="*/ 149 h 512"/>
              <a:gd name="T32" fmla="*/ 213 w 512"/>
              <a:gd name="T33" fmla="*/ 203 h 512"/>
              <a:gd name="T34" fmla="*/ 112 w 512"/>
              <a:gd name="T35" fmla="*/ 140 h 512"/>
              <a:gd name="T36" fmla="*/ 101 w 512"/>
              <a:gd name="T37" fmla="*/ 140 h 512"/>
              <a:gd name="T38" fmla="*/ 96 w 512"/>
              <a:gd name="T39" fmla="*/ 149 h 512"/>
              <a:gd name="T40" fmla="*/ 96 w 512"/>
              <a:gd name="T41" fmla="*/ 362 h 512"/>
              <a:gd name="T42" fmla="*/ 101 w 512"/>
              <a:gd name="T43" fmla="*/ 372 h 512"/>
              <a:gd name="T44" fmla="*/ 112 w 512"/>
              <a:gd name="T45" fmla="*/ 371 h 512"/>
              <a:gd name="T46" fmla="*/ 213 w 512"/>
              <a:gd name="T47" fmla="*/ 308 h 512"/>
              <a:gd name="T48" fmla="*/ 213 w 512"/>
              <a:gd name="T49" fmla="*/ 362 h 512"/>
              <a:gd name="T50" fmla="*/ 218 w 512"/>
              <a:gd name="T51" fmla="*/ 372 h 512"/>
              <a:gd name="T52" fmla="*/ 224 w 512"/>
              <a:gd name="T53" fmla="*/ 373 h 512"/>
              <a:gd name="T54" fmla="*/ 229 w 512"/>
              <a:gd name="T55" fmla="*/ 371 h 512"/>
              <a:gd name="T56" fmla="*/ 394 w 512"/>
              <a:gd name="T57" fmla="*/ 268 h 512"/>
              <a:gd name="T58" fmla="*/ 394 w 512"/>
              <a:gd name="T59" fmla="*/ 362 h 512"/>
              <a:gd name="T60" fmla="*/ 405 w 512"/>
              <a:gd name="T61" fmla="*/ 373 h 512"/>
              <a:gd name="T62" fmla="*/ 416 w 512"/>
              <a:gd name="T63" fmla="*/ 362 h 512"/>
              <a:gd name="T64" fmla="*/ 416 w 512"/>
              <a:gd name="T65" fmla="*/ 149 h 512"/>
              <a:gd name="T66" fmla="*/ 405 w 512"/>
              <a:gd name="T67" fmla="*/ 138 h 512"/>
              <a:gd name="T68" fmla="*/ 234 w 512"/>
              <a:gd name="T69" fmla="*/ 343 h 512"/>
              <a:gd name="T70" fmla="*/ 234 w 512"/>
              <a:gd name="T71" fmla="*/ 289 h 512"/>
              <a:gd name="T72" fmla="*/ 229 w 512"/>
              <a:gd name="T73" fmla="*/ 280 h 512"/>
              <a:gd name="T74" fmla="*/ 224 w 512"/>
              <a:gd name="T75" fmla="*/ 278 h 512"/>
              <a:gd name="T76" fmla="*/ 218 w 512"/>
              <a:gd name="T77" fmla="*/ 280 h 512"/>
              <a:gd name="T78" fmla="*/ 117 w 512"/>
              <a:gd name="T79" fmla="*/ 343 h 512"/>
              <a:gd name="T80" fmla="*/ 117 w 512"/>
              <a:gd name="T81" fmla="*/ 168 h 512"/>
              <a:gd name="T82" fmla="*/ 218 w 512"/>
              <a:gd name="T83" fmla="*/ 231 h 512"/>
              <a:gd name="T84" fmla="*/ 229 w 512"/>
              <a:gd name="T85" fmla="*/ 232 h 512"/>
              <a:gd name="T86" fmla="*/ 234 w 512"/>
              <a:gd name="T87" fmla="*/ 222 h 512"/>
              <a:gd name="T88" fmla="*/ 234 w 512"/>
              <a:gd name="T89" fmla="*/ 168 h 512"/>
              <a:gd name="T90" fmla="*/ 374 w 512"/>
              <a:gd name="T91" fmla="*/ 256 h 512"/>
              <a:gd name="T92" fmla="*/ 23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38"/>
                </a:move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cubicBezTo>
                  <a:pt x="416" y="149"/>
                  <a:pt x="416" y="149"/>
                  <a:pt x="416" y="149"/>
                </a:cubicBezTo>
                <a:cubicBezTo>
                  <a:pt x="416" y="143"/>
                  <a:pt x="411" y="138"/>
                  <a:pt x="405" y="138"/>
                </a:cubicBezTo>
                <a:close/>
                <a:moveTo>
                  <a:pt x="234" y="343"/>
                </a:move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cubicBezTo>
                  <a:pt x="234" y="168"/>
                  <a:pt x="234" y="168"/>
                  <a:pt x="234" y="168"/>
                </a:cubicBezTo>
                <a:cubicBezTo>
                  <a:pt x="374" y="256"/>
                  <a:pt x="374" y="256"/>
                  <a:pt x="374" y="256"/>
                </a:cubicBezTo>
                <a:lnTo>
                  <a:pt x="234" y="34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5" name="Freeform 32"/>
          <p:cNvSpPr>
            <a:spLocks noChangeAspect="1" noEditPoints="1"/>
          </p:cNvSpPr>
          <p:nvPr/>
        </p:nvSpPr>
        <p:spPr bwMode="auto">
          <a:xfrm>
            <a:off x="5449249" y="1700213"/>
            <a:ext cx="369676" cy="369676"/>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66" name="Group 35"/>
          <p:cNvGrpSpPr>
            <a:grpSpLocks noChangeAspect="1"/>
          </p:cNvGrpSpPr>
          <p:nvPr/>
        </p:nvGrpSpPr>
        <p:grpSpPr bwMode="auto">
          <a:xfrm>
            <a:off x="5028543" y="1700213"/>
            <a:ext cx="369676" cy="369676"/>
            <a:chOff x="5170" y="0"/>
            <a:chExt cx="340" cy="340"/>
          </a:xfrm>
          <a:solidFill>
            <a:schemeClr val="accent1"/>
          </a:solidFill>
        </p:grpSpPr>
        <p:sp>
          <p:nvSpPr>
            <p:cNvPr id="467" name="Freeform 36"/>
            <p:cNvSpPr>
              <a:spLocks noEditPoints="1"/>
            </p:cNvSpPr>
            <p:nvPr/>
          </p:nvSpPr>
          <p:spPr bwMode="auto">
            <a:xfrm>
              <a:off x="5262" y="70"/>
              <a:ext cx="156" cy="200"/>
            </a:xfrm>
            <a:custGeom>
              <a:avLst/>
              <a:gdLst>
                <a:gd name="T0" fmla="*/ 224 w 234"/>
                <a:gd name="T1" fmla="*/ 1 h 300"/>
                <a:gd name="T2" fmla="*/ 213 w 234"/>
                <a:gd name="T3" fmla="*/ 12 h 300"/>
                <a:gd name="T4" fmla="*/ 213 w 234"/>
                <a:gd name="T5" fmla="*/ 131 h 300"/>
                <a:gd name="T6" fmla="*/ 16 w 234"/>
                <a:gd name="T7" fmla="*/ 3 h 300"/>
                <a:gd name="T8" fmla="*/ 5 w 234"/>
                <a:gd name="T9" fmla="*/ 2 h 300"/>
                <a:gd name="T10" fmla="*/ 0 w 234"/>
                <a:gd name="T11" fmla="*/ 12 h 300"/>
                <a:gd name="T12" fmla="*/ 0 w 234"/>
                <a:gd name="T13" fmla="*/ 289 h 300"/>
                <a:gd name="T14" fmla="*/ 5 w 234"/>
                <a:gd name="T15" fmla="*/ 298 h 300"/>
                <a:gd name="T16" fmla="*/ 10 w 234"/>
                <a:gd name="T17" fmla="*/ 300 h 300"/>
                <a:gd name="T18" fmla="*/ 16 w 234"/>
                <a:gd name="T19" fmla="*/ 298 h 300"/>
                <a:gd name="T20" fmla="*/ 213 w 234"/>
                <a:gd name="T21" fmla="*/ 170 h 300"/>
                <a:gd name="T22" fmla="*/ 213 w 234"/>
                <a:gd name="T23" fmla="*/ 289 h 300"/>
                <a:gd name="T24" fmla="*/ 224 w 234"/>
                <a:gd name="T25" fmla="*/ 300 h 300"/>
                <a:gd name="T26" fmla="*/ 234 w 234"/>
                <a:gd name="T27" fmla="*/ 289 h 300"/>
                <a:gd name="T28" fmla="*/ 234 w 234"/>
                <a:gd name="T29" fmla="*/ 12 h 300"/>
                <a:gd name="T30" fmla="*/ 224 w 234"/>
                <a:gd name="T31" fmla="*/ 1 h 300"/>
                <a:gd name="T32" fmla="*/ 21 w 234"/>
                <a:gd name="T33" fmla="*/ 269 h 300"/>
                <a:gd name="T34" fmla="*/ 21 w 234"/>
                <a:gd name="T35" fmla="*/ 31 h 300"/>
                <a:gd name="T36" fmla="*/ 204 w 234"/>
                <a:gd name="T37" fmla="*/ 150 h 300"/>
                <a:gd name="T38" fmla="*/ 21 w 234"/>
                <a:gd name="T39" fmla="*/ 26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4" h="300">
                  <a:moveTo>
                    <a:pt x="224" y="1"/>
                  </a:moveTo>
                  <a:cubicBezTo>
                    <a:pt x="218" y="1"/>
                    <a:pt x="213" y="6"/>
                    <a:pt x="213" y="12"/>
                  </a:cubicBezTo>
                  <a:cubicBezTo>
                    <a:pt x="213" y="131"/>
                    <a:pt x="213" y="131"/>
                    <a:pt x="213" y="131"/>
                  </a:cubicBezTo>
                  <a:cubicBezTo>
                    <a:pt x="16" y="3"/>
                    <a:pt x="16" y="3"/>
                    <a:pt x="16" y="3"/>
                  </a:cubicBezTo>
                  <a:cubicBezTo>
                    <a:pt x="13" y="1"/>
                    <a:pt x="9" y="0"/>
                    <a:pt x="5" y="2"/>
                  </a:cubicBezTo>
                  <a:cubicBezTo>
                    <a:pt x="2" y="4"/>
                    <a:pt x="0" y="8"/>
                    <a:pt x="0" y="12"/>
                  </a:cubicBezTo>
                  <a:cubicBezTo>
                    <a:pt x="0" y="289"/>
                    <a:pt x="0" y="289"/>
                    <a:pt x="0" y="289"/>
                  </a:cubicBezTo>
                  <a:cubicBezTo>
                    <a:pt x="0" y="293"/>
                    <a:pt x="2" y="297"/>
                    <a:pt x="5" y="298"/>
                  </a:cubicBezTo>
                  <a:cubicBezTo>
                    <a:pt x="7" y="299"/>
                    <a:pt x="9" y="300"/>
                    <a:pt x="10" y="300"/>
                  </a:cubicBezTo>
                  <a:cubicBezTo>
                    <a:pt x="12" y="300"/>
                    <a:pt x="14" y="299"/>
                    <a:pt x="16" y="298"/>
                  </a:cubicBezTo>
                  <a:cubicBezTo>
                    <a:pt x="213" y="170"/>
                    <a:pt x="213" y="170"/>
                    <a:pt x="213" y="170"/>
                  </a:cubicBezTo>
                  <a:cubicBezTo>
                    <a:pt x="213" y="289"/>
                    <a:pt x="213" y="289"/>
                    <a:pt x="213" y="289"/>
                  </a:cubicBezTo>
                  <a:cubicBezTo>
                    <a:pt x="213" y="295"/>
                    <a:pt x="218" y="300"/>
                    <a:pt x="224" y="300"/>
                  </a:cubicBezTo>
                  <a:cubicBezTo>
                    <a:pt x="230" y="300"/>
                    <a:pt x="234" y="295"/>
                    <a:pt x="234" y="289"/>
                  </a:cubicBezTo>
                  <a:cubicBezTo>
                    <a:pt x="234" y="12"/>
                    <a:pt x="234" y="12"/>
                    <a:pt x="234" y="12"/>
                  </a:cubicBezTo>
                  <a:cubicBezTo>
                    <a:pt x="234" y="6"/>
                    <a:pt x="230" y="1"/>
                    <a:pt x="224" y="1"/>
                  </a:cubicBezTo>
                  <a:close/>
                  <a:moveTo>
                    <a:pt x="21" y="269"/>
                  </a:moveTo>
                  <a:cubicBezTo>
                    <a:pt x="21" y="31"/>
                    <a:pt x="21" y="31"/>
                    <a:pt x="21" y="31"/>
                  </a:cubicBezTo>
                  <a:cubicBezTo>
                    <a:pt x="204" y="150"/>
                    <a:pt x="204" y="150"/>
                    <a:pt x="204" y="150"/>
                  </a:cubicBezTo>
                  <a:lnTo>
                    <a:pt x="21" y="2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8" name="Freeform 37"/>
            <p:cNvSpPr>
              <a:spLocks noEditPoints="1"/>
            </p:cNvSpPr>
            <p:nvPr/>
          </p:nvSpPr>
          <p:spPr bwMode="auto">
            <a:xfrm>
              <a:off x="5170" y="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9" name="Freeform 41"/>
          <p:cNvSpPr>
            <a:spLocks noChangeAspect="1" noEditPoints="1"/>
          </p:cNvSpPr>
          <p:nvPr/>
        </p:nvSpPr>
        <p:spPr bwMode="auto">
          <a:xfrm>
            <a:off x="4607837" y="1700213"/>
            <a:ext cx="369676" cy="369676"/>
          </a:xfrm>
          <a:custGeom>
            <a:avLst/>
            <a:gdLst>
              <a:gd name="T0" fmla="*/ 160 w 512"/>
              <a:gd name="T1" fmla="*/ 137 h 512"/>
              <a:gd name="T2" fmla="*/ 343 w 512"/>
              <a:gd name="T3" fmla="*/ 256 h 512"/>
              <a:gd name="T4" fmla="*/ 160 w 512"/>
              <a:gd name="T5" fmla="*/ 375 h 512"/>
              <a:gd name="T6" fmla="*/ 160 w 512"/>
              <a:gd name="T7" fmla="*/ 137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8 h 512"/>
              <a:gd name="T20" fmla="*/ 363 w 512"/>
              <a:gd name="T21" fmla="*/ 107 h 512"/>
              <a:gd name="T22" fmla="*/ 352 w 512"/>
              <a:gd name="T23" fmla="*/ 118 h 512"/>
              <a:gd name="T24" fmla="*/ 352 w 512"/>
              <a:gd name="T25" fmla="*/ 237 h 512"/>
              <a:gd name="T26" fmla="*/ 155 w 512"/>
              <a:gd name="T27" fmla="*/ 109 h 512"/>
              <a:gd name="T28" fmla="*/ 144 w 512"/>
              <a:gd name="T29" fmla="*/ 108 h 512"/>
              <a:gd name="T30" fmla="*/ 139 w 512"/>
              <a:gd name="T31" fmla="*/ 118 h 512"/>
              <a:gd name="T32" fmla="*/ 139 w 512"/>
              <a:gd name="T33" fmla="*/ 395 h 512"/>
              <a:gd name="T34" fmla="*/ 144 w 512"/>
              <a:gd name="T35" fmla="*/ 404 h 512"/>
              <a:gd name="T36" fmla="*/ 149 w 512"/>
              <a:gd name="T37" fmla="*/ 406 h 512"/>
              <a:gd name="T38" fmla="*/ 155 w 512"/>
              <a:gd name="T39" fmla="*/ 404 h 512"/>
              <a:gd name="T40" fmla="*/ 352 w 512"/>
              <a:gd name="T41" fmla="*/ 276 h 512"/>
              <a:gd name="T42" fmla="*/ 352 w 512"/>
              <a:gd name="T43" fmla="*/ 395 h 512"/>
              <a:gd name="T44" fmla="*/ 363 w 512"/>
              <a:gd name="T45" fmla="*/ 406 h 512"/>
              <a:gd name="T46" fmla="*/ 373 w 512"/>
              <a:gd name="T47" fmla="*/ 395 h 512"/>
              <a:gd name="T48" fmla="*/ 373 w 512"/>
              <a:gd name="T49" fmla="*/ 11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0" y="137"/>
                </a:moveTo>
                <a:cubicBezTo>
                  <a:pt x="343" y="256"/>
                  <a:pt x="343" y="256"/>
                  <a:pt x="343" y="256"/>
                </a:cubicBezTo>
                <a:cubicBezTo>
                  <a:pt x="160" y="375"/>
                  <a:pt x="160" y="375"/>
                  <a:pt x="160" y="375"/>
                </a:cubicBezTo>
                <a:lnTo>
                  <a:pt x="160" y="13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18"/>
                </a:moveTo>
                <a:cubicBezTo>
                  <a:pt x="373" y="112"/>
                  <a:pt x="369" y="107"/>
                  <a:pt x="363" y="107"/>
                </a:cubicBezTo>
                <a:cubicBezTo>
                  <a:pt x="357" y="107"/>
                  <a:pt x="352" y="112"/>
                  <a:pt x="352" y="118"/>
                </a:cubicBezTo>
                <a:cubicBezTo>
                  <a:pt x="352" y="237"/>
                  <a:pt x="352" y="237"/>
                  <a:pt x="352" y="237"/>
                </a:cubicBezTo>
                <a:cubicBezTo>
                  <a:pt x="155" y="109"/>
                  <a:pt x="155" y="109"/>
                  <a:pt x="155" y="109"/>
                </a:cubicBezTo>
                <a:cubicBezTo>
                  <a:pt x="152" y="107"/>
                  <a:pt x="148" y="106"/>
                  <a:pt x="144" y="108"/>
                </a:cubicBezTo>
                <a:cubicBezTo>
                  <a:pt x="141" y="110"/>
                  <a:pt x="139" y="114"/>
                  <a:pt x="139" y="118"/>
                </a:cubicBezTo>
                <a:cubicBezTo>
                  <a:pt x="139" y="395"/>
                  <a:pt x="139" y="395"/>
                  <a:pt x="139" y="395"/>
                </a:cubicBezTo>
                <a:cubicBezTo>
                  <a:pt x="139" y="399"/>
                  <a:pt x="141" y="403"/>
                  <a:pt x="144" y="404"/>
                </a:cubicBezTo>
                <a:cubicBezTo>
                  <a:pt x="146" y="405"/>
                  <a:pt x="148" y="406"/>
                  <a:pt x="149" y="406"/>
                </a:cubicBezTo>
                <a:cubicBezTo>
                  <a:pt x="151" y="406"/>
                  <a:pt x="153" y="405"/>
                  <a:pt x="155" y="404"/>
                </a:cubicBezTo>
                <a:cubicBezTo>
                  <a:pt x="352" y="276"/>
                  <a:pt x="352" y="276"/>
                  <a:pt x="352" y="276"/>
                </a:cubicBezTo>
                <a:cubicBezTo>
                  <a:pt x="352" y="395"/>
                  <a:pt x="352" y="395"/>
                  <a:pt x="352" y="395"/>
                </a:cubicBezTo>
                <a:cubicBezTo>
                  <a:pt x="352" y="401"/>
                  <a:pt x="357" y="406"/>
                  <a:pt x="363" y="406"/>
                </a:cubicBezTo>
                <a:cubicBezTo>
                  <a:pt x="369" y="406"/>
                  <a:pt x="373" y="401"/>
                  <a:pt x="373" y="395"/>
                </a:cubicBezTo>
                <a:lnTo>
                  <a:pt x="373" y="11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0" name="Freeform 45"/>
          <p:cNvSpPr>
            <a:spLocks noChangeAspect="1" noEditPoints="1"/>
          </p:cNvSpPr>
          <p:nvPr/>
        </p:nvSpPr>
        <p:spPr bwMode="auto">
          <a:xfrm>
            <a:off x="4187131"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0 w 512"/>
              <a:gd name="T21" fmla="*/ 140 h 512"/>
              <a:gd name="T22" fmla="*/ 399 w 512"/>
              <a:gd name="T23" fmla="*/ 140 h 512"/>
              <a:gd name="T24" fmla="*/ 298 w 512"/>
              <a:gd name="T25" fmla="*/ 203 h 512"/>
              <a:gd name="T26" fmla="*/ 298 w 512"/>
              <a:gd name="T27" fmla="*/ 149 h 512"/>
              <a:gd name="T28" fmla="*/ 293 w 512"/>
              <a:gd name="T29" fmla="*/ 140 h 512"/>
              <a:gd name="T30" fmla="*/ 282 w 512"/>
              <a:gd name="T31" fmla="*/ 140 h 512"/>
              <a:gd name="T32" fmla="*/ 117 w 512"/>
              <a:gd name="T33" fmla="*/ 243 h 512"/>
              <a:gd name="T34" fmla="*/ 117 w 512"/>
              <a:gd name="T35" fmla="*/ 149 h 512"/>
              <a:gd name="T36" fmla="*/ 106 w 512"/>
              <a:gd name="T37" fmla="*/ 138 h 512"/>
              <a:gd name="T38" fmla="*/ 96 w 512"/>
              <a:gd name="T39" fmla="*/ 149 h 512"/>
              <a:gd name="T40" fmla="*/ 96 w 512"/>
              <a:gd name="T41" fmla="*/ 362 h 512"/>
              <a:gd name="T42" fmla="*/ 106 w 512"/>
              <a:gd name="T43" fmla="*/ 373 h 512"/>
              <a:gd name="T44" fmla="*/ 117 w 512"/>
              <a:gd name="T45" fmla="*/ 362 h 512"/>
              <a:gd name="T46" fmla="*/ 117 w 512"/>
              <a:gd name="T47" fmla="*/ 268 h 512"/>
              <a:gd name="T48" fmla="*/ 282 w 512"/>
              <a:gd name="T49" fmla="*/ 371 h 512"/>
              <a:gd name="T50" fmla="*/ 293 w 512"/>
              <a:gd name="T51" fmla="*/ 372 h 512"/>
              <a:gd name="T52" fmla="*/ 298 w 512"/>
              <a:gd name="T53" fmla="*/ 362 h 512"/>
              <a:gd name="T54" fmla="*/ 298 w 512"/>
              <a:gd name="T55" fmla="*/ 308 h 512"/>
              <a:gd name="T56" fmla="*/ 399 w 512"/>
              <a:gd name="T57" fmla="*/ 371 h 512"/>
              <a:gd name="T58" fmla="*/ 405 w 512"/>
              <a:gd name="T59" fmla="*/ 373 h 512"/>
              <a:gd name="T60" fmla="*/ 410 w 512"/>
              <a:gd name="T61" fmla="*/ 372 h 512"/>
              <a:gd name="T62" fmla="*/ 416 w 512"/>
              <a:gd name="T63" fmla="*/ 362 h 512"/>
              <a:gd name="T64" fmla="*/ 416 w 512"/>
              <a:gd name="T65" fmla="*/ 149 h 512"/>
              <a:gd name="T66" fmla="*/ 410 w 512"/>
              <a:gd name="T67" fmla="*/ 140 h 512"/>
              <a:gd name="T68" fmla="*/ 394 w 512"/>
              <a:gd name="T69" fmla="*/ 343 h 512"/>
              <a:gd name="T70" fmla="*/ 293 w 512"/>
              <a:gd name="T71" fmla="*/ 280 h 512"/>
              <a:gd name="T72" fmla="*/ 288 w 512"/>
              <a:gd name="T73" fmla="*/ 278 h 512"/>
              <a:gd name="T74" fmla="*/ 282 w 512"/>
              <a:gd name="T75" fmla="*/ 280 h 512"/>
              <a:gd name="T76" fmla="*/ 277 w 512"/>
              <a:gd name="T77" fmla="*/ 289 h 512"/>
              <a:gd name="T78" fmla="*/ 277 w 512"/>
              <a:gd name="T79" fmla="*/ 343 h 512"/>
              <a:gd name="T80" fmla="*/ 137 w 512"/>
              <a:gd name="T81" fmla="*/ 256 h 512"/>
              <a:gd name="T82" fmla="*/ 277 w 512"/>
              <a:gd name="T83" fmla="*/ 168 h 512"/>
              <a:gd name="T84" fmla="*/ 277 w 512"/>
              <a:gd name="T85" fmla="*/ 222 h 512"/>
              <a:gd name="T86" fmla="*/ 282 w 512"/>
              <a:gd name="T87" fmla="*/ 232 h 512"/>
              <a:gd name="T88" fmla="*/ 293 w 512"/>
              <a:gd name="T89" fmla="*/ 231 h 512"/>
              <a:gd name="T90" fmla="*/ 394 w 512"/>
              <a:gd name="T91" fmla="*/ 168 h 512"/>
              <a:gd name="T92" fmla="*/ 39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0" y="140"/>
                </a:moveTo>
                <a:cubicBezTo>
                  <a:pt x="407" y="138"/>
                  <a:pt x="403" y="138"/>
                  <a:pt x="399" y="140"/>
                </a:cubicBezTo>
                <a:cubicBezTo>
                  <a:pt x="298" y="203"/>
                  <a:pt x="298" y="203"/>
                  <a:pt x="298" y="203"/>
                </a:cubicBezTo>
                <a:cubicBezTo>
                  <a:pt x="298" y="149"/>
                  <a:pt x="298" y="149"/>
                  <a:pt x="298" y="149"/>
                </a:cubicBezTo>
                <a:cubicBezTo>
                  <a:pt x="298" y="145"/>
                  <a:pt x="296" y="142"/>
                  <a:pt x="293" y="140"/>
                </a:cubicBezTo>
                <a:cubicBezTo>
                  <a:pt x="289" y="138"/>
                  <a:pt x="285" y="138"/>
                  <a:pt x="282" y="140"/>
                </a:cubicBezTo>
                <a:cubicBezTo>
                  <a:pt x="117" y="243"/>
                  <a:pt x="117" y="243"/>
                  <a:pt x="117" y="243"/>
                </a:cubicBezTo>
                <a:cubicBezTo>
                  <a:pt x="117" y="149"/>
                  <a:pt x="117" y="149"/>
                  <a:pt x="117" y="149"/>
                </a:cubicBezTo>
                <a:cubicBezTo>
                  <a:pt x="117" y="143"/>
                  <a:pt x="112" y="138"/>
                  <a:pt x="106" y="138"/>
                </a:cubicBezTo>
                <a:cubicBezTo>
                  <a:pt x="100" y="138"/>
                  <a:pt x="96" y="143"/>
                  <a:pt x="96" y="149"/>
                </a:cubicBezTo>
                <a:cubicBezTo>
                  <a:pt x="96" y="362"/>
                  <a:pt x="96" y="362"/>
                  <a:pt x="96" y="362"/>
                </a:cubicBezTo>
                <a:cubicBezTo>
                  <a:pt x="96" y="368"/>
                  <a:pt x="100" y="373"/>
                  <a:pt x="106" y="373"/>
                </a:cubicBezTo>
                <a:cubicBezTo>
                  <a:pt x="112" y="373"/>
                  <a:pt x="117" y="368"/>
                  <a:pt x="117" y="362"/>
                </a:cubicBezTo>
                <a:cubicBezTo>
                  <a:pt x="117" y="268"/>
                  <a:pt x="117" y="268"/>
                  <a:pt x="117" y="268"/>
                </a:cubicBezTo>
                <a:cubicBezTo>
                  <a:pt x="282" y="371"/>
                  <a:pt x="282" y="371"/>
                  <a:pt x="282" y="371"/>
                </a:cubicBezTo>
                <a:cubicBezTo>
                  <a:pt x="285" y="373"/>
                  <a:pt x="289" y="374"/>
                  <a:pt x="293" y="372"/>
                </a:cubicBezTo>
                <a:cubicBezTo>
                  <a:pt x="296" y="370"/>
                  <a:pt x="298" y="366"/>
                  <a:pt x="298" y="362"/>
                </a:cubicBezTo>
                <a:cubicBezTo>
                  <a:pt x="298" y="308"/>
                  <a:pt x="298" y="308"/>
                  <a:pt x="298" y="308"/>
                </a:cubicBezTo>
                <a:cubicBezTo>
                  <a:pt x="399" y="371"/>
                  <a:pt x="399" y="371"/>
                  <a:pt x="399" y="371"/>
                </a:cubicBezTo>
                <a:cubicBezTo>
                  <a:pt x="401" y="372"/>
                  <a:pt x="403" y="373"/>
                  <a:pt x="405" y="373"/>
                </a:cubicBezTo>
                <a:cubicBezTo>
                  <a:pt x="407" y="373"/>
                  <a:pt x="409" y="373"/>
                  <a:pt x="410" y="372"/>
                </a:cubicBezTo>
                <a:cubicBezTo>
                  <a:pt x="414" y="370"/>
                  <a:pt x="416" y="366"/>
                  <a:pt x="416" y="362"/>
                </a:cubicBezTo>
                <a:cubicBezTo>
                  <a:pt x="416" y="149"/>
                  <a:pt x="416" y="149"/>
                  <a:pt x="416" y="149"/>
                </a:cubicBezTo>
                <a:cubicBezTo>
                  <a:pt x="416" y="145"/>
                  <a:pt x="414" y="142"/>
                  <a:pt x="410" y="140"/>
                </a:cubicBezTo>
                <a:close/>
                <a:moveTo>
                  <a:pt x="394" y="343"/>
                </a:moveTo>
                <a:cubicBezTo>
                  <a:pt x="293" y="280"/>
                  <a:pt x="293" y="280"/>
                  <a:pt x="293" y="280"/>
                </a:cubicBezTo>
                <a:cubicBezTo>
                  <a:pt x="292" y="279"/>
                  <a:pt x="290" y="278"/>
                  <a:pt x="288" y="278"/>
                </a:cubicBezTo>
                <a:cubicBezTo>
                  <a:pt x="286" y="278"/>
                  <a:pt x="284" y="279"/>
                  <a:pt x="282" y="280"/>
                </a:cubicBezTo>
                <a:cubicBezTo>
                  <a:pt x="279" y="282"/>
                  <a:pt x="277" y="285"/>
                  <a:pt x="277" y="289"/>
                </a:cubicBezTo>
                <a:cubicBezTo>
                  <a:pt x="277" y="343"/>
                  <a:pt x="277" y="343"/>
                  <a:pt x="277" y="343"/>
                </a:cubicBezTo>
                <a:cubicBezTo>
                  <a:pt x="137" y="256"/>
                  <a:pt x="137" y="256"/>
                  <a:pt x="137" y="256"/>
                </a:cubicBezTo>
                <a:cubicBezTo>
                  <a:pt x="277" y="168"/>
                  <a:pt x="277" y="168"/>
                  <a:pt x="277" y="168"/>
                </a:cubicBezTo>
                <a:cubicBezTo>
                  <a:pt x="277" y="222"/>
                  <a:pt x="277" y="222"/>
                  <a:pt x="277" y="222"/>
                </a:cubicBezTo>
                <a:cubicBezTo>
                  <a:pt x="277" y="226"/>
                  <a:pt x="279" y="230"/>
                  <a:pt x="282" y="232"/>
                </a:cubicBezTo>
                <a:cubicBezTo>
                  <a:pt x="286" y="234"/>
                  <a:pt x="290" y="233"/>
                  <a:pt x="293" y="231"/>
                </a:cubicBezTo>
                <a:cubicBezTo>
                  <a:pt x="394" y="168"/>
                  <a:pt x="394" y="168"/>
                  <a:pt x="394" y="168"/>
                </a:cubicBezTo>
                <a:lnTo>
                  <a:pt x="394" y="34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71" name="Group 48"/>
          <p:cNvGrpSpPr>
            <a:grpSpLocks noChangeAspect="1"/>
          </p:cNvGrpSpPr>
          <p:nvPr/>
        </p:nvGrpSpPr>
        <p:grpSpPr bwMode="auto">
          <a:xfrm>
            <a:off x="3766425" y="1700213"/>
            <a:ext cx="369676" cy="369676"/>
            <a:chOff x="4094" y="6"/>
            <a:chExt cx="340" cy="340"/>
          </a:xfrm>
          <a:solidFill>
            <a:schemeClr val="accent1"/>
          </a:solidFill>
        </p:grpSpPr>
        <p:sp>
          <p:nvSpPr>
            <p:cNvPr id="482" name="Freeform 49"/>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3" name="Freeform 50"/>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84" name="TextBox 483"/>
          <p:cNvSpPr txBox="1"/>
          <p:nvPr/>
        </p:nvSpPr>
        <p:spPr>
          <a:xfrm>
            <a:off x="2905829"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ute</a:t>
            </a:r>
          </a:p>
        </p:txBody>
      </p:sp>
      <p:sp>
        <p:nvSpPr>
          <p:cNvPr id="485" name="TextBox 484"/>
          <p:cNvSpPr txBox="1"/>
          <p:nvPr/>
        </p:nvSpPr>
        <p:spPr>
          <a:xfrm>
            <a:off x="3745675"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Volume 1</a:t>
            </a:r>
          </a:p>
        </p:txBody>
      </p:sp>
      <p:sp>
        <p:nvSpPr>
          <p:cNvPr id="486" name="TextBox 485"/>
          <p:cNvSpPr txBox="1"/>
          <p:nvPr/>
        </p:nvSpPr>
        <p:spPr>
          <a:xfrm>
            <a:off x="4585521"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Volume2</a:t>
            </a:r>
          </a:p>
        </p:txBody>
      </p:sp>
      <p:sp>
        <p:nvSpPr>
          <p:cNvPr id="487" name="TextBox 486"/>
          <p:cNvSpPr txBox="1"/>
          <p:nvPr/>
        </p:nvSpPr>
        <p:spPr>
          <a:xfrm>
            <a:off x="5425367"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Volume 3</a:t>
            </a:r>
          </a:p>
        </p:txBody>
      </p:sp>
      <p:grpSp>
        <p:nvGrpSpPr>
          <p:cNvPr id="488" name="Group 700"/>
          <p:cNvGrpSpPr>
            <a:grpSpLocks noChangeAspect="1"/>
          </p:cNvGrpSpPr>
          <p:nvPr/>
        </p:nvGrpSpPr>
        <p:grpSpPr bwMode="auto">
          <a:xfrm>
            <a:off x="5015979" y="2530173"/>
            <a:ext cx="369676" cy="369676"/>
            <a:chOff x="7347" y="2631"/>
            <a:chExt cx="340" cy="340"/>
          </a:xfrm>
          <a:solidFill>
            <a:schemeClr val="accent2"/>
          </a:solidFill>
        </p:grpSpPr>
        <p:sp>
          <p:nvSpPr>
            <p:cNvPr id="489" name="Freeform 701"/>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0" name="Freeform 702"/>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1" name="Freeform 703"/>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2" name="Freeform 704"/>
            <p:cNvSpPr>
              <a:spLocks noEditPoints="1"/>
            </p:cNvSpPr>
            <p:nvPr/>
          </p:nvSpPr>
          <p:spPr bwMode="auto">
            <a:xfrm>
              <a:off x="7347" y="26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3" name="Freeform 708"/>
          <p:cNvSpPr>
            <a:spLocks noChangeAspect="1" noEditPoints="1"/>
          </p:cNvSpPr>
          <p:nvPr/>
        </p:nvSpPr>
        <p:spPr bwMode="auto">
          <a:xfrm>
            <a:off x="4596976" y="2530173"/>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09 w 512"/>
              <a:gd name="T57" fmla="*/ 256 h 512"/>
              <a:gd name="T58" fmla="*/ 298 w 512"/>
              <a:gd name="T59" fmla="*/ 227 h 512"/>
              <a:gd name="T60" fmla="*/ 283 w 512"/>
              <a:gd name="T61" fmla="*/ 226 h 512"/>
              <a:gd name="T62" fmla="*/ 282 w 512"/>
              <a:gd name="T63" fmla="*/ 241 h 512"/>
              <a:gd name="T64" fmla="*/ 288 w 512"/>
              <a:gd name="T65" fmla="*/ 256 h 512"/>
              <a:gd name="T66" fmla="*/ 282 w 512"/>
              <a:gd name="T67" fmla="*/ 270 h 512"/>
              <a:gd name="T68" fmla="*/ 283 w 512"/>
              <a:gd name="T69" fmla="*/ 285 h 512"/>
              <a:gd name="T70" fmla="*/ 290 w 512"/>
              <a:gd name="T71" fmla="*/ 288 h 512"/>
              <a:gd name="T72" fmla="*/ 298 w 512"/>
              <a:gd name="T73" fmla="*/ 284 h 512"/>
              <a:gd name="T74" fmla="*/ 309 w 512"/>
              <a:gd name="T75" fmla="*/ 256 h 512"/>
              <a:gd name="T76" fmla="*/ 362 w 512"/>
              <a:gd name="T77" fmla="*/ 256 h 512"/>
              <a:gd name="T78" fmla="*/ 330 w 512"/>
              <a:gd name="T79" fmla="*/ 184 h 512"/>
              <a:gd name="T80" fmla="*/ 315 w 512"/>
              <a:gd name="T81" fmla="*/ 185 h 512"/>
              <a:gd name="T82" fmla="*/ 316 w 512"/>
              <a:gd name="T83" fmla="*/ 200 h 512"/>
              <a:gd name="T84" fmla="*/ 341 w 512"/>
              <a:gd name="T85" fmla="*/ 256 h 512"/>
              <a:gd name="T86" fmla="*/ 316 w 512"/>
              <a:gd name="T87" fmla="*/ 312 h 512"/>
              <a:gd name="T88" fmla="*/ 315 w 512"/>
              <a:gd name="T89" fmla="*/ 327 h 512"/>
              <a:gd name="T90" fmla="*/ 323 w 512"/>
              <a:gd name="T91" fmla="*/ 330 h 512"/>
              <a:gd name="T92" fmla="*/ 330 w 512"/>
              <a:gd name="T93" fmla="*/ 328 h 512"/>
              <a:gd name="T94" fmla="*/ 362 w 512"/>
              <a:gd name="T9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09" y="256"/>
                </a:moveTo>
                <a:cubicBezTo>
                  <a:pt x="309" y="245"/>
                  <a:pt x="305" y="235"/>
                  <a:pt x="298" y="227"/>
                </a:cubicBezTo>
                <a:cubicBezTo>
                  <a:pt x="294" y="223"/>
                  <a:pt x="287" y="222"/>
                  <a:pt x="283" y="226"/>
                </a:cubicBezTo>
                <a:cubicBezTo>
                  <a:pt x="279" y="230"/>
                  <a:pt x="278" y="237"/>
                  <a:pt x="282" y="241"/>
                </a:cubicBezTo>
                <a:cubicBezTo>
                  <a:pt x="286" y="245"/>
                  <a:pt x="288" y="250"/>
                  <a:pt x="288" y="256"/>
                </a:cubicBezTo>
                <a:cubicBezTo>
                  <a:pt x="288" y="261"/>
                  <a:pt x="286" y="266"/>
                  <a:pt x="282" y="270"/>
                </a:cubicBezTo>
                <a:cubicBezTo>
                  <a:pt x="278" y="274"/>
                  <a:pt x="279" y="281"/>
                  <a:pt x="283" y="285"/>
                </a:cubicBezTo>
                <a:cubicBezTo>
                  <a:pt x="285" y="287"/>
                  <a:pt x="288" y="288"/>
                  <a:pt x="290" y="288"/>
                </a:cubicBezTo>
                <a:cubicBezTo>
                  <a:pt x="293" y="288"/>
                  <a:pt x="296" y="286"/>
                  <a:pt x="298" y="284"/>
                </a:cubicBezTo>
                <a:cubicBezTo>
                  <a:pt x="305" y="276"/>
                  <a:pt x="309" y="266"/>
                  <a:pt x="309" y="256"/>
                </a:cubicBezTo>
                <a:close/>
                <a:moveTo>
                  <a:pt x="362" y="256"/>
                </a:moveTo>
                <a:cubicBezTo>
                  <a:pt x="362" y="228"/>
                  <a:pt x="350" y="202"/>
                  <a:pt x="330" y="184"/>
                </a:cubicBezTo>
                <a:cubicBezTo>
                  <a:pt x="325" y="180"/>
                  <a:pt x="319" y="180"/>
                  <a:pt x="315" y="185"/>
                </a:cubicBezTo>
                <a:cubicBezTo>
                  <a:pt x="311" y="189"/>
                  <a:pt x="311" y="196"/>
                  <a:pt x="316" y="200"/>
                </a:cubicBezTo>
                <a:cubicBezTo>
                  <a:pt x="332" y="214"/>
                  <a:pt x="341" y="234"/>
                  <a:pt x="341" y="256"/>
                </a:cubicBezTo>
                <a:cubicBezTo>
                  <a:pt x="341" y="277"/>
                  <a:pt x="332" y="297"/>
                  <a:pt x="316" y="312"/>
                </a:cubicBezTo>
                <a:cubicBezTo>
                  <a:pt x="311" y="316"/>
                  <a:pt x="311" y="322"/>
                  <a:pt x="315" y="327"/>
                </a:cubicBezTo>
                <a:cubicBezTo>
                  <a:pt x="317" y="329"/>
                  <a:pt x="320" y="330"/>
                  <a:pt x="323" y="330"/>
                </a:cubicBezTo>
                <a:cubicBezTo>
                  <a:pt x="325" y="330"/>
                  <a:pt x="328" y="329"/>
                  <a:pt x="330" y="328"/>
                </a:cubicBezTo>
                <a:cubicBezTo>
                  <a:pt x="350" y="309"/>
                  <a:pt x="362" y="283"/>
                  <a:pt x="362" y="25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94" name="Group 711"/>
          <p:cNvGrpSpPr>
            <a:grpSpLocks noChangeAspect="1"/>
          </p:cNvGrpSpPr>
          <p:nvPr/>
        </p:nvGrpSpPr>
        <p:grpSpPr bwMode="auto">
          <a:xfrm>
            <a:off x="4177982" y="2530173"/>
            <a:ext cx="369676" cy="370763"/>
            <a:chOff x="6611" y="2635"/>
            <a:chExt cx="340" cy="341"/>
          </a:xfrm>
          <a:solidFill>
            <a:schemeClr val="accent2"/>
          </a:solidFill>
        </p:grpSpPr>
        <p:sp>
          <p:nvSpPr>
            <p:cNvPr id="495" name="Freeform 712"/>
            <p:cNvSpPr>
              <a:spLocks noEditPoints="1"/>
            </p:cNvSpPr>
            <p:nvPr/>
          </p:nvSpPr>
          <p:spPr bwMode="auto">
            <a:xfrm>
              <a:off x="6675" y="2720"/>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6" name="Freeform 713"/>
            <p:cNvSpPr>
              <a:spLocks/>
            </p:cNvSpPr>
            <p:nvPr/>
          </p:nvSpPr>
          <p:spPr bwMode="auto">
            <a:xfrm>
              <a:off x="6796" y="2783"/>
              <a:ext cx="20" cy="44"/>
            </a:xfrm>
            <a:custGeom>
              <a:avLst/>
              <a:gdLst>
                <a:gd name="T0" fmla="*/ 20 w 31"/>
                <a:gd name="T1" fmla="*/ 5 h 66"/>
                <a:gd name="T2" fmla="*/ 5 w 31"/>
                <a:gd name="T3" fmla="*/ 4 h 66"/>
                <a:gd name="T4" fmla="*/ 4 w 31"/>
                <a:gd name="T5" fmla="*/ 19 h 66"/>
                <a:gd name="T6" fmla="*/ 10 w 31"/>
                <a:gd name="T7" fmla="*/ 34 h 66"/>
                <a:gd name="T8" fmla="*/ 4 w 31"/>
                <a:gd name="T9" fmla="*/ 48 h 66"/>
                <a:gd name="T10" fmla="*/ 5 w 31"/>
                <a:gd name="T11" fmla="*/ 63 h 66"/>
                <a:gd name="T12" fmla="*/ 12 w 31"/>
                <a:gd name="T13" fmla="*/ 66 h 66"/>
                <a:gd name="T14" fmla="*/ 20 w 31"/>
                <a:gd name="T15" fmla="*/ 62 h 66"/>
                <a:gd name="T16" fmla="*/ 31 w 31"/>
                <a:gd name="T17" fmla="*/ 34 h 66"/>
                <a:gd name="T18" fmla="*/ 20 w 31"/>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20" y="5"/>
                  </a:moveTo>
                  <a:cubicBezTo>
                    <a:pt x="16" y="1"/>
                    <a:pt x="9" y="0"/>
                    <a:pt x="5" y="4"/>
                  </a:cubicBez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7" name="Freeform 714"/>
            <p:cNvSpPr>
              <a:spLocks noEditPoints="1"/>
            </p:cNvSpPr>
            <p:nvPr/>
          </p:nvSpPr>
          <p:spPr bwMode="auto">
            <a:xfrm>
              <a:off x="6611" y="263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8" name="Freeform 718"/>
          <p:cNvSpPr>
            <a:spLocks noChangeAspect="1" noEditPoints="1"/>
          </p:cNvSpPr>
          <p:nvPr/>
        </p:nvSpPr>
        <p:spPr bwMode="auto">
          <a:xfrm>
            <a:off x="3758988" y="253017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167 w 512"/>
              <a:gd name="T59" fmla="*/ 221 h 512"/>
              <a:gd name="T60" fmla="*/ 234 w 512"/>
              <a:gd name="T61" fmla="*/ 162 h 512"/>
              <a:gd name="T62" fmla="*/ 234 w 512"/>
              <a:gd name="T63" fmla="*/ 349 h 512"/>
              <a:gd name="T64" fmla="*/ 167 w 512"/>
              <a:gd name="T65" fmla="*/ 290 h 512"/>
              <a:gd name="T66" fmla="*/ 160 w 512"/>
              <a:gd name="T67" fmla="*/ 288 h 512"/>
              <a:gd name="T68" fmla="*/ 117 w 512"/>
              <a:gd name="T69" fmla="*/ 288 h 512"/>
              <a:gd name="T70" fmla="*/ 117 w 512"/>
              <a:gd name="T71" fmla="*/ 224 h 512"/>
              <a:gd name="T72" fmla="*/ 160 w 512"/>
              <a:gd name="T73" fmla="*/ 224 h 512"/>
              <a:gd name="T74" fmla="*/ 167 w 512"/>
              <a:gd name="T7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99" name="Group 721"/>
          <p:cNvGrpSpPr>
            <a:grpSpLocks noChangeAspect="1"/>
          </p:cNvGrpSpPr>
          <p:nvPr/>
        </p:nvGrpSpPr>
        <p:grpSpPr bwMode="auto">
          <a:xfrm>
            <a:off x="3339994" y="2530173"/>
            <a:ext cx="369676" cy="370763"/>
            <a:chOff x="5832" y="2619"/>
            <a:chExt cx="340" cy="341"/>
          </a:xfrm>
          <a:solidFill>
            <a:schemeClr val="accent2"/>
          </a:solidFill>
        </p:grpSpPr>
        <p:sp>
          <p:nvSpPr>
            <p:cNvPr id="500" name="Freeform 722"/>
            <p:cNvSpPr>
              <a:spLocks noEditPoints="1"/>
            </p:cNvSpPr>
            <p:nvPr/>
          </p:nvSpPr>
          <p:spPr bwMode="auto">
            <a:xfrm>
              <a:off x="5896" y="2704"/>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1" name="Freeform 723"/>
            <p:cNvSpPr>
              <a:spLocks/>
            </p:cNvSpPr>
            <p:nvPr/>
          </p:nvSpPr>
          <p:spPr bwMode="auto">
            <a:xfrm>
              <a:off x="6023" y="2753"/>
              <a:ext cx="71" cy="72"/>
            </a:xfrm>
            <a:custGeom>
              <a:avLst/>
              <a:gdLst>
                <a:gd name="T0" fmla="*/ 69 w 108"/>
                <a:gd name="T1" fmla="*/ 55 h 108"/>
                <a:gd name="T2" fmla="*/ 104 w 108"/>
                <a:gd name="T3" fmla="*/ 20 h 108"/>
                <a:gd name="T4" fmla="*/ 104 w 108"/>
                <a:gd name="T5" fmla="*/ 4 h 108"/>
                <a:gd name="T6" fmla="*/ 89 w 108"/>
                <a:gd name="T7" fmla="*/ 4 h 108"/>
                <a:gd name="T8" fmla="*/ 54 w 108"/>
                <a:gd name="T9" fmla="*/ 40 h 108"/>
                <a:gd name="T10" fmla="*/ 19 w 108"/>
                <a:gd name="T11" fmla="*/ 4 h 108"/>
                <a:gd name="T12" fmla="*/ 4 w 108"/>
                <a:gd name="T13" fmla="*/ 4 h 108"/>
                <a:gd name="T14" fmla="*/ 4 w 108"/>
                <a:gd name="T15" fmla="*/ 20 h 108"/>
                <a:gd name="T16" fmla="*/ 39 w 108"/>
                <a:gd name="T17" fmla="*/ 55 h 108"/>
                <a:gd name="T18" fmla="*/ 4 w 108"/>
                <a:gd name="T19" fmla="*/ 90 h 108"/>
                <a:gd name="T20" fmla="*/ 4 w 108"/>
                <a:gd name="T21" fmla="*/ 105 h 108"/>
                <a:gd name="T22" fmla="*/ 11 w 108"/>
                <a:gd name="T23" fmla="*/ 108 h 108"/>
                <a:gd name="T24" fmla="*/ 19 w 108"/>
                <a:gd name="T25" fmla="*/ 105 h 108"/>
                <a:gd name="T26" fmla="*/ 54 w 108"/>
                <a:gd name="T27" fmla="*/ 70 h 108"/>
                <a:gd name="T28" fmla="*/ 89 w 108"/>
                <a:gd name="T29" fmla="*/ 105 h 108"/>
                <a:gd name="T30" fmla="*/ 97 w 108"/>
                <a:gd name="T31" fmla="*/ 108 h 108"/>
                <a:gd name="T32" fmla="*/ 104 w 108"/>
                <a:gd name="T33" fmla="*/ 105 h 108"/>
                <a:gd name="T34" fmla="*/ 104 w 108"/>
                <a:gd name="T35" fmla="*/ 90 h 108"/>
                <a:gd name="T36" fmla="*/ 69 w 108"/>
                <a:gd name="T37"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8">
                  <a:moveTo>
                    <a:pt x="69" y="55"/>
                  </a:moveTo>
                  <a:cubicBezTo>
                    <a:pt x="104" y="20"/>
                    <a:pt x="104" y="20"/>
                    <a:pt x="104" y="20"/>
                  </a:cubicBezTo>
                  <a:cubicBezTo>
                    <a:pt x="108" y="15"/>
                    <a:pt x="108" y="9"/>
                    <a:pt x="104" y="4"/>
                  </a:cubicBezTo>
                  <a:cubicBezTo>
                    <a:pt x="100" y="0"/>
                    <a:pt x="93" y="0"/>
                    <a:pt x="89" y="4"/>
                  </a:cubicBezTo>
                  <a:cubicBezTo>
                    <a:pt x="54" y="40"/>
                    <a:pt x="54" y="40"/>
                    <a:pt x="54" y="40"/>
                  </a:cubicBezTo>
                  <a:cubicBezTo>
                    <a:pt x="19" y="4"/>
                    <a:pt x="19" y="4"/>
                    <a:pt x="19" y="4"/>
                  </a:cubicBezTo>
                  <a:cubicBezTo>
                    <a:pt x="15" y="0"/>
                    <a:pt x="8" y="0"/>
                    <a:pt x="4" y="4"/>
                  </a:cubicBezTo>
                  <a:cubicBezTo>
                    <a:pt x="0" y="9"/>
                    <a:pt x="0" y="15"/>
                    <a:pt x="4" y="20"/>
                  </a:cubicBezTo>
                  <a:cubicBezTo>
                    <a:pt x="39" y="55"/>
                    <a:pt x="39" y="55"/>
                    <a:pt x="39" y="55"/>
                  </a:cubicBezTo>
                  <a:cubicBezTo>
                    <a:pt x="4" y="90"/>
                    <a:pt x="4" y="90"/>
                    <a:pt x="4" y="90"/>
                  </a:cubicBezTo>
                  <a:cubicBezTo>
                    <a:pt x="0" y="94"/>
                    <a:pt x="0" y="101"/>
                    <a:pt x="4" y="105"/>
                  </a:cubicBezTo>
                  <a:cubicBezTo>
                    <a:pt x="6" y="107"/>
                    <a:pt x="9" y="108"/>
                    <a:pt x="11" y="108"/>
                  </a:cubicBezTo>
                  <a:cubicBezTo>
                    <a:pt x="14" y="108"/>
                    <a:pt x="17" y="107"/>
                    <a:pt x="19" y="105"/>
                  </a:cubicBezTo>
                  <a:cubicBezTo>
                    <a:pt x="54" y="70"/>
                    <a:pt x="54" y="70"/>
                    <a:pt x="54" y="70"/>
                  </a:cubicBezTo>
                  <a:cubicBezTo>
                    <a:pt x="89" y="105"/>
                    <a:pt x="89" y="105"/>
                    <a:pt x="89" y="105"/>
                  </a:cubicBezTo>
                  <a:cubicBezTo>
                    <a:pt x="91" y="107"/>
                    <a:pt x="94" y="108"/>
                    <a:pt x="97" y="108"/>
                  </a:cubicBezTo>
                  <a:cubicBezTo>
                    <a:pt x="99" y="108"/>
                    <a:pt x="102" y="107"/>
                    <a:pt x="104" y="105"/>
                  </a:cubicBezTo>
                  <a:cubicBezTo>
                    <a:pt x="108" y="101"/>
                    <a:pt x="108" y="94"/>
                    <a:pt x="104" y="90"/>
                  </a:cubicBezTo>
                  <a:lnTo>
                    <a:pt x="69"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724"/>
            <p:cNvSpPr>
              <a:spLocks noEditPoints="1"/>
            </p:cNvSpPr>
            <p:nvPr/>
          </p:nvSpPr>
          <p:spPr bwMode="auto">
            <a:xfrm>
              <a:off x="5832" y="26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3" name="Freeform 728"/>
          <p:cNvSpPr>
            <a:spLocks noChangeAspect="1" noEditPoints="1"/>
          </p:cNvSpPr>
          <p:nvPr/>
        </p:nvSpPr>
        <p:spPr bwMode="auto">
          <a:xfrm>
            <a:off x="2921000" y="2530173"/>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56 w 512"/>
              <a:gd name="T57" fmla="*/ 256 h 512"/>
              <a:gd name="T58" fmla="*/ 391 w 512"/>
              <a:gd name="T59" fmla="*/ 221 h 512"/>
              <a:gd name="T60" fmla="*/ 391 w 512"/>
              <a:gd name="T61" fmla="*/ 205 h 512"/>
              <a:gd name="T62" fmla="*/ 376 w 512"/>
              <a:gd name="T63" fmla="*/ 205 h 512"/>
              <a:gd name="T64" fmla="*/ 341 w 512"/>
              <a:gd name="T65" fmla="*/ 241 h 512"/>
              <a:gd name="T66" fmla="*/ 306 w 512"/>
              <a:gd name="T67" fmla="*/ 205 h 512"/>
              <a:gd name="T68" fmla="*/ 291 w 512"/>
              <a:gd name="T69" fmla="*/ 205 h 512"/>
              <a:gd name="T70" fmla="*/ 291 w 512"/>
              <a:gd name="T71" fmla="*/ 221 h 512"/>
              <a:gd name="T72" fmla="*/ 326 w 512"/>
              <a:gd name="T73" fmla="*/ 256 h 512"/>
              <a:gd name="T74" fmla="*/ 291 w 512"/>
              <a:gd name="T75" fmla="*/ 291 h 512"/>
              <a:gd name="T76" fmla="*/ 291 w 512"/>
              <a:gd name="T77" fmla="*/ 306 h 512"/>
              <a:gd name="T78" fmla="*/ 298 w 512"/>
              <a:gd name="T79" fmla="*/ 309 h 512"/>
              <a:gd name="T80" fmla="*/ 306 w 512"/>
              <a:gd name="T81" fmla="*/ 306 h 512"/>
              <a:gd name="T82" fmla="*/ 341 w 512"/>
              <a:gd name="T83" fmla="*/ 271 h 512"/>
              <a:gd name="T84" fmla="*/ 376 w 512"/>
              <a:gd name="T85" fmla="*/ 306 h 512"/>
              <a:gd name="T86" fmla="*/ 384 w 512"/>
              <a:gd name="T87" fmla="*/ 309 h 512"/>
              <a:gd name="T88" fmla="*/ 391 w 512"/>
              <a:gd name="T89" fmla="*/ 306 h 512"/>
              <a:gd name="T90" fmla="*/ 391 w 512"/>
              <a:gd name="T91" fmla="*/ 291 h 512"/>
              <a:gd name="T92" fmla="*/ 356 w 512"/>
              <a:gd name="T9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56" y="256"/>
                </a:moveTo>
                <a:cubicBezTo>
                  <a:pt x="391" y="221"/>
                  <a:pt x="391" y="221"/>
                  <a:pt x="391" y="221"/>
                </a:cubicBezTo>
                <a:cubicBezTo>
                  <a:pt x="395" y="216"/>
                  <a:pt x="395" y="210"/>
                  <a:pt x="391" y="205"/>
                </a:cubicBezTo>
                <a:cubicBezTo>
                  <a:pt x="387" y="201"/>
                  <a:pt x="380" y="201"/>
                  <a:pt x="376" y="205"/>
                </a:cubicBezTo>
                <a:cubicBezTo>
                  <a:pt x="341" y="241"/>
                  <a:pt x="341" y="241"/>
                  <a:pt x="341" y="241"/>
                </a:cubicBezTo>
                <a:cubicBezTo>
                  <a:pt x="306" y="205"/>
                  <a:pt x="306" y="205"/>
                  <a:pt x="306" y="205"/>
                </a:cubicBezTo>
                <a:cubicBezTo>
                  <a:pt x="302" y="201"/>
                  <a:pt x="295" y="201"/>
                  <a:pt x="291" y="205"/>
                </a:cubicBezTo>
                <a:cubicBezTo>
                  <a:pt x="287" y="210"/>
                  <a:pt x="287" y="216"/>
                  <a:pt x="291" y="221"/>
                </a:cubicBezTo>
                <a:cubicBezTo>
                  <a:pt x="326" y="256"/>
                  <a:pt x="326" y="256"/>
                  <a:pt x="326" y="256"/>
                </a:cubicBezTo>
                <a:cubicBezTo>
                  <a:pt x="291" y="291"/>
                  <a:pt x="291" y="291"/>
                  <a:pt x="291" y="291"/>
                </a:cubicBezTo>
                <a:cubicBezTo>
                  <a:pt x="287" y="295"/>
                  <a:pt x="287" y="302"/>
                  <a:pt x="291" y="306"/>
                </a:cubicBezTo>
                <a:cubicBezTo>
                  <a:pt x="293" y="308"/>
                  <a:pt x="296" y="309"/>
                  <a:pt x="298" y="309"/>
                </a:cubicBezTo>
                <a:cubicBezTo>
                  <a:pt x="301" y="309"/>
                  <a:pt x="304" y="308"/>
                  <a:pt x="306" y="306"/>
                </a:cubicBezTo>
                <a:cubicBezTo>
                  <a:pt x="341" y="271"/>
                  <a:pt x="341" y="271"/>
                  <a:pt x="341" y="271"/>
                </a:cubicBezTo>
                <a:cubicBezTo>
                  <a:pt x="376" y="306"/>
                  <a:pt x="376" y="306"/>
                  <a:pt x="376" y="306"/>
                </a:cubicBezTo>
                <a:cubicBezTo>
                  <a:pt x="378" y="308"/>
                  <a:pt x="381" y="309"/>
                  <a:pt x="384" y="309"/>
                </a:cubicBezTo>
                <a:cubicBezTo>
                  <a:pt x="386" y="309"/>
                  <a:pt x="389" y="308"/>
                  <a:pt x="391" y="306"/>
                </a:cubicBezTo>
                <a:cubicBezTo>
                  <a:pt x="395" y="302"/>
                  <a:pt x="395" y="295"/>
                  <a:pt x="391" y="291"/>
                </a:cubicBezTo>
                <a:lnTo>
                  <a:pt x="356" y="25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04" name="Group 903"/>
          <p:cNvGrpSpPr>
            <a:grpSpLocks noChangeAspect="1"/>
          </p:cNvGrpSpPr>
          <p:nvPr/>
        </p:nvGrpSpPr>
        <p:grpSpPr bwMode="auto">
          <a:xfrm>
            <a:off x="5857541" y="2530173"/>
            <a:ext cx="370763" cy="369676"/>
            <a:chOff x="396" y="3068"/>
            <a:chExt cx="341" cy="340"/>
          </a:xfrm>
          <a:solidFill>
            <a:schemeClr val="accent3"/>
          </a:solidFill>
        </p:grpSpPr>
        <p:sp>
          <p:nvSpPr>
            <p:cNvPr id="505" name="Freeform 504"/>
            <p:cNvSpPr>
              <a:spLocks noEditPoints="1"/>
            </p:cNvSpPr>
            <p:nvPr/>
          </p:nvSpPr>
          <p:spPr bwMode="auto">
            <a:xfrm>
              <a:off x="460" y="3152"/>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Freeform 505"/>
            <p:cNvSpPr>
              <a:spLocks/>
            </p:cNvSpPr>
            <p:nvPr/>
          </p:nvSpPr>
          <p:spPr bwMode="auto">
            <a:xfrm>
              <a:off x="581" y="3215"/>
              <a:ext cx="21"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7" name="Freeform 506"/>
            <p:cNvSpPr>
              <a:spLocks/>
            </p:cNvSpPr>
            <p:nvPr/>
          </p:nvSpPr>
          <p:spPr bwMode="auto">
            <a:xfrm>
              <a:off x="603" y="3188"/>
              <a:ext cx="34"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507"/>
            <p:cNvSpPr>
              <a:spLocks/>
            </p:cNvSpPr>
            <p:nvPr/>
          </p:nvSpPr>
          <p:spPr bwMode="auto">
            <a:xfrm>
              <a:off x="624" y="3159"/>
              <a:ext cx="49" cy="157"/>
            </a:xfrm>
            <a:custGeom>
              <a:avLst/>
              <a:gdLst>
                <a:gd name="T0" fmla="*/ 19 w 73"/>
                <a:gd name="T1" fmla="*/ 4 h 236"/>
                <a:gd name="T2" fmla="*/ 4 w 73"/>
                <a:gd name="T3" fmla="*/ 5 h 236"/>
                <a:gd name="T4" fmla="*/ 5 w 73"/>
                <a:gd name="T5" fmla="*/ 20 h 236"/>
                <a:gd name="T6" fmla="*/ 51 w 73"/>
                <a:gd name="T7" fmla="*/ 119 h 236"/>
                <a:gd name="T8" fmla="*/ 5 w 73"/>
                <a:gd name="T9" fmla="*/ 217 h 236"/>
                <a:gd name="T10" fmla="*/ 4 w 73"/>
                <a:gd name="T11" fmla="*/ 232 h 236"/>
                <a:gd name="T12" fmla="*/ 12 w 73"/>
                <a:gd name="T13" fmla="*/ 236 h 236"/>
                <a:gd name="T14" fmla="*/ 19 w 73"/>
                <a:gd name="T15" fmla="*/ 234 h 236"/>
                <a:gd name="T16" fmla="*/ 73 w 73"/>
                <a:gd name="T17" fmla="*/ 119 h 236"/>
                <a:gd name="T18" fmla="*/ 19 w 73"/>
                <a:gd name="T1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6">
                  <a:moveTo>
                    <a:pt x="19" y="4"/>
                  </a:moveTo>
                  <a:cubicBezTo>
                    <a:pt x="14" y="0"/>
                    <a:pt x="8" y="1"/>
                    <a:pt x="4" y="5"/>
                  </a:cubicBezTo>
                  <a:cubicBezTo>
                    <a:pt x="0" y="10"/>
                    <a:pt x="1" y="16"/>
                    <a:pt x="5" y="20"/>
                  </a:cubicBezTo>
                  <a:cubicBezTo>
                    <a:pt x="34" y="45"/>
                    <a:pt x="51" y="81"/>
                    <a:pt x="51" y="119"/>
                  </a:cubicBezTo>
                  <a:cubicBezTo>
                    <a:pt x="51" y="157"/>
                    <a:pt x="34" y="193"/>
                    <a:pt x="5" y="217"/>
                  </a:cubicBezTo>
                  <a:cubicBezTo>
                    <a:pt x="1" y="221"/>
                    <a:pt x="0" y="228"/>
                    <a:pt x="4" y="232"/>
                  </a:cubicBezTo>
                  <a:cubicBezTo>
                    <a:pt x="6" y="235"/>
                    <a:pt x="9" y="236"/>
                    <a:pt x="12" y="236"/>
                  </a:cubicBezTo>
                  <a:cubicBezTo>
                    <a:pt x="14" y="236"/>
                    <a:pt x="17" y="235"/>
                    <a:pt x="19" y="234"/>
                  </a:cubicBezTo>
                  <a:cubicBezTo>
                    <a:pt x="53" y="205"/>
                    <a:pt x="73" y="163"/>
                    <a:pt x="73" y="119"/>
                  </a:cubicBezTo>
                  <a:cubicBezTo>
                    <a:pt x="73" y="74"/>
                    <a:pt x="53" y="32"/>
                    <a:pt x="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9" name="Freeform 508"/>
            <p:cNvSpPr>
              <a:spLocks noEditPoints="1"/>
            </p:cNvSpPr>
            <p:nvPr/>
          </p:nvSpPr>
          <p:spPr bwMode="auto">
            <a:xfrm>
              <a:off x="396" y="30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0" name="Freeform 912"/>
          <p:cNvSpPr>
            <a:spLocks noChangeAspect="1" noEditPoints="1"/>
          </p:cNvSpPr>
          <p:nvPr/>
        </p:nvSpPr>
        <p:spPr bwMode="auto">
          <a:xfrm>
            <a:off x="5438775" y="253017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330 w 512"/>
              <a:gd name="T59" fmla="*/ 328 h 512"/>
              <a:gd name="T60" fmla="*/ 323 w 512"/>
              <a:gd name="T61" fmla="*/ 330 h 512"/>
              <a:gd name="T62" fmla="*/ 315 w 512"/>
              <a:gd name="T63" fmla="*/ 327 h 512"/>
              <a:gd name="T64" fmla="*/ 316 w 512"/>
              <a:gd name="T65" fmla="*/ 312 h 512"/>
              <a:gd name="T66" fmla="*/ 341 w 512"/>
              <a:gd name="T67" fmla="*/ 256 h 512"/>
              <a:gd name="T68" fmla="*/ 316 w 512"/>
              <a:gd name="T69" fmla="*/ 200 h 512"/>
              <a:gd name="T70" fmla="*/ 315 w 512"/>
              <a:gd name="T71" fmla="*/ 185 h 512"/>
              <a:gd name="T72" fmla="*/ 330 w 512"/>
              <a:gd name="T73" fmla="*/ 184 h 512"/>
              <a:gd name="T74" fmla="*/ 362 w 512"/>
              <a:gd name="T75" fmla="*/ 256 h 512"/>
              <a:gd name="T76" fmla="*/ 330 w 512"/>
              <a:gd name="T77" fmla="*/ 328 h 512"/>
              <a:gd name="T78" fmla="*/ 362 w 512"/>
              <a:gd name="T79" fmla="*/ 371 h 512"/>
              <a:gd name="T80" fmla="*/ 355 w 512"/>
              <a:gd name="T81" fmla="*/ 373 h 512"/>
              <a:gd name="T82" fmla="*/ 347 w 512"/>
              <a:gd name="T83" fmla="*/ 369 h 512"/>
              <a:gd name="T84" fmla="*/ 348 w 512"/>
              <a:gd name="T85" fmla="*/ 354 h 512"/>
              <a:gd name="T86" fmla="*/ 394 w 512"/>
              <a:gd name="T87" fmla="*/ 256 h 512"/>
              <a:gd name="T88" fmla="*/ 348 w 512"/>
              <a:gd name="T89" fmla="*/ 157 h 512"/>
              <a:gd name="T90" fmla="*/ 347 w 512"/>
              <a:gd name="T91" fmla="*/ 142 h 512"/>
              <a:gd name="T92" fmla="*/ 362 w 512"/>
              <a:gd name="T93" fmla="*/ 141 h 512"/>
              <a:gd name="T94" fmla="*/ 416 w 512"/>
              <a:gd name="T95" fmla="*/ 256 h 512"/>
              <a:gd name="T96" fmla="*/ 362 w 512"/>
              <a:gd name="T97" fmla="*/ 371 h 512"/>
              <a:gd name="T98" fmla="*/ 167 w 512"/>
              <a:gd name="T99" fmla="*/ 221 h 512"/>
              <a:gd name="T100" fmla="*/ 234 w 512"/>
              <a:gd name="T101" fmla="*/ 162 h 512"/>
              <a:gd name="T102" fmla="*/ 234 w 512"/>
              <a:gd name="T103" fmla="*/ 349 h 512"/>
              <a:gd name="T104" fmla="*/ 167 w 512"/>
              <a:gd name="T105" fmla="*/ 290 h 512"/>
              <a:gd name="T106" fmla="*/ 160 w 512"/>
              <a:gd name="T107" fmla="*/ 288 h 512"/>
              <a:gd name="T108" fmla="*/ 117 w 512"/>
              <a:gd name="T109" fmla="*/ 288 h 512"/>
              <a:gd name="T110" fmla="*/ 117 w 512"/>
              <a:gd name="T111" fmla="*/ 224 h 512"/>
              <a:gd name="T112" fmla="*/ 160 w 512"/>
              <a:gd name="T113" fmla="*/ 224 h 512"/>
              <a:gd name="T114" fmla="*/ 167 w 512"/>
              <a:gd name="T11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330" y="328"/>
                </a:moveTo>
                <a:cubicBezTo>
                  <a:pt x="328" y="329"/>
                  <a:pt x="325" y="330"/>
                  <a:pt x="323" y="330"/>
                </a:cubicBezTo>
                <a:cubicBezTo>
                  <a:pt x="320" y="330"/>
                  <a:pt x="317" y="329"/>
                  <a:pt x="315" y="327"/>
                </a:cubicBezTo>
                <a:cubicBezTo>
                  <a:pt x="311" y="322"/>
                  <a:pt x="311" y="316"/>
                  <a:pt x="316" y="312"/>
                </a:cubicBezTo>
                <a:cubicBezTo>
                  <a:pt x="332" y="297"/>
                  <a:pt x="341" y="277"/>
                  <a:pt x="341" y="256"/>
                </a:cubicBezTo>
                <a:cubicBezTo>
                  <a:pt x="341" y="234"/>
                  <a:pt x="332" y="214"/>
                  <a:pt x="316" y="200"/>
                </a:cubicBezTo>
                <a:cubicBezTo>
                  <a:pt x="311" y="196"/>
                  <a:pt x="311" y="189"/>
                  <a:pt x="315" y="185"/>
                </a:cubicBezTo>
                <a:cubicBezTo>
                  <a:pt x="319" y="180"/>
                  <a:pt x="325" y="180"/>
                  <a:pt x="330" y="184"/>
                </a:cubicBezTo>
                <a:cubicBezTo>
                  <a:pt x="350" y="202"/>
                  <a:pt x="362" y="228"/>
                  <a:pt x="362" y="256"/>
                </a:cubicBezTo>
                <a:cubicBezTo>
                  <a:pt x="362" y="283"/>
                  <a:pt x="350" y="309"/>
                  <a:pt x="330" y="328"/>
                </a:cubicBezTo>
                <a:close/>
                <a:moveTo>
                  <a:pt x="362" y="371"/>
                </a:moveTo>
                <a:cubicBezTo>
                  <a:pt x="360" y="372"/>
                  <a:pt x="357" y="373"/>
                  <a:pt x="355" y="373"/>
                </a:cubicBezTo>
                <a:cubicBezTo>
                  <a:pt x="352" y="373"/>
                  <a:pt x="349" y="372"/>
                  <a:pt x="347" y="369"/>
                </a:cubicBezTo>
                <a:cubicBezTo>
                  <a:pt x="343" y="365"/>
                  <a:pt x="344" y="358"/>
                  <a:pt x="348" y="354"/>
                </a:cubicBezTo>
                <a:cubicBezTo>
                  <a:pt x="377" y="330"/>
                  <a:pt x="394" y="294"/>
                  <a:pt x="394" y="256"/>
                </a:cubicBezTo>
                <a:cubicBezTo>
                  <a:pt x="394" y="218"/>
                  <a:pt x="377" y="182"/>
                  <a:pt x="348" y="157"/>
                </a:cubicBezTo>
                <a:cubicBezTo>
                  <a:pt x="344" y="153"/>
                  <a:pt x="343" y="147"/>
                  <a:pt x="347" y="142"/>
                </a:cubicBezTo>
                <a:cubicBezTo>
                  <a:pt x="351" y="138"/>
                  <a:pt x="357" y="137"/>
                  <a:pt x="362" y="141"/>
                </a:cubicBezTo>
                <a:cubicBezTo>
                  <a:pt x="396" y="169"/>
                  <a:pt x="416" y="211"/>
                  <a:pt x="416" y="256"/>
                </a:cubicBezTo>
                <a:cubicBezTo>
                  <a:pt x="416" y="300"/>
                  <a:pt x="396" y="342"/>
                  <a:pt x="362" y="371"/>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1" name="TextBox 510"/>
          <p:cNvSpPr txBox="1"/>
          <p:nvPr/>
        </p:nvSpPr>
        <p:spPr>
          <a:xfrm>
            <a:off x="360792" y="3802681"/>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movie</a:t>
            </a:r>
          </a:p>
        </p:txBody>
      </p:sp>
      <p:sp>
        <p:nvSpPr>
          <p:cNvPr id="512" name="TextBox 511"/>
          <p:cNvSpPr txBox="1"/>
          <p:nvPr/>
        </p:nvSpPr>
        <p:spPr>
          <a:xfrm>
            <a:off x="1208662"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new</a:t>
            </a:r>
          </a:p>
        </p:txBody>
      </p:sp>
      <p:sp>
        <p:nvSpPr>
          <p:cNvPr id="513" name="TextBox 512"/>
          <p:cNvSpPr txBox="1"/>
          <p:nvPr/>
        </p:nvSpPr>
        <p:spPr>
          <a:xfrm>
            <a:off x="2898052"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picture</a:t>
            </a:r>
          </a:p>
        </p:txBody>
      </p:sp>
      <p:sp>
        <p:nvSpPr>
          <p:cNvPr id="514" name="TextBox 513"/>
          <p:cNvSpPr txBox="1"/>
          <p:nvPr/>
        </p:nvSpPr>
        <p:spPr>
          <a:xfrm>
            <a:off x="3742747"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a:t>
            </a:r>
            <a:r>
              <a:rPr lang="en-US" sz="1000" dirty="0" err="1">
                <a:solidFill>
                  <a:srgbClr val="313131"/>
                </a:solidFill>
              </a:rPr>
              <a:t>Ppt</a:t>
            </a:r>
            <a:endParaRPr lang="en-US" sz="1000" dirty="0">
              <a:solidFill>
                <a:srgbClr val="313131"/>
              </a:solidFill>
            </a:endParaRPr>
          </a:p>
        </p:txBody>
      </p:sp>
      <p:sp>
        <p:nvSpPr>
          <p:cNvPr id="515" name="TextBox 514"/>
          <p:cNvSpPr txBox="1"/>
          <p:nvPr/>
        </p:nvSpPr>
        <p:spPr>
          <a:xfrm>
            <a:off x="2053357"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a:t>
            </a:r>
            <a:r>
              <a:rPr lang="en-US" sz="1000" dirty="0" err="1">
                <a:solidFill>
                  <a:srgbClr val="313131"/>
                </a:solidFill>
              </a:rPr>
              <a:t>Pdf</a:t>
            </a:r>
            <a:endParaRPr lang="en-US" sz="1000" dirty="0">
              <a:solidFill>
                <a:srgbClr val="313131"/>
              </a:solidFill>
            </a:endParaRPr>
          </a:p>
        </p:txBody>
      </p:sp>
      <p:sp>
        <p:nvSpPr>
          <p:cNvPr id="516" name="TextBox 515"/>
          <p:cNvSpPr txBox="1"/>
          <p:nvPr/>
        </p:nvSpPr>
        <p:spPr>
          <a:xfrm>
            <a:off x="4587442"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a:t>
            </a:r>
            <a:r>
              <a:rPr lang="en-US" sz="1000" dirty="0" err="1">
                <a:solidFill>
                  <a:srgbClr val="313131"/>
                </a:solidFill>
              </a:rPr>
              <a:t>Xls</a:t>
            </a:r>
            <a:endParaRPr lang="en-US" sz="1000" dirty="0">
              <a:solidFill>
                <a:srgbClr val="313131"/>
              </a:solidFill>
            </a:endParaRPr>
          </a:p>
        </p:txBody>
      </p:sp>
      <p:sp>
        <p:nvSpPr>
          <p:cNvPr id="517" name="TextBox 516"/>
          <p:cNvSpPr txBox="1"/>
          <p:nvPr/>
        </p:nvSpPr>
        <p:spPr>
          <a:xfrm>
            <a:off x="5432137"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Zip</a:t>
            </a:r>
          </a:p>
        </p:txBody>
      </p:sp>
      <p:grpSp>
        <p:nvGrpSpPr>
          <p:cNvPr id="518" name="Group 688"/>
          <p:cNvGrpSpPr>
            <a:grpSpLocks noChangeAspect="1"/>
          </p:cNvGrpSpPr>
          <p:nvPr/>
        </p:nvGrpSpPr>
        <p:grpSpPr bwMode="auto">
          <a:xfrm>
            <a:off x="406400" y="3357001"/>
            <a:ext cx="367631" cy="367631"/>
            <a:chOff x="797" y="2771"/>
            <a:chExt cx="340" cy="340"/>
          </a:xfrm>
          <a:solidFill>
            <a:schemeClr val="accent2"/>
          </a:solidFill>
        </p:grpSpPr>
        <p:sp>
          <p:nvSpPr>
            <p:cNvPr id="519" name="Freeform 689"/>
            <p:cNvSpPr>
              <a:spLocks/>
            </p:cNvSpPr>
            <p:nvPr/>
          </p:nvSpPr>
          <p:spPr bwMode="auto">
            <a:xfrm>
              <a:off x="946" y="2932"/>
              <a:ext cx="36" cy="46"/>
            </a:xfrm>
            <a:custGeom>
              <a:avLst/>
              <a:gdLst>
                <a:gd name="T0" fmla="*/ 0 w 36"/>
                <a:gd name="T1" fmla="*/ 0 h 46"/>
                <a:gd name="T2" fmla="*/ 0 w 36"/>
                <a:gd name="T3" fmla="*/ 46 h 46"/>
                <a:gd name="T4" fmla="*/ 36 w 36"/>
                <a:gd name="T5" fmla="*/ 23 h 46"/>
                <a:gd name="T6" fmla="*/ 0 w 36"/>
                <a:gd name="T7" fmla="*/ 0 h 46"/>
              </a:gdLst>
              <a:ahLst/>
              <a:cxnLst>
                <a:cxn ang="0">
                  <a:pos x="T0" y="T1"/>
                </a:cxn>
                <a:cxn ang="0">
                  <a:pos x="T2" y="T3"/>
                </a:cxn>
                <a:cxn ang="0">
                  <a:pos x="T4" y="T5"/>
                </a:cxn>
                <a:cxn ang="0">
                  <a:pos x="T6" y="T7"/>
                </a:cxn>
              </a:cxnLst>
              <a:rect l="0" t="0" r="r" b="b"/>
              <a:pathLst>
                <a:path w="36" h="46">
                  <a:moveTo>
                    <a:pt x="0" y="0"/>
                  </a:moveTo>
                  <a:lnTo>
                    <a:pt x="0" y="46"/>
                  </a:lnTo>
                  <a:lnTo>
                    <a:pt x="36" y="23"/>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0" name="Freeform 690"/>
            <p:cNvSpPr>
              <a:spLocks/>
            </p:cNvSpPr>
            <p:nvPr/>
          </p:nvSpPr>
          <p:spPr bwMode="auto">
            <a:xfrm>
              <a:off x="995" y="285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1" name="Freeform 691"/>
            <p:cNvSpPr>
              <a:spLocks noEditPoints="1"/>
            </p:cNvSpPr>
            <p:nvPr/>
          </p:nvSpPr>
          <p:spPr bwMode="auto">
            <a:xfrm>
              <a:off x="903" y="2849"/>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149 w 192"/>
                <a:gd name="T17" fmla="*/ 160 h 277"/>
                <a:gd name="T18" fmla="*/ 144 w 192"/>
                <a:gd name="T19" fmla="*/ 169 h 277"/>
                <a:gd name="T20" fmla="*/ 59 w 192"/>
                <a:gd name="T21" fmla="*/ 222 h 277"/>
                <a:gd name="T22" fmla="*/ 53 w 192"/>
                <a:gd name="T23" fmla="*/ 224 h 277"/>
                <a:gd name="T24" fmla="*/ 48 w 192"/>
                <a:gd name="T25" fmla="*/ 223 h 277"/>
                <a:gd name="T26" fmla="*/ 42 w 192"/>
                <a:gd name="T27" fmla="*/ 213 h 277"/>
                <a:gd name="T28" fmla="*/ 42 w 192"/>
                <a:gd name="T29" fmla="*/ 107 h 277"/>
                <a:gd name="T30" fmla="*/ 48 w 192"/>
                <a:gd name="T31" fmla="*/ 97 h 277"/>
                <a:gd name="T32" fmla="*/ 59 w 192"/>
                <a:gd name="T33" fmla="*/ 98 h 277"/>
                <a:gd name="T34" fmla="*/ 144 w 192"/>
                <a:gd name="T35" fmla="*/ 151 h 277"/>
                <a:gd name="T36" fmla="*/ 149 w 192"/>
                <a:gd name="T37"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149" y="160"/>
                  </a:moveTo>
                  <a:cubicBezTo>
                    <a:pt x="149" y="164"/>
                    <a:pt x="147" y="167"/>
                    <a:pt x="144" y="169"/>
                  </a:cubicBezTo>
                  <a:cubicBezTo>
                    <a:pt x="59" y="222"/>
                    <a:pt x="59" y="222"/>
                    <a:pt x="59" y="222"/>
                  </a:cubicBezTo>
                  <a:cubicBezTo>
                    <a:pt x="57" y="223"/>
                    <a:pt x="55" y="224"/>
                    <a:pt x="53" y="224"/>
                  </a:cubicBezTo>
                  <a:cubicBezTo>
                    <a:pt x="51" y="224"/>
                    <a:pt x="49" y="224"/>
                    <a:pt x="48" y="223"/>
                  </a:cubicBezTo>
                  <a:cubicBezTo>
                    <a:pt x="44" y="221"/>
                    <a:pt x="42" y="217"/>
                    <a:pt x="42" y="213"/>
                  </a:cubicBezTo>
                  <a:cubicBezTo>
                    <a:pt x="42" y="107"/>
                    <a:pt x="42" y="107"/>
                    <a:pt x="42" y="107"/>
                  </a:cubicBezTo>
                  <a:cubicBezTo>
                    <a:pt x="42" y="103"/>
                    <a:pt x="44" y="99"/>
                    <a:pt x="48" y="97"/>
                  </a:cubicBezTo>
                  <a:cubicBezTo>
                    <a:pt x="51" y="95"/>
                    <a:pt x="55" y="96"/>
                    <a:pt x="59" y="98"/>
                  </a:cubicBezTo>
                  <a:cubicBezTo>
                    <a:pt x="144" y="151"/>
                    <a:pt x="144" y="151"/>
                    <a:pt x="144" y="151"/>
                  </a:cubicBezTo>
                  <a:cubicBezTo>
                    <a:pt x="147" y="153"/>
                    <a:pt x="149" y="156"/>
                    <a:pt x="149"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9" name="Freeform 692"/>
            <p:cNvSpPr>
              <a:spLocks noEditPoints="1"/>
            </p:cNvSpPr>
            <p:nvPr/>
          </p:nvSpPr>
          <p:spPr bwMode="auto">
            <a:xfrm>
              <a:off x="797" y="277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0" name="Group 695"/>
          <p:cNvGrpSpPr>
            <a:grpSpLocks noChangeAspect="1"/>
          </p:cNvGrpSpPr>
          <p:nvPr/>
        </p:nvGrpSpPr>
        <p:grpSpPr bwMode="auto">
          <a:xfrm>
            <a:off x="826370" y="3357001"/>
            <a:ext cx="367631" cy="367631"/>
            <a:chOff x="1174" y="2776"/>
            <a:chExt cx="340" cy="340"/>
          </a:xfrm>
          <a:solidFill>
            <a:schemeClr val="accent2"/>
          </a:solidFill>
        </p:grpSpPr>
        <p:sp>
          <p:nvSpPr>
            <p:cNvPr id="582" name="Freeform 696"/>
            <p:cNvSpPr>
              <a:spLocks noEditPoints="1"/>
            </p:cNvSpPr>
            <p:nvPr/>
          </p:nvSpPr>
          <p:spPr bwMode="auto">
            <a:xfrm>
              <a:off x="1266" y="2840"/>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3" name="Freeform 697"/>
            <p:cNvSpPr>
              <a:spLocks noEditPoints="1"/>
            </p:cNvSpPr>
            <p:nvPr/>
          </p:nvSpPr>
          <p:spPr bwMode="auto">
            <a:xfrm>
              <a:off x="1308" y="2917"/>
              <a:ext cx="71" cy="85"/>
            </a:xfrm>
            <a:custGeom>
              <a:avLst/>
              <a:gdLst>
                <a:gd name="T0" fmla="*/ 102 w 107"/>
                <a:gd name="T1" fmla="*/ 56 h 129"/>
                <a:gd name="T2" fmla="*/ 17 w 107"/>
                <a:gd name="T3" fmla="*/ 3 h 129"/>
                <a:gd name="T4" fmla="*/ 6 w 107"/>
                <a:gd name="T5" fmla="*/ 2 h 129"/>
                <a:gd name="T6" fmla="*/ 0 w 107"/>
                <a:gd name="T7" fmla="*/ 12 h 129"/>
                <a:gd name="T8" fmla="*/ 0 w 107"/>
                <a:gd name="T9" fmla="*/ 118 h 129"/>
                <a:gd name="T10" fmla="*/ 6 w 107"/>
                <a:gd name="T11" fmla="*/ 128 h 129"/>
                <a:gd name="T12" fmla="*/ 11 w 107"/>
                <a:gd name="T13" fmla="*/ 129 h 129"/>
                <a:gd name="T14" fmla="*/ 17 w 107"/>
                <a:gd name="T15" fmla="*/ 127 h 129"/>
                <a:gd name="T16" fmla="*/ 102 w 107"/>
                <a:gd name="T17" fmla="*/ 74 h 129"/>
                <a:gd name="T18" fmla="*/ 107 w 107"/>
                <a:gd name="T19" fmla="*/ 65 h 129"/>
                <a:gd name="T20" fmla="*/ 102 w 107"/>
                <a:gd name="T21" fmla="*/ 56 h 129"/>
                <a:gd name="T22" fmla="*/ 22 w 107"/>
                <a:gd name="T23" fmla="*/ 99 h 129"/>
                <a:gd name="T24" fmla="*/ 22 w 107"/>
                <a:gd name="T25" fmla="*/ 31 h 129"/>
                <a:gd name="T26" fmla="*/ 76 w 107"/>
                <a:gd name="T27" fmla="*/ 65 h 129"/>
                <a:gd name="T28" fmla="*/ 22 w 107"/>
                <a:gd name="T29" fmla="*/ 9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129">
                  <a:moveTo>
                    <a:pt x="102" y="56"/>
                  </a:moveTo>
                  <a:cubicBezTo>
                    <a:pt x="17" y="3"/>
                    <a:pt x="17" y="3"/>
                    <a:pt x="17" y="3"/>
                  </a:cubicBezTo>
                  <a:cubicBezTo>
                    <a:pt x="13" y="1"/>
                    <a:pt x="9" y="0"/>
                    <a:pt x="6" y="2"/>
                  </a:cubicBezTo>
                  <a:cubicBezTo>
                    <a:pt x="2" y="4"/>
                    <a:pt x="0" y="8"/>
                    <a:pt x="0" y="12"/>
                  </a:cubicBezTo>
                  <a:cubicBezTo>
                    <a:pt x="0" y="118"/>
                    <a:pt x="0" y="118"/>
                    <a:pt x="0" y="118"/>
                  </a:cubicBezTo>
                  <a:cubicBezTo>
                    <a:pt x="0" y="122"/>
                    <a:pt x="2" y="126"/>
                    <a:pt x="6" y="128"/>
                  </a:cubicBezTo>
                  <a:cubicBezTo>
                    <a:pt x="7" y="129"/>
                    <a:pt x="9" y="129"/>
                    <a:pt x="11" y="129"/>
                  </a:cubicBezTo>
                  <a:cubicBezTo>
                    <a:pt x="13" y="129"/>
                    <a:pt x="15" y="128"/>
                    <a:pt x="17" y="127"/>
                  </a:cubicBezTo>
                  <a:cubicBezTo>
                    <a:pt x="102" y="74"/>
                    <a:pt x="102" y="74"/>
                    <a:pt x="102" y="74"/>
                  </a:cubicBezTo>
                  <a:cubicBezTo>
                    <a:pt x="105" y="72"/>
                    <a:pt x="107" y="69"/>
                    <a:pt x="107" y="65"/>
                  </a:cubicBezTo>
                  <a:cubicBezTo>
                    <a:pt x="107" y="61"/>
                    <a:pt x="105" y="58"/>
                    <a:pt x="102" y="56"/>
                  </a:cubicBezTo>
                  <a:close/>
                  <a:moveTo>
                    <a:pt x="22" y="99"/>
                  </a:moveTo>
                  <a:cubicBezTo>
                    <a:pt x="22" y="31"/>
                    <a:pt x="22" y="31"/>
                    <a:pt x="22" y="31"/>
                  </a:cubicBezTo>
                  <a:cubicBezTo>
                    <a:pt x="76" y="65"/>
                    <a:pt x="76" y="65"/>
                    <a:pt x="76" y="65"/>
                  </a:cubicBezTo>
                  <a:lnTo>
                    <a:pt x="22" y="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4" name="Freeform 698"/>
            <p:cNvSpPr>
              <a:spLocks noEditPoints="1"/>
            </p:cNvSpPr>
            <p:nvPr/>
          </p:nvSpPr>
          <p:spPr bwMode="auto">
            <a:xfrm>
              <a:off x="1174" y="27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5" name="Freeform 702"/>
          <p:cNvSpPr>
            <a:spLocks noChangeAspect="1" noEditPoints="1"/>
          </p:cNvSpPr>
          <p:nvPr/>
        </p:nvSpPr>
        <p:spPr bwMode="auto">
          <a:xfrm>
            <a:off x="1246340" y="335700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 name="T42" fmla="*/ 337 w 512"/>
              <a:gd name="T43" fmla="*/ 170 h 512"/>
              <a:gd name="T44" fmla="*/ 298 w 512"/>
              <a:gd name="T45" fmla="*/ 170 h 512"/>
              <a:gd name="T46" fmla="*/ 298 w 512"/>
              <a:gd name="T47" fmla="*/ 132 h 512"/>
              <a:gd name="T48" fmla="*/ 337 w 512"/>
              <a:gd name="T49" fmla="*/ 170 h 512"/>
              <a:gd name="T50" fmla="*/ 277 w 512"/>
              <a:gd name="T51" fmla="*/ 181 h 512"/>
              <a:gd name="T52" fmla="*/ 277 w 512"/>
              <a:gd name="T53" fmla="*/ 117 h 512"/>
              <a:gd name="T54" fmla="*/ 160 w 512"/>
              <a:gd name="T55" fmla="*/ 117 h 512"/>
              <a:gd name="T56" fmla="*/ 160 w 512"/>
              <a:gd name="T57" fmla="*/ 394 h 512"/>
              <a:gd name="T58" fmla="*/ 352 w 512"/>
              <a:gd name="T59" fmla="*/ 394 h 512"/>
              <a:gd name="T60" fmla="*/ 352 w 512"/>
              <a:gd name="T61" fmla="*/ 192 h 512"/>
              <a:gd name="T62" fmla="*/ 288 w 512"/>
              <a:gd name="T63" fmla="*/ 192 h 512"/>
              <a:gd name="T64" fmla="*/ 277 w 512"/>
              <a:gd name="T65" fmla="*/ 181 h 512"/>
              <a:gd name="T66" fmla="*/ 320 w 512"/>
              <a:gd name="T67" fmla="*/ 288 h 512"/>
              <a:gd name="T68" fmla="*/ 309 w 512"/>
              <a:gd name="T69" fmla="*/ 298 h 512"/>
              <a:gd name="T70" fmla="*/ 266 w 512"/>
              <a:gd name="T71" fmla="*/ 298 h 512"/>
              <a:gd name="T72" fmla="*/ 266 w 512"/>
              <a:gd name="T73" fmla="*/ 341 h 512"/>
              <a:gd name="T74" fmla="*/ 256 w 512"/>
              <a:gd name="T75" fmla="*/ 352 h 512"/>
              <a:gd name="T76" fmla="*/ 245 w 512"/>
              <a:gd name="T77" fmla="*/ 341 h 512"/>
              <a:gd name="T78" fmla="*/ 245 w 512"/>
              <a:gd name="T79" fmla="*/ 298 h 512"/>
              <a:gd name="T80" fmla="*/ 202 w 512"/>
              <a:gd name="T81" fmla="*/ 298 h 512"/>
              <a:gd name="T82" fmla="*/ 192 w 512"/>
              <a:gd name="T83" fmla="*/ 288 h 512"/>
              <a:gd name="T84" fmla="*/ 202 w 512"/>
              <a:gd name="T85" fmla="*/ 277 h 512"/>
              <a:gd name="T86" fmla="*/ 245 w 512"/>
              <a:gd name="T87" fmla="*/ 277 h 512"/>
              <a:gd name="T88" fmla="*/ 245 w 512"/>
              <a:gd name="T89" fmla="*/ 234 h 512"/>
              <a:gd name="T90" fmla="*/ 256 w 512"/>
              <a:gd name="T91" fmla="*/ 224 h 512"/>
              <a:gd name="T92" fmla="*/ 266 w 512"/>
              <a:gd name="T93" fmla="*/ 234 h 512"/>
              <a:gd name="T94" fmla="*/ 266 w 512"/>
              <a:gd name="T95" fmla="*/ 277 h 512"/>
              <a:gd name="T96" fmla="*/ 309 w 512"/>
              <a:gd name="T97" fmla="*/ 277 h 512"/>
              <a:gd name="T98" fmla="*/ 320 w 512"/>
              <a:gd name="T9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moveTo>
                  <a:pt x="337" y="170"/>
                </a:moveTo>
                <a:cubicBezTo>
                  <a:pt x="298" y="170"/>
                  <a:pt x="298" y="170"/>
                  <a:pt x="298" y="170"/>
                </a:cubicBezTo>
                <a:cubicBezTo>
                  <a:pt x="298" y="132"/>
                  <a:pt x="298" y="132"/>
                  <a:pt x="298" y="132"/>
                </a:cubicBezTo>
                <a:lnTo>
                  <a:pt x="337" y="170"/>
                </a:lnTo>
                <a:close/>
                <a:moveTo>
                  <a:pt x="277" y="181"/>
                </a:moveTo>
                <a:cubicBezTo>
                  <a:pt x="277" y="117"/>
                  <a:pt x="277" y="117"/>
                  <a:pt x="277" y="117"/>
                </a:cubicBezTo>
                <a:cubicBezTo>
                  <a:pt x="160" y="117"/>
                  <a:pt x="160" y="117"/>
                  <a:pt x="160" y="117"/>
                </a:cubicBezTo>
                <a:cubicBezTo>
                  <a:pt x="160" y="394"/>
                  <a:pt x="160" y="394"/>
                  <a:pt x="160" y="394"/>
                </a:cubicBezTo>
                <a:cubicBezTo>
                  <a:pt x="352" y="394"/>
                  <a:pt x="352" y="394"/>
                  <a:pt x="352" y="394"/>
                </a:cubicBezTo>
                <a:cubicBezTo>
                  <a:pt x="352" y="192"/>
                  <a:pt x="352" y="192"/>
                  <a:pt x="352" y="192"/>
                </a:cubicBezTo>
                <a:cubicBezTo>
                  <a:pt x="288" y="192"/>
                  <a:pt x="288" y="192"/>
                  <a:pt x="288" y="192"/>
                </a:cubicBezTo>
                <a:cubicBezTo>
                  <a:pt x="282" y="192"/>
                  <a:pt x="277" y="187"/>
                  <a:pt x="277" y="181"/>
                </a:cubicBezTo>
                <a:close/>
                <a:moveTo>
                  <a:pt x="320" y="288"/>
                </a:moveTo>
                <a:cubicBezTo>
                  <a:pt x="320" y="294"/>
                  <a:pt x="315" y="298"/>
                  <a:pt x="309" y="298"/>
                </a:cubicBezTo>
                <a:cubicBezTo>
                  <a:pt x="266" y="298"/>
                  <a:pt x="266" y="298"/>
                  <a:pt x="266" y="298"/>
                </a:cubicBezTo>
                <a:cubicBezTo>
                  <a:pt x="266" y="341"/>
                  <a:pt x="266" y="341"/>
                  <a:pt x="266" y="341"/>
                </a:cubicBezTo>
                <a:cubicBezTo>
                  <a:pt x="266" y="347"/>
                  <a:pt x="262" y="352"/>
                  <a:pt x="256" y="352"/>
                </a:cubicBezTo>
                <a:cubicBezTo>
                  <a:pt x="250" y="352"/>
                  <a:pt x="245" y="347"/>
                  <a:pt x="245" y="341"/>
                </a:cubicBezTo>
                <a:cubicBezTo>
                  <a:pt x="245" y="298"/>
                  <a:pt x="245" y="298"/>
                  <a:pt x="245" y="298"/>
                </a:cubicBezTo>
                <a:cubicBezTo>
                  <a:pt x="202" y="298"/>
                  <a:pt x="202" y="298"/>
                  <a:pt x="202" y="298"/>
                </a:cubicBezTo>
                <a:cubicBezTo>
                  <a:pt x="196" y="298"/>
                  <a:pt x="192" y="294"/>
                  <a:pt x="192" y="288"/>
                </a:cubicBezTo>
                <a:cubicBezTo>
                  <a:pt x="192" y="282"/>
                  <a:pt x="196" y="277"/>
                  <a:pt x="202" y="277"/>
                </a:cubicBezTo>
                <a:cubicBezTo>
                  <a:pt x="245" y="277"/>
                  <a:pt x="245" y="277"/>
                  <a:pt x="245" y="277"/>
                </a:cubicBezTo>
                <a:cubicBezTo>
                  <a:pt x="245" y="234"/>
                  <a:pt x="245" y="234"/>
                  <a:pt x="245" y="234"/>
                </a:cubicBezTo>
                <a:cubicBezTo>
                  <a:pt x="245" y="228"/>
                  <a:pt x="250" y="224"/>
                  <a:pt x="256" y="224"/>
                </a:cubicBezTo>
                <a:cubicBezTo>
                  <a:pt x="262" y="224"/>
                  <a:pt x="266" y="228"/>
                  <a:pt x="266" y="234"/>
                </a:cubicBezTo>
                <a:cubicBezTo>
                  <a:pt x="266" y="277"/>
                  <a:pt x="266" y="277"/>
                  <a:pt x="266" y="277"/>
                </a:cubicBezTo>
                <a:cubicBezTo>
                  <a:pt x="309" y="277"/>
                  <a:pt x="309" y="277"/>
                  <a:pt x="309" y="277"/>
                </a:cubicBezTo>
                <a:cubicBezTo>
                  <a:pt x="315" y="277"/>
                  <a:pt x="320" y="282"/>
                  <a:pt x="320" y="28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86" name="Group 705"/>
          <p:cNvGrpSpPr>
            <a:grpSpLocks noChangeAspect="1"/>
          </p:cNvGrpSpPr>
          <p:nvPr/>
        </p:nvGrpSpPr>
        <p:grpSpPr bwMode="auto">
          <a:xfrm>
            <a:off x="1666310" y="3357001"/>
            <a:ext cx="367631" cy="367631"/>
            <a:chOff x="1962" y="2775"/>
            <a:chExt cx="340" cy="340"/>
          </a:xfrm>
          <a:solidFill>
            <a:schemeClr val="accent2"/>
          </a:solidFill>
        </p:grpSpPr>
        <p:sp>
          <p:nvSpPr>
            <p:cNvPr id="587" name="Freeform 706"/>
            <p:cNvSpPr>
              <a:spLocks noEditPoints="1"/>
            </p:cNvSpPr>
            <p:nvPr/>
          </p:nvSpPr>
          <p:spPr bwMode="auto">
            <a:xfrm>
              <a:off x="1962" y="27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8" name="Freeform 707"/>
            <p:cNvSpPr>
              <a:spLocks noEditPoints="1"/>
            </p:cNvSpPr>
            <p:nvPr/>
          </p:nvSpPr>
          <p:spPr bwMode="auto">
            <a:xfrm>
              <a:off x="2054" y="2839"/>
              <a:ext cx="156" cy="212"/>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 name="T56" fmla="*/ 128 w 235"/>
                <a:gd name="T57" fmla="*/ 181 h 320"/>
                <a:gd name="T58" fmla="*/ 171 w 235"/>
                <a:gd name="T59" fmla="*/ 181 h 320"/>
                <a:gd name="T60" fmla="*/ 182 w 235"/>
                <a:gd name="T61" fmla="*/ 192 h 320"/>
                <a:gd name="T62" fmla="*/ 171 w 235"/>
                <a:gd name="T63" fmla="*/ 202 h 320"/>
                <a:gd name="T64" fmla="*/ 128 w 235"/>
                <a:gd name="T65" fmla="*/ 202 h 320"/>
                <a:gd name="T66" fmla="*/ 128 w 235"/>
                <a:gd name="T67" fmla="*/ 245 h 320"/>
                <a:gd name="T68" fmla="*/ 118 w 235"/>
                <a:gd name="T69" fmla="*/ 256 h 320"/>
                <a:gd name="T70" fmla="*/ 107 w 235"/>
                <a:gd name="T71" fmla="*/ 245 h 320"/>
                <a:gd name="T72" fmla="*/ 107 w 235"/>
                <a:gd name="T73" fmla="*/ 202 h 320"/>
                <a:gd name="T74" fmla="*/ 64 w 235"/>
                <a:gd name="T75" fmla="*/ 202 h 320"/>
                <a:gd name="T76" fmla="*/ 54 w 235"/>
                <a:gd name="T77" fmla="*/ 192 h 320"/>
                <a:gd name="T78" fmla="*/ 64 w 235"/>
                <a:gd name="T79" fmla="*/ 181 h 320"/>
                <a:gd name="T80" fmla="*/ 107 w 235"/>
                <a:gd name="T81" fmla="*/ 181 h 320"/>
                <a:gd name="T82" fmla="*/ 107 w 235"/>
                <a:gd name="T83" fmla="*/ 138 h 320"/>
                <a:gd name="T84" fmla="*/ 118 w 235"/>
                <a:gd name="T85" fmla="*/ 128 h 320"/>
                <a:gd name="T86" fmla="*/ 128 w 235"/>
                <a:gd name="T87" fmla="*/ 138 h 320"/>
                <a:gd name="T88" fmla="*/ 128 w 235"/>
                <a:gd name="T8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moveTo>
                    <a:pt x="128" y="181"/>
                  </a:moveTo>
                  <a:cubicBezTo>
                    <a:pt x="171" y="181"/>
                    <a:pt x="171" y="181"/>
                    <a:pt x="171" y="181"/>
                  </a:cubicBezTo>
                  <a:cubicBezTo>
                    <a:pt x="177" y="181"/>
                    <a:pt x="182" y="186"/>
                    <a:pt x="182" y="192"/>
                  </a:cubicBezTo>
                  <a:cubicBezTo>
                    <a:pt x="182" y="198"/>
                    <a:pt x="177" y="202"/>
                    <a:pt x="171" y="202"/>
                  </a:cubicBezTo>
                  <a:cubicBezTo>
                    <a:pt x="128" y="202"/>
                    <a:pt x="128" y="202"/>
                    <a:pt x="128" y="202"/>
                  </a:cubicBezTo>
                  <a:cubicBezTo>
                    <a:pt x="128" y="245"/>
                    <a:pt x="128" y="245"/>
                    <a:pt x="128" y="245"/>
                  </a:cubicBezTo>
                  <a:cubicBezTo>
                    <a:pt x="128" y="251"/>
                    <a:pt x="124" y="256"/>
                    <a:pt x="118" y="256"/>
                  </a:cubicBezTo>
                  <a:cubicBezTo>
                    <a:pt x="112" y="256"/>
                    <a:pt x="107" y="251"/>
                    <a:pt x="107" y="245"/>
                  </a:cubicBezTo>
                  <a:cubicBezTo>
                    <a:pt x="107" y="202"/>
                    <a:pt x="107" y="202"/>
                    <a:pt x="107" y="202"/>
                  </a:cubicBezTo>
                  <a:cubicBezTo>
                    <a:pt x="64" y="202"/>
                    <a:pt x="64" y="202"/>
                    <a:pt x="64" y="202"/>
                  </a:cubicBezTo>
                  <a:cubicBezTo>
                    <a:pt x="58" y="202"/>
                    <a:pt x="54" y="198"/>
                    <a:pt x="54" y="192"/>
                  </a:cubicBezTo>
                  <a:cubicBezTo>
                    <a:pt x="54" y="186"/>
                    <a:pt x="58" y="181"/>
                    <a:pt x="64" y="181"/>
                  </a:cubicBezTo>
                  <a:cubicBezTo>
                    <a:pt x="107" y="181"/>
                    <a:pt x="107" y="181"/>
                    <a:pt x="107" y="181"/>
                  </a:cubicBezTo>
                  <a:cubicBezTo>
                    <a:pt x="107" y="138"/>
                    <a:pt x="107" y="138"/>
                    <a:pt x="107" y="138"/>
                  </a:cubicBezTo>
                  <a:cubicBezTo>
                    <a:pt x="107" y="132"/>
                    <a:pt x="112" y="128"/>
                    <a:pt x="118" y="128"/>
                  </a:cubicBezTo>
                  <a:cubicBezTo>
                    <a:pt x="124" y="128"/>
                    <a:pt x="128" y="132"/>
                    <a:pt x="128" y="138"/>
                  </a:cubicBezTo>
                  <a:lnTo>
                    <a:pt x="128"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9" name="Group 710"/>
          <p:cNvGrpSpPr>
            <a:grpSpLocks noChangeAspect="1"/>
          </p:cNvGrpSpPr>
          <p:nvPr/>
        </p:nvGrpSpPr>
        <p:grpSpPr bwMode="auto">
          <a:xfrm>
            <a:off x="2086280" y="3357001"/>
            <a:ext cx="367631" cy="368712"/>
            <a:chOff x="2394" y="2789"/>
            <a:chExt cx="340" cy="341"/>
          </a:xfrm>
          <a:solidFill>
            <a:schemeClr val="accent2"/>
          </a:solidFill>
        </p:grpSpPr>
        <p:sp>
          <p:nvSpPr>
            <p:cNvPr id="590" name="Freeform 711"/>
            <p:cNvSpPr>
              <a:spLocks/>
            </p:cNvSpPr>
            <p:nvPr/>
          </p:nvSpPr>
          <p:spPr bwMode="auto">
            <a:xfrm>
              <a:off x="2500" y="2867"/>
              <a:ext cx="128" cy="64"/>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1" name="Freeform 712"/>
            <p:cNvSpPr>
              <a:spLocks/>
            </p:cNvSpPr>
            <p:nvPr/>
          </p:nvSpPr>
          <p:spPr bwMode="auto">
            <a:xfrm>
              <a:off x="2510" y="2968"/>
              <a:ext cx="13" cy="15"/>
            </a:xfrm>
            <a:custGeom>
              <a:avLst/>
              <a:gdLst>
                <a:gd name="T0" fmla="*/ 17 w 20"/>
                <a:gd name="T1" fmla="*/ 19 h 22"/>
                <a:gd name="T2" fmla="*/ 20 w 20"/>
                <a:gd name="T3" fmla="*/ 11 h 22"/>
                <a:gd name="T4" fmla="*/ 17 w 20"/>
                <a:gd name="T5" fmla="*/ 2 h 22"/>
                <a:gd name="T6" fmla="*/ 8 w 20"/>
                <a:gd name="T7" fmla="*/ 0 h 22"/>
                <a:gd name="T8" fmla="*/ 0 w 20"/>
                <a:gd name="T9" fmla="*/ 0 h 22"/>
                <a:gd name="T10" fmla="*/ 0 w 20"/>
                <a:gd name="T11" fmla="*/ 22 h 22"/>
                <a:gd name="T12" fmla="*/ 6 w 20"/>
                <a:gd name="T13" fmla="*/ 22 h 22"/>
                <a:gd name="T14" fmla="*/ 17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7" y="19"/>
                  </a:moveTo>
                  <a:cubicBezTo>
                    <a:pt x="19" y="17"/>
                    <a:pt x="20" y="14"/>
                    <a:pt x="20" y="11"/>
                  </a:cubicBezTo>
                  <a:cubicBezTo>
                    <a:pt x="20" y="7"/>
                    <a:pt x="19" y="4"/>
                    <a:pt x="17" y="2"/>
                  </a:cubicBezTo>
                  <a:cubicBezTo>
                    <a:pt x="15" y="1"/>
                    <a:pt x="12" y="0"/>
                    <a:pt x="8" y="0"/>
                  </a:cubicBezTo>
                  <a:cubicBezTo>
                    <a:pt x="0" y="0"/>
                    <a:pt x="0" y="0"/>
                    <a:pt x="0" y="0"/>
                  </a:cubicBezTo>
                  <a:cubicBezTo>
                    <a:pt x="0" y="22"/>
                    <a:pt x="0" y="22"/>
                    <a:pt x="0" y="22"/>
                  </a:cubicBezTo>
                  <a:cubicBezTo>
                    <a:pt x="6" y="22"/>
                    <a:pt x="6" y="22"/>
                    <a:pt x="6" y="22"/>
                  </a:cubicBezTo>
                  <a:cubicBezTo>
                    <a:pt x="11" y="22"/>
                    <a:pt x="14" y="21"/>
                    <a:pt x="17"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2" name="Rectangle 713"/>
            <p:cNvSpPr>
              <a:spLocks noChangeArrowheads="1"/>
            </p:cNvSpPr>
            <p:nvPr/>
          </p:nvSpPr>
          <p:spPr bwMode="auto">
            <a:xfrm>
              <a:off x="2500" y="3037"/>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3" name="Freeform 714"/>
            <p:cNvSpPr>
              <a:spLocks/>
            </p:cNvSpPr>
            <p:nvPr/>
          </p:nvSpPr>
          <p:spPr bwMode="auto">
            <a:xfrm>
              <a:off x="2553" y="2968"/>
              <a:ext cx="19" cy="32"/>
            </a:xfrm>
            <a:custGeom>
              <a:avLst/>
              <a:gdLst>
                <a:gd name="T0" fmla="*/ 29 w 29"/>
                <a:gd name="T1" fmla="*/ 24 h 48"/>
                <a:gd name="T2" fmla="*/ 8 w 29"/>
                <a:gd name="T3" fmla="*/ 0 h 48"/>
                <a:gd name="T4" fmla="*/ 0 w 29"/>
                <a:gd name="T5" fmla="*/ 0 h 48"/>
                <a:gd name="T6" fmla="*/ 0 w 29"/>
                <a:gd name="T7" fmla="*/ 48 h 48"/>
                <a:gd name="T8" fmla="*/ 6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6" y="48"/>
                    <a:pt x="6" y="48"/>
                    <a:pt x="6" y="48"/>
                  </a:cubicBezTo>
                  <a:cubicBezTo>
                    <a:pt x="22" y="48"/>
                    <a:pt x="29" y="40"/>
                    <a:pt x="29"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4" name="Freeform 715"/>
            <p:cNvSpPr>
              <a:spLocks noEditPoints="1"/>
            </p:cNvSpPr>
            <p:nvPr/>
          </p:nvSpPr>
          <p:spPr bwMode="auto">
            <a:xfrm>
              <a:off x="2394" y="278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5" name="Freeform 716"/>
            <p:cNvSpPr>
              <a:spLocks noEditPoints="1"/>
            </p:cNvSpPr>
            <p:nvPr/>
          </p:nvSpPr>
          <p:spPr bwMode="auto">
            <a:xfrm>
              <a:off x="2479" y="2945"/>
              <a:ext cx="170" cy="78"/>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9 w 256"/>
                <a:gd name="T11" fmla="*/ 22 h 118"/>
                <a:gd name="T12" fmla="*/ 212 w 256"/>
                <a:gd name="T13" fmla="*/ 22 h 118"/>
                <a:gd name="T14" fmla="*/ 212 w 256"/>
                <a:gd name="T15" fmla="*/ 35 h 118"/>
                <a:gd name="T16" fmla="*/ 185 w 256"/>
                <a:gd name="T17" fmla="*/ 35 h 118"/>
                <a:gd name="T18" fmla="*/ 185 w 256"/>
                <a:gd name="T19" fmla="*/ 54 h 118"/>
                <a:gd name="T20" fmla="*/ 210 w 256"/>
                <a:gd name="T21" fmla="*/ 54 h 118"/>
                <a:gd name="T22" fmla="*/ 210 w 256"/>
                <a:gd name="T23" fmla="*/ 67 h 118"/>
                <a:gd name="T24" fmla="*/ 185 w 256"/>
                <a:gd name="T25" fmla="*/ 67 h 118"/>
                <a:gd name="T26" fmla="*/ 185 w 256"/>
                <a:gd name="T27" fmla="*/ 96 h 118"/>
                <a:gd name="T28" fmla="*/ 169 w 256"/>
                <a:gd name="T29" fmla="*/ 96 h 118"/>
                <a:gd name="T30" fmla="*/ 169 w 256"/>
                <a:gd name="T31" fmla="*/ 22 h 118"/>
                <a:gd name="T32" fmla="*/ 95 w 256"/>
                <a:gd name="T33" fmla="*/ 22 h 118"/>
                <a:gd name="T34" fmla="*/ 118 w 256"/>
                <a:gd name="T35" fmla="*/ 22 h 118"/>
                <a:gd name="T36" fmla="*/ 147 w 256"/>
                <a:gd name="T37" fmla="*/ 31 h 118"/>
                <a:gd name="T38" fmla="*/ 157 w 256"/>
                <a:gd name="T39" fmla="*/ 58 h 118"/>
                <a:gd name="T40" fmla="*/ 146 w 256"/>
                <a:gd name="T41" fmla="*/ 87 h 118"/>
                <a:gd name="T42" fmla="*/ 116 w 256"/>
                <a:gd name="T43" fmla="*/ 96 h 118"/>
                <a:gd name="T44" fmla="*/ 95 w 256"/>
                <a:gd name="T45" fmla="*/ 96 h 118"/>
                <a:gd name="T46" fmla="*/ 95 w 256"/>
                <a:gd name="T47" fmla="*/ 22 h 118"/>
                <a:gd name="T48" fmla="*/ 32 w 256"/>
                <a:gd name="T49" fmla="*/ 22 h 118"/>
                <a:gd name="T50" fmla="*/ 56 w 256"/>
                <a:gd name="T51" fmla="*/ 22 h 118"/>
                <a:gd name="T52" fmla="*/ 76 w 256"/>
                <a:gd name="T53" fmla="*/ 28 h 118"/>
                <a:gd name="T54" fmla="*/ 83 w 256"/>
                <a:gd name="T55" fmla="*/ 45 h 118"/>
                <a:gd name="T56" fmla="*/ 76 w 256"/>
                <a:gd name="T57" fmla="*/ 63 h 118"/>
                <a:gd name="T58" fmla="*/ 54 w 256"/>
                <a:gd name="T59" fmla="*/ 70 h 118"/>
                <a:gd name="T60" fmla="*/ 47 w 256"/>
                <a:gd name="T61" fmla="*/ 70 h 118"/>
                <a:gd name="T62" fmla="*/ 47 w 256"/>
                <a:gd name="T63" fmla="*/ 96 h 118"/>
                <a:gd name="T64" fmla="*/ 32 w 256"/>
                <a:gd name="T65" fmla="*/ 96 h 118"/>
                <a:gd name="T66" fmla="*/ 3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9" y="22"/>
                  </a:moveTo>
                  <a:cubicBezTo>
                    <a:pt x="212" y="22"/>
                    <a:pt x="212" y="22"/>
                    <a:pt x="212" y="22"/>
                  </a:cubicBezTo>
                  <a:cubicBezTo>
                    <a:pt x="212" y="35"/>
                    <a:pt x="212" y="35"/>
                    <a:pt x="212" y="35"/>
                  </a:cubicBezTo>
                  <a:cubicBezTo>
                    <a:pt x="185" y="35"/>
                    <a:pt x="185" y="35"/>
                    <a:pt x="185" y="35"/>
                  </a:cubicBezTo>
                  <a:cubicBezTo>
                    <a:pt x="185" y="54"/>
                    <a:pt x="185" y="54"/>
                    <a:pt x="185" y="54"/>
                  </a:cubicBezTo>
                  <a:cubicBezTo>
                    <a:pt x="210" y="54"/>
                    <a:pt x="210" y="54"/>
                    <a:pt x="210" y="54"/>
                  </a:cubicBezTo>
                  <a:cubicBezTo>
                    <a:pt x="210" y="67"/>
                    <a:pt x="210" y="67"/>
                    <a:pt x="210" y="67"/>
                  </a:cubicBezTo>
                  <a:cubicBezTo>
                    <a:pt x="185" y="67"/>
                    <a:pt x="185" y="67"/>
                    <a:pt x="185" y="67"/>
                  </a:cubicBezTo>
                  <a:cubicBezTo>
                    <a:pt x="185" y="96"/>
                    <a:pt x="185" y="96"/>
                    <a:pt x="185" y="96"/>
                  </a:cubicBezTo>
                  <a:cubicBezTo>
                    <a:pt x="169" y="96"/>
                    <a:pt x="169" y="96"/>
                    <a:pt x="169" y="96"/>
                  </a:cubicBezTo>
                  <a:lnTo>
                    <a:pt x="169" y="22"/>
                  </a:lnTo>
                  <a:close/>
                  <a:moveTo>
                    <a:pt x="95" y="22"/>
                  </a:moveTo>
                  <a:cubicBezTo>
                    <a:pt x="118" y="22"/>
                    <a:pt x="118" y="22"/>
                    <a:pt x="118" y="22"/>
                  </a:cubicBezTo>
                  <a:cubicBezTo>
                    <a:pt x="130" y="22"/>
                    <a:pt x="140" y="25"/>
                    <a:pt x="147" y="31"/>
                  </a:cubicBezTo>
                  <a:cubicBezTo>
                    <a:pt x="153" y="38"/>
                    <a:pt x="157" y="47"/>
                    <a:pt x="157" y="58"/>
                  </a:cubicBezTo>
                  <a:cubicBezTo>
                    <a:pt x="157" y="71"/>
                    <a:pt x="153" y="80"/>
                    <a:pt x="146" y="87"/>
                  </a:cubicBezTo>
                  <a:cubicBezTo>
                    <a:pt x="139" y="93"/>
                    <a:pt x="129" y="96"/>
                    <a:pt x="116" y="96"/>
                  </a:cubicBezTo>
                  <a:cubicBezTo>
                    <a:pt x="95" y="96"/>
                    <a:pt x="95" y="96"/>
                    <a:pt x="95" y="96"/>
                  </a:cubicBezTo>
                  <a:lnTo>
                    <a:pt x="95" y="22"/>
                  </a:lnTo>
                  <a:close/>
                  <a:moveTo>
                    <a:pt x="32" y="22"/>
                  </a:moveTo>
                  <a:cubicBezTo>
                    <a:pt x="56" y="22"/>
                    <a:pt x="56" y="22"/>
                    <a:pt x="56" y="22"/>
                  </a:cubicBezTo>
                  <a:cubicBezTo>
                    <a:pt x="65" y="22"/>
                    <a:pt x="71" y="24"/>
                    <a:pt x="76" y="28"/>
                  </a:cubicBezTo>
                  <a:cubicBezTo>
                    <a:pt x="81" y="31"/>
                    <a:pt x="83" y="37"/>
                    <a:pt x="83" y="45"/>
                  </a:cubicBezTo>
                  <a:cubicBezTo>
                    <a:pt x="83" y="53"/>
                    <a:pt x="81" y="59"/>
                    <a:pt x="76" y="63"/>
                  </a:cubicBezTo>
                  <a:cubicBezTo>
                    <a:pt x="71" y="68"/>
                    <a:pt x="64" y="70"/>
                    <a:pt x="54" y="70"/>
                  </a:cubicBezTo>
                  <a:cubicBezTo>
                    <a:pt x="47" y="70"/>
                    <a:pt x="47" y="70"/>
                    <a:pt x="47" y="70"/>
                  </a:cubicBezTo>
                  <a:cubicBezTo>
                    <a:pt x="47" y="96"/>
                    <a:pt x="47" y="96"/>
                    <a:pt x="47" y="96"/>
                  </a:cubicBezTo>
                  <a:cubicBezTo>
                    <a:pt x="32" y="96"/>
                    <a:pt x="32" y="96"/>
                    <a:pt x="32" y="96"/>
                  </a:cubicBezTo>
                  <a:lnTo>
                    <a:pt x="3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6" name="Freeform 717"/>
            <p:cNvSpPr>
              <a:spLocks/>
            </p:cNvSpPr>
            <p:nvPr/>
          </p:nvSpPr>
          <p:spPr bwMode="auto">
            <a:xfrm>
              <a:off x="2592" y="2877"/>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97" name="Group 720"/>
          <p:cNvGrpSpPr>
            <a:grpSpLocks noChangeAspect="1"/>
          </p:cNvGrpSpPr>
          <p:nvPr/>
        </p:nvGrpSpPr>
        <p:grpSpPr bwMode="auto">
          <a:xfrm>
            <a:off x="2506250" y="3357001"/>
            <a:ext cx="368712" cy="368712"/>
            <a:chOff x="2731" y="2789"/>
            <a:chExt cx="341" cy="341"/>
          </a:xfrm>
          <a:solidFill>
            <a:schemeClr val="accent2"/>
          </a:solidFill>
        </p:grpSpPr>
        <p:sp>
          <p:nvSpPr>
            <p:cNvPr id="598" name="Freeform 721"/>
            <p:cNvSpPr>
              <a:spLocks noEditPoints="1"/>
            </p:cNvSpPr>
            <p:nvPr/>
          </p:nvSpPr>
          <p:spPr bwMode="auto">
            <a:xfrm>
              <a:off x="2731" y="2789"/>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9" name="Freeform 722"/>
            <p:cNvSpPr>
              <a:spLocks noEditPoints="1"/>
            </p:cNvSpPr>
            <p:nvPr/>
          </p:nvSpPr>
          <p:spPr bwMode="auto">
            <a:xfrm>
              <a:off x="2802" y="2853"/>
              <a:ext cx="199" cy="213"/>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68 w 299"/>
                <a:gd name="T47" fmla="*/ 225 h 320"/>
                <a:gd name="T48" fmla="*/ 169 w 299"/>
                <a:gd name="T49" fmla="*/ 169 h 320"/>
                <a:gd name="T50" fmla="*/ 117 w 299"/>
                <a:gd name="T51" fmla="*/ 160 h 320"/>
                <a:gd name="T52" fmla="*/ 138 w 299"/>
                <a:gd name="T53" fmla="*/ 234 h 320"/>
                <a:gd name="T54" fmla="*/ 133 w 299"/>
                <a:gd name="T55" fmla="*/ 173 h 320"/>
                <a:gd name="T56" fmla="*/ 162 w 299"/>
                <a:gd name="T57" fmla="*/ 197 h 320"/>
                <a:gd name="T58" fmla="*/ 133 w 299"/>
                <a:gd name="T59" fmla="*/ 221 h 320"/>
                <a:gd name="T60" fmla="*/ 69 w 299"/>
                <a:gd name="T61" fmla="*/ 208 h 320"/>
                <a:gd name="T62" fmla="*/ 98 w 299"/>
                <a:gd name="T63" fmla="*/ 201 h 320"/>
                <a:gd name="T64" fmla="*/ 98 w 299"/>
                <a:gd name="T65" fmla="*/ 166 h 320"/>
                <a:gd name="T66" fmla="*/ 54 w 299"/>
                <a:gd name="T67" fmla="*/ 160 h 320"/>
                <a:gd name="T68" fmla="*/ 69 w 299"/>
                <a:gd name="T69" fmla="*/ 234 h 320"/>
                <a:gd name="T70" fmla="*/ 69 w 299"/>
                <a:gd name="T71" fmla="*/ 173 h 320"/>
                <a:gd name="T72" fmla="*/ 86 w 299"/>
                <a:gd name="T73" fmla="*/ 175 h 320"/>
                <a:gd name="T74" fmla="*/ 86 w 299"/>
                <a:gd name="T75" fmla="*/ 192 h 320"/>
                <a:gd name="T76" fmla="*/ 69 w 299"/>
                <a:gd name="T77" fmla="*/ 195 h 320"/>
                <a:gd name="T78" fmla="*/ 207 w 299"/>
                <a:gd name="T79" fmla="*/ 234 h 320"/>
                <a:gd name="T80" fmla="*/ 191 w 299"/>
                <a:gd name="T81" fmla="*/ 160 h 320"/>
                <a:gd name="T82" fmla="*/ 234 w 299"/>
                <a:gd name="T83" fmla="*/ 173 h 320"/>
                <a:gd name="T84" fmla="*/ 207 w 299"/>
                <a:gd name="T85" fmla="*/ 192 h 320"/>
                <a:gd name="T86" fmla="*/ 232 w 299"/>
                <a:gd name="T87" fmla="*/ 205 h 320"/>
                <a:gd name="T88" fmla="*/ 207 w 299"/>
                <a:gd name="T89"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68" y="225"/>
                  </a:moveTo>
                  <a:cubicBezTo>
                    <a:pt x="175" y="218"/>
                    <a:pt x="179" y="209"/>
                    <a:pt x="179" y="196"/>
                  </a:cubicBezTo>
                  <a:cubicBezTo>
                    <a:pt x="179" y="185"/>
                    <a:pt x="175" y="176"/>
                    <a:pt x="169" y="169"/>
                  </a:cubicBezTo>
                  <a:cubicBezTo>
                    <a:pt x="162" y="163"/>
                    <a:pt x="152" y="160"/>
                    <a:pt x="140" y="160"/>
                  </a:cubicBezTo>
                  <a:cubicBezTo>
                    <a:pt x="117" y="160"/>
                    <a:pt x="117" y="160"/>
                    <a:pt x="117" y="160"/>
                  </a:cubicBezTo>
                  <a:cubicBezTo>
                    <a:pt x="117" y="234"/>
                    <a:pt x="117" y="234"/>
                    <a:pt x="117" y="234"/>
                  </a:cubicBezTo>
                  <a:cubicBezTo>
                    <a:pt x="138" y="234"/>
                    <a:pt x="138" y="234"/>
                    <a:pt x="138" y="234"/>
                  </a:cubicBezTo>
                  <a:cubicBezTo>
                    <a:pt x="151" y="234"/>
                    <a:pt x="161" y="231"/>
                    <a:pt x="168" y="225"/>
                  </a:cubicBezTo>
                  <a:close/>
                  <a:moveTo>
                    <a:pt x="133" y="173"/>
                  </a:moveTo>
                  <a:cubicBezTo>
                    <a:pt x="141" y="173"/>
                    <a:pt x="141" y="173"/>
                    <a:pt x="141" y="173"/>
                  </a:cubicBezTo>
                  <a:cubicBezTo>
                    <a:pt x="155" y="173"/>
                    <a:pt x="162" y="181"/>
                    <a:pt x="162" y="197"/>
                  </a:cubicBezTo>
                  <a:cubicBezTo>
                    <a:pt x="162" y="213"/>
                    <a:pt x="155" y="221"/>
                    <a:pt x="139" y="221"/>
                  </a:cubicBezTo>
                  <a:cubicBezTo>
                    <a:pt x="133" y="221"/>
                    <a:pt x="133" y="221"/>
                    <a:pt x="133" y="221"/>
                  </a:cubicBezTo>
                  <a:lnTo>
                    <a:pt x="133" y="173"/>
                  </a:lnTo>
                  <a:close/>
                  <a:moveTo>
                    <a:pt x="69" y="208"/>
                  </a:moveTo>
                  <a:cubicBezTo>
                    <a:pt x="76" y="208"/>
                    <a:pt x="76" y="208"/>
                    <a:pt x="76" y="208"/>
                  </a:cubicBezTo>
                  <a:cubicBezTo>
                    <a:pt x="86" y="208"/>
                    <a:pt x="93" y="206"/>
                    <a:pt x="98" y="201"/>
                  </a:cubicBezTo>
                  <a:cubicBezTo>
                    <a:pt x="103" y="197"/>
                    <a:pt x="105" y="191"/>
                    <a:pt x="105" y="183"/>
                  </a:cubicBezTo>
                  <a:cubicBezTo>
                    <a:pt x="105" y="175"/>
                    <a:pt x="103" y="169"/>
                    <a:pt x="98" y="166"/>
                  </a:cubicBezTo>
                  <a:cubicBezTo>
                    <a:pt x="93" y="162"/>
                    <a:pt x="87" y="160"/>
                    <a:pt x="78" y="160"/>
                  </a:cubicBezTo>
                  <a:cubicBezTo>
                    <a:pt x="54" y="160"/>
                    <a:pt x="54" y="160"/>
                    <a:pt x="54" y="160"/>
                  </a:cubicBezTo>
                  <a:cubicBezTo>
                    <a:pt x="54" y="234"/>
                    <a:pt x="54" y="234"/>
                    <a:pt x="54" y="234"/>
                  </a:cubicBezTo>
                  <a:cubicBezTo>
                    <a:pt x="69" y="234"/>
                    <a:pt x="69" y="234"/>
                    <a:pt x="69" y="234"/>
                  </a:cubicBezTo>
                  <a:lnTo>
                    <a:pt x="69" y="208"/>
                  </a:lnTo>
                  <a:close/>
                  <a:moveTo>
                    <a:pt x="69" y="173"/>
                  </a:moveTo>
                  <a:cubicBezTo>
                    <a:pt x="77" y="173"/>
                    <a:pt x="77" y="173"/>
                    <a:pt x="77" y="173"/>
                  </a:cubicBezTo>
                  <a:cubicBezTo>
                    <a:pt x="81" y="173"/>
                    <a:pt x="84" y="174"/>
                    <a:pt x="86" y="175"/>
                  </a:cubicBezTo>
                  <a:cubicBezTo>
                    <a:pt x="88" y="177"/>
                    <a:pt x="89" y="180"/>
                    <a:pt x="89" y="184"/>
                  </a:cubicBezTo>
                  <a:cubicBezTo>
                    <a:pt x="89" y="187"/>
                    <a:pt x="88" y="190"/>
                    <a:pt x="86" y="192"/>
                  </a:cubicBezTo>
                  <a:cubicBezTo>
                    <a:pt x="83" y="194"/>
                    <a:pt x="80" y="195"/>
                    <a:pt x="75" y="195"/>
                  </a:cubicBezTo>
                  <a:cubicBezTo>
                    <a:pt x="69" y="195"/>
                    <a:pt x="69" y="195"/>
                    <a:pt x="69" y="195"/>
                  </a:cubicBezTo>
                  <a:lnTo>
                    <a:pt x="69" y="173"/>
                  </a:lnTo>
                  <a:close/>
                  <a:moveTo>
                    <a:pt x="207" y="234"/>
                  </a:moveTo>
                  <a:cubicBezTo>
                    <a:pt x="191" y="234"/>
                    <a:pt x="191" y="234"/>
                    <a:pt x="191" y="234"/>
                  </a:cubicBezTo>
                  <a:cubicBezTo>
                    <a:pt x="191" y="160"/>
                    <a:pt x="191" y="160"/>
                    <a:pt x="191" y="160"/>
                  </a:cubicBezTo>
                  <a:cubicBezTo>
                    <a:pt x="234" y="160"/>
                    <a:pt x="234" y="160"/>
                    <a:pt x="234" y="160"/>
                  </a:cubicBezTo>
                  <a:cubicBezTo>
                    <a:pt x="234" y="173"/>
                    <a:pt x="234" y="173"/>
                    <a:pt x="234" y="173"/>
                  </a:cubicBezTo>
                  <a:cubicBezTo>
                    <a:pt x="207" y="173"/>
                    <a:pt x="207" y="173"/>
                    <a:pt x="207" y="173"/>
                  </a:cubicBezTo>
                  <a:cubicBezTo>
                    <a:pt x="207" y="192"/>
                    <a:pt x="207" y="192"/>
                    <a:pt x="207" y="192"/>
                  </a:cubicBezTo>
                  <a:cubicBezTo>
                    <a:pt x="232" y="192"/>
                    <a:pt x="232" y="192"/>
                    <a:pt x="232" y="192"/>
                  </a:cubicBezTo>
                  <a:cubicBezTo>
                    <a:pt x="232" y="205"/>
                    <a:pt x="232" y="205"/>
                    <a:pt x="232" y="205"/>
                  </a:cubicBezTo>
                  <a:cubicBezTo>
                    <a:pt x="207" y="205"/>
                    <a:pt x="207" y="205"/>
                    <a:pt x="207" y="205"/>
                  </a:cubicBezTo>
                  <a:lnTo>
                    <a:pt x="207"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0" name="Freeform 726"/>
          <p:cNvSpPr>
            <a:spLocks noChangeAspect="1" noEditPoints="1"/>
          </p:cNvSpPr>
          <p:nvPr/>
        </p:nvSpPr>
        <p:spPr bwMode="auto">
          <a:xfrm>
            <a:off x="2927301" y="3357001"/>
            <a:ext cx="367631" cy="368713"/>
          </a:xfrm>
          <a:custGeom>
            <a:avLst/>
            <a:gdLst>
              <a:gd name="T0" fmla="*/ 337 w 512"/>
              <a:gd name="T1" fmla="*/ 170 h 512"/>
              <a:gd name="T2" fmla="*/ 298 w 512"/>
              <a:gd name="T3" fmla="*/ 170 h 512"/>
              <a:gd name="T4" fmla="*/ 298 w 512"/>
              <a:gd name="T5" fmla="*/ 132 h 512"/>
              <a:gd name="T6" fmla="*/ 337 w 512"/>
              <a:gd name="T7" fmla="*/ 170 h 512"/>
              <a:gd name="T8" fmla="*/ 225 w 512"/>
              <a:gd name="T9" fmla="*/ 282 h 512"/>
              <a:gd name="T10" fmla="*/ 202 w 512"/>
              <a:gd name="T11" fmla="*/ 316 h 512"/>
              <a:gd name="T12" fmla="*/ 202 w 512"/>
              <a:gd name="T13" fmla="*/ 245 h 512"/>
              <a:gd name="T14" fmla="*/ 309 w 512"/>
              <a:gd name="T15" fmla="*/ 245 h 512"/>
              <a:gd name="T16" fmla="*/ 309 w 512"/>
              <a:gd name="T17" fmla="*/ 341 h 512"/>
              <a:gd name="T18" fmla="*/ 283 w 512"/>
              <a:gd name="T19" fmla="*/ 341 h 512"/>
              <a:gd name="T20" fmla="*/ 243 w 512"/>
              <a:gd name="T21" fmla="*/ 282 h 512"/>
              <a:gd name="T22" fmla="*/ 225 w 512"/>
              <a:gd name="T23" fmla="*/ 282 h 512"/>
              <a:gd name="T24" fmla="*/ 266 w 512"/>
              <a:gd name="T25" fmla="*/ 277 h 512"/>
              <a:gd name="T26" fmla="*/ 277 w 512"/>
              <a:gd name="T27" fmla="*/ 288 h 512"/>
              <a:gd name="T28" fmla="*/ 288 w 512"/>
              <a:gd name="T29" fmla="*/ 277 h 512"/>
              <a:gd name="T30" fmla="*/ 277 w 512"/>
              <a:gd name="T31" fmla="*/ 266 h 512"/>
              <a:gd name="T32" fmla="*/ 266 w 512"/>
              <a:gd name="T33" fmla="*/ 277 h 512"/>
              <a:gd name="T34" fmla="*/ 212 w 512"/>
              <a:gd name="T35" fmla="*/ 341 h 512"/>
              <a:gd name="T36" fmla="*/ 257 w 512"/>
              <a:gd name="T37" fmla="*/ 341 h 512"/>
              <a:gd name="T38" fmla="*/ 234 w 512"/>
              <a:gd name="T39" fmla="*/ 307 h 512"/>
              <a:gd name="T40" fmla="*/ 212 w 512"/>
              <a:gd name="T41" fmla="*/ 341 h 512"/>
              <a:gd name="T42" fmla="*/ 288 w 512"/>
              <a:gd name="T43" fmla="*/ 192 h 512"/>
              <a:gd name="T44" fmla="*/ 352 w 512"/>
              <a:gd name="T45" fmla="*/ 192 h 512"/>
              <a:gd name="T46" fmla="*/ 352 w 512"/>
              <a:gd name="T47" fmla="*/ 394 h 512"/>
              <a:gd name="T48" fmla="*/ 160 w 512"/>
              <a:gd name="T49" fmla="*/ 394 h 512"/>
              <a:gd name="T50" fmla="*/ 160 w 512"/>
              <a:gd name="T51" fmla="*/ 117 h 512"/>
              <a:gd name="T52" fmla="*/ 277 w 512"/>
              <a:gd name="T53" fmla="*/ 117 h 512"/>
              <a:gd name="T54" fmla="*/ 277 w 512"/>
              <a:gd name="T55" fmla="*/ 181 h 512"/>
              <a:gd name="T56" fmla="*/ 288 w 512"/>
              <a:gd name="T57" fmla="*/ 192 h 512"/>
              <a:gd name="T58" fmla="*/ 320 w 512"/>
              <a:gd name="T59" fmla="*/ 224 h 512"/>
              <a:gd name="T60" fmla="*/ 192 w 512"/>
              <a:gd name="T61" fmla="*/ 224 h 512"/>
              <a:gd name="T62" fmla="*/ 181 w 512"/>
              <a:gd name="T63" fmla="*/ 234 h 512"/>
              <a:gd name="T64" fmla="*/ 181 w 512"/>
              <a:gd name="T65" fmla="*/ 352 h 512"/>
              <a:gd name="T66" fmla="*/ 192 w 512"/>
              <a:gd name="T67" fmla="*/ 362 h 512"/>
              <a:gd name="T68" fmla="*/ 320 w 512"/>
              <a:gd name="T69" fmla="*/ 362 h 512"/>
              <a:gd name="T70" fmla="*/ 330 w 512"/>
              <a:gd name="T71" fmla="*/ 352 h 512"/>
              <a:gd name="T72" fmla="*/ 330 w 512"/>
              <a:gd name="T73" fmla="*/ 234 h 512"/>
              <a:gd name="T74" fmla="*/ 320 w 512"/>
              <a:gd name="T75" fmla="*/ 224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73 w 512"/>
              <a:gd name="T87" fmla="*/ 181 h 512"/>
              <a:gd name="T88" fmla="*/ 372 w 512"/>
              <a:gd name="T89" fmla="*/ 177 h 512"/>
              <a:gd name="T90" fmla="*/ 370 w 512"/>
              <a:gd name="T91" fmla="*/ 173 h 512"/>
              <a:gd name="T92" fmla="*/ 295 w 512"/>
              <a:gd name="T93" fmla="*/ 99 h 512"/>
              <a:gd name="T94" fmla="*/ 295 w 512"/>
              <a:gd name="T95" fmla="*/ 98 h 512"/>
              <a:gd name="T96" fmla="*/ 295 w 512"/>
              <a:gd name="T97" fmla="*/ 98 h 512"/>
              <a:gd name="T98" fmla="*/ 295 w 512"/>
              <a:gd name="T99" fmla="*/ 98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 name="T116" fmla="*/ 373 w 512"/>
              <a:gd name="T11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337" y="170"/>
                </a:moveTo>
                <a:cubicBezTo>
                  <a:pt x="298" y="170"/>
                  <a:pt x="298" y="170"/>
                  <a:pt x="298" y="170"/>
                </a:cubicBezTo>
                <a:cubicBezTo>
                  <a:pt x="298" y="132"/>
                  <a:pt x="298" y="132"/>
                  <a:pt x="298" y="132"/>
                </a:cubicBezTo>
                <a:lnTo>
                  <a:pt x="337" y="170"/>
                </a:lnTo>
                <a:close/>
                <a:moveTo>
                  <a:pt x="225" y="282"/>
                </a:moveTo>
                <a:cubicBezTo>
                  <a:pt x="202" y="316"/>
                  <a:pt x="202" y="316"/>
                  <a:pt x="202" y="316"/>
                </a:cubicBezTo>
                <a:cubicBezTo>
                  <a:pt x="202" y="245"/>
                  <a:pt x="202" y="245"/>
                  <a:pt x="202" y="245"/>
                </a:cubicBezTo>
                <a:cubicBezTo>
                  <a:pt x="309" y="245"/>
                  <a:pt x="309" y="245"/>
                  <a:pt x="309" y="245"/>
                </a:cubicBezTo>
                <a:cubicBezTo>
                  <a:pt x="309" y="341"/>
                  <a:pt x="309" y="341"/>
                  <a:pt x="309" y="341"/>
                </a:cubicBezTo>
                <a:cubicBezTo>
                  <a:pt x="283" y="341"/>
                  <a:pt x="283" y="341"/>
                  <a:pt x="283" y="341"/>
                </a:cubicBezTo>
                <a:cubicBezTo>
                  <a:pt x="243" y="282"/>
                  <a:pt x="243" y="282"/>
                  <a:pt x="243" y="282"/>
                </a:cubicBezTo>
                <a:cubicBezTo>
                  <a:pt x="239" y="276"/>
                  <a:pt x="229" y="276"/>
                  <a:pt x="225" y="282"/>
                </a:cubicBezTo>
                <a:close/>
                <a:moveTo>
                  <a:pt x="266" y="277"/>
                </a:moveTo>
                <a:cubicBezTo>
                  <a:pt x="266" y="283"/>
                  <a:pt x="271" y="288"/>
                  <a:pt x="277" y="288"/>
                </a:cubicBezTo>
                <a:cubicBezTo>
                  <a:pt x="283" y="288"/>
                  <a:pt x="288" y="283"/>
                  <a:pt x="288" y="277"/>
                </a:cubicBezTo>
                <a:cubicBezTo>
                  <a:pt x="288" y="271"/>
                  <a:pt x="283" y="266"/>
                  <a:pt x="277" y="266"/>
                </a:cubicBezTo>
                <a:cubicBezTo>
                  <a:pt x="271" y="266"/>
                  <a:pt x="266" y="271"/>
                  <a:pt x="266" y="277"/>
                </a:cubicBezTo>
                <a:close/>
                <a:moveTo>
                  <a:pt x="212" y="341"/>
                </a:moveTo>
                <a:cubicBezTo>
                  <a:pt x="257" y="341"/>
                  <a:pt x="257" y="341"/>
                  <a:pt x="257" y="341"/>
                </a:cubicBezTo>
                <a:cubicBezTo>
                  <a:pt x="234" y="307"/>
                  <a:pt x="234" y="307"/>
                  <a:pt x="234" y="307"/>
                </a:cubicBezTo>
                <a:lnTo>
                  <a:pt x="212" y="341"/>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20" y="224"/>
                </a:moveTo>
                <a:cubicBezTo>
                  <a:pt x="192" y="224"/>
                  <a:pt x="192" y="224"/>
                  <a:pt x="192" y="224"/>
                </a:cubicBezTo>
                <a:cubicBezTo>
                  <a:pt x="186" y="224"/>
                  <a:pt x="181" y="228"/>
                  <a:pt x="181" y="234"/>
                </a:cubicBezTo>
                <a:cubicBezTo>
                  <a:pt x="181" y="352"/>
                  <a:pt x="181" y="352"/>
                  <a:pt x="181" y="352"/>
                </a:cubicBezTo>
                <a:cubicBezTo>
                  <a:pt x="181" y="358"/>
                  <a:pt x="186" y="362"/>
                  <a:pt x="192" y="362"/>
                </a:cubicBezTo>
                <a:cubicBezTo>
                  <a:pt x="320" y="362"/>
                  <a:pt x="320" y="362"/>
                  <a:pt x="320" y="362"/>
                </a:cubicBezTo>
                <a:cubicBezTo>
                  <a:pt x="326" y="362"/>
                  <a:pt x="330" y="358"/>
                  <a:pt x="330" y="352"/>
                </a:cubicBezTo>
                <a:cubicBezTo>
                  <a:pt x="330" y="234"/>
                  <a:pt x="330" y="234"/>
                  <a:pt x="330" y="234"/>
                </a:cubicBezTo>
                <a:cubicBezTo>
                  <a:pt x="330" y="228"/>
                  <a:pt x="326" y="224"/>
                  <a:pt x="320"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5" y="99"/>
                  <a:pt x="295" y="99"/>
                  <a:pt x="295" y="98"/>
                </a:cubicBezTo>
                <a:cubicBezTo>
                  <a:pt x="295" y="98"/>
                  <a:pt x="295" y="98"/>
                  <a:pt x="295" y="98"/>
                </a:cubicBezTo>
                <a:cubicBezTo>
                  <a:pt x="295" y="98"/>
                  <a:pt x="295" y="98"/>
                  <a:pt x="295" y="98"/>
                </a:cubicBezTo>
                <a:cubicBezTo>
                  <a:pt x="293" y="97"/>
                  <a:pt x="290"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81"/>
                  <a:pt x="373" y="181"/>
                  <a:pt x="373" y="18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01" name="Group 729"/>
          <p:cNvGrpSpPr>
            <a:grpSpLocks noChangeAspect="1"/>
          </p:cNvGrpSpPr>
          <p:nvPr/>
        </p:nvGrpSpPr>
        <p:grpSpPr bwMode="auto">
          <a:xfrm>
            <a:off x="3347271" y="3357001"/>
            <a:ext cx="367631" cy="367631"/>
            <a:chOff x="3568" y="2909"/>
            <a:chExt cx="340" cy="340"/>
          </a:xfrm>
          <a:solidFill>
            <a:schemeClr val="accent2"/>
          </a:solidFill>
        </p:grpSpPr>
        <p:sp>
          <p:nvSpPr>
            <p:cNvPr id="602" name="Freeform 730"/>
            <p:cNvSpPr>
              <a:spLocks noEditPoints="1"/>
            </p:cNvSpPr>
            <p:nvPr/>
          </p:nvSpPr>
          <p:spPr bwMode="auto">
            <a:xfrm>
              <a:off x="3568" y="29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3" name="Freeform 731"/>
            <p:cNvSpPr>
              <a:spLocks noEditPoints="1"/>
            </p:cNvSpPr>
            <p:nvPr/>
          </p:nvSpPr>
          <p:spPr bwMode="auto">
            <a:xfrm>
              <a:off x="3660" y="2973"/>
              <a:ext cx="156" cy="212"/>
            </a:xfrm>
            <a:custGeom>
              <a:avLst/>
              <a:gdLst>
                <a:gd name="T0" fmla="*/ 43 w 235"/>
                <a:gd name="T1" fmla="*/ 138 h 320"/>
                <a:gd name="T2" fmla="*/ 43 w 235"/>
                <a:gd name="T3" fmla="*/ 256 h 320"/>
                <a:gd name="T4" fmla="*/ 54 w 235"/>
                <a:gd name="T5" fmla="*/ 266 h 320"/>
                <a:gd name="T6" fmla="*/ 182 w 235"/>
                <a:gd name="T7" fmla="*/ 266 h 320"/>
                <a:gd name="T8" fmla="*/ 192 w 235"/>
                <a:gd name="T9" fmla="*/ 256 h 320"/>
                <a:gd name="T10" fmla="*/ 192 w 235"/>
                <a:gd name="T11" fmla="*/ 138 h 320"/>
                <a:gd name="T12" fmla="*/ 182 w 235"/>
                <a:gd name="T13" fmla="*/ 128 h 320"/>
                <a:gd name="T14" fmla="*/ 54 w 235"/>
                <a:gd name="T15" fmla="*/ 128 h 320"/>
                <a:gd name="T16" fmla="*/ 43 w 235"/>
                <a:gd name="T17" fmla="*/ 138 h 320"/>
                <a:gd name="T18" fmla="*/ 74 w 235"/>
                <a:gd name="T19" fmla="*/ 245 h 320"/>
                <a:gd name="T20" fmla="*/ 96 w 235"/>
                <a:gd name="T21" fmla="*/ 211 h 320"/>
                <a:gd name="T22" fmla="*/ 119 w 235"/>
                <a:gd name="T23" fmla="*/ 245 h 320"/>
                <a:gd name="T24" fmla="*/ 74 w 235"/>
                <a:gd name="T25" fmla="*/ 245 h 320"/>
                <a:gd name="T26" fmla="*/ 171 w 235"/>
                <a:gd name="T27" fmla="*/ 149 h 320"/>
                <a:gd name="T28" fmla="*/ 171 w 235"/>
                <a:gd name="T29" fmla="*/ 245 h 320"/>
                <a:gd name="T30" fmla="*/ 145 w 235"/>
                <a:gd name="T31" fmla="*/ 245 h 320"/>
                <a:gd name="T32" fmla="*/ 105 w 235"/>
                <a:gd name="T33" fmla="*/ 186 h 320"/>
                <a:gd name="T34" fmla="*/ 87 w 235"/>
                <a:gd name="T35" fmla="*/ 186 h 320"/>
                <a:gd name="T36" fmla="*/ 64 w 235"/>
                <a:gd name="T37" fmla="*/ 220 h 320"/>
                <a:gd name="T38" fmla="*/ 64 w 235"/>
                <a:gd name="T39" fmla="*/ 149 h 320"/>
                <a:gd name="T40" fmla="*/ 171 w 235"/>
                <a:gd name="T41" fmla="*/ 149 h 320"/>
                <a:gd name="T42" fmla="*/ 128 w 235"/>
                <a:gd name="T43" fmla="*/ 181 h 320"/>
                <a:gd name="T44" fmla="*/ 139 w 235"/>
                <a:gd name="T45" fmla="*/ 170 h 320"/>
                <a:gd name="T46" fmla="*/ 150 w 235"/>
                <a:gd name="T47" fmla="*/ 181 h 320"/>
                <a:gd name="T48" fmla="*/ 139 w 235"/>
                <a:gd name="T49" fmla="*/ 192 h 320"/>
                <a:gd name="T50" fmla="*/ 128 w 235"/>
                <a:gd name="T51" fmla="*/ 181 h 320"/>
                <a:gd name="T52" fmla="*/ 234 w 235"/>
                <a:gd name="T53" fmla="*/ 81 h 320"/>
                <a:gd name="T54" fmla="*/ 232 w 235"/>
                <a:gd name="T55" fmla="*/ 77 h 320"/>
                <a:gd name="T56" fmla="*/ 157 w 235"/>
                <a:gd name="T57" fmla="*/ 3 h 320"/>
                <a:gd name="T58" fmla="*/ 157 w 235"/>
                <a:gd name="T59" fmla="*/ 2 h 320"/>
                <a:gd name="T60" fmla="*/ 157 w 235"/>
                <a:gd name="T61" fmla="*/ 2 h 320"/>
                <a:gd name="T62" fmla="*/ 157 w 235"/>
                <a:gd name="T63" fmla="*/ 2 h 320"/>
                <a:gd name="T64" fmla="*/ 150 w 235"/>
                <a:gd name="T65" fmla="*/ 0 h 320"/>
                <a:gd name="T66" fmla="*/ 11 w 235"/>
                <a:gd name="T67" fmla="*/ 0 h 320"/>
                <a:gd name="T68" fmla="*/ 0 w 235"/>
                <a:gd name="T69" fmla="*/ 10 h 320"/>
                <a:gd name="T70" fmla="*/ 0 w 235"/>
                <a:gd name="T71" fmla="*/ 309 h 320"/>
                <a:gd name="T72" fmla="*/ 11 w 235"/>
                <a:gd name="T73" fmla="*/ 320 h 320"/>
                <a:gd name="T74" fmla="*/ 224 w 235"/>
                <a:gd name="T75" fmla="*/ 320 h 320"/>
                <a:gd name="T76" fmla="*/ 235 w 235"/>
                <a:gd name="T77" fmla="*/ 309 h 320"/>
                <a:gd name="T78" fmla="*/ 235 w 235"/>
                <a:gd name="T79" fmla="*/ 85 h 320"/>
                <a:gd name="T80" fmla="*/ 235 w 235"/>
                <a:gd name="T81" fmla="*/ 85 h 320"/>
                <a:gd name="T82" fmla="*/ 234 w 235"/>
                <a:gd name="T83" fmla="*/ 81 h 320"/>
                <a:gd name="T84" fmla="*/ 160 w 235"/>
                <a:gd name="T85" fmla="*/ 36 h 320"/>
                <a:gd name="T86" fmla="*/ 199 w 235"/>
                <a:gd name="T87" fmla="*/ 74 h 320"/>
                <a:gd name="T88" fmla="*/ 160 w 235"/>
                <a:gd name="T89" fmla="*/ 74 h 320"/>
                <a:gd name="T90" fmla="*/ 160 w 235"/>
                <a:gd name="T91" fmla="*/ 36 h 320"/>
                <a:gd name="T92" fmla="*/ 214 w 235"/>
                <a:gd name="T93" fmla="*/ 298 h 320"/>
                <a:gd name="T94" fmla="*/ 22 w 235"/>
                <a:gd name="T95" fmla="*/ 298 h 320"/>
                <a:gd name="T96" fmla="*/ 22 w 235"/>
                <a:gd name="T97" fmla="*/ 21 h 320"/>
                <a:gd name="T98" fmla="*/ 139 w 235"/>
                <a:gd name="T99" fmla="*/ 21 h 320"/>
                <a:gd name="T100" fmla="*/ 139 w 235"/>
                <a:gd name="T101" fmla="*/ 85 h 320"/>
                <a:gd name="T102" fmla="*/ 150 w 235"/>
                <a:gd name="T103" fmla="*/ 96 h 320"/>
                <a:gd name="T104" fmla="*/ 214 w 235"/>
                <a:gd name="T105" fmla="*/ 96 h 320"/>
                <a:gd name="T106" fmla="*/ 214 w 235"/>
                <a:gd name="T10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 h="320">
                  <a:moveTo>
                    <a:pt x="43" y="138"/>
                  </a:moveTo>
                  <a:cubicBezTo>
                    <a:pt x="43" y="256"/>
                    <a:pt x="43" y="256"/>
                    <a:pt x="43" y="256"/>
                  </a:cubicBezTo>
                  <a:cubicBezTo>
                    <a:pt x="43" y="262"/>
                    <a:pt x="48" y="266"/>
                    <a:pt x="54" y="266"/>
                  </a:cubicBezTo>
                  <a:cubicBezTo>
                    <a:pt x="182" y="266"/>
                    <a:pt x="182" y="266"/>
                    <a:pt x="182" y="266"/>
                  </a:cubicBezTo>
                  <a:cubicBezTo>
                    <a:pt x="188" y="266"/>
                    <a:pt x="192" y="262"/>
                    <a:pt x="192" y="256"/>
                  </a:cubicBezTo>
                  <a:cubicBezTo>
                    <a:pt x="192" y="138"/>
                    <a:pt x="192" y="138"/>
                    <a:pt x="192" y="138"/>
                  </a:cubicBezTo>
                  <a:cubicBezTo>
                    <a:pt x="192" y="132"/>
                    <a:pt x="188" y="128"/>
                    <a:pt x="182" y="128"/>
                  </a:cubicBezTo>
                  <a:cubicBezTo>
                    <a:pt x="54" y="128"/>
                    <a:pt x="54" y="128"/>
                    <a:pt x="54" y="128"/>
                  </a:cubicBezTo>
                  <a:cubicBezTo>
                    <a:pt x="48" y="128"/>
                    <a:pt x="43" y="132"/>
                    <a:pt x="43" y="138"/>
                  </a:cubicBezTo>
                  <a:close/>
                  <a:moveTo>
                    <a:pt x="74" y="245"/>
                  </a:moveTo>
                  <a:cubicBezTo>
                    <a:pt x="96" y="211"/>
                    <a:pt x="96" y="211"/>
                    <a:pt x="96" y="211"/>
                  </a:cubicBezTo>
                  <a:cubicBezTo>
                    <a:pt x="119" y="245"/>
                    <a:pt x="119" y="245"/>
                    <a:pt x="119" y="245"/>
                  </a:cubicBezTo>
                  <a:lnTo>
                    <a:pt x="74" y="245"/>
                  </a:lnTo>
                  <a:close/>
                  <a:moveTo>
                    <a:pt x="171" y="149"/>
                  </a:moveTo>
                  <a:cubicBezTo>
                    <a:pt x="171" y="245"/>
                    <a:pt x="171" y="245"/>
                    <a:pt x="171" y="245"/>
                  </a:cubicBezTo>
                  <a:cubicBezTo>
                    <a:pt x="145" y="245"/>
                    <a:pt x="145" y="245"/>
                    <a:pt x="145" y="245"/>
                  </a:cubicBezTo>
                  <a:cubicBezTo>
                    <a:pt x="105" y="186"/>
                    <a:pt x="105" y="186"/>
                    <a:pt x="105" y="186"/>
                  </a:cubicBezTo>
                  <a:cubicBezTo>
                    <a:pt x="101" y="180"/>
                    <a:pt x="91" y="180"/>
                    <a:pt x="87" y="186"/>
                  </a:cubicBezTo>
                  <a:cubicBezTo>
                    <a:pt x="64" y="220"/>
                    <a:pt x="64" y="220"/>
                    <a:pt x="64" y="220"/>
                  </a:cubicBezTo>
                  <a:cubicBezTo>
                    <a:pt x="64" y="149"/>
                    <a:pt x="64" y="149"/>
                    <a:pt x="64" y="149"/>
                  </a:cubicBezTo>
                  <a:lnTo>
                    <a:pt x="171" y="149"/>
                  </a:lnTo>
                  <a:close/>
                  <a:moveTo>
                    <a:pt x="128" y="181"/>
                  </a:moveTo>
                  <a:cubicBezTo>
                    <a:pt x="128" y="175"/>
                    <a:pt x="133" y="170"/>
                    <a:pt x="139" y="170"/>
                  </a:cubicBezTo>
                  <a:cubicBezTo>
                    <a:pt x="145" y="170"/>
                    <a:pt x="150" y="175"/>
                    <a:pt x="150" y="181"/>
                  </a:cubicBezTo>
                  <a:cubicBezTo>
                    <a:pt x="150" y="187"/>
                    <a:pt x="145" y="192"/>
                    <a:pt x="139" y="192"/>
                  </a:cubicBezTo>
                  <a:cubicBezTo>
                    <a:pt x="133" y="192"/>
                    <a:pt x="128" y="187"/>
                    <a:pt x="128" y="181"/>
                  </a:cubicBezTo>
                  <a:close/>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4" name="Group 734"/>
          <p:cNvGrpSpPr>
            <a:grpSpLocks noChangeAspect="1"/>
          </p:cNvGrpSpPr>
          <p:nvPr/>
        </p:nvGrpSpPr>
        <p:grpSpPr bwMode="auto">
          <a:xfrm>
            <a:off x="3767241" y="3357001"/>
            <a:ext cx="367631" cy="367631"/>
            <a:chOff x="4301" y="2990"/>
            <a:chExt cx="340" cy="340"/>
          </a:xfrm>
          <a:solidFill>
            <a:schemeClr val="accent2"/>
          </a:solidFill>
        </p:grpSpPr>
        <p:sp>
          <p:nvSpPr>
            <p:cNvPr id="605" name="Freeform 735"/>
            <p:cNvSpPr>
              <a:spLocks/>
            </p:cNvSpPr>
            <p:nvPr/>
          </p:nvSpPr>
          <p:spPr bwMode="auto">
            <a:xfrm>
              <a:off x="4407" y="306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6" name="Freeform 736"/>
            <p:cNvSpPr>
              <a:spLocks/>
            </p:cNvSpPr>
            <p:nvPr/>
          </p:nvSpPr>
          <p:spPr bwMode="auto">
            <a:xfrm>
              <a:off x="4466" y="3169"/>
              <a:ext cx="12" cy="14"/>
            </a:xfrm>
            <a:custGeom>
              <a:avLst/>
              <a:gdLst>
                <a:gd name="T0" fmla="*/ 16 w 19"/>
                <a:gd name="T1" fmla="*/ 19 h 22"/>
                <a:gd name="T2" fmla="*/ 19 w 19"/>
                <a:gd name="T3" fmla="*/ 11 h 22"/>
                <a:gd name="T4" fmla="*/ 16 w 19"/>
                <a:gd name="T5" fmla="*/ 2 h 22"/>
                <a:gd name="T6" fmla="*/ 7 w 19"/>
                <a:gd name="T7" fmla="*/ 0 h 22"/>
                <a:gd name="T8" fmla="*/ 0 w 19"/>
                <a:gd name="T9" fmla="*/ 0 h 22"/>
                <a:gd name="T10" fmla="*/ 0 w 19"/>
                <a:gd name="T11" fmla="*/ 22 h 22"/>
                <a:gd name="T12" fmla="*/ 5 w 19"/>
                <a:gd name="T13" fmla="*/ 22 h 22"/>
                <a:gd name="T14" fmla="*/ 16 w 19"/>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2">
                  <a:moveTo>
                    <a:pt x="16" y="19"/>
                  </a:moveTo>
                  <a:cubicBezTo>
                    <a:pt x="18" y="17"/>
                    <a:pt x="19" y="14"/>
                    <a:pt x="19" y="11"/>
                  </a:cubicBezTo>
                  <a:cubicBezTo>
                    <a:pt x="19" y="7"/>
                    <a:pt x="18" y="4"/>
                    <a:pt x="16" y="2"/>
                  </a:cubicBezTo>
                  <a:cubicBezTo>
                    <a:pt x="14" y="1"/>
                    <a:pt x="11" y="0"/>
                    <a:pt x="7" y="0"/>
                  </a:cubicBezTo>
                  <a:cubicBezTo>
                    <a:pt x="0" y="0"/>
                    <a:pt x="0" y="0"/>
                    <a:pt x="0" y="0"/>
                  </a:cubicBezTo>
                  <a:cubicBezTo>
                    <a:pt x="0" y="22"/>
                    <a:pt x="0" y="22"/>
                    <a:pt x="0" y="22"/>
                  </a:cubicBezTo>
                  <a:cubicBezTo>
                    <a:pt x="5" y="22"/>
                    <a:pt x="5" y="22"/>
                    <a:pt x="5" y="22"/>
                  </a:cubicBezTo>
                  <a:cubicBezTo>
                    <a:pt x="10" y="22"/>
                    <a:pt x="13" y="21"/>
                    <a:pt x="16"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7" name="Rectangle 737"/>
            <p:cNvSpPr>
              <a:spLocks noChangeArrowheads="1"/>
            </p:cNvSpPr>
            <p:nvPr/>
          </p:nvSpPr>
          <p:spPr bwMode="auto">
            <a:xfrm>
              <a:off x="4407" y="3238"/>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8" name="Freeform 738"/>
            <p:cNvSpPr>
              <a:spLocks/>
            </p:cNvSpPr>
            <p:nvPr/>
          </p:nvSpPr>
          <p:spPr bwMode="auto">
            <a:xfrm>
              <a:off x="4425" y="3169"/>
              <a:ext cx="13" cy="14"/>
            </a:xfrm>
            <a:custGeom>
              <a:avLst/>
              <a:gdLst>
                <a:gd name="T0" fmla="*/ 16 w 20"/>
                <a:gd name="T1" fmla="*/ 19 h 22"/>
                <a:gd name="T2" fmla="*/ 20 w 20"/>
                <a:gd name="T3" fmla="*/ 11 h 22"/>
                <a:gd name="T4" fmla="*/ 17 w 20"/>
                <a:gd name="T5" fmla="*/ 2 h 22"/>
                <a:gd name="T6" fmla="*/ 7 w 20"/>
                <a:gd name="T7" fmla="*/ 0 h 22"/>
                <a:gd name="T8" fmla="*/ 0 w 20"/>
                <a:gd name="T9" fmla="*/ 0 h 22"/>
                <a:gd name="T10" fmla="*/ 0 w 20"/>
                <a:gd name="T11" fmla="*/ 22 h 22"/>
                <a:gd name="T12" fmla="*/ 5 w 20"/>
                <a:gd name="T13" fmla="*/ 22 h 22"/>
                <a:gd name="T14" fmla="*/ 16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6" y="19"/>
                  </a:moveTo>
                  <a:cubicBezTo>
                    <a:pt x="19" y="17"/>
                    <a:pt x="20" y="14"/>
                    <a:pt x="20" y="11"/>
                  </a:cubicBezTo>
                  <a:cubicBezTo>
                    <a:pt x="20" y="7"/>
                    <a:pt x="19" y="4"/>
                    <a:pt x="17" y="2"/>
                  </a:cubicBezTo>
                  <a:cubicBezTo>
                    <a:pt x="15" y="1"/>
                    <a:pt x="12" y="0"/>
                    <a:pt x="7" y="0"/>
                  </a:cubicBezTo>
                  <a:cubicBezTo>
                    <a:pt x="0" y="0"/>
                    <a:pt x="0" y="0"/>
                    <a:pt x="0" y="0"/>
                  </a:cubicBezTo>
                  <a:cubicBezTo>
                    <a:pt x="0" y="22"/>
                    <a:pt x="0" y="22"/>
                    <a:pt x="0" y="22"/>
                  </a:cubicBezTo>
                  <a:cubicBezTo>
                    <a:pt x="5" y="22"/>
                    <a:pt x="5" y="22"/>
                    <a:pt x="5" y="22"/>
                  </a:cubicBezTo>
                  <a:cubicBezTo>
                    <a:pt x="10" y="22"/>
                    <a:pt x="14" y="21"/>
                    <a:pt x="16"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9" name="Freeform 739"/>
            <p:cNvSpPr>
              <a:spLocks noEditPoints="1"/>
            </p:cNvSpPr>
            <p:nvPr/>
          </p:nvSpPr>
          <p:spPr bwMode="auto">
            <a:xfrm>
              <a:off x="4301" y="29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0" name="Freeform 740"/>
            <p:cNvSpPr>
              <a:spLocks/>
            </p:cNvSpPr>
            <p:nvPr/>
          </p:nvSpPr>
          <p:spPr bwMode="auto">
            <a:xfrm>
              <a:off x="4499" y="30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1" name="Freeform 741"/>
            <p:cNvSpPr>
              <a:spLocks noEditPoints="1"/>
            </p:cNvSpPr>
            <p:nvPr/>
          </p:nvSpPr>
          <p:spPr bwMode="auto">
            <a:xfrm>
              <a:off x="4386" y="314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2 w 256"/>
                <a:gd name="T11" fmla="*/ 22 h 118"/>
                <a:gd name="T12" fmla="*/ 219 w 256"/>
                <a:gd name="T13" fmla="*/ 22 h 118"/>
                <a:gd name="T14" fmla="*/ 219 w 256"/>
                <a:gd name="T15" fmla="*/ 35 h 118"/>
                <a:gd name="T16" fmla="*/ 198 w 256"/>
                <a:gd name="T17" fmla="*/ 35 h 118"/>
                <a:gd name="T18" fmla="*/ 198 w 256"/>
                <a:gd name="T19" fmla="*/ 96 h 118"/>
                <a:gd name="T20" fmla="*/ 182 w 256"/>
                <a:gd name="T21" fmla="*/ 96 h 118"/>
                <a:gd name="T22" fmla="*/ 182 w 256"/>
                <a:gd name="T23" fmla="*/ 35 h 118"/>
                <a:gd name="T24" fmla="*/ 162 w 256"/>
                <a:gd name="T25" fmla="*/ 35 h 118"/>
                <a:gd name="T26" fmla="*/ 162 w 256"/>
                <a:gd name="T27" fmla="*/ 22 h 118"/>
                <a:gd name="T28" fmla="*/ 104 w 256"/>
                <a:gd name="T29" fmla="*/ 22 h 118"/>
                <a:gd name="T30" fmla="*/ 128 w 256"/>
                <a:gd name="T31" fmla="*/ 22 h 118"/>
                <a:gd name="T32" fmla="*/ 148 w 256"/>
                <a:gd name="T33" fmla="*/ 28 h 118"/>
                <a:gd name="T34" fmla="*/ 155 w 256"/>
                <a:gd name="T35" fmla="*/ 45 h 118"/>
                <a:gd name="T36" fmla="*/ 148 w 256"/>
                <a:gd name="T37" fmla="*/ 63 h 118"/>
                <a:gd name="T38" fmla="*/ 126 w 256"/>
                <a:gd name="T39" fmla="*/ 70 h 118"/>
                <a:gd name="T40" fmla="*/ 120 w 256"/>
                <a:gd name="T41" fmla="*/ 70 h 118"/>
                <a:gd name="T42" fmla="*/ 120 w 256"/>
                <a:gd name="T43" fmla="*/ 96 h 118"/>
                <a:gd name="T44" fmla="*/ 104 w 256"/>
                <a:gd name="T45" fmla="*/ 96 h 118"/>
                <a:gd name="T46" fmla="*/ 104 w 256"/>
                <a:gd name="T47" fmla="*/ 22 h 118"/>
                <a:gd name="T48" fmla="*/ 42 w 256"/>
                <a:gd name="T49" fmla="*/ 22 h 118"/>
                <a:gd name="T50" fmla="*/ 66 w 256"/>
                <a:gd name="T51" fmla="*/ 22 h 118"/>
                <a:gd name="T52" fmla="*/ 87 w 256"/>
                <a:gd name="T53" fmla="*/ 28 h 118"/>
                <a:gd name="T54" fmla="*/ 94 w 256"/>
                <a:gd name="T55" fmla="*/ 45 h 118"/>
                <a:gd name="T56" fmla="*/ 86 w 256"/>
                <a:gd name="T57" fmla="*/ 63 h 118"/>
                <a:gd name="T58" fmla="*/ 65 w 256"/>
                <a:gd name="T59" fmla="*/ 70 h 118"/>
                <a:gd name="T60" fmla="*/ 58 w 256"/>
                <a:gd name="T61" fmla="*/ 70 h 118"/>
                <a:gd name="T62" fmla="*/ 58 w 256"/>
                <a:gd name="T63" fmla="*/ 96 h 118"/>
                <a:gd name="T64" fmla="*/ 42 w 256"/>
                <a:gd name="T65" fmla="*/ 96 h 118"/>
                <a:gd name="T66" fmla="*/ 4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2" y="22"/>
                  </a:moveTo>
                  <a:cubicBezTo>
                    <a:pt x="219" y="22"/>
                    <a:pt x="219" y="22"/>
                    <a:pt x="219" y="22"/>
                  </a:cubicBezTo>
                  <a:cubicBezTo>
                    <a:pt x="219" y="35"/>
                    <a:pt x="219" y="35"/>
                    <a:pt x="219" y="35"/>
                  </a:cubicBezTo>
                  <a:cubicBezTo>
                    <a:pt x="198" y="35"/>
                    <a:pt x="198" y="35"/>
                    <a:pt x="198" y="35"/>
                  </a:cubicBezTo>
                  <a:cubicBezTo>
                    <a:pt x="198" y="96"/>
                    <a:pt x="198" y="96"/>
                    <a:pt x="198" y="96"/>
                  </a:cubicBezTo>
                  <a:cubicBezTo>
                    <a:pt x="182" y="96"/>
                    <a:pt x="182" y="96"/>
                    <a:pt x="182" y="96"/>
                  </a:cubicBezTo>
                  <a:cubicBezTo>
                    <a:pt x="182" y="35"/>
                    <a:pt x="182" y="35"/>
                    <a:pt x="182" y="35"/>
                  </a:cubicBezTo>
                  <a:cubicBezTo>
                    <a:pt x="162" y="35"/>
                    <a:pt x="162" y="35"/>
                    <a:pt x="162" y="35"/>
                  </a:cubicBezTo>
                  <a:lnTo>
                    <a:pt x="162" y="22"/>
                  </a:lnTo>
                  <a:close/>
                  <a:moveTo>
                    <a:pt x="104" y="22"/>
                  </a:moveTo>
                  <a:cubicBezTo>
                    <a:pt x="128" y="22"/>
                    <a:pt x="128" y="22"/>
                    <a:pt x="128" y="22"/>
                  </a:cubicBezTo>
                  <a:cubicBezTo>
                    <a:pt x="137" y="22"/>
                    <a:pt x="144" y="24"/>
                    <a:pt x="148" y="28"/>
                  </a:cubicBezTo>
                  <a:cubicBezTo>
                    <a:pt x="153" y="31"/>
                    <a:pt x="155" y="37"/>
                    <a:pt x="155" y="45"/>
                  </a:cubicBezTo>
                  <a:cubicBezTo>
                    <a:pt x="155" y="53"/>
                    <a:pt x="153" y="59"/>
                    <a:pt x="148" y="63"/>
                  </a:cubicBezTo>
                  <a:cubicBezTo>
                    <a:pt x="143" y="68"/>
                    <a:pt x="136" y="70"/>
                    <a:pt x="126" y="70"/>
                  </a:cubicBezTo>
                  <a:cubicBezTo>
                    <a:pt x="120" y="70"/>
                    <a:pt x="120" y="70"/>
                    <a:pt x="120" y="70"/>
                  </a:cubicBezTo>
                  <a:cubicBezTo>
                    <a:pt x="120" y="96"/>
                    <a:pt x="120" y="96"/>
                    <a:pt x="120" y="96"/>
                  </a:cubicBezTo>
                  <a:cubicBezTo>
                    <a:pt x="104" y="96"/>
                    <a:pt x="104" y="96"/>
                    <a:pt x="104" y="96"/>
                  </a:cubicBezTo>
                  <a:lnTo>
                    <a:pt x="104" y="22"/>
                  </a:lnTo>
                  <a:close/>
                  <a:moveTo>
                    <a:pt x="42" y="22"/>
                  </a:moveTo>
                  <a:cubicBezTo>
                    <a:pt x="66" y="22"/>
                    <a:pt x="66" y="22"/>
                    <a:pt x="66" y="22"/>
                  </a:cubicBezTo>
                  <a:cubicBezTo>
                    <a:pt x="75" y="22"/>
                    <a:pt x="82" y="24"/>
                    <a:pt x="87" y="28"/>
                  </a:cubicBezTo>
                  <a:cubicBezTo>
                    <a:pt x="92" y="31"/>
                    <a:pt x="94" y="37"/>
                    <a:pt x="94" y="45"/>
                  </a:cubicBezTo>
                  <a:cubicBezTo>
                    <a:pt x="94" y="53"/>
                    <a:pt x="91" y="59"/>
                    <a:pt x="86" y="63"/>
                  </a:cubicBezTo>
                  <a:cubicBezTo>
                    <a:pt x="81" y="68"/>
                    <a:pt x="74" y="70"/>
                    <a:pt x="65" y="70"/>
                  </a:cubicBezTo>
                  <a:cubicBezTo>
                    <a:pt x="58" y="70"/>
                    <a:pt x="58" y="70"/>
                    <a:pt x="58" y="70"/>
                  </a:cubicBezTo>
                  <a:cubicBezTo>
                    <a:pt x="58" y="96"/>
                    <a:pt x="58" y="96"/>
                    <a:pt x="58" y="96"/>
                  </a:cubicBezTo>
                  <a:cubicBezTo>
                    <a:pt x="42" y="96"/>
                    <a:pt x="42" y="96"/>
                    <a:pt x="42" y="96"/>
                  </a:cubicBezTo>
                  <a:lnTo>
                    <a:pt x="4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12" name="Group 744"/>
          <p:cNvGrpSpPr>
            <a:grpSpLocks noChangeAspect="1"/>
          </p:cNvGrpSpPr>
          <p:nvPr/>
        </p:nvGrpSpPr>
        <p:grpSpPr bwMode="auto">
          <a:xfrm>
            <a:off x="4187211" y="3357001"/>
            <a:ext cx="367631" cy="367631"/>
            <a:chOff x="4629" y="3018"/>
            <a:chExt cx="340" cy="340"/>
          </a:xfrm>
          <a:solidFill>
            <a:schemeClr val="accent2"/>
          </a:solidFill>
        </p:grpSpPr>
        <p:sp>
          <p:nvSpPr>
            <p:cNvPr id="613" name="Freeform 745"/>
            <p:cNvSpPr>
              <a:spLocks noEditPoints="1"/>
            </p:cNvSpPr>
            <p:nvPr/>
          </p:nvSpPr>
          <p:spPr bwMode="auto">
            <a:xfrm>
              <a:off x="4629" y="3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4" name="Freeform 746"/>
            <p:cNvSpPr>
              <a:spLocks noEditPoints="1"/>
            </p:cNvSpPr>
            <p:nvPr/>
          </p:nvSpPr>
          <p:spPr bwMode="auto">
            <a:xfrm>
              <a:off x="4699" y="3082"/>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80 w 299"/>
                <a:gd name="T47" fmla="*/ 208 h 320"/>
                <a:gd name="T48" fmla="*/ 108 w 299"/>
                <a:gd name="T49" fmla="*/ 201 h 320"/>
                <a:gd name="T50" fmla="*/ 109 w 299"/>
                <a:gd name="T51" fmla="*/ 166 h 320"/>
                <a:gd name="T52" fmla="*/ 64 w 299"/>
                <a:gd name="T53" fmla="*/ 160 h 320"/>
                <a:gd name="T54" fmla="*/ 80 w 299"/>
                <a:gd name="T55" fmla="*/ 234 h 320"/>
                <a:gd name="T56" fmla="*/ 80 w 299"/>
                <a:gd name="T57" fmla="*/ 173 h 320"/>
                <a:gd name="T58" fmla="*/ 97 w 299"/>
                <a:gd name="T59" fmla="*/ 175 h 320"/>
                <a:gd name="T60" fmla="*/ 96 w 299"/>
                <a:gd name="T61" fmla="*/ 192 h 320"/>
                <a:gd name="T62" fmla="*/ 80 w 299"/>
                <a:gd name="T63" fmla="*/ 195 h 320"/>
                <a:gd name="T64" fmla="*/ 142 w 299"/>
                <a:gd name="T65" fmla="*/ 208 h 320"/>
                <a:gd name="T66" fmla="*/ 170 w 299"/>
                <a:gd name="T67" fmla="*/ 201 h 320"/>
                <a:gd name="T68" fmla="*/ 170 w 299"/>
                <a:gd name="T69" fmla="*/ 166 h 320"/>
                <a:gd name="T70" fmla="*/ 126 w 299"/>
                <a:gd name="T71" fmla="*/ 160 h 320"/>
                <a:gd name="T72" fmla="*/ 142 w 299"/>
                <a:gd name="T73" fmla="*/ 234 h 320"/>
                <a:gd name="T74" fmla="*/ 142 w 299"/>
                <a:gd name="T75" fmla="*/ 173 h 320"/>
                <a:gd name="T76" fmla="*/ 158 w 299"/>
                <a:gd name="T77" fmla="*/ 175 h 320"/>
                <a:gd name="T78" fmla="*/ 158 w 299"/>
                <a:gd name="T79" fmla="*/ 192 h 320"/>
                <a:gd name="T80" fmla="*/ 142 w 299"/>
                <a:gd name="T81" fmla="*/ 195 h 320"/>
                <a:gd name="T82" fmla="*/ 204 w 299"/>
                <a:gd name="T83" fmla="*/ 173 h 320"/>
                <a:gd name="T84" fmla="*/ 184 w 299"/>
                <a:gd name="T85" fmla="*/ 160 h 320"/>
                <a:gd name="T86" fmla="*/ 241 w 299"/>
                <a:gd name="T87" fmla="*/ 173 h 320"/>
                <a:gd name="T88" fmla="*/ 220 w 299"/>
                <a:gd name="T89" fmla="*/ 234 h 320"/>
                <a:gd name="T90" fmla="*/ 204 w 299"/>
                <a:gd name="T91" fmla="*/ 17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80" y="208"/>
                  </a:moveTo>
                  <a:cubicBezTo>
                    <a:pt x="87" y="208"/>
                    <a:pt x="87" y="208"/>
                    <a:pt x="87" y="208"/>
                  </a:cubicBezTo>
                  <a:cubicBezTo>
                    <a:pt x="96" y="208"/>
                    <a:pt x="103" y="206"/>
                    <a:pt x="108" y="201"/>
                  </a:cubicBezTo>
                  <a:cubicBezTo>
                    <a:pt x="113" y="197"/>
                    <a:pt x="116" y="191"/>
                    <a:pt x="116" y="183"/>
                  </a:cubicBezTo>
                  <a:cubicBezTo>
                    <a:pt x="116" y="175"/>
                    <a:pt x="114" y="169"/>
                    <a:pt x="109" y="166"/>
                  </a:cubicBezTo>
                  <a:cubicBezTo>
                    <a:pt x="104" y="162"/>
                    <a:pt x="97" y="160"/>
                    <a:pt x="88" y="160"/>
                  </a:cubicBezTo>
                  <a:cubicBezTo>
                    <a:pt x="64" y="160"/>
                    <a:pt x="64" y="160"/>
                    <a:pt x="64" y="160"/>
                  </a:cubicBezTo>
                  <a:cubicBezTo>
                    <a:pt x="64" y="234"/>
                    <a:pt x="64" y="234"/>
                    <a:pt x="64" y="234"/>
                  </a:cubicBezTo>
                  <a:cubicBezTo>
                    <a:pt x="80" y="234"/>
                    <a:pt x="80" y="234"/>
                    <a:pt x="80" y="234"/>
                  </a:cubicBezTo>
                  <a:lnTo>
                    <a:pt x="80" y="208"/>
                  </a:lnTo>
                  <a:close/>
                  <a:moveTo>
                    <a:pt x="80" y="173"/>
                  </a:moveTo>
                  <a:cubicBezTo>
                    <a:pt x="87" y="173"/>
                    <a:pt x="87" y="173"/>
                    <a:pt x="87" y="173"/>
                  </a:cubicBezTo>
                  <a:cubicBezTo>
                    <a:pt x="92" y="173"/>
                    <a:pt x="95" y="174"/>
                    <a:pt x="97" y="175"/>
                  </a:cubicBezTo>
                  <a:cubicBezTo>
                    <a:pt x="99" y="177"/>
                    <a:pt x="100" y="180"/>
                    <a:pt x="100" y="184"/>
                  </a:cubicBezTo>
                  <a:cubicBezTo>
                    <a:pt x="100" y="187"/>
                    <a:pt x="99" y="190"/>
                    <a:pt x="96" y="192"/>
                  </a:cubicBezTo>
                  <a:cubicBezTo>
                    <a:pt x="94" y="194"/>
                    <a:pt x="90" y="195"/>
                    <a:pt x="85" y="195"/>
                  </a:cubicBezTo>
                  <a:cubicBezTo>
                    <a:pt x="80" y="195"/>
                    <a:pt x="80" y="195"/>
                    <a:pt x="80" y="195"/>
                  </a:cubicBezTo>
                  <a:lnTo>
                    <a:pt x="80" y="173"/>
                  </a:lnTo>
                  <a:close/>
                  <a:moveTo>
                    <a:pt x="142" y="208"/>
                  </a:moveTo>
                  <a:cubicBezTo>
                    <a:pt x="148" y="208"/>
                    <a:pt x="148" y="208"/>
                    <a:pt x="148" y="208"/>
                  </a:cubicBezTo>
                  <a:cubicBezTo>
                    <a:pt x="158" y="208"/>
                    <a:pt x="165" y="206"/>
                    <a:pt x="170" y="201"/>
                  </a:cubicBezTo>
                  <a:cubicBezTo>
                    <a:pt x="175" y="197"/>
                    <a:pt x="177" y="191"/>
                    <a:pt x="177" y="183"/>
                  </a:cubicBezTo>
                  <a:cubicBezTo>
                    <a:pt x="177" y="175"/>
                    <a:pt x="175" y="169"/>
                    <a:pt x="170" y="166"/>
                  </a:cubicBezTo>
                  <a:cubicBezTo>
                    <a:pt x="166" y="162"/>
                    <a:pt x="159" y="160"/>
                    <a:pt x="150" y="160"/>
                  </a:cubicBezTo>
                  <a:cubicBezTo>
                    <a:pt x="126" y="160"/>
                    <a:pt x="126" y="160"/>
                    <a:pt x="126" y="160"/>
                  </a:cubicBezTo>
                  <a:cubicBezTo>
                    <a:pt x="126" y="234"/>
                    <a:pt x="126" y="234"/>
                    <a:pt x="126" y="234"/>
                  </a:cubicBezTo>
                  <a:cubicBezTo>
                    <a:pt x="142" y="234"/>
                    <a:pt x="142" y="234"/>
                    <a:pt x="142" y="234"/>
                  </a:cubicBezTo>
                  <a:lnTo>
                    <a:pt x="142" y="208"/>
                  </a:lnTo>
                  <a:close/>
                  <a:moveTo>
                    <a:pt x="142" y="173"/>
                  </a:moveTo>
                  <a:cubicBezTo>
                    <a:pt x="149" y="173"/>
                    <a:pt x="149" y="173"/>
                    <a:pt x="149" y="173"/>
                  </a:cubicBezTo>
                  <a:cubicBezTo>
                    <a:pt x="153" y="173"/>
                    <a:pt x="156" y="174"/>
                    <a:pt x="158" y="175"/>
                  </a:cubicBezTo>
                  <a:cubicBezTo>
                    <a:pt x="160" y="177"/>
                    <a:pt x="161" y="180"/>
                    <a:pt x="161" y="184"/>
                  </a:cubicBezTo>
                  <a:cubicBezTo>
                    <a:pt x="161" y="187"/>
                    <a:pt x="160" y="190"/>
                    <a:pt x="158" y="192"/>
                  </a:cubicBezTo>
                  <a:cubicBezTo>
                    <a:pt x="155" y="194"/>
                    <a:pt x="152" y="195"/>
                    <a:pt x="147" y="195"/>
                  </a:cubicBezTo>
                  <a:cubicBezTo>
                    <a:pt x="142" y="195"/>
                    <a:pt x="142" y="195"/>
                    <a:pt x="142" y="195"/>
                  </a:cubicBezTo>
                  <a:lnTo>
                    <a:pt x="142" y="173"/>
                  </a:lnTo>
                  <a:close/>
                  <a:moveTo>
                    <a:pt x="204" y="173"/>
                  </a:moveTo>
                  <a:cubicBezTo>
                    <a:pt x="184" y="173"/>
                    <a:pt x="184" y="173"/>
                    <a:pt x="184" y="173"/>
                  </a:cubicBezTo>
                  <a:cubicBezTo>
                    <a:pt x="184" y="160"/>
                    <a:pt x="184" y="160"/>
                    <a:pt x="184" y="160"/>
                  </a:cubicBezTo>
                  <a:cubicBezTo>
                    <a:pt x="241" y="160"/>
                    <a:pt x="241" y="160"/>
                    <a:pt x="241" y="160"/>
                  </a:cubicBezTo>
                  <a:cubicBezTo>
                    <a:pt x="241" y="173"/>
                    <a:pt x="241" y="173"/>
                    <a:pt x="241" y="173"/>
                  </a:cubicBezTo>
                  <a:cubicBezTo>
                    <a:pt x="220" y="173"/>
                    <a:pt x="220" y="173"/>
                    <a:pt x="220" y="173"/>
                  </a:cubicBezTo>
                  <a:cubicBezTo>
                    <a:pt x="220" y="234"/>
                    <a:pt x="220" y="234"/>
                    <a:pt x="220" y="234"/>
                  </a:cubicBezTo>
                  <a:cubicBezTo>
                    <a:pt x="204" y="234"/>
                    <a:pt x="204" y="234"/>
                    <a:pt x="204" y="234"/>
                  </a:cubicBezTo>
                  <a:lnTo>
                    <a:pt x="204" y="1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15" name="Group 749"/>
          <p:cNvGrpSpPr>
            <a:grpSpLocks noChangeAspect="1"/>
          </p:cNvGrpSpPr>
          <p:nvPr/>
        </p:nvGrpSpPr>
        <p:grpSpPr bwMode="auto">
          <a:xfrm>
            <a:off x="4607181" y="3357001"/>
            <a:ext cx="374119" cy="373038"/>
            <a:chOff x="4963" y="3130"/>
            <a:chExt cx="346" cy="345"/>
          </a:xfrm>
          <a:solidFill>
            <a:schemeClr val="accent2"/>
          </a:solidFill>
        </p:grpSpPr>
        <p:sp>
          <p:nvSpPr>
            <p:cNvPr id="616" name="Rectangle 750"/>
            <p:cNvSpPr>
              <a:spLocks noChangeArrowheads="1"/>
            </p:cNvSpPr>
            <p:nvPr/>
          </p:nvSpPr>
          <p:spPr bwMode="auto">
            <a:xfrm>
              <a:off x="5075" y="3378"/>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7" name="Freeform 751"/>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8" name="Freeform 752"/>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9" name="Freeform 753"/>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0" name="Freeform 754"/>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1" name="Group 757"/>
          <p:cNvGrpSpPr>
            <a:grpSpLocks noChangeAspect="1"/>
          </p:cNvGrpSpPr>
          <p:nvPr/>
        </p:nvGrpSpPr>
        <p:grpSpPr bwMode="auto">
          <a:xfrm>
            <a:off x="5033639" y="3357001"/>
            <a:ext cx="367631" cy="367631"/>
            <a:chOff x="5285" y="3084"/>
            <a:chExt cx="340" cy="340"/>
          </a:xfrm>
          <a:solidFill>
            <a:schemeClr val="accent2"/>
          </a:solidFill>
        </p:grpSpPr>
        <p:sp>
          <p:nvSpPr>
            <p:cNvPr id="622" name="Freeform 758"/>
            <p:cNvSpPr>
              <a:spLocks noEditPoints="1"/>
            </p:cNvSpPr>
            <p:nvPr/>
          </p:nvSpPr>
          <p:spPr bwMode="auto">
            <a:xfrm>
              <a:off x="5285" y="30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3" name="Freeform 759"/>
            <p:cNvSpPr>
              <a:spLocks noEditPoints="1"/>
            </p:cNvSpPr>
            <p:nvPr/>
          </p:nvSpPr>
          <p:spPr bwMode="auto">
            <a:xfrm>
              <a:off x="5355" y="3148"/>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24" name="Freeform 763"/>
          <p:cNvSpPr>
            <a:spLocks noChangeAspect="1" noEditPoints="1"/>
          </p:cNvSpPr>
          <p:nvPr/>
        </p:nvSpPr>
        <p:spPr bwMode="auto">
          <a:xfrm>
            <a:off x="5453609" y="3357001"/>
            <a:ext cx="367631" cy="367631"/>
          </a:xfrm>
          <a:custGeom>
            <a:avLst/>
            <a:gdLst>
              <a:gd name="T0" fmla="*/ 160 w 512"/>
              <a:gd name="T1" fmla="*/ 213 h 512"/>
              <a:gd name="T2" fmla="*/ 277 w 512"/>
              <a:gd name="T3" fmla="*/ 117 h 512"/>
              <a:gd name="T4" fmla="*/ 288 w 512"/>
              <a:gd name="T5" fmla="*/ 192 h 512"/>
              <a:gd name="T6" fmla="*/ 352 w 512"/>
              <a:gd name="T7" fmla="*/ 213 h 512"/>
              <a:gd name="T8" fmla="*/ 352 w 512"/>
              <a:gd name="T9" fmla="*/ 394 h 512"/>
              <a:gd name="T10" fmla="*/ 160 w 512"/>
              <a:gd name="T11" fmla="*/ 373 h 512"/>
              <a:gd name="T12" fmla="*/ 298 w 512"/>
              <a:gd name="T13" fmla="*/ 132 h 512"/>
              <a:gd name="T14" fmla="*/ 337 w 512"/>
              <a:gd name="T15" fmla="*/ 170 h 512"/>
              <a:gd name="T16" fmla="*/ 298 w 512"/>
              <a:gd name="T17" fmla="*/ 288 h 512"/>
              <a:gd name="T18" fmla="*/ 299 w 512"/>
              <a:gd name="T19" fmla="*/ 271 h 512"/>
              <a:gd name="T20" fmla="*/ 282 w 512"/>
              <a:gd name="T21" fmla="*/ 269 h 512"/>
              <a:gd name="T22" fmla="*/ 287 w 512"/>
              <a:gd name="T23" fmla="*/ 291 h 512"/>
              <a:gd name="T24" fmla="*/ 512 w 512"/>
              <a:gd name="T25" fmla="*/ 256 h 512"/>
              <a:gd name="T26" fmla="*/ 0 w 512"/>
              <a:gd name="T27" fmla="*/ 256 h 512"/>
              <a:gd name="T28" fmla="*/ 512 w 512"/>
              <a:gd name="T29" fmla="*/ 256 h 512"/>
              <a:gd name="T30" fmla="*/ 394 w 512"/>
              <a:gd name="T31" fmla="*/ 213 h 512"/>
              <a:gd name="T32" fmla="*/ 373 w 512"/>
              <a:gd name="T33" fmla="*/ 181 h 512"/>
              <a:gd name="T34" fmla="*/ 370 w 512"/>
              <a:gd name="T35" fmla="*/ 173 h 512"/>
              <a:gd name="T36" fmla="*/ 292 w 512"/>
              <a:gd name="T37" fmla="*/ 96 h 512"/>
              <a:gd name="T38" fmla="*/ 149 w 512"/>
              <a:gd name="T39" fmla="*/ 96 h 512"/>
              <a:gd name="T40" fmla="*/ 138 w 512"/>
              <a:gd name="T41" fmla="*/ 213 h 512"/>
              <a:gd name="T42" fmla="*/ 106 w 512"/>
              <a:gd name="T43" fmla="*/ 224 h 512"/>
              <a:gd name="T44" fmla="*/ 117 w 512"/>
              <a:gd name="T45" fmla="*/ 373 h 512"/>
              <a:gd name="T46" fmla="*/ 138 w 512"/>
              <a:gd name="T47" fmla="*/ 405 h 512"/>
              <a:gd name="T48" fmla="*/ 362 w 512"/>
              <a:gd name="T49" fmla="*/ 416 h 512"/>
              <a:gd name="T50" fmla="*/ 373 w 512"/>
              <a:gd name="T51" fmla="*/ 373 h 512"/>
              <a:gd name="T52" fmla="*/ 405 w 512"/>
              <a:gd name="T53" fmla="*/ 362 h 512"/>
              <a:gd name="T54" fmla="*/ 128 w 512"/>
              <a:gd name="T55" fmla="*/ 234 h 512"/>
              <a:gd name="T56" fmla="*/ 384 w 512"/>
              <a:gd name="T57" fmla="*/ 352 h 512"/>
              <a:gd name="T58" fmla="*/ 128 w 512"/>
              <a:gd name="T59" fmla="*/ 234 h 512"/>
              <a:gd name="T60" fmla="*/ 282 w 512"/>
              <a:gd name="T61" fmla="*/ 330 h 512"/>
              <a:gd name="T62" fmla="*/ 289 w 512"/>
              <a:gd name="T63" fmla="*/ 304 h 512"/>
              <a:gd name="T64" fmla="*/ 318 w 512"/>
              <a:gd name="T65" fmla="*/ 279 h 512"/>
              <a:gd name="T66" fmla="*/ 290 w 512"/>
              <a:gd name="T67" fmla="*/ 256 h 512"/>
              <a:gd name="T68" fmla="*/ 266 w 512"/>
              <a:gd name="T69" fmla="*/ 330 h 512"/>
              <a:gd name="T70" fmla="*/ 254 w 512"/>
              <a:gd name="T71" fmla="*/ 330 h 512"/>
              <a:gd name="T72" fmla="*/ 238 w 512"/>
              <a:gd name="T73" fmla="*/ 256 h 512"/>
              <a:gd name="T74" fmla="*/ 170 w 512"/>
              <a:gd name="T75" fmla="*/ 330 h 512"/>
              <a:gd name="T76" fmla="*/ 226 w 512"/>
              <a:gd name="T77" fmla="*/ 317 h 512"/>
              <a:gd name="T78" fmla="*/ 225 w 512"/>
              <a:gd name="T79" fmla="*/ 266 h 512"/>
              <a:gd name="T80" fmla="*/ 171 w 512"/>
              <a:gd name="T81" fmla="*/ 256 h 512"/>
              <a:gd name="T82" fmla="*/ 206 w 512"/>
              <a:gd name="T83" fmla="*/ 269 h 512"/>
              <a:gd name="T84" fmla="*/ 170 w 512"/>
              <a:gd name="T8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52" y="213"/>
                </a:moveTo>
                <a:cubicBezTo>
                  <a:pt x="160" y="213"/>
                  <a:pt x="160" y="213"/>
                  <a:pt x="160" y="213"/>
                </a:cubicBezTo>
                <a:cubicBezTo>
                  <a:pt x="160" y="117"/>
                  <a:pt x="160" y="117"/>
                  <a:pt x="160" y="117"/>
                </a:cubicBezTo>
                <a:cubicBezTo>
                  <a:pt x="277" y="117"/>
                  <a:pt x="277" y="117"/>
                  <a:pt x="277" y="117"/>
                </a:cubicBezTo>
                <a:cubicBezTo>
                  <a:pt x="277" y="181"/>
                  <a:pt x="277" y="181"/>
                  <a:pt x="277" y="181"/>
                </a:cubicBezTo>
                <a:cubicBezTo>
                  <a:pt x="277" y="187"/>
                  <a:pt x="282" y="192"/>
                  <a:pt x="288" y="192"/>
                </a:cubicBezTo>
                <a:cubicBezTo>
                  <a:pt x="352" y="192"/>
                  <a:pt x="352" y="192"/>
                  <a:pt x="352" y="192"/>
                </a:cubicBezTo>
                <a:lnTo>
                  <a:pt x="352" y="213"/>
                </a:lnTo>
                <a:close/>
                <a:moveTo>
                  <a:pt x="160" y="394"/>
                </a:moveTo>
                <a:cubicBezTo>
                  <a:pt x="352" y="394"/>
                  <a:pt x="352" y="394"/>
                  <a:pt x="352" y="394"/>
                </a:cubicBezTo>
                <a:cubicBezTo>
                  <a:pt x="352" y="373"/>
                  <a:pt x="352" y="373"/>
                  <a:pt x="352" y="373"/>
                </a:cubicBezTo>
                <a:cubicBezTo>
                  <a:pt x="160" y="373"/>
                  <a:pt x="160" y="373"/>
                  <a:pt x="160" y="373"/>
                </a:cubicBezTo>
                <a:lnTo>
                  <a:pt x="160" y="394"/>
                </a:lnTo>
                <a:close/>
                <a:moveTo>
                  <a:pt x="298" y="132"/>
                </a:moveTo>
                <a:cubicBezTo>
                  <a:pt x="298" y="170"/>
                  <a:pt x="298" y="170"/>
                  <a:pt x="298" y="170"/>
                </a:cubicBezTo>
                <a:cubicBezTo>
                  <a:pt x="337" y="170"/>
                  <a:pt x="337" y="170"/>
                  <a:pt x="337" y="170"/>
                </a:cubicBezTo>
                <a:lnTo>
                  <a:pt x="298" y="132"/>
                </a:lnTo>
                <a:close/>
                <a:moveTo>
                  <a:pt x="298" y="288"/>
                </a:moveTo>
                <a:cubicBezTo>
                  <a:pt x="301" y="286"/>
                  <a:pt x="302" y="283"/>
                  <a:pt x="302" y="280"/>
                </a:cubicBezTo>
                <a:cubicBezTo>
                  <a:pt x="302" y="276"/>
                  <a:pt x="301" y="273"/>
                  <a:pt x="299" y="271"/>
                </a:cubicBezTo>
                <a:cubicBezTo>
                  <a:pt x="297" y="270"/>
                  <a:pt x="294" y="269"/>
                  <a:pt x="289" y="269"/>
                </a:cubicBezTo>
                <a:cubicBezTo>
                  <a:pt x="282" y="269"/>
                  <a:pt x="282" y="269"/>
                  <a:pt x="282" y="269"/>
                </a:cubicBezTo>
                <a:cubicBezTo>
                  <a:pt x="282" y="291"/>
                  <a:pt x="282" y="291"/>
                  <a:pt x="282" y="291"/>
                </a:cubicBezTo>
                <a:cubicBezTo>
                  <a:pt x="287" y="291"/>
                  <a:pt x="287" y="291"/>
                  <a:pt x="287" y="291"/>
                </a:cubicBezTo>
                <a:cubicBezTo>
                  <a:pt x="292" y="291"/>
                  <a:pt x="296" y="290"/>
                  <a:pt x="298"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24"/>
                </a:moveTo>
                <a:cubicBezTo>
                  <a:pt x="405" y="218"/>
                  <a:pt x="400" y="213"/>
                  <a:pt x="394" y="213"/>
                </a:cubicBezTo>
                <a:cubicBezTo>
                  <a:pt x="373" y="213"/>
                  <a:pt x="373" y="213"/>
                  <a:pt x="373" y="213"/>
                </a:cubicBezTo>
                <a:cubicBezTo>
                  <a:pt x="373" y="181"/>
                  <a:pt x="373" y="181"/>
                  <a:pt x="373" y="181"/>
                </a:cubicBez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213"/>
                  <a:pt x="138" y="213"/>
                  <a:pt x="138" y="213"/>
                </a:cubicBezTo>
                <a:cubicBezTo>
                  <a:pt x="117" y="213"/>
                  <a:pt x="117" y="213"/>
                  <a:pt x="117" y="213"/>
                </a:cubicBezTo>
                <a:cubicBezTo>
                  <a:pt x="111" y="213"/>
                  <a:pt x="106" y="218"/>
                  <a:pt x="106" y="224"/>
                </a:cubicBezTo>
                <a:cubicBezTo>
                  <a:pt x="106" y="362"/>
                  <a:pt x="106" y="362"/>
                  <a:pt x="106" y="362"/>
                </a:cubicBezTo>
                <a:cubicBezTo>
                  <a:pt x="106" y="368"/>
                  <a:pt x="111" y="373"/>
                  <a:pt x="117"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373"/>
                  <a:pt x="373" y="373"/>
                  <a:pt x="373" y="373"/>
                </a:cubicBezTo>
                <a:cubicBezTo>
                  <a:pt x="394" y="373"/>
                  <a:pt x="394" y="373"/>
                  <a:pt x="394" y="373"/>
                </a:cubicBezTo>
                <a:cubicBezTo>
                  <a:pt x="400" y="373"/>
                  <a:pt x="405" y="368"/>
                  <a:pt x="405" y="362"/>
                </a:cubicBezTo>
                <a:lnTo>
                  <a:pt x="405" y="224"/>
                </a:lnTo>
                <a:close/>
                <a:moveTo>
                  <a:pt x="128" y="234"/>
                </a:moveTo>
                <a:cubicBezTo>
                  <a:pt x="384" y="234"/>
                  <a:pt x="384" y="234"/>
                  <a:pt x="384" y="234"/>
                </a:cubicBezTo>
                <a:cubicBezTo>
                  <a:pt x="384" y="352"/>
                  <a:pt x="384" y="352"/>
                  <a:pt x="384" y="352"/>
                </a:cubicBezTo>
                <a:cubicBezTo>
                  <a:pt x="128" y="352"/>
                  <a:pt x="128" y="352"/>
                  <a:pt x="128" y="352"/>
                </a:cubicBezTo>
                <a:lnTo>
                  <a:pt x="128" y="234"/>
                </a:lnTo>
                <a:close/>
                <a:moveTo>
                  <a:pt x="266" y="330"/>
                </a:moveTo>
                <a:cubicBezTo>
                  <a:pt x="282" y="330"/>
                  <a:pt x="282" y="330"/>
                  <a:pt x="282" y="330"/>
                </a:cubicBezTo>
                <a:cubicBezTo>
                  <a:pt x="282" y="304"/>
                  <a:pt x="282" y="304"/>
                  <a:pt x="282" y="304"/>
                </a:cubicBezTo>
                <a:cubicBezTo>
                  <a:pt x="289" y="304"/>
                  <a:pt x="289" y="304"/>
                  <a:pt x="289" y="304"/>
                </a:cubicBezTo>
                <a:cubicBezTo>
                  <a:pt x="298" y="304"/>
                  <a:pt x="305" y="302"/>
                  <a:pt x="310" y="297"/>
                </a:cubicBezTo>
                <a:cubicBezTo>
                  <a:pt x="315" y="293"/>
                  <a:pt x="318" y="287"/>
                  <a:pt x="318" y="279"/>
                </a:cubicBezTo>
                <a:cubicBezTo>
                  <a:pt x="318" y="271"/>
                  <a:pt x="315" y="265"/>
                  <a:pt x="311" y="262"/>
                </a:cubicBezTo>
                <a:cubicBezTo>
                  <a:pt x="306" y="258"/>
                  <a:pt x="299" y="256"/>
                  <a:pt x="290" y="256"/>
                </a:cubicBezTo>
                <a:cubicBezTo>
                  <a:pt x="266" y="256"/>
                  <a:pt x="266" y="256"/>
                  <a:pt x="266" y="256"/>
                </a:cubicBezTo>
                <a:lnTo>
                  <a:pt x="266" y="330"/>
                </a:lnTo>
                <a:close/>
                <a:moveTo>
                  <a:pt x="238" y="330"/>
                </a:moveTo>
                <a:cubicBezTo>
                  <a:pt x="254" y="330"/>
                  <a:pt x="254" y="330"/>
                  <a:pt x="254" y="330"/>
                </a:cubicBezTo>
                <a:cubicBezTo>
                  <a:pt x="254" y="256"/>
                  <a:pt x="254" y="256"/>
                  <a:pt x="254" y="256"/>
                </a:cubicBezTo>
                <a:cubicBezTo>
                  <a:pt x="238" y="256"/>
                  <a:pt x="238" y="256"/>
                  <a:pt x="238" y="256"/>
                </a:cubicBezTo>
                <a:lnTo>
                  <a:pt x="238" y="330"/>
                </a:lnTo>
                <a:close/>
                <a:moveTo>
                  <a:pt x="170" y="330"/>
                </a:moveTo>
                <a:cubicBezTo>
                  <a:pt x="226" y="330"/>
                  <a:pt x="226" y="330"/>
                  <a:pt x="226" y="330"/>
                </a:cubicBezTo>
                <a:cubicBezTo>
                  <a:pt x="226" y="317"/>
                  <a:pt x="226" y="317"/>
                  <a:pt x="226" y="317"/>
                </a:cubicBezTo>
                <a:cubicBezTo>
                  <a:pt x="189" y="317"/>
                  <a:pt x="189" y="317"/>
                  <a:pt x="189" y="317"/>
                </a:cubicBezTo>
                <a:cubicBezTo>
                  <a:pt x="225" y="266"/>
                  <a:pt x="225" y="266"/>
                  <a:pt x="225" y="266"/>
                </a:cubicBezTo>
                <a:cubicBezTo>
                  <a:pt x="225" y="256"/>
                  <a:pt x="225" y="256"/>
                  <a:pt x="225" y="256"/>
                </a:cubicBezTo>
                <a:cubicBezTo>
                  <a:pt x="171" y="256"/>
                  <a:pt x="171" y="256"/>
                  <a:pt x="171" y="256"/>
                </a:cubicBezTo>
                <a:cubicBezTo>
                  <a:pt x="171" y="269"/>
                  <a:pt x="171" y="269"/>
                  <a:pt x="171" y="269"/>
                </a:cubicBezTo>
                <a:cubicBezTo>
                  <a:pt x="206" y="269"/>
                  <a:pt x="206" y="269"/>
                  <a:pt x="206" y="269"/>
                </a:cubicBezTo>
                <a:cubicBezTo>
                  <a:pt x="170" y="320"/>
                  <a:pt x="170" y="320"/>
                  <a:pt x="170" y="320"/>
                </a:cubicBezTo>
                <a:lnTo>
                  <a:pt x="170" y="33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25" name="Group 766"/>
          <p:cNvGrpSpPr>
            <a:grpSpLocks noChangeAspect="1"/>
          </p:cNvGrpSpPr>
          <p:nvPr/>
        </p:nvGrpSpPr>
        <p:grpSpPr bwMode="auto">
          <a:xfrm>
            <a:off x="5873579" y="3357001"/>
            <a:ext cx="367631" cy="367631"/>
            <a:chOff x="6068" y="3313"/>
            <a:chExt cx="340" cy="340"/>
          </a:xfrm>
          <a:solidFill>
            <a:schemeClr val="accent2"/>
          </a:solidFill>
        </p:grpSpPr>
        <p:sp>
          <p:nvSpPr>
            <p:cNvPr id="626" name="Freeform 767"/>
            <p:cNvSpPr>
              <a:spLocks noEditPoints="1"/>
            </p:cNvSpPr>
            <p:nvPr/>
          </p:nvSpPr>
          <p:spPr bwMode="auto">
            <a:xfrm>
              <a:off x="6068" y="33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7" name="Freeform 768"/>
            <p:cNvSpPr>
              <a:spLocks noEditPoints="1"/>
            </p:cNvSpPr>
            <p:nvPr/>
          </p:nvSpPr>
          <p:spPr bwMode="auto">
            <a:xfrm>
              <a:off x="6138" y="3377"/>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76 w 299"/>
                <a:gd name="T47" fmla="*/ 208 h 320"/>
                <a:gd name="T48" fmla="*/ 204 w 299"/>
                <a:gd name="T49" fmla="*/ 201 h 320"/>
                <a:gd name="T50" fmla="*/ 205 w 299"/>
                <a:gd name="T51" fmla="*/ 166 h 320"/>
                <a:gd name="T52" fmla="*/ 160 w 299"/>
                <a:gd name="T53" fmla="*/ 160 h 320"/>
                <a:gd name="T54" fmla="*/ 176 w 299"/>
                <a:gd name="T55" fmla="*/ 234 h 320"/>
                <a:gd name="T56" fmla="*/ 176 w 299"/>
                <a:gd name="T57" fmla="*/ 173 h 320"/>
                <a:gd name="T58" fmla="*/ 193 w 299"/>
                <a:gd name="T59" fmla="*/ 175 h 320"/>
                <a:gd name="T60" fmla="*/ 192 w 299"/>
                <a:gd name="T61" fmla="*/ 192 h 320"/>
                <a:gd name="T62" fmla="*/ 176 w 299"/>
                <a:gd name="T63" fmla="*/ 195 h 320"/>
                <a:gd name="T64" fmla="*/ 148 w 299"/>
                <a:gd name="T65" fmla="*/ 234 h 320"/>
                <a:gd name="T66" fmla="*/ 132 w 299"/>
                <a:gd name="T67" fmla="*/ 160 h 320"/>
                <a:gd name="T68" fmla="*/ 148 w 299"/>
                <a:gd name="T69" fmla="*/ 234 h 320"/>
                <a:gd name="T70" fmla="*/ 64 w 299"/>
                <a:gd name="T71" fmla="*/ 234 h 320"/>
                <a:gd name="T72" fmla="*/ 100 w 299"/>
                <a:gd name="T73" fmla="*/ 173 h 320"/>
                <a:gd name="T74" fmla="*/ 65 w 299"/>
                <a:gd name="T75" fmla="*/ 160 h 320"/>
                <a:gd name="T76" fmla="*/ 119 w 299"/>
                <a:gd name="T77" fmla="*/ 170 h 320"/>
                <a:gd name="T78" fmla="*/ 120 w 299"/>
                <a:gd name="T79"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76" y="208"/>
                  </a:moveTo>
                  <a:cubicBezTo>
                    <a:pt x="183" y="208"/>
                    <a:pt x="183" y="208"/>
                    <a:pt x="183" y="208"/>
                  </a:cubicBezTo>
                  <a:cubicBezTo>
                    <a:pt x="192" y="208"/>
                    <a:pt x="199" y="206"/>
                    <a:pt x="204" y="201"/>
                  </a:cubicBezTo>
                  <a:cubicBezTo>
                    <a:pt x="209" y="197"/>
                    <a:pt x="212" y="191"/>
                    <a:pt x="212" y="183"/>
                  </a:cubicBezTo>
                  <a:cubicBezTo>
                    <a:pt x="212" y="175"/>
                    <a:pt x="209" y="169"/>
                    <a:pt x="205" y="166"/>
                  </a:cubicBezTo>
                  <a:cubicBezTo>
                    <a:pt x="200" y="162"/>
                    <a:pt x="193" y="160"/>
                    <a:pt x="184" y="160"/>
                  </a:cubicBezTo>
                  <a:cubicBezTo>
                    <a:pt x="160" y="160"/>
                    <a:pt x="160" y="160"/>
                    <a:pt x="160" y="160"/>
                  </a:cubicBezTo>
                  <a:cubicBezTo>
                    <a:pt x="160" y="234"/>
                    <a:pt x="160" y="234"/>
                    <a:pt x="160" y="234"/>
                  </a:cubicBezTo>
                  <a:cubicBezTo>
                    <a:pt x="176" y="234"/>
                    <a:pt x="176" y="234"/>
                    <a:pt x="176" y="234"/>
                  </a:cubicBezTo>
                  <a:lnTo>
                    <a:pt x="176" y="208"/>
                  </a:lnTo>
                  <a:close/>
                  <a:moveTo>
                    <a:pt x="176" y="173"/>
                  </a:moveTo>
                  <a:cubicBezTo>
                    <a:pt x="183" y="173"/>
                    <a:pt x="183" y="173"/>
                    <a:pt x="183" y="173"/>
                  </a:cubicBezTo>
                  <a:cubicBezTo>
                    <a:pt x="188" y="173"/>
                    <a:pt x="191" y="174"/>
                    <a:pt x="193" y="175"/>
                  </a:cubicBezTo>
                  <a:cubicBezTo>
                    <a:pt x="195" y="177"/>
                    <a:pt x="196" y="180"/>
                    <a:pt x="196" y="184"/>
                  </a:cubicBezTo>
                  <a:cubicBezTo>
                    <a:pt x="196" y="187"/>
                    <a:pt x="195" y="190"/>
                    <a:pt x="192" y="192"/>
                  </a:cubicBezTo>
                  <a:cubicBezTo>
                    <a:pt x="190" y="194"/>
                    <a:pt x="186" y="195"/>
                    <a:pt x="181" y="195"/>
                  </a:cubicBezTo>
                  <a:cubicBezTo>
                    <a:pt x="176" y="195"/>
                    <a:pt x="176" y="195"/>
                    <a:pt x="176" y="195"/>
                  </a:cubicBezTo>
                  <a:lnTo>
                    <a:pt x="176" y="173"/>
                  </a:lnTo>
                  <a:close/>
                  <a:moveTo>
                    <a:pt x="148" y="234"/>
                  </a:moveTo>
                  <a:cubicBezTo>
                    <a:pt x="132" y="234"/>
                    <a:pt x="132" y="234"/>
                    <a:pt x="132" y="234"/>
                  </a:cubicBezTo>
                  <a:cubicBezTo>
                    <a:pt x="132" y="160"/>
                    <a:pt x="132" y="160"/>
                    <a:pt x="132" y="160"/>
                  </a:cubicBezTo>
                  <a:cubicBezTo>
                    <a:pt x="148" y="160"/>
                    <a:pt x="148" y="160"/>
                    <a:pt x="148" y="160"/>
                  </a:cubicBezTo>
                  <a:lnTo>
                    <a:pt x="148" y="234"/>
                  </a:lnTo>
                  <a:close/>
                  <a:moveTo>
                    <a:pt x="120" y="234"/>
                  </a:moveTo>
                  <a:cubicBezTo>
                    <a:pt x="64" y="234"/>
                    <a:pt x="64" y="234"/>
                    <a:pt x="64" y="234"/>
                  </a:cubicBezTo>
                  <a:cubicBezTo>
                    <a:pt x="64" y="224"/>
                    <a:pt x="64" y="224"/>
                    <a:pt x="64" y="224"/>
                  </a:cubicBezTo>
                  <a:cubicBezTo>
                    <a:pt x="100" y="173"/>
                    <a:pt x="100" y="173"/>
                    <a:pt x="100" y="173"/>
                  </a:cubicBezTo>
                  <a:cubicBezTo>
                    <a:pt x="65" y="173"/>
                    <a:pt x="65" y="173"/>
                    <a:pt x="65" y="173"/>
                  </a:cubicBezTo>
                  <a:cubicBezTo>
                    <a:pt x="65" y="160"/>
                    <a:pt x="65" y="160"/>
                    <a:pt x="65" y="160"/>
                  </a:cubicBezTo>
                  <a:cubicBezTo>
                    <a:pt x="119" y="160"/>
                    <a:pt x="119" y="160"/>
                    <a:pt x="119" y="160"/>
                  </a:cubicBezTo>
                  <a:cubicBezTo>
                    <a:pt x="119" y="170"/>
                    <a:pt x="119" y="170"/>
                    <a:pt x="119" y="170"/>
                  </a:cubicBezTo>
                  <a:cubicBezTo>
                    <a:pt x="83" y="221"/>
                    <a:pt x="83" y="221"/>
                    <a:pt x="83" y="221"/>
                  </a:cubicBezTo>
                  <a:cubicBezTo>
                    <a:pt x="120" y="221"/>
                    <a:pt x="120" y="221"/>
                    <a:pt x="120" y="221"/>
                  </a:cubicBezTo>
                  <a:lnTo>
                    <a:pt x="120"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28" name="TextBox 627"/>
          <p:cNvSpPr txBox="1"/>
          <p:nvPr/>
        </p:nvSpPr>
        <p:spPr>
          <a:xfrm>
            <a:off x="7110708"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use</a:t>
            </a:r>
          </a:p>
        </p:txBody>
      </p:sp>
      <p:sp>
        <p:nvSpPr>
          <p:cNvPr id="629" name="Freeform 222"/>
          <p:cNvSpPr>
            <a:spLocks noChangeAspect="1" noEditPoints="1"/>
          </p:cNvSpPr>
          <p:nvPr/>
        </p:nvSpPr>
        <p:spPr bwMode="auto">
          <a:xfrm>
            <a:off x="7132073" y="170021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30" name="Group 225"/>
          <p:cNvGrpSpPr>
            <a:grpSpLocks noChangeAspect="1"/>
          </p:cNvGrpSpPr>
          <p:nvPr/>
        </p:nvGrpSpPr>
        <p:grpSpPr bwMode="auto">
          <a:xfrm>
            <a:off x="7552124" y="1700213"/>
            <a:ext cx="369021" cy="369021"/>
            <a:chOff x="1929" y="778"/>
            <a:chExt cx="340" cy="340"/>
          </a:xfrm>
          <a:solidFill>
            <a:schemeClr val="accent3"/>
          </a:solidFill>
        </p:grpSpPr>
        <p:sp>
          <p:nvSpPr>
            <p:cNvPr id="631" name="Freeform 226"/>
            <p:cNvSpPr>
              <a:spLocks noEditPoints="1"/>
            </p:cNvSpPr>
            <p:nvPr/>
          </p:nvSpPr>
          <p:spPr bwMode="auto">
            <a:xfrm>
              <a:off x="1929" y="7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2" name="Freeform 227"/>
            <p:cNvSpPr>
              <a:spLocks noEditPoints="1"/>
            </p:cNvSpPr>
            <p:nvPr/>
          </p:nvSpPr>
          <p:spPr bwMode="auto">
            <a:xfrm>
              <a:off x="2049" y="856"/>
              <a:ext cx="99" cy="184"/>
            </a:xfrm>
            <a:custGeom>
              <a:avLst/>
              <a:gdLst>
                <a:gd name="T0" fmla="*/ 21 w 149"/>
                <a:gd name="T1" fmla="*/ 11 h 277"/>
                <a:gd name="T2" fmla="*/ 21 w 149"/>
                <a:gd name="T3" fmla="*/ 267 h 277"/>
                <a:gd name="T4" fmla="*/ 11 w 149"/>
                <a:gd name="T5" fmla="*/ 277 h 277"/>
                <a:gd name="T6" fmla="*/ 0 w 149"/>
                <a:gd name="T7" fmla="*/ 267 h 277"/>
                <a:gd name="T8" fmla="*/ 0 w 149"/>
                <a:gd name="T9" fmla="*/ 11 h 277"/>
                <a:gd name="T10" fmla="*/ 11 w 149"/>
                <a:gd name="T11" fmla="*/ 0 h 277"/>
                <a:gd name="T12" fmla="*/ 21 w 149"/>
                <a:gd name="T13" fmla="*/ 11 h 277"/>
                <a:gd name="T14" fmla="*/ 139 w 149"/>
                <a:gd name="T15" fmla="*/ 0 h 277"/>
                <a:gd name="T16" fmla="*/ 128 w 149"/>
                <a:gd name="T17" fmla="*/ 11 h 277"/>
                <a:gd name="T18" fmla="*/ 128 w 149"/>
                <a:gd name="T19" fmla="*/ 267 h 277"/>
                <a:gd name="T20" fmla="*/ 139 w 149"/>
                <a:gd name="T21" fmla="*/ 277 h 277"/>
                <a:gd name="T22" fmla="*/ 149 w 149"/>
                <a:gd name="T23" fmla="*/ 267 h 277"/>
                <a:gd name="T24" fmla="*/ 149 w 149"/>
                <a:gd name="T25" fmla="*/ 11 h 277"/>
                <a:gd name="T26" fmla="*/ 139 w 149"/>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77">
                  <a:moveTo>
                    <a:pt x="21" y="11"/>
                  </a:moveTo>
                  <a:cubicBezTo>
                    <a:pt x="21" y="267"/>
                    <a:pt x="21" y="267"/>
                    <a:pt x="21" y="267"/>
                  </a:cubicBezTo>
                  <a:cubicBezTo>
                    <a:pt x="21" y="273"/>
                    <a:pt x="17" y="277"/>
                    <a:pt x="11" y="277"/>
                  </a:cubicBezTo>
                  <a:cubicBezTo>
                    <a:pt x="5" y="277"/>
                    <a:pt x="0" y="273"/>
                    <a:pt x="0" y="267"/>
                  </a:cubicBezTo>
                  <a:cubicBezTo>
                    <a:pt x="0" y="11"/>
                    <a:pt x="0" y="11"/>
                    <a:pt x="0" y="11"/>
                  </a:cubicBezTo>
                  <a:cubicBezTo>
                    <a:pt x="0" y="5"/>
                    <a:pt x="5" y="0"/>
                    <a:pt x="11" y="0"/>
                  </a:cubicBezTo>
                  <a:cubicBezTo>
                    <a:pt x="17" y="0"/>
                    <a:pt x="21" y="5"/>
                    <a:pt x="21" y="11"/>
                  </a:cubicBezTo>
                  <a:close/>
                  <a:moveTo>
                    <a:pt x="139" y="0"/>
                  </a:moveTo>
                  <a:cubicBezTo>
                    <a:pt x="133" y="0"/>
                    <a:pt x="128" y="5"/>
                    <a:pt x="128" y="11"/>
                  </a:cubicBezTo>
                  <a:cubicBezTo>
                    <a:pt x="128" y="267"/>
                    <a:pt x="128" y="267"/>
                    <a:pt x="128" y="267"/>
                  </a:cubicBezTo>
                  <a:cubicBezTo>
                    <a:pt x="128" y="273"/>
                    <a:pt x="133" y="277"/>
                    <a:pt x="139" y="277"/>
                  </a:cubicBezTo>
                  <a:cubicBezTo>
                    <a:pt x="145" y="277"/>
                    <a:pt x="149" y="273"/>
                    <a:pt x="149" y="267"/>
                  </a:cubicBezTo>
                  <a:cubicBezTo>
                    <a:pt x="149" y="11"/>
                    <a:pt x="149" y="11"/>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3" name="TextBox 632"/>
          <p:cNvSpPr txBox="1"/>
          <p:nvPr/>
        </p:nvSpPr>
        <p:spPr>
          <a:xfrm>
            <a:off x="378155"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py</a:t>
            </a:r>
          </a:p>
        </p:txBody>
      </p:sp>
      <p:grpSp>
        <p:nvGrpSpPr>
          <p:cNvPr id="634" name="Group 91"/>
          <p:cNvGrpSpPr>
            <a:grpSpLocks noChangeAspect="1"/>
          </p:cNvGrpSpPr>
          <p:nvPr/>
        </p:nvGrpSpPr>
        <p:grpSpPr bwMode="auto">
          <a:xfrm>
            <a:off x="406400" y="4183829"/>
            <a:ext cx="367631" cy="367631"/>
            <a:chOff x="5088" y="2680"/>
            <a:chExt cx="340" cy="340"/>
          </a:xfrm>
          <a:solidFill>
            <a:schemeClr val="accent1"/>
          </a:solidFill>
        </p:grpSpPr>
        <p:sp>
          <p:nvSpPr>
            <p:cNvPr id="635" name="Freeform 634"/>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6" name="Freeform 635"/>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7" name="Freeform 636"/>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8" name="Freeform 637"/>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9" name="Freeform 638"/>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40" name="Group 99"/>
          <p:cNvGrpSpPr>
            <a:grpSpLocks noChangeAspect="1"/>
          </p:cNvGrpSpPr>
          <p:nvPr/>
        </p:nvGrpSpPr>
        <p:grpSpPr bwMode="auto">
          <a:xfrm>
            <a:off x="825859" y="4183829"/>
            <a:ext cx="367631" cy="367631"/>
            <a:chOff x="5779" y="1137"/>
            <a:chExt cx="340" cy="340"/>
          </a:xfrm>
          <a:solidFill>
            <a:schemeClr val="accent1"/>
          </a:solidFill>
        </p:grpSpPr>
        <p:sp>
          <p:nvSpPr>
            <p:cNvPr id="641" name="Freeform 100"/>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2" name="Freeform 101"/>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3" name="TextBox 642"/>
          <p:cNvSpPr txBox="1"/>
          <p:nvPr/>
        </p:nvSpPr>
        <p:spPr>
          <a:xfrm>
            <a:off x="7955112"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ay</a:t>
            </a:r>
          </a:p>
        </p:txBody>
      </p:sp>
      <p:grpSp>
        <p:nvGrpSpPr>
          <p:cNvPr id="644" name="Group 472"/>
          <p:cNvGrpSpPr>
            <a:grpSpLocks noChangeAspect="1"/>
          </p:cNvGrpSpPr>
          <p:nvPr/>
        </p:nvGrpSpPr>
        <p:grpSpPr bwMode="auto">
          <a:xfrm>
            <a:off x="8393096" y="1700213"/>
            <a:ext cx="369021" cy="369021"/>
            <a:chOff x="400" y="1576"/>
            <a:chExt cx="340" cy="340"/>
          </a:xfrm>
          <a:solidFill>
            <a:schemeClr val="accent5"/>
          </a:solidFill>
        </p:grpSpPr>
        <p:sp>
          <p:nvSpPr>
            <p:cNvPr id="645" name="Freeform 473"/>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6" name="Freeform 474"/>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7" name="Freeform 646"/>
          <p:cNvSpPr>
            <a:spLocks noChangeAspect="1" noEditPoints="1"/>
          </p:cNvSpPr>
          <p:nvPr/>
        </p:nvSpPr>
        <p:spPr bwMode="auto">
          <a:xfrm>
            <a:off x="7972175" y="1700213"/>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648" name="TextBox 647"/>
          <p:cNvSpPr txBox="1"/>
          <p:nvPr/>
        </p:nvSpPr>
        <p:spPr>
          <a:xfrm>
            <a:off x="1223455"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int</a:t>
            </a:r>
          </a:p>
        </p:txBody>
      </p:sp>
      <p:grpSp>
        <p:nvGrpSpPr>
          <p:cNvPr id="649" name="Group 567"/>
          <p:cNvGrpSpPr>
            <a:grpSpLocks noChangeAspect="1"/>
          </p:cNvGrpSpPr>
          <p:nvPr/>
        </p:nvGrpSpPr>
        <p:grpSpPr bwMode="auto">
          <a:xfrm>
            <a:off x="1666167" y="4182439"/>
            <a:ext cx="370106" cy="369021"/>
            <a:chOff x="410" y="1934"/>
            <a:chExt cx="341" cy="340"/>
          </a:xfrm>
          <a:solidFill>
            <a:schemeClr val="accent6"/>
          </a:solidFill>
        </p:grpSpPr>
        <p:sp>
          <p:nvSpPr>
            <p:cNvPr id="650" name="Freeform 568"/>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1" name="Freeform 569"/>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2" name="Freeform 570"/>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53" name="Freeform 574"/>
          <p:cNvSpPr>
            <a:spLocks noChangeAspect="1" noEditPoints="1"/>
          </p:cNvSpPr>
          <p:nvPr/>
        </p:nvSpPr>
        <p:spPr bwMode="auto">
          <a:xfrm>
            <a:off x="1245318" y="4182439"/>
            <a:ext cx="369021" cy="369021"/>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54" name="TextBox 653"/>
          <p:cNvSpPr txBox="1"/>
          <p:nvPr/>
        </p:nvSpPr>
        <p:spPr>
          <a:xfrm>
            <a:off x="2068755" y="461102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nlink</a:t>
            </a:r>
          </a:p>
        </p:txBody>
      </p:sp>
      <p:grpSp>
        <p:nvGrpSpPr>
          <p:cNvPr id="655" name="Group 611"/>
          <p:cNvGrpSpPr>
            <a:grpSpLocks noChangeAspect="1"/>
          </p:cNvGrpSpPr>
          <p:nvPr/>
        </p:nvGrpSpPr>
        <p:grpSpPr bwMode="auto">
          <a:xfrm>
            <a:off x="2509605" y="4181784"/>
            <a:ext cx="369676" cy="369676"/>
            <a:chOff x="6597" y="2260"/>
            <a:chExt cx="340" cy="340"/>
          </a:xfrm>
          <a:solidFill>
            <a:schemeClr val="accent1"/>
          </a:solidFill>
        </p:grpSpPr>
        <p:sp>
          <p:nvSpPr>
            <p:cNvPr id="656" name="Freeform 612"/>
            <p:cNvSpPr>
              <a:spLocks noEditPoints="1"/>
            </p:cNvSpPr>
            <p:nvPr/>
          </p:nvSpPr>
          <p:spPr bwMode="auto">
            <a:xfrm>
              <a:off x="6597"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7" name="Freeform 613"/>
            <p:cNvSpPr>
              <a:spLocks noEditPoints="1"/>
            </p:cNvSpPr>
            <p:nvPr/>
          </p:nvSpPr>
          <p:spPr bwMode="auto">
            <a:xfrm>
              <a:off x="6676" y="2339"/>
              <a:ext cx="182" cy="181"/>
            </a:xfrm>
            <a:custGeom>
              <a:avLst/>
              <a:gdLst>
                <a:gd name="T0" fmla="*/ 262 w 274"/>
                <a:gd name="T1" fmla="*/ 198 h 273"/>
                <a:gd name="T2" fmla="*/ 237 w 274"/>
                <a:gd name="T3" fmla="*/ 222 h 273"/>
                <a:gd name="T4" fmla="*/ 262 w 274"/>
                <a:gd name="T5" fmla="*/ 246 h 273"/>
                <a:gd name="T6" fmla="*/ 262 w 274"/>
                <a:gd name="T7" fmla="*/ 262 h 273"/>
                <a:gd name="T8" fmla="*/ 254 w 274"/>
                <a:gd name="T9" fmla="*/ 265 h 273"/>
                <a:gd name="T10" fmla="*/ 246 w 274"/>
                <a:gd name="T11" fmla="*/ 262 h 273"/>
                <a:gd name="T12" fmla="*/ 222 w 274"/>
                <a:gd name="T13" fmla="*/ 237 h 273"/>
                <a:gd name="T14" fmla="*/ 198 w 274"/>
                <a:gd name="T15" fmla="*/ 262 h 273"/>
                <a:gd name="T16" fmla="*/ 190 w 274"/>
                <a:gd name="T17" fmla="*/ 265 h 273"/>
                <a:gd name="T18" fmla="*/ 182 w 274"/>
                <a:gd name="T19" fmla="*/ 262 h 273"/>
                <a:gd name="T20" fmla="*/ 182 w 274"/>
                <a:gd name="T21" fmla="*/ 246 h 273"/>
                <a:gd name="T22" fmla="*/ 207 w 274"/>
                <a:gd name="T23" fmla="*/ 222 h 273"/>
                <a:gd name="T24" fmla="*/ 182 w 274"/>
                <a:gd name="T25" fmla="*/ 198 h 273"/>
                <a:gd name="T26" fmla="*/ 182 w 274"/>
                <a:gd name="T27" fmla="*/ 182 h 273"/>
                <a:gd name="T28" fmla="*/ 198 w 274"/>
                <a:gd name="T29" fmla="*/ 182 h 273"/>
                <a:gd name="T30" fmla="*/ 222 w 274"/>
                <a:gd name="T31" fmla="*/ 207 h 273"/>
                <a:gd name="T32" fmla="*/ 246 w 274"/>
                <a:gd name="T33" fmla="*/ 182 h 273"/>
                <a:gd name="T34" fmla="*/ 262 w 274"/>
                <a:gd name="T35" fmla="*/ 182 h 273"/>
                <a:gd name="T36" fmla="*/ 262 w 274"/>
                <a:gd name="T37" fmla="*/ 198 h 273"/>
                <a:gd name="T38" fmla="*/ 122 w 274"/>
                <a:gd name="T39" fmla="*/ 197 h 273"/>
                <a:gd name="T40" fmla="*/ 76 w 274"/>
                <a:gd name="T41" fmla="*/ 242 h 273"/>
                <a:gd name="T42" fmla="*/ 54 w 274"/>
                <a:gd name="T43" fmla="*/ 252 h 273"/>
                <a:gd name="T44" fmla="*/ 31 w 274"/>
                <a:gd name="T45" fmla="*/ 242 h 273"/>
                <a:gd name="T46" fmla="*/ 21 w 274"/>
                <a:gd name="T47" fmla="*/ 219 h 273"/>
                <a:gd name="T48" fmla="*/ 31 w 274"/>
                <a:gd name="T49" fmla="*/ 197 h 273"/>
                <a:gd name="T50" fmla="*/ 99 w 274"/>
                <a:gd name="T51" fmla="*/ 129 h 273"/>
                <a:gd name="T52" fmla="*/ 121 w 274"/>
                <a:gd name="T53" fmla="*/ 119 h 273"/>
                <a:gd name="T54" fmla="*/ 144 w 274"/>
                <a:gd name="T55" fmla="*/ 129 h 273"/>
                <a:gd name="T56" fmla="*/ 159 w 274"/>
                <a:gd name="T57" fmla="*/ 129 h 273"/>
                <a:gd name="T58" fmla="*/ 159 w 274"/>
                <a:gd name="T59" fmla="*/ 114 h 273"/>
                <a:gd name="T60" fmla="*/ 120 w 274"/>
                <a:gd name="T61" fmla="*/ 98 h 273"/>
                <a:gd name="T62" fmla="*/ 84 w 274"/>
                <a:gd name="T63" fmla="*/ 114 h 273"/>
                <a:gd name="T64" fmla="*/ 16 w 274"/>
                <a:gd name="T65" fmla="*/ 182 h 273"/>
                <a:gd name="T66" fmla="*/ 0 w 274"/>
                <a:gd name="T67" fmla="*/ 219 h 273"/>
                <a:gd name="T68" fmla="*/ 16 w 274"/>
                <a:gd name="T69" fmla="*/ 257 h 273"/>
                <a:gd name="T70" fmla="*/ 53 w 274"/>
                <a:gd name="T71" fmla="*/ 273 h 273"/>
                <a:gd name="T72" fmla="*/ 55 w 274"/>
                <a:gd name="T73" fmla="*/ 273 h 273"/>
                <a:gd name="T74" fmla="*/ 91 w 274"/>
                <a:gd name="T75" fmla="*/ 257 h 273"/>
                <a:gd name="T76" fmla="*/ 137 w 274"/>
                <a:gd name="T77" fmla="*/ 212 h 273"/>
                <a:gd name="T78" fmla="*/ 137 w 274"/>
                <a:gd name="T79" fmla="*/ 197 h 273"/>
                <a:gd name="T80" fmla="*/ 122 w 274"/>
                <a:gd name="T81" fmla="*/ 197 h 273"/>
                <a:gd name="T82" fmla="*/ 257 w 274"/>
                <a:gd name="T83" fmla="*/ 91 h 273"/>
                <a:gd name="T84" fmla="*/ 273 w 274"/>
                <a:gd name="T85" fmla="*/ 55 h 273"/>
                <a:gd name="T86" fmla="*/ 257 w 274"/>
                <a:gd name="T87" fmla="*/ 16 h 273"/>
                <a:gd name="T88" fmla="*/ 219 w 274"/>
                <a:gd name="T89" fmla="*/ 0 h 273"/>
                <a:gd name="T90" fmla="*/ 182 w 274"/>
                <a:gd name="T91" fmla="*/ 16 h 273"/>
                <a:gd name="T92" fmla="*/ 137 w 274"/>
                <a:gd name="T93" fmla="*/ 61 h 273"/>
                <a:gd name="T94" fmla="*/ 137 w 274"/>
                <a:gd name="T95" fmla="*/ 76 h 273"/>
                <a:gd name="T96" fmla="*/ 152 w 274"/>
                <a:gd name="T97" fmla="*/ 76 h 273"/>
                <a:gd name="T98" fmla="*/ 197 w 274"/>
                <a:gd name="T99" fmla="*/ 31 h 273"/>
                <a:gd name="T100" fmla="*/ 219 w 274"/>
                <a:gd name="T101" fmla="*/ 21 h 273"/>
                <a:gd name="T102" fmla="*/ 242 w 274"/>
                <a:gd name="T103" fmla="*/ 31 h 273"/>
                <a:gd name="T104" fmla="*/ 252 w 274"/>
                <a:gd name="T105" fmla="*/ 54 h 273"/>
                <a:gd name="T106" fmla="*/ 242 w 274"/>
                <a:gd name="T107" fmla="*/ 76 h 273"/>
                <a:gd name="T108" fmla="*/ 174 w 274"/>
                <a:gd name="T109" fmla="*/ 144 h 273"/>
                <a:gd name="T110" fmla="*/ 152 w 274"/>
                <a:gd name="T111" fmla="*/ 154 h 273"/>
                <a:gd name="T112" fmla="*/ 129 w 274"/>
                <a:gd name="T113" fmla="*/ 144 h 273"/>
                <a:gd name="T114" fmla="*/ 114 w 274"/>
                <a:gd name="T115" fmla="*/ 144 h 273"/>
                <a:gd name="T116" fmla="*/ 114 w 274"/>
                <a:gd name="T117" fmla="*/ 159 h 273"/>
                <a:gd name="T118" fmla="*/ 152 w 274"/>
                <a:gd name="T119" fmla="*/ 175 h 273"/>
                <a:gd name="T120" fmla="*/ 153 w 274"/>
                <a:gd name="T121" fmla="*/ 175 h 273"/>
                <a:gd name="T122" fmla="*/ 189 w 274"/>
                <a:gd name="T123" fmla="*/ 159 h 273"/>
                <a:gd name="T124" fmla="*/ 257 w 274"/>
                <a:gd name="T125"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3">
                  <a:moveTo>
                    <a:pt x="262" y="198"/>
                  </a:moveTo>
                  <a:cubicBezTo>
                    <a:pt x="237" y="222"/>
                    <a:pt x="237" y="222"/>
                    <a:pt x="237" y="222"/>
                  </a:cubicBezTo>
                  <a:cubicBezTo>
                    <a:pt x="262" y="246"/>
                    <a:pt x="262" y="246"/>
                    <a:pt x="262" y="246"/>
                  </a:cubicBezTo>
                  <a:cubicBezTo>
                    <a:pt x="266" y="251"/>
                    <a:pt x="266" y="257"/>
                    <a:pt x="262" y="262"/>
                  </a:cubicBezTo>
                  <a:cubicBezTo>
                    <a:pt x="259" y="264"/>
                    <a:pt x="257" y="265"/>
                    <a:pt x="254" y="265"/>
                  </a:cubicBezTo>
                  <a:cubicBezTo>
                    <a:pt x="251" y="265"/>
                    <a:pt x="249" y="264"/>
                    <a:pt x="246" y="262"/>
                  </a:cubicBezTo>
                  <a:cubicBezTo>
                    <a:pt x="222" y="237"/>
                    <a:pt x="222" y="237"/>
                    <a:pt x="222" y="237"/>
                  </a:cubicBezTo>
                  <a:cubicBezTo>
                    <a:pt x="198" y="262"/>
                    <a:pt x="198" y="262"/>
                    <a:pt x="198" y="262"/>
                  </a:cubicBezTo>
                  <a:cubicBezTo>
                    <a:pt x="195" y="264"/>
                    <a:pt x="193" y="265"/>
                    <a:pt x="190" y="265"/>
                  </a:cubicBezTo>
                  <a:cubicBezTo>
                    <a:pt x="187" y="265"/>
                    <a:pt x="185" y="264"/>
                    <a:pt x="182" y="262"/>
                  </a:cubicBezTo>
                  <a:cubicBezTo>
                    <a:pt x="178" y="257"/>
                    <a:pt x="178" y="251"/>
                    <a:pt x="182" y="246"/>
                  </a:cubicBezTo>
                  <a:cubicBezTo>
                    <a:pt x="207" y="222"/>
                    <a:pt x="207" y="222"/>
                    <a:pt x="207" y="222"/>
                  </a:cubicBezTo>
                  <a:cubicBezTo>
                    <a:pt x="182" y="198"/>
                    <a:pt x="182" y="198"/>
                    <a:pt x="182" y="198"/>
                  </a:cubicBezTo>
                  <a:cubicBezTo>
                    <a:pt x="178" y="193"/>
                    <a:pt x="178" y="187"/>
                    <a:pt x="182" y="182"/>
                  </a:cubicBezTo>
                  <a:cubicBezTo>
                    <a:pt x="187" y="178"/>
                    <a:pt x="193" y="178"/>
                    <a:pt x="198" y="182"/>
                  </a:cubicBezTo>
                  <a:cubicBezTo>
                    <a:pt x="222" y="207"/>
                    <a:pt x="222" y="207"/>
                    <a:pt x="222" y="207"/>
                  </a:cubicBezTo>
                  <a:cubicBezTo>
                    <a:pt x="246" y="182"/>
                    <a:pt x="246" y="182"/>
                    <a:pt x="246" y="182"/>
                  </a:cubicBezTo>
                  <a:cubicBezTo>
                    <a:pt x="251" y="178"/>
                    <a:pt x="257" y="178"/>
                    <a:pt x="262" y="182"/>
                  </a:cubicBezTo>
                  <a:cubicBezTo>
                    <a:pt x="266" y="187"/>
                    <a:pt x="266" y="193"/>
                    <a:pt x="262" y="198"/>
                  </a:cubicBezTo>
                  <a:close/>
                  <a:moveTo>
                    <a:pt x="122" y="197"/>
                  </a:moveTo>
                  <a:cubicBezTo>
                    <a:pt x="76" y="242"/>
                    <a:pt x="76" y="242"/>
                    <a:pt x="76" y="242"/>
                  </a:cubicBezTo>
                  <a:cubicBezTo>
                    <a:pt x="70" y="248"/>
                    <a:pt x="62" y="252"/>
                    <a:pt x="54" y="252"/>
                  </a:cubicBezTo>
                  <a:cubicBezTo>
                    <a:pt x="46" y="252"/>
                    <a:pt x="38" y="249"/>
                    <a:pt x="31" y="242"/>
                  </a:cubicBezTo>
                  <a:cubicBezTo>
                    <a:pt x="24" y="236"/>
                    <a:pt x="21" y="228"/>
                    <a:pt x="21" y="219"/>
                  </a:cubicBezTo>
                  <a:cubicBezTo>
                    <a:pt x="22" y="211"/>
                    <a:pt x="25" y="203"/>
                    <a:pt x="31" y="197"/>
                  </a:cubicBezTo>
                  <a:cubicBezTo>
                    <a:pt x="99" y="129"/>
                    <a:pt x="99" y="129"/>
                    <a:pt x="99" y="129"/>
                  </a:cubicBezTo>
                  <a:cubicBezTo>
                    <a:pt x="105" y="123"/>
                    <a:pt x="113" y="120"/>
                    <a:pt x="121" y="119"/>
                  </a:cubicBezTo>
                  <a:cubicBezTo>
                    <a:pt x="130" y="119"/>
                    <a:pt x="138" y="123"/>
                    <a:pt x="144" y="129"/>
                  </a:cubicBezTo>
                  <a:cubicBezTo>
                    <a:pt x="148" y="133"/>
                    <a:pt x="155" y="133"/>
                    <a:pt x="159" y="129"/>
                  </a:cubicBezTo>
                  <a:cubicBezTo>
                    <a:pt x="163" y="125"/>
                    <a:pt x="163" y="118"/>
                    <a:pt x="159" y="114"/>
                  </a:cubicBezTo>
                  <a:cubicBezTo>
                    <a:pt x="149" y="103"/>
                    <a:pt x="135" y="98"/>
                    <a:pt x="120" y="98"/>
                  </a:cubicBezTo>
                  <a:cubicBezTo>
                    <a:pt x="107" y="98"/>
                    <a:pt x="94" y="104"/>
                    <a:pt x="84" y="114"/>
                  </a:cubicBezTo>
                  <a:cubicBezTo>
                    <a:pt x="16" y="182"/>
                    <a:pt x="16" y="182"/>
                    <a:pt x="16" y="182"/>
                  </a:cubicBezTo>
                  <a:cubicBezTo>
                    <a:pt x="6" y="192"/>
                    <a:pt x="0" y="205"/>
                    <a:pt x="0" y="219"/>
                  </a:cubicBezTo>
                  <a:cubicBezTo>
                    <a:pt x="0" y="233"/>
                    <a:pt x="5" y="247"/>
                    <a:pt x="16" y="257"/>
                  </a:cubicBezTo>
                  <a:cubicBezTo>
                    <a:pt x="26" y="268"/>
                    <a:pt x="40" y="273"/>
                    <a:pt x="53" y="273"/>
                  </a:cubicBezTo>
                  <a:cubicBezTo>
                    <a:pt x="54" y="273"/>
                    <a:pt x="54" y="273"/>
                    <a:pt x="55" y="273"/>
                  </a:cubicBezTo>
                  <a:cubicBezTo>
                    <a:pt x="68" y="273"/>
                    <a:pt x="81" y="267"/>
                    <a:pt x="91" y="257"/>
                  </a:cubicBezTo>
                  <a:cubicBezTo>
                    <a:pt x="137" y="212"/>
                    <a:pt x="137" y="212"/>
                    <a:pt x="137" y="212"/>
                  </a:cubicBezTo>
                  <a:cubicBezTo>
                    <a:pt x="141" y="208"/>
                    <a:pt x="141" y="201"/>
                    <a:pt x="137" y="197"/>
                  </a:cubicBezTo>
                  <a:cubicBezTo>
                    <a:pt x="133" y="193"/>
                    <a:pt x="126" y="193"/>
                    <a:pt x="122" y="197"/>
                  </a:cubicBezTo>
                  <a:close/>
                  <a:moveTo>
                    <a:pt x="257" y="91"/>
                  </a:moveTo>
                  <a:cubicBezTo>
                    <a:pt x="267" y="81"/>
                    <a:pt x="273" y="68"/>
                    <a:pt x="273" y="55"/>
                  </a:cubicBezTo>
                  <a:cubicBezTo>
                    <a:pt x="274" y="40"/>
                    <a:pt x="268" y="27"/>
                    <a:pt x="257" y="16"/>
                  </a:cubicBez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lnTo>
                    <a:pt x="257"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58" name="Freeform 617"/>
          <p:cNvSpPr>
            <a:spLocks noChangeAspect="1" noEditPoints="1"/>
          </p:cNvSpPr>
          <p:nvPr/>
        </p:nvSpPr>
        <p:spPr bwMode="auto">
          <a:xfrm>
            <a:off x="2088101" y="4180697"/>
            <a:ext cx="369676" cy="370763"/>
          </a:xfrm>
          <a:custGeom>
            <a:avLst/>
            <a:gdLst>
              <a:gd name="T0" fmla="*/ 0 w 512"/>
              <a:gd name="T1" fmla="*/ 256 h 512"/>
              <a:gd name="T2" fmla="*/ 512 w 512"/>
              <a:gd name="T3" fmla="*/ 256 h 512"/>
              <a:gd name="T4" fmla="*/ 256 w 512"/>
              <a:gd name="T5" fmla="*/ 331 h 512"/>
              <a:gd name="T6" fmla="*/ 174 w 512"/>
              <a:gd name="T7" fmla="*/ 392 h 512"/>
              <a:gd name="T8" fmla="*/ 135 w 512"/>
              <a:gd name="T9" fmla="*/ 376 h 512"/>
              <a:gd name="T10" fmla="*/ 135 w 512"/>
              <a:gd name="T11" fmla="*/ 301 h 512"/>
              <a:gd name="T12" fmla="*/ 239 w 512"/>
              <a:gd name="T13" fmla="*/ 217 h 512"/>
              <a:gd name="T14" fmla="*/ 278 w 512"/>
              <a:gd name="T15" fmla="*/ 248 h 512"/>
              <a:gd name="T16" fmla="*/ 240 w 512"/>
              <a:gd name="T17" fmla="*/ 238 h 512"/>
              <a:gd name="T18" fmla="*/ 150 w 512"/>
              <a:gd name="T19" fmla="*/ 316 h 512"/>
              <a:gd name="T20" fmla="*/ 150 w 512"/>
              <a:gd name="T21" fmla="*/ 361 h 512"/>
              <a:gd name="T22" fmla="*/ 195 w 512"/>
              <a:gd name="T23" fmla="*/ 361 h 512"/>
              <a:gd name="T24" fmla="*/ 256 w 512"/>
              <a:gd name="T25" fmla="*/ 316 h 512"/>
              <a:gd name="T26" fmla="*/ 381 w 512"/>
              <a:gd name="T27" fmla="*/ 365 h 512"/>
              <a:gd name="T28" fmla="*/ 373 w 512"/>
              <a:gd name="T29" fmla="*/ 384 h 512"/>
              <a:gd name="T30" fmla="*/ 341 w 512"/>
              <a:gd name="T31" fmla="*/ 356 h 512"/>
              <a:gd name="T32" fmla="*/ 309 w 512"/>
              <a:gd name="T33" fmla="*/ 384 h 512"/>
              <a:gd name="T34" fmla="*/ 301 w 512"/>
              <a:gd name="T35" fmla="*/ 365 h 512"/>
              <a:gd name="T36" fmla="*/ 301 w 512"/>
              <a:gd name="T37" fmla="*/ 317 h 512"/>
              <a:gd name="T38" fmla="*/ 317 w 512"/>
              <a:gd name="T39" fmla="*/ 301 h 512"/>
              <a:gd name="T40" fmla="*/ 365 w 512"/>
              <a:gd name="T41" fmla="*/ 301 h 512"/>
              <a:gd name="T42" fmla="*/ 381 w 512"/>
              <a:gd name="T43" fmla="*/ 317 h 512"/>
              <a:gd name="T44" fmla="*/ 381 w 512"/>
              <a:gd name="T45" fmla="*/ 365 h 512"/>
              <a:gd name="T46" fmla="*/ 308 w 512"/>
              <a:gd name="T47" fmla="*/ 278 h 512"/>
              <a:gd name="T48" fmla="*/ 271 w 512"/>
              <a:gd name="T49" fmla="*/ 294 h 512"/>
              <a:gd name="T50" fmla="*/ 233 w 512"/>
              <a:gd name="T51" fmla="*/ 263 h 512"/>
              <a:gd name="T52" fmla="*/ 271 w 512"/>
              <a:gd name="T53" fmla="*/ 273 h 512"/>
              <a:gd name="T54" fmla="*/ 361 w 512"/>
              <a:gd name="T55" fmla="*/ 195 h 512"/>
              <a:gd name="T56" fmla="*/ 361 w 512"/>
              <a:gd name="T57" fmla="*/ 150 h 512"/>
              <a:gd name="T58" fmla="*/ 316 w 512"/>
              <a:gd name="T59" fmla="*/ 150 h 512"/>
              <a:gd name="T60" fmla="*/ 256 w 512"/>
              <a:gd name="T61" fmla="*/ 195 h 512"/>
              <a:gd name="T62" fmla="*/ 301 w 512"/>
              <a:gd name="T63" fmla="*/ 135 h 512"/>
              <a:gd name="T64" fmla="*/ 376 w 512"/>
              <a:gd name="T65" fmla="*/ 135 h 512"/>
              <a:gd name="T66" fmla="*/ 376 w 512"/>
              <a:gd name="T6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81" y="365"/>
                </a:moveTo>
                <a:cubicBezTo>
                  <a:pt x="385" y="370"/>
                  <a:pt x="385" y="376"/>
                  <a:pt x="381" y="381"/>
                </a:cubicBezTo>
                <a:cubicBezTo>
                  <a:pt x="378" y="383"/>
                  <a:pt x="376" y="384"/>
                  <a:pt x="373" y="384"/>
                </a:cubicBezTo>
                <a:cubicBezTo>
                  <a:pt x="370" y="384"/>
                  <a:pt x="368" y="383"/>
                  <a:pt x="365" y="381"/>
                </a:cubicBezTo>
                <a:cubicBezTo>
                  <a:pt x="341" y="356"/>
                  <a:pt x="341" y="356"/>
                  <a:pt x="341" y="356"/>
                </a:cubicBezTo>
                <a:cubicBezTo>
                  <a:pt x="317" y="381"/>
                  <a:pt x="317" y="381"/>
                  <a:pt x="317" y="381"/>
                </a:cubicBezTo>
                <a:cubicBezTo>
                  <a:pt x="314" y="383"/>
                  <a:pt x="312" y="384"/>
                  <a:pt x="309" y="384"/>
                </a:cubicBezTo>
                <a:cubicBezTo>
                  <a:pt x="306" y="384"/>
                  <a:pt x="304" y="383"/>
                  <a:pt x="301" y="381"/>
                </a:cubicBezTo>
                <a:cubicBezTo>
                  <a:pt x="297" y="376"/>
                  <a:pt x="297" y="370"/>
                  <a:pt x="301" y="365"/>
                </a:cubicBezTo>
                <a:cubicBezTo>
                  <a:pt x="326" y="341"/>
                  <a:pt x="326" y="341"/>
                  <a:pt x="326" y="341"/>
                </a:cubicBezTo>
                <a:cubicBezTo>
                  <a:pt x="301" y="317"/>
                  <a:pt x="301" y="317"/>
                  <a:pt x="301" y="317"/>
                </a:cubicBezTo>
                <a:cubicBezTo>
                  <a:pt x="297" y="312"/>
                  <a:pt x="297" y="306"/>
                  <a:pt x="301" y="301"/>
                </a:cubicBezTo>
                <a:cubicBezTo>
                  <a:pt x="306" y="297"/>
                  <a:pt x="312" y="297"/>
                  <a:pt x="317" y="301"/>
                </a:cubicBezTo>
                <a:cubicBezTo>
                  <a:pt x="341" y="326"/>
                  <a:pt x="341" y="326"/>
                  <a:pt x="341" y="326"/>
                </a:cubicBezTo>
                <a:cubicBezTo>
                  <a:pt x="365" y="301"/>
                  <a:pt x="365" y="301"/>
                  <a:pt x="365" y="301"/>
                </a:cubicBezTo>
                <a:cubicBezTo>
                  <a:pt x="370" y="297"/>
                  <a:pt x="376" y="297"/>
                  <a:pt x="381" y="301"/>
                </a:cubicBezTo>
                <a:cubicBezTo>
                  <a:pt x="385" y="306"/>
                  <a:pt x="385" y="312"/>
                  <a:pt x="381" y="317"/>
                </a:cubicBezTo>
                <a:cubicBezTo>
                  <a:pt x="356" y="341"/>
                  <a:pt x="356" y="341"/>
                  <a:pt x="356" y="341"/>
                </a:cubicBezTo>
                <a:lnTo>
                  <a:pt x="381" y="365"/>
                </a:ln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59" name="TextBox 658"/>
          <p:cNvSpPr txBox="1"/>
          <p:nvPr/>
        </p:nvSpPr>
        <p:spPr>
          <a:xfrm>
            <a:off x="3747713" y="4611024"/>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icture</a:t>
            </a:r>
          </a:p>
        </p:txBody>
      </p:sp>
      <p:grpSp>
        <p:nvGrpSpPr>
          <p:cNvPr id="660" name="Group 373"/>
          <p:cNvGrpSpPr>
            <a:grpSpLocks noChangeAspect="1"/>
          </p:cNvGrpSpPr>
          <p:nvPr/>
        </p:nvGrpSpPr>
        <p:grpSpPr bwMode="auto">
          <a:xfrm>
            <a:off x="4190775" y="4182439"/>
            <a:ext cx="369021" cy="369021"/>
            <a:chOff x="1147" y="1180"/>
            <a:chExt cx="340" cy="340"/>
          </a:xfrm>
          <a:solidFill>
            <a:schemeClr val="accent4"/>
          </a:solidFill>
        </p:grpSpPr>
        <p:sp>
          <p:nvSpPr>
            <p:cNvPr id="661" name="Freeform 374"/>
            <p:cNvSpPr>
              <a:spLocks noEditPoints="1"/>
            </p:cNvSpPr>
            <p:nvPr/>
          </p:nvSpPr>
          <p:spPr bwMode="auto">
            <a:xfrm>
              <a:off x="1147" y="11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2" name="Freeform 375"/>
            <p:cNvSpPr>
              <a:spLocks noEditPoints="1"/>
            </p:cNvSpPr>
            <p:nvPr/>
          </p:nvSpPr>
          <p:spPr bwMode="auto">
            <a:xfrm>
              <a:off x="1211" y="1272"/>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170 h 235"/>
                <a:gd name="T22" fmla="*/ 264 w 320"/>
                <a:gd name="T23" fmla="*/ 122 h 235"/>
                <a:gd name="T24" fmla="*/ 257 w 320"/>
                <a:gd name="T25" fmla="*/ 118 h 235"/>
                <a:gd name="T26" fmla="*/ 248 w 320"/>
                <a:gd name="T27" fmla="*/ 121 h 235"/>
                <a:gd name="T28" fmla="*/ 208 w 320"/>
                <a:gd name="T29" fmla="*/ 161 h 235"/>
                <a:gd name="T30" fmla="*/ 119 w 320"/>
                <a:gd name="T31" fmla="*/ 73 h 235"/>
                <a:gd name="T32" fmla="*/ 104 w 320"/>
                <a:gd name="T33" fmla="*/ 73 h 235"/>
                <a:gd name="T34" fmla="*/ 21 w 320"/>
                <a:gd name="T35" fmla="*/ 156 h 235"/>
                <a:gd name="T36" fmla="*/ 21 w 320"/>
                <a:gd name="T37" fmla="*/ 22 h 235"/>
                <a:gd name="T38" fmla="*/ 298 w 320"/>
                <a:gd name="T39" fmla="*/ 22 h 235"/>
                <a:gd name="T40" fmla="*/ 21 w 320"/>
                <a:gd name="T41" fmla="*/ 214 h 235"/>
                <a:gd name="T42" fmla="*/ 21 w 320"/>
                <a:gd name="T43" fmla="*/ 186 h 235"/>
                <a:gd name="T44" fmla="*/ 112 w 320"/>
                <a:gd name="T45" fmla="*/ 95 h 235"/>
                <a:gd name="T46" fmla="*/ 200 w 320"/>
                <a:gd name="T47" fmla="*/ 184 h 235"/>
                <a:gd name="T48" fmla="*/ 215 w 320"/>
                <a:gd name="T49" fmla="*/ 184 h 235"/>
                <a:gd name="T50" fmla="*/ 254 w 320"/>
                <a:gd name="T51" fmla="*/ 145 h 235"/>
                <a:gd name="T52" fmla="*/ 298 w 320"/>
                <a:gd name="T53" fmla="*/ 206 h 235"/>
                <a:gd name="T54" fmla="*/ 298 w 320"/>
                <a:gd name="T55" fmla="*/ 214 h 235"/>
                <a:gd name="T56" fmla="*/ 21 w 320"/>
                <a:gd name="T57" fmla="*/ 214 h 235"/>
                <a:gd name="T58" fmla="*/ 192 w 320"/>
                <a:gd name="T59" fmla="*/ 75 h 235"/>
                <a:gd name="T60" fmla="*/ 213 w 320"/>
                <a:gd name="T61" fmla="*/ 54 h 235"/>
                <a:gd name="T62" fmla="*/ 234 w 320"/>
                <a:gd name="T63" fmla="*/ 75 h 235"/>
                <a:gd name="T64" fmla="*/ 213 w 320"/>
                <a:gd name="T65" fmla="*/ 96 h 235"/>
                <a:gd name="T66" fmla="*/ 192 w 320"/>
                <a:gd name="T67"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170"/>
                    <a:pt x="298" y="170"/>
                    <a:pt x="298" y="170"/>
                  </a:cubicBezTo>
                  <a:cubicBezTo>
                    <a:pt x="264" y="122"/>
                    <a:pt x="264" y="122"/>
                    <a:pt x="264" y="122"/>
                  </a:cubicBezTo>
                  <a:cubicBezTo>
                    <a:pt x="263" y="120"/>
                    <a:pt x="260" y="118"/>
                    <a:pt x="257" y="118"/>
                  </a:cubicBezTo>
                  <a:cubicBezTo>
                    <a:pt x="253" y="117"/>
                    <a:pt x="250" y="119"/>
                    <a:pt x="248" y="121"/>
                  </a:cubicBezTo>
                  <a:cubicBezTo>
                    <a:pt x="208" y="161"/>
                    <a:pt x="208" y="161"/>
                    <a:pt x="208" y="161"/>
                  </a:cubicBezTo>
                  <a:cubicBezTo>
                    <a:pt x="119" y="73"/>
                    <a:pt x="119" y="73"/>
                    <a:pt x="119" y="73"/>
                  </a:cubicBezTo>
                  <a:cubicBezTo>
                    <a:pt x="115" y="69"/>
                    <a:pt x="108" y="69"/>
                    <a:pt x="104" y="73"/>
                  </a:cubicBezTo>
                  <a:cubicBezTo>
                    <a:pt x="21" y="156"/>
                    <a:pt x="21" y="156"/>
                    <a:pt x="21" y="156"/>
                  </a:cubicBezTo>
                  <a:cubicBezTo>
                    <a:pt x="21" y="22"/>
                    <a:pt x="21" y="22"/>
                    <a:pt x="21" y="22"/>
                  </a:cubicBezTo>
                  <a:lnTo>
                    <a:pt x="298" y="22"/>
                  </a:lnTo>
                  <a:close/>
                  <a:moveTo>
                    <a:pt x="21" y="214"/>
                  </a:moveTo>
                  <a:cubicBezTo>
                    <a:pt x="21" y="186"/>
                    <a:pt x="21" y="186"/>
                    <a:pt x="21" y="186"/>
                  </a:cubicBezTo>
                  <a:cubicBezTo>
                    <a:pt x="112" y="95"/>
                    <a:pt x="112" y="95"/>
                    <a:pt x="112" y="95"/>
                  </a:cubicBezTo>
                  <a:cubicBezTo>
                    <a:pt x="200" y="184"/>
                    <a:pt x="200" y="184"/>
                    <a:pt x="200" y="184"/>
                  </a:cubicBezTo>
                  <a:cubicBezTo>
                    <a:pt x="204" y="188"/>
                    <a:pt x="211" y="188"/>
                    <a:pt x="215" y="184"/>
                  </a:cubicBezTo>
                  <a:cubicBezTo>
                    <a:pt x="254" y="145"/>
                    <a:pt x="254" y="145"/>
                    <a:pt x="254" y="145"/>
                  </a:cubicBezTo>
                  <a:cubicBezTo>
                    <a:pt x="298" y="206"/>
                    <a:pt x="298" y="206"/>
                    <a:pt x="298" y="206"/>
                  </a:cubicBezTo>
                  <a:cubicBezTo>
                    <a:pt x="298" y="214"/>
                    <a:pt x="298" y="214"/>
                    <a:pt x="298" y="214"/>
                  </a:cubicBezTo>
                  <a:lnTo>
                    <a:pt x="21" y="214"/>
                  </a:lnTo>
                  <a:close/>
                  <a:moveTo>
                    <a:pt x="192" y="75"/>
                  </a:moveTo>
                  <a:cubicBezTo>
                    <a:pt x="192" y="63"/>
                    <a:pt x="201" y="54"/>
                    <a:pt x="213" y="54"/>
                  </a:cubicBezTo>
                  <a:cubicBezTo>
                    <a:pt x="225" y="54"/>
                    <a:pt x="234" y="63"/>
                    <a:pt x="234" y="75"/>
                  </a:cubicBezTo>
                  <a:cubicBezTo>
                    <a:pt x="234" y="87"/>
                    <a:pt x="225" y="96"/>
                    <a:pt x="213" y="96"/>
                  </a:cubicBezTo>
                  <a:cubicBezTo>
                    <a:pt x="201" y="96"/>
                    <a:pt x="192" y="87"/>
                    <a:pt x="192"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63" name="Freeform 379"/>
          <p:cNvSpPr>
            <a:spLocks noChangeAspect="1" noEditPoints="1"/>
          </p:cNvSpPr>
          <p:nvPr/>
        </p:nvSpPr>
        <p:spPr bwMode="auto">
          <a:xfrm>
            <a:off x="3769926" y="4182439"/>
            <a:ext cx="369021" cy="369021"/>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4" name="TextBox 663"/>
          <p:cNvSpPr txBox="1"/>
          <p:nvPr/>
        </p:nvSpPr>
        <p:spPr>
          <a:xfrm>
            <a:off x="6265213"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wer</a:t>
            </a:r>
          </a:p>
        </p:txBody>
      </p:sp>
      <p:grpSp>
        <p:nvGrpSpPr>
          <p:cNvPr id="665" name="Group 414"/>
          <p:cNvGrpSpPr>
            <a:grpSpLocks noChangeAspect="1"/>
          </p:cNvGrpSpPr>
          <p:nvPr/>
        </p:nvGrpSpPr>
        <p:grpSpPr bwMode="auto">
          <a:xfrm>
            <a:off x="6708169" y="2530173"/>
            <a:ext cx="369021" cy="369021"/>
            <a:chOff x="5036" y="1587"/>
            <a:chExt cx="340" cy="340"/>
          </a:xfrm>
          <a:solidFill>
            <a:schemeClr val="accent5"/>
          </a:solidFill>
        </p:grpSpPr>
        <p:sp>
          <p:nvSpPr>
            <p:cNvPr id="666" name="Freeform 415"/>
            <p:cNvSpPr>
              <a:spLocks noEditPoints="1"/>
            </p:cNvSpPr>
            <p:nvPr/>
          </p:nvSpPr>
          <p:spPr bwMode="auto">
            <a:xfrm>
              <a:off x="5107" y="1651"/>
              <a:ext cx="198" cy="205"/>
            </a:xfrm>
            <a:custGeom>
              <a:avLst/>
              <a:gdLst>
                <a:gd name="T0" fmla="*/ 149 w 298"/>
                <a:gd name="T1" fmla="*/ 309 h 309"/>
                <a:gd name="T2" fmla="*/ 0 w 298"/>
                <a:gd name="T3" fmla="*/ 160 h 309"/>
                <a:gd name="T4" fmla="*/ 99 w 298"/>
                <a:gd name="T5" fmla="*/ 20 h 309"/>
                <a:gd name="T6" fmla="*/ 113 w 298"/>
                <a:gd name="T7" fmla="*/ 27 h 309"/>
                <a:gd name="T8" fmla="*/ 106 w 298"/>
                <a:gd name="T9" fmla="*/ 40 h 309"/>
                <a:gd name="T10" fmla="*/ 21 w 298"/>
                <a:gd name="T11" fmla="*/ 160 h 309"/>
                <a:gd name="T12" fmla="*/ 149 w 298"/>
                <a:gd name="T13" fmla="*/ 288 h 309"/>
                <a:gd name="T14" fmla="*/ 276 w 298"/>
                <a:gd name="T15" fmla="*/ 160 h 309"/>
                <a:gd name="T16" fmla="*/ 191 w 298"/>
                <a:gd name="T17" fmla="*/ 40 h 309"/>
                <a:gd name="T18" fmla="*/ 185 w 298"/>
                <a:gd name="T19" fmla="*/ 26 h 309"/>
                <a:gd name="T20" fmla="*/ 198 w 298"/>
                <a:gd name="T21" fmla="*/ 20 h 309"/>
                <a:gd name="T22" fmla="*/ 298 w 298"/>
                <a:gd name="T23" fmla="*/ 160 h 309"/>
                <a:gd name="T24" fmla="*/ 149 w 298"/>
                <a:gd name="T25" fmla="*/ 309 h 309"/>
                <a:gd name="T26" fmla="*/ 159 w 298"/>
                <a:gd name="T27" fmla="*/ 107 h 309"/>
                <a:gd name="T28" fmla="*/ 159 w 298"/>
                <a:gd name="T29" fmla="*/ 11 h 309"/>
                <a:gd name="T30" fmla="*/ 149 w 298"/>
                <a:gd name="T31" fmla="*/ 0 h 309"/>
                <a:gd name="T32" fmla="*/ 138 w 298"/>
                <a:gd name="T33" fmla="*/ 11 h 309"/>
                <a:gd name="T34" fmla="*/ 138 w 298"/>
                <a:gd name="T35" fmla="*/ 107 h 309"/>
                <a:gd name="T36" fmla="*/ 149 w 298"/>
                <a:gd name="T37" fmla="*/ 117 h 309"/>
                <a:gd name="T38" fmla="*/ 159 w 298"/>
                <a:gd name="T39" fmla="*/ 1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309">
                  <a:moveTo>
                    <a:pt x="149" y="309"/>
                  </a:moveTo>
                  <a:cubicBezTo>
                    <a:pt x="67" y="309"/>
                    <a:pt x="0" y="243"/>
                    <a:pt x="0" y="160"/>
                  </a:cubicBezTo>
                  <a:cubicBezTo>
                    <a:pt x="0" y="97"/>
                    <a:pt x="40" y="41"/>
                    <a:pt x="99" y="20"/>
                  </a:cubicBezTo>
                  <a:cubicBezTo>
                    <a:pt x="105" y="18"/>
                    <a:pt x="111" y="21"/>
                    <a:pt x="113" y="27"/>
                  </a:cubicBezTo>
                  <a:cubicBezTo>
                    <a:pt x="115" y="32"/>
                    <a:pt x="112" y="38"/>
                    <a:pt x="106" y="40"/>
                  </a:cubicBezTo>
                  <a:cubicBezTo>
                    <a:pt x="55" y="58"/>
                    <a:pt x="21" y="106"/>
                    <a:pt x="21" y="160"/>
                  </a:cubicBezTo>
                  <a:cubicBezTo>
                    <a:pt x="21" y="231"/>
                    <a:pt x="78" y="288"/>
                    <a:pt x="149" y="288"/>
                  </a:cubicBezTo>
                  <a:cubicBezTo>
                    <a:pt x="219" y="288"/>
                    <a:pt x="276" y="231"/>
                    <a:pt x="276" y="160"/>
                  </a:cubicBezTo>
                  <a:cubicBezTo>
                    <a:pt x="276" y="106"/>
                    <a:pt x="242" y="58"/>
                    <a:pt x="191" y="40"/>
                  </a:cubicBezTo>
                  <a:cubicBezTo>
                    <a:pt x="186" y="38"/>
                    <a:pt x="183" y="32"/>
                    <a:pt x="185" y="26"/>
                  </a:cubicBezTo>
                  <a:cubicBezTo>
                    <a:pt x="187" y="21"/>
                    <a:pt x="193" y="18"/>
                    <a:pt x="198" y="20"/>
                  </a:cubicBezTo>
                  <a:cubicBezTo>
                    <a:pt x="258" y="41"/>
                    <a:pt x="298" y="97"/>
                    <a:pt x="298" y="160"/>
                  </a:cubicBezTo>
                  <a:cubicBezTo>
                    <a:pt x="298" y="243"/>
                    <a:pt x="231" y="309"/>
                    <a:pt x="149" y="309"/>
                  </a:cubicBezTo>
                  <a:close/>
                  <a:moveTo>
                    <a:pt x="159" y="107"/>
                  </a:moveTo>
                  <a:cubicBezTo>
                    <a:pt x="159" y="11"/>
                    <a:pt x="159" y="11"/>
                    <a:pt x="159" y="11"/>
                  </a:cubicBezTo>
                  <a:cubicBezTo>
                    <a:pt x="159" y="5"/>
                    <a:pt x="155" y="0"/>
                    <a:pt x="149" y="0"/>
                  </a:cubicBezTo>
                  <a:cubicBezTo>
                    <a:pt x="143" y="0"/>
                    <a:pt x="138" y="5"/>
                    <a:pt x="138" y="11"/>
                  </a:cubicBezTo>
                  <a:cubicBezTo>
                    <a:pt x="138" y="107"/>
                    <a:pt x="138" y="107"/>
                    <a:pt x="138" y="107"/>
                  </a:cubicBezTo>
                  <a:cubicBezTo>
                    <a:pt x="138" y="113"/>
                    <a:pt x="143" y="117"/>
                    <a:pt x="149" y="117"/>
                  </a:cubicBezTo>
                  <a:cubicBezTo>
                    <a:pt x="155" y="117"/>
                    <a:pt x="159" y="113"/>
                    <a:pt x="159"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7" name="Freeform 416"/>
            <p:cNvSpPr>
              <a:spLocks noEditPoints="1"/>
            </p:cNvSpPr>
            <p:nvPr/>
          </p:nvSpPr>
          <p:spPr bwMode="auto">
            <a:xfrm>
              <a:off x="5036" y="1587"/>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68" name="Freeform 420"/>
          <p:cNvSpPr>
            <a:spLocks noChangeAspect="1" noEditPoints="1"/>
          </p:cNvSpPr>
          <p:nvPr/>
        </p:nvSpPr>
        <p:spPr bwMode="auto">
          <a:xfrm>
            <a:off x="6308044" y="253017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107 h 512"/>
              <a:gd name="T12" fmla="*/ 256 w 512"/>
              <a:gd name="T13" fmla="*/ 96 h 512"/>
              <a:gd name="T14" fmla="*/ 266 w 512"/>
              <a:gd name="T15" fmla="*/ 107 h 512"/>
              <a:gd name="T16" fmla="*/ 266 w 512"/>
              <a:gd name="T17" fmla="*/ 203 h 512"/>
              <a:gd name="T18" fmla="*/ 256 w 512"/>
              <a:gd name="T19" fmla="*/ 213 h 512"/>
              <a:gd name="T20" fmla="*/ 245 w 512"/>
              <a:gd name="T21" fmla="*/ 203 h 512"/>
              <a:gd name="T22" fmla="*/ 245 w 512"/>
              <a:gd name="T23" fmla="*/ 107 h 512"/>
              <a:gd name="T24" fmla="*/ 256 w 512"/>
              <a:gd name="T25" fmla="*/ 405 h 512"/>
              <a:gd name="T26" fmla="*/ 107 w 512"/>
              <a:gd name="T27" fmla="*/ 256 h 512"/>
              <a:gd name="T28" fmla="*/ 206 w 512"/>
              <a:gd name="T29" fmla="*/ 116 h 512"/>
              <a:gd name="T30" fmla="*/ 220 w 512"/>
              <a:gd name="T31" fmla="*/ 123 h 512"/>
              <a:gd name="T32" fmla="*/ 213 w 512"/>
              <a:gd name="T33" fmla="*/ 136 h 512"/>
              <a:gd name="T34" fmla="*/ 128 w 512"/>
              <a:gd name="T35" fmla="*/ 256 h 512"/>
              <a:gd name="T36" fmla="*/ 256 w 512"/>
              <a:gd name="T37" fmla="*/ 384 h 512"/>
              <a:gd name="T38" fmla="*/ 383 w 512"/>
              <a:gd name="T39" fmla="*/ 256 h 512"/>
              <a:gd name="T40" fmla="*/ 298 w 512"/>
              <a:gd name="T41" fmla="*/ 136 h 512"/>
              <a:gd name="T42" fmla="*/ 292 w 512"/>
              <a:gd name="T43" fmla="*/ 122 h 512"/>
              <a:gd name="T44" fmla="*/ 305 w 512"/>
              <a:gd name="T45" fmla="*/ 116 h 512"/>
              <a:gd name="T46" fmla="*/ 405 w 512"/>
              <a:gd name="T47" fmla="*/ 256 h 512"/>
              <a:gd name="T48" fmla="*/ 256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45" y="107"/>
                </a:moveTo>
                <a:cubicBezTo>
                  <a:pt x="245" y="101"/>
                  <a:pt x="250" y="96"/>
                  <a:pt x="256" y="96"/>
                </a:cubicBezTo>
                <a:cubicBezTo>
                  <a:pt x="262" y="96"/>
                  <a:pt x="266" y="101"/>
                  <a:pt x="266" y="107"/>
                </a:cubicBezTo>
                <a:cubicBezTo>
                  <a:pt x="266" y="203"/>
                  <a:pt x="266" y="203"/>
                  <a:pt x="266" y="203"/>
                </a:cubicBezTo>
                <a:cubicBezTo>
                  <a:pt x="266" y="209"/>
                  <a:pt x="262" y="213"/>
                  <a:pt x="256" y="213"/>
                </a:cubicBezTo>
                <a:cubicBezTo>
                  <a:pt x="250" y="213"/>
                  <a:pt x="245" y="209"/>
                  <a:pt x="245" y="203"/>
                </a:cubicBezTo>
                <a:lnTo>
                  <a:pt x="245" y="107"/>
                </a:lnTo>
                <a:close/>
                <a:moveTo>
                  <a:pt x="256" y="405"/>
                </a:moveTo>
                <a:cubicBezTo>
                  <a:pt x="174" y="405"/>
                  <a:pt x="107" y="339"/>
                  <a:pt x="107" y="256"/>
                </a:cubicBezTo>
                <a:cubicBezTo>
                  <a:pt x="107" y="193"/>
                  <a:pt x="147" y="137"/>
                  <a:pt x="206" y="116"/>
                </a:cubicBezTo>
                <a:cubicBezTo>
                  <a:pt x="212" y="114"/>
                  <a:pt x="218" y="117"/>
                  <a:pt x="220" y="123"/>
                </a:cubicBezTo>
                <a:cubicBezTo>
                  <a:pt x="222" y="128"/>
                  <a:pt x="219" y="134"/>
                  <a:pt x="213" y="136"/>
                </a:cubicBezTo>
                <a:cubicBezTo>
                  <a:pt x="162" y="154"/>
                  <a:pt x="128" y="202"/>
                  <a:pt x="128" y="256"/>
                </a:cubicBezTo>
                <a:cubicBezTo>
                  <a:pt x="128" y="327"/>
                  <a:pt x="185" y="384"/>
                  <a:pt x="256" y="384"/>
                </a:cubicBezTo>
                <a:cubicBezTo>
                  <a:pt x="326" y="384"/>
                  <a:pt x="383" y="327"/>
                  <a:pt x="383" y="256"/>
                </a:cubicBezTo>
                <a:cubicBezTo>
                  <a:pt x="383" y="202"/>
                  <a:pt x="349" y="154"/>
                  <a:pt x="298" y="136"/>
                </a:cubicBezTo>
                <a:cubicBezTo>
                  <a:pt x="293" y="134"/>
                  <a:pt x="290" y="128"/>
                  <a:pt x="292" y="122"/>
                </a:cubicBezTo>
                <a:cubicBezTo>
                  <a:pt x="294" y="117"/>
                  <a:pt x="300" y="114"/>
                  <a:pt x="305" y="116"/>
                </a:cubicBezTo>
                <a:cubicBezTo>
                  <a:pt x="365" y="137"/>
                  <a:pt x="405" y="193"/>
                  <a:pt x="405" y="256"/>
                </a:cubicBezTo>
                <a:cubicBezTo>
                  <a:pt x="405" y="339"/>
                  <a:pt x="338" y="405"/>
                  <a:pt x="256" y="40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9" name="TextBox 668"/>
          <p:cNvSpPr txBox="1"/>
          <p:nvPr/>
        </p:nvSpPr>
        <p:spPr>
          <a:xfrm>
            <a:off x="4596188"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pload</a:t>
            </a:r>
          </a:p>
        </p:txBody>
      </p:sp>
      <p:grpSp>
        <p:nvGrpSpPr>
          <p:cNvPr id="670" name="Group 786"/>
          <p:cNvGrpSpPr>
            <a:grpSpLocks noChangeAspect="1"/>
          </p:cNvGrpSpPr>
          <p:nvPr/>
        </p:nvGrpSpPr>
        <p:grpSpPr bwMode="auto">
          <a:xfrm>
            <a:off x="5033128" y="4181784"/>
            <a:ext cx="369676" cy="369676"/>
            <a:chOff x="405" y="2684"/>
            <a:chExt cx="340" cy="340"/>
          </a:xfrm>
          <a:solidFill>
            <a:schemeClr val="accent2"/>
          </a:solidFill>
        </p:grpSpPr>
        <p:sp>
          <p:nvSpPr>
            <p:cNvPr id="671" name="Freeform 670"/>
            <p:cNvSpPr>
              <a:spLocks noEditPoints="1"/>
            </p:cNvSpPr>
            <p:nvPr/>
          </p:nvSpPr>
          <p:spPr bwMode="auto">
            <a:xfrm>
              <a:off x="497" y="2747"/>
              <a:ext cx="156" cy="213"/>
            </a:xfrm>
            <a:custGeom>
              <a:avLst/>
              <a:gdLst>
                <a:gd name="T0" fmla="*/ 25 w 235"/>
                <a:gd name="T1" fmla="*/ 104 h 321"/>
                <a:gd name="T2" fmla="*/ 25 w 235"/>
                <a:gd name="T3" fmla="*/ 89 h 321"/>
                <a:gd name="T4" fmla="*/ 110 w 235"/>
                <a:gd name="T5" fmla="*/ 4 h 321"/>
                <a:gd name="T6" fmla="*/ 114 w 235"/>
                <a:gd name="T7" fmla="*/ 1 h 321"/>
                <a:gd name="T8" fmla="*/ 122 w 235"/>
                <a:gd name="T9" fmla="*/ 1 h 321"/>
                <a:gd name="T10" fmla="*/ 125 w 235"/>
                <a:gd name="T11" fmla="*/ 4 h 321"/>
                <a:gd name="T12" fmla="*/ 211 w 235"/>
                <a:gd name="T13" fmla="*/ 89 h 321"/>
                <a:gd name="T14" fmla="*/ 211 w 235"/>
                <a:gd name="T15" fmla="*/ 104 h 321"/>
                <a:gd name="T16" fmla="*/ 203 w 235"/>
                <a:gd name="T17" fmla="*/ 107 h 321"/>
                <a:gd name="T18" fmla="*/ 195 w 235"/>
                <a:gd name="T19" fmla="*/ 104 h 321"/>
                <a:gd name="T20" fmla="*/ 128 w 235"/>
                <a:gd name="T21" fmla="*/ 37 h 321"/>
                <a:gd name="T22" fmla="*/ 128 w 235"/>
                <a:gd name="T23" fmla="*/ 267 h 321"/>
                <a:gd name="T24" fmla="*/ 118 w 235"/>
                <a:gd name="T25" fmla="*/ 278 h 321"/>
                <a:gd name="T26" fmla="*/ 107 w 235"/>
                <a:gd name="T27" fmla="*/ 267 h 321"/>
                <a:gd name="T28" fmla="*/ 107 w 235"/>
                <a:gd name="T29" fmla="*/ 37 h 321"/>
                <a:gd name="T30" fmla="*/ 40 w 235"/>
                <a:gd name="T31" fmla="*/ 104 h 321"/>
                <a:gd name="T32" fmla="*/ 32 w 235"/>
                <a:gd name="T33" fmla="*/ 107 h 321"/>
                <a:gd name="T34" fmla="*/ 25 w 235"/>
                <a:gd name="T35" fmla="*/ 104 h 321"/>
                <a:gd name="T36" fmla="*/ 224 w 235"/>
                <a:gd name="T37" fmla="*/ 257 h 321"/>
                <a:gd name="T38" fmla="*/ 214 w 235"/>
                <a:gd name="T39" fmla="*/ 267 h 321"/>
                <a:gd name="T40" fmla="*/ 214 w 235"/>
                <a:gd name="T41" fmla="*/ 299 h 321"/>
                <a:gd name="T42" fmla="*/ 22 w 235"/>
                <a:gd name="T43" fmla="*/ 299 h 321"/>
                <a:gd name="T44" fmla="*/ 22 w 235"/>
                <a:gd name="T45" fmla="*/ 267 h 321"/>
                <a:gd name="T46" fmla="*/ 11 w 235"/>
                <a:gd name="T47" fmla="*/ 257 h 321"/>
                <a:gd name="T48" fmla="*/ 0 w 235"/>
                <a:gd name="T49" fmla="*/ 267 h 321"/>
                <a:gd name="T50" fmla="*/ 0 w 235"/>
                <a:gd name="T51" fmla="*/ 310 h 321"/>
                <a:gd name="T52" fmla="*/ 11 w 235"/>
                <a:gd name="T53" fmla="*/ 321 h 321"/>
                <a:gd name="T54" fmla="*/ 224 w 235"/>
                <a:gd name="T55" fmla="*/ 321 h 321"/>
                <a:gd name="T56" fmla="*/ 235 w 235"/>
                <a:gd name="T57" fmla="*/ 310 h 321"/>
                <a:gd name="T58" fmla="*/ 235 w 235"/>
                <a:gd name="T59" fmla="*/ 267 h 321"/>
                <a:gd name="T60" fmla="*/ 224 w 235"/>
                <a:gd name="T61" fmla="*/ 25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1">
                  <a:moveTo>
                    <a:pt x="25" y="104"/>
                  </a:moveTo>
                  <a:cubicBezTo>
                    <a:pt x="21" y="100"/>
                    <a:pt x="21" y="93"/>
                    <a:pt x="25" y="89"/>
                  </a:cubicBezTo>
                  <a:cubicBezTo>
                    <a:pt x="110" y="4"/>
                    <a:pt x="110" y="4"/>
                    <a:pt x="110" y="4"/>
                  </a:cubicBezTo>
                  <a:cubicBezTo>
                    <a:pt x="111" y="3"/>
                    <a:pt x="112" y="2"/>
                    <a:pt x="114" y="1"/>
                  </a:cubicBezTo>
                  <a:cubicBezTo>
                    <a:pt x="116" y="0"/>
                    <a:pt x="119" y="0"/>
                    <a:pt x="122" y="1"/>
                  </a:cubicBezTo>
                  <a:cubicBezTo>
                    <a:pt x="123" y="2"/>
                    <a:pt x="124" y="3"/>
                    <a:pt x="125" y="4"/>
                  </a:cubicBezTo>
                  <a:cubicBezTo>
                    <a:pt x="211" y="89"/>
                    <a:pt x="211" y="89"/>
                    <a:pt x="211" y="89"/>
                  </a:cubicBezTo>
                  <a:cubicBezTo>
                    <a:pt x="215" y="93"/>
                    <a:pt x="215" y="100"/>
                    <a:pt x="211" y="104"/>
                  </a:cubicBezTo>
                  <a:cubicBezTo>
                    <a:pt x="208" y="106"/>
                    <a:pt x="206" y="107"/>
                    <a:pt x="203" y="107"/>
                  </a:cubicBezTo>
                  <a:cubicBezTo>
                    <a:pt x="200" y="107"/>
                    <a:pt x="198" y="106"/>
                    <a:pt x="195" y="104"/>
                  </a:cubicBezTo>
                  <a:cubicBezTo>
                    <a:pt x="128" y="37"/>
                    <a:pt x="128" y="37"/>
                    <a:pt x="128" y="37"/>
                  </a:cubicBezTo>
                  <a:cubicBezTo>
                    <a:pt x="128" y="267"/>
                    <a:pt x="128" y="267"/>
                    <a:pt x="128" y="267"/>
                  </a:cubicBezTo>
                  <a:cubicBezTo>
                    <a:pt x="128" y="273"/>
                    <a:pt x="124" y="278"/>
                    <a:pt x="118" y="278"/>
                  </a:cubicBezTo>
                  <a:cubicBezTo>
                    <a:pt x="112" y="278"/>
                    <a:pt x="107" y="273"/>
                    <a:pt x="107" y="267"/>
                  </a:cubicBezTo>
                  <a:cubicBezTo>
                    <a:pt x="107" y="37"/>
                    <a:pt x="107" y="37"/>
                    <a:pt x="107" y="37"/>
                  </a:cubicBezTo>
                  <a:cubicBezTo>
                    <a:pt x="40" y="104"/>
                    <a:pt x="40" y="104"/>
                    <a:pt x="40" y="104"/>
                  </a:cubicBezTo>
                  <a:cubicBezTo>
                    <a:pt x="38" y="106"/>
                    <a:pt x="35" y="107"/>
                    <a:pt x="32" y="107"/>
                  </a:cubicBezTo>
                  <a:cubicBezTo>
                    <a:pt x="30" y="107"/>
                    <a:pt x="27" y="106"/>
                    <a:pt x="25" y="104"/>
                  </a:cubicBezTo>
                  <a:close/>
                  <a:moveTo>
                    <a:pt x="224" y="257"/>
                  </a:moveTo>
                  <a:cubicBezTo>
                    <a:pt x="218" y="257"/>
                    <a:pt x="214" y="261"/>
                    <a:pt x="214" y="267"/>
                  </a:cubicBezTo>
                  <a:cubicBezTo>
                    <a:pt x="214" y="299"/>
                    <a:pt x="214" y="299"/>
                    <a:pt x="214" y="299"/>
                  </a:cubicBezTo>
                  <a:cubicBezTo>
                    <a:pt x="22" y="299"/>
                    <a:pt x="22" y="299"/>
                    <a:pt x="22" y="299"/>
                  </a:cubicBezTo>
                  <a:cubicBezTo>
                    <a:pt x="22" y="267"/>
                    <a:pt x="22" y="267"/>
                    <a:pt x="22" y="267"/>
                  </a:cubicBezTo>
                  <a:cubicBezTo>
                    <a:pt x="22" y="261"/>
                    <a:pt x="17" y="257"/>
                    <a:pt x="11" y="257"/>
                  </a:cubicBezTo>
                  <a:cubicBezTo>
                    <a:pt x="5" y="257"/>
                    <a:pt x="0" y="261"/>
                    <a:pt x="0" y="267"/>
                  </a:cubicBezTo>
                  <a:cubicBezTo>
                    <a:pt x="0" y="310"/>
                    <a:pt x="0" y="310"/>
                    <a:pt x="0" y="310"/>
                  </a:cubicBezTo>
                  <a:cubicBezTo>
                    <a:pt x="0" y="316"/>
                    <a:pt x="5" y="321"/>
                    <a:pt x="11" y="321"/>
                  </a:cubicBezTo>
                  <a:cubicBezTo>
                    <a:pt x="224" y="321"/>
                    <a:pt x="224" y="321"/>
                    <a:pt x="224" y="321"/>
                  </a:cubicBezTo>
                  <a:cubicBezTo>
                    <a:pt x="230" y="321"/>
                    <a:pt x="235" y="316"/>
                    <a:pt x="235" y="310"/>
                  </a:cubicBezTo>
                  <a:cubicBezTo>
                    <a:pt x="235" y="267"/>
                    <a:pt x="235" y="267"/>
                    <a:pt x="235" y="267"/>
                  </a:cubicBezTo>
                  <a:cubicBezTo>
                    <a:pt x="235" y="261"/>
                    <a:pt x="230" y="257"/>
                    <a:pt x="224" y="2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2" name="Freeform 671"/>
            <p:cNvSpPr>
              <a:spLocks noEditPoints="1"/>
            </p:cNvSpPr>
            <p:nvPr/>
          </p:nvSpPr>
          <p:spPr bwMode="auto">
            <a:xfrm>
              <a:off x="405" y="26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3" name="Freeform 792"/>
          <p:cNvSpPr>
            <a:spLocks noChangeAspect="1" noEditPoints="1"/>
          </p:cNvSpPr>
          <p:nvPr/>
        </p:nvSpPr>
        <p:spPr bwMode="auto">
          <a:xfrm>
            <a:off x="4611624" y="418178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74" name="TextBox 673"/>
          <p:cNvSpPr txBox="1"/>
          <p:nvPr/>
        </p:nvSpPr>
        <p:spPr>
          <a:xfrm>
            <a:off x="7120446"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ve</a:t>
            </a:r>
          </a:p>
        </p:txBody>
      </p:sp>
      <p:grpSp>
        <p:nvGrpSpPr>
          <p:cNvPr id="675" name="Group 943"/>
          <p:cNvGrpSpPr>
            <a:grpSpLocks noChangeAspect="1"/>
          </p:cNvGrpSpPr>
          <p:nvPr/>
        </p:nvGrpSpPr>
        <p:grpSpPr bwMode="auto">
          <a:xfrm>
            <a:off x="7554183" y="4182439"/>
            <a:ext cx="369021" cy="369021"/>
            <a:chOff x="397" y="3492"/>
            <a:chExt cx="340" cy="340"/>
          </a:xfrm>
          <a:solidFill>
            <a:schemeClr val="accent4"/>
          </a:solidFill>
        </p:grpSpPr>
        <p:sp>
          <p:nvSpPr>
            <p:cNvPr id="676" name="Freeform 944"/>
            <p:cNvSpPr>
              <a:spLocks noEditPoints="1"/>
            </p:cNvSpPr>
            <p:nvPr/>
          </p:nvSpPr>
          <p:spPr bwMode="auto">
            <a:xfrm>
              <a:off x="397" y="34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7" name="Freeform 945"/>
            <p:cNvSpPr>
              <a:spLocks noEditPoints="1"/>
            </p:cNvSpPr>
            <p:nvPr/>
          </p:nvSpPr>
          <p:spPr bwMode="auto">
            <a:xfrm>
              <a:off x="475" y="3570"/>
              <a:ext cx="184" cy="184"/>
            </a:xfrm>
            <a:custGeom>
              <a:avLst/>
              <a:gdLst>
                <a:gd name="T0" fmla="*/ 274 w 277"/>
                <a:gd name="T1" fmla="*/ 46 h 277"/>
                <a:gd name="T2" fmla="*/ 232 w 277"/>
                <a:gd name="T3" fmla="*/ 3 h 277"/>
                <a:gd name="T4" fmla="*/ 224 w 277"/>
                <a:gd name="T5" fmla="*/ 0 h 277"/>
                <a:gd name="T6" fmla="*/ 11 w 277"/>
                <a:gd name="T7" fmla="*/ 0 h 277"/>
                <a:gd name="T8" fmla="*/ 0 w 277"/>
                <a:gd name="T9" fmla="*/ 11 h 277"/>
                <a:gd name="T10" fmla="*/ 0 w 277"/>
                <a:gd name="T11" fmla="*/ 267 h 277"/>
                <a:gd name="T12" fmla="*/ 11 w 277"/>
                <a:gd name="T13" fmla="*/ 277 h 277"/>
                <a:gd name="T14" fmla="*/ 267 w 277"/>
                <a:gd name="T15" fmla="*/ 277 h 277"/>
                <a:gd name="T16" fmla="*/ 277 w 277"/>
                <a:gd name="T17" fmla="*/ 267 h 277"/>
                <a:gd name="T18" fmla="*/ 277 w 277"/>
                <a:gd name="T19" fmla="*/ 53 h 277"/>
                <a:gd name="T20" fmla="*/ 274 w 277"/>
                <a:gd name="T21" fmla="*/ 46 h 277"/>
                <a:gd name="T22" fmla="*/ 85 w 277"/>
                <a:gd name="T23" fmla="*/ 21 h 277"/>
                <a:gd name="T24" fmla="*/ 192 w 277"/>
                <a:gd name="T25" fmla="*/ 21 h 277"/>
                <a:gd name="T26" fmla="*/ 192 w 277"/>
                <a:gd name="T27" fmla="*/ 85 h 277"/>
                <a:gd name="T28" fmla="*/ 85 w 277"/>
                <a:gd name="T29" fmla="*/ 85 h 277"/>
                <a:gd name="T30" fmla="*/ 85 w 277"/>
                <a:gd name="T31" fmla="*/ 21 h 277"/>
                <a:gd name="T32" fmla="*/ 213 w 277"/>
                <a:gd name="T33" fmla="*/ 256 h 277"/>
                <a:gd name="T34" fmla="*/ 64 w 277"/>
                <a:gd name="T35" fmla="*/ 256 h 277"/>
                <a:gd name="T36" fmla="*/ 64 w 277"/>
                <a:gd name="T37" fmla="*/ 149 h 277"/>
                <a:gd name="T38" fmla="*/ 213 w 277"/>
                <a:gd name="T39" fmla="*/ 149 h 277"/>
                <a:gd name="T40" fmla="*/ 213 w 277"/>
                <a:gd name="T41" fmla="*/ 256 h 277"/>
                <a:gd name="T42" fmla="*/ 256 w 277"/>
                <a:gd name="T43" fmla="*/ 256 h 277"/>
                <a:gd name="T44" fmla="*/ 235 w 277"/>
                <a:gd name="T45" fmla="*/ 256 h 277"/>
                <a:gd name="T46" fmla="*/ 235 w 277"/>
                <a:gd name="T47" fmla="*/ 139 h 277"/>
                <a:gd name="T48" fmla="*/ 224 w 277"/>
                <a:gd name="T49" fmla="*/ 128 h 277"/>
                <a:gd name="T50" fmla="*/ 53 w 277"/>
                <a:gd name="T51" fmla="*/ 128 h 277"/>
                <a:gd name="T52" fmla="*/ 43 w 277"/>
                <a:gd name="T53" fmla="*/ 139 h 277"/>
                <a:gd name="T54" fmla="*/ 43 w 277"/>
                <a:gd name="T55" fmla="*/ 256 h 277"/>
                <a:gd name="T56" fmla="*/ 21 w 277"/>
                <a:gd name="T57" fmla="*/ 256 h 277"/>
                <a:gd name="T58" fmla="*/ 21 w 277"/>
                <a:gd name="T59" fmla="*/ 21 h 277"/>
                <a:gd name="T60" fmla="*/ 64 w 277"/>
                <a:gd name="T61" fmla="*/ 21 h 277"/>
                <a:gd name="T62" fmla="*/ 64 w 277"/>
                <a:gd name="T63" fmla="*/ 96 h 277"/>
                <a:gd name="T64" fmla="*/ 75 w 277"/>
                <a:gd name="T65" fmla="*/ 107 h 277"/>
                <a:gd name="T66" fmla="*/ 203 w 277"/>
                <a:gd name="T67" fmla="*/ 107 h 277"/>
                <a:gd name="T68" fmla="*/ 213 w 277"/>
                <a:gd name="T69" fmla="*/ 96 h 277"/>
                <a:gd name="T70" fmla="*/ 213 w 277"/>
                <a:gd name="T71" fmla="*/ 21 h 277"/>
                <a:gd name="T72" fmla="*/ 220 w 277"/>
                <a:gd name="T73" fmla="*/ 21 h 277"/>
                <a:gd name="T74" fmla="*/ 256 w 277"/>
                <a:gd name="T75" fmla="*/ 58 h 277"/>
                <a:gd name="T76" fmla="*/ 256 w 277"/>
                <a:gd name="T77" fmla="*/ 256 h 277"/>
                <a:gd name="T78" fmla="*/ 85 w 277"/>
                <a:gd name="T79" fmla="*/ 181 h 277"/>
                <a:gd name="T80" fmla="*/ 96 w 277"/>
                <a:gd name="T81" fmla="*/ 171 h 277"/>
                <a:gd name="T82" fmla="*/ 181 w 277"/>
                <a:gd name="T83" fmla="*/ 171 h 277"/>
                <a:gd name="T84" fmla="*/ 192 w 277"/>
                <a:gd name="T85" fmla="*/ 181 h 277"/>
                <a:gd name="T86" fmla="*/ 181 w 277"/>
                <a:gd name="T87" fmla="*/ 192 h 277"/>
                <a:gd name="T88" fmla="*/ 96 w 277"/>
                <a:gd name="T89" fmla="*/ 192 h 277"/>
                <a:gd name="T90" fmla="*/ 85 w 277"/>
                <a:gd name="T91" fmla="*/ 181 h 277"/>
                <a:gd name="T92" fmla="*/ 85 w 277"/>
                <a:gd name="T93" fmla="*/ 224 h 277"/>
                <a:gd name="T94" fmla="*/ 96 w 277"/>
                <a:gd name="T95" fmla="*/ 213 h 277"/>
                <a:gd name="T96" fmla="*/ 181 w 277"/>
                <a:gd name="T97" fmla="*/ 213 h 277"/>
                <a:gd name="T98" fmla="*/ 192 w 277"/>
                <a:gd name="T99" fmla="*/ 224 h 277"/>
                <a:gd name="T100" fmla="*/ 181 w 277"/>
                <a:gd name="T101" fmla="*/ 235 h 277"/>
                <a:gd name="T102" fmla="*/ 96 w 277"/>
                <a:gd name="T103" fmla="*/ 235 h 277"/>
                <a:gd name="T104" fmla="*/ 85 w 277"/>
                <a:gd name="T105" fmla="*/ 22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274" y="46"/>
                  </a:moveTo>
                  <a:cubicBezTo>
                    <a:pt x="232" y="3"/>
                    <a:pt x="232" y="3"/>
                    <a:pt x="232" y="3"/>
                  </a:cubicBezTo>
                  <a:cubicBezTo>
                    <a:pt x="230" y="1"/>
                    <a:pt x="227" y="0"/>
                    <a:pt x="224"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53"/>
                    <a:pt x="277" y="53"/>
                    <a:pt x="277" y="53"/>
                  </a:cubicBezTo>
                  <a:cubicBezTo>
                    <a:pt x="277" y="50"/>
                    <a:pt x="276" y="48"/>
                    <a:pt x="274" y="46"/>
                  </a:cubicBezTo>
                  <a:close/>
                  <a:moveTo>
                    <a:pt x="85" y="21"/>
                  </a:moveTo>
                  <a:cubicBezTo>
                    <a:pt x="192" y="21"/>
                    <a:pt x="192" y="21"/>
                    <a:pt x="192" y="21"/>
                  </a:cubicBezTo>
                  <a:cubicBezTo>
                    <a:pt x="192" y="85"/>
                    <a:pt x="192" y="85"/>
                    <a:pt x="192" y="85"/>
                  </a:cubicBezTo>
                  <a:cubicBezTo>
                    <a:pt x="85" y="85"/>
                    <a:pt x="85" y="85"/>
                    <a:pt x="85" y="85"/>
                  </a:cubicBezTo>
                  <a:lnTo>
                    <a:pt x="85" y="21"/>
                  </a:lnTo>
                  <a:close/>
                  <a:moveTo>
                    <a:pt x="213" y="256"/>
                  </a:moveTo>
                  <a:cubicBezTo>
                    <a:pt x="64" y="256"/>
                    <a:pt x="64" y="256"/>
                    <a:pt x="64" y="256"/>
                  </a:cubicBezTo>
                  <a:cubicBezTo>
                    <a:pt x="64" y="149"/>
                    <a:pt x="64" y="149"/>
                    <a:pt x="64" y="149"/>
                  </a:cubicBezTo>
                  <a:cubicBezTo>
                    <a:pt x="213" y="149"/>
                    <a:pt x="213" y="149"/>
                    <a:pt x="213" y="149"/>
                  </a:cubicBezTo>
                  <a:lnTo>
                    <a:pt x="213" y="256"/>
                  </a:lnTo>
                  <a:close/>
                  <a:moveTo>
                    <a:pt x="256" y="256"/>
                  </a:moveTo>
                  <a:cubicBezTo>
                    <a:pt x="235" y="256"/>
                    <a:pt x="235" y="256"/>
                    <a:pt x="235" y="256"/>
                  </a:cubicBezTo>
                  <a:cubicBezTo>
                    <a:pt x="235" y="139"/>
                    <a:pt x="235" y="139"/>
                    <a:pt x="235" y="139"/>
                  </a:cubicBezTo>
                  <a:cubicBezTo>
                    <a:pt x="235" y="133"/>
                    <a:pt x="230" y="128"/>
                    <a:pt x="224" y="128"/>
                  </a:cubicBezTo>
                  <a:cubicBezTo>
                    <a:pt x="53" y="128"/>
                    <a:pt x="53" y="128"/>
                    <a:pt x="53" y="128"/>
                  </a:cubicBezTo>
                  <a:cubicBezTo>
                    <a:pt x="47" y="128"/>
                    <a:pt x="43" y="133"/>
                    <a:pt x="43" y="139"/>
                  </a:cubicBezTo>
                  <a:cubicBezTo>
                    <a:pt x="43" y="256"/>
                    <a:pt x="43" y="256"/>
                    <a:pt x="43" y="256"/>
                  </a:cubicBezTo>
                  <a:cubicBezTo>
                    <a:pt x="21" y="256"/>
                    <a:pt x="21" y="256"/>
                    <a:pt x="21" y="256"/>
                  </a:cubicBezTo>
                  <a:cubicBezTo>
                    <a:pt x="21" y="21"/>
                    <a:pt x="21" y="21"/>
                    <a:pt x="21" y="21"/>
                  </a:cubicBezTo>
                  <a:cubicBezTo>
                    <a:pt x="64" y="21"/>
                    <a:pt x="64" y="21"/>
                    <a:pt x="64" y="21"/>
                  </a:cubicBezTo>
                  <a:cubicBezTo>
                    <a:pt x="64" y="96"/>
                    <a:pt x="64" y="96"/>
                    <a:pt x="64" y="96"/>
                  </a:cubicBezTo>
                  <a:cubicBezTo>
                    <a:pt x="64" y="102"/>
                    <a:pt x="69" y="107"/>
                    <a:pt x="75" y="107"/>
                  </a:cubicBezTo>
                  <a:cubicBezTo>
                    <a:pt x="203" y="107"/>
                    <a:pt x="203" y="107"/>
                    <a:pt x="203" y="107"/>
                  </a:cubicBezTo>
                  <a:cubicBezTo>
                    <a:pt x="209" y="107"/>
                    <a:pt x="213" y="102"/>
                    <a:pt x="213" y="96"/>
                  </a:cubicBezTo>
                  <a:cubicBezTo>
                    <a:pt x="213" y="21"/>
                    <a:pt x="213" y="21"/>
                    <a:pt x="213" y="21"/>
                  </a:cubicBezTo>
                  <a:cubicBezTo>
                    <a:pt x="220" y="21"/>
                    <a:pt x="220" y="21"/>
                    <a:pt x="220" y="21"/>
                  </a:cubicBezTo>
                  <a:cubicBezTo>
                    <a:pt x="256" y="58"/>
                    <a:pt x="256" y="58"/>
                    <a:pt x="256" y="58"/>
                  </a:cubicBezTo>
                  <a:lnTo>
                    <a:pt x="256" y="256"/>
                  </a:lnTo>
                  <a:close/>
                  <a:moveTo>
                    <a:pt x="85" y="181"/>
                  </a:moveTo>
                  <a:cubicBezTo>
                    <a:pt x="85" y="175"/>
                    <a:pt x="90" y="171"/>
                    <a:pt x="96" y="171"/>
                  </a:cubicBezTo>
                  <a:cubicBezTo>
                    <a:pt x="181" y="171"/>
                    <a:pt x="181" y="171"/>
                    <a:pt x="181" y="171"/>
                  </a:cubicBezTo>
                  <a:cubicBezTo>
                    <a:pt x="187" y="171"/>
                    <a:pt x="192" y="175"/>
                    <a:pt x="192" y="181"/>
                  </a:cubicBezTo>
                  <a:cubicBezTo>
                    <a:pt x="192" y="187"/>
                    <a:pt x="187" y="192"/>
                    <a:pt x="181" y="192"/>
                  </a:cubicBezTo>
                  <a:cubicBezTo>
                    <a:pt x="96" y="192"/>
                    <a:pt x="96" y="192"/>
                    <a:pt x="96" y="192"/>
                  </a:cubicBezTo>
                  <a:cubicBezTo>
                    <a:pt x="90" y="192"/>
                    <a:pt x="85" y="187"/>
                    <a:pt x="85" y="181"/>
                  </a:cubicBezTo>
                  <a:close/>
                  <a:moveTo>
                    <a:pt x="85" y="224"/>
                  </a:moveTo>
                  <a:cubicBezTo>
                    <a:pt x="85" y="218"/>
                    <a:pt x="90" y="213"/>
                    <a:pt x="96" y="213"/>
                  </a:cubicBezTo>
                  <a:cubicBezTo>
                    <a:pt x="181" y="213"/>
                    <a:pt x="181" y="213"/>
                    <a:pt x="181" y="213"/>
                  </a:cubicBezTo>
                  <a:cubicBezTo>
                    <a:pt x="187" y="213"/>
                    <a:pt x="192" y="218"/>
                    <a:pt x="192" y="224"/>
                  </a:cubicBezTo>
                  <a:cubicBezTo>
                    <a:pt x="192" y="230"/>
                    <a:pt x="187" y="235"/>
                    <a:pt x="181" y="235"/>
                  </a:cubicBezTo>
                  <a:cubicBezTo>
                    <a:pt x="96" y="235"/>
                    <a:pt x="96" y="235"/>
                    <a:pt x="96" y="235"/>
                  </a:cubicBezTo>
                  <a:cubicBezTo>
                    <a:pt x="90" y="235"/>
                    <a:pt x="85" y="230"/>
                    <a:pt x="85"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8" name="Freeform 13"/>
          <p:cNvSpPr>
            <a:spLocks noChangeAspect="1" noEditPoints="1"/>
          </p:cNvSpPr>
          <p:nvPr/>
        </p:nvSpPr>
        <p:spPr bwMode="auto">
          <a:xfrm>
            <a:off x="7132468" y="4181572"/>
            <a:ext cx="369887" cy="369888"/>
          </a:xfrm>
          <a:custGeom>
            <a:avLst/>
            <a:gdLst>
              <a:gd name="T0" fmla="*/ 181 w 512"/>
              <a:gd name="T1" fmla="*/ 373 h 512"/>
              <a:gd name="T2" fmla="*/ 330 w 512"/>
              <a:gd name="T3" fmla="*/ 373 h 512"/>
              <a:gd name="T4" fmla="*/ 330 w 512"/>
              <a:gd name="T5" fmla="*/ 266 h 512"/>
              <a:gd name="T6" fmla="*/ 181 w 512"/>
              <a:gd name="T7" fmla="*/ 266 h 512"/>
              <a:gd name="T8" fmla="*/ 181 w 512"/>
              <a:gd name="T9" fmla="*/ 373 h 512"/>
              <a:gd name="T10" fmla="*/ 213 w 512"/>
              <a:gd name="T11" fmla="*/ 288 h 512"/>
              <a:gd name="T12" fmla="*/ 298 w 512"/>
              <a:gd name="T13" fmla="*/ 288 h 512"/>
              <a:gd name="T14" fmla="*/ 309 w 512"/>
              <a:gd name="T15" fmla="*/ 298 h 512"/>
              <a:gd name="T16" fmla="*/ 298 w 512"/>
              <a:gd name="T17" fmla="*/ 309 h 512"/>
              <a:gd name="T18" fmla="*/ 213 w 512"/>
              <a:gd name="T19" fmla="*/ 309 h 512"/>
              <a:gd name="T20" fmla="*/ 202 w 512"/>
              <a:gd name="T21" fmla="*/ 298 h 512"/>
              <a:gd name="T22" fmla="*/ 213 w 512"/>
              <a:gd name="T23" fmla="*/ 288 h 512"/>
              <a:gd name="T24" fmla="*/ 213 w 512"/>
              <a:gd name="T25" fmla="*/ 330 h 512"/>
              <a:gd name="T26" fmla="*/ 298 w 512"/>
              <a:gd name="T27" fmla="*/ 330 h 512"/>
              <a:gd name="T28" fmla="*/ 309 w 512"/>
              <a:gd name="T29" fmla="*/ 341 h 512"/>
              <a:gd name="T30" fmla="*/ 298 w 512"/>
              <a:gd name="T31" fmla="*/ 352 h 512"/>
              <a:gd name="T32" fmla="*/ 213 w 512"/>
              <a:gd name="T33" fmla="*/ 352 h 512"/>
              <a:gd name="T34" fmla="*/ 202 w 512"/>
              <a:gd name="T35" fmla="*/ 341 h 512"/>
              <a:gd name="T36" fmla="*/ 213 w 512"/>
              <a:gd name="T37" fmla="*/ 330 h 512"/>
              <a:gd name="T38" fmla="*/ 337 w 512"/>
              <a:gd name="T39" fmla="*/ 138 h 512"/>
              <a:gd name="T40" fmla="*/ 373 w 512"/>
              <a:gd name="T41" fmla="*/ 175 h 512"/>
              <a:gd name="T42" fmla="*/ 373 w 512"/>
              <a:gd name="T43" fmla="*/ 373 h 512"/>
              <a:gd name="T44" fmla="*/ 352 w 512"/>
              <a:gd name="T45" fmla="*/ 373 h 512"/>
              <a:gd name="T46" fmla="*/ 352 w 512"/>
              <a:gd name="T47" fmla="*/ 256 h 512"/>
              <a:gd name="T48" fmla="*/ 341 w 512"/>
              <a:gd name="T49" fmla="*/ 245 h 512"/>
              <a:gd name="T50" fmla="*/ 170 w 512"/>
              <a:gd name="T51" fmla="*/ 245 h 512"/>
              <a:gd name="T52" fmla="*/ 160 w 512"/>
              <a:gd name="T53" fmla="*/ 256 h 512"/>
              <a:gd name="T54" fmla="*/ 160 w 512"/>
              <a:gd name="T55" fmla="*/ 373 h 512"/>
              <a:gd name="T56" fmla="*/ 138 w 512"/>
              <a:gd name="T57" fmla="*/ 373 h 512"/>
              <a:gd name="T58" fmla="*/ 138 w 512"/>
              <a:gd name="T59" fmla="*/ 138 h 512"/>
              <a:gd name="T60" fmla="*/ 181 w 512"/>
              <a:gd name="T61" fmla="*/ 138 h 512"/>
              <a:gd name="T62" fmla="*/ 181 w 512"/>
              <a:gd name="T63" fmla="*/ 213 h 512"/>
              <a:gd name="T64" fmla="*/ 192 w 512"/>
              <a:gd name="T65" fmla="*/ 224 h 512"/>
              <a:gd name="T66" fmla="*/ 320 w 512"/>
              <a:gd name="T67" fmla="*/ 224 h 512"/>
              <a:gd name="T68" fmla="*/ 330 w 512"/>
              <a:gd name="T69" fmla="*/ 213 h 512"/>
              <a:gd name="T70" fmla="*/ 330 w 512"/>
              <a:gd name="T71" fmla="*/ 138 h 512"/>
              <a:gd name="T72" fmla="*/ 337 w 512"/>
              <a:gd name="T73" fmla="*/ 138 h 512"/>
              <a:gd name="T74" fmla="*/ 256 w 512"/>
              <a:gd name="T75" fmla="*/ 0 h 512"/>
              <a:gd name="T76" fmla="*/ 0 w 512"/>
              <a:gd name="T77" fmla="*/ 256 h 512"/>
              <a:gd name="T78" fmla="*/ 256 w 512"/>
              <a:gd name="T79" fmla="*/ 512 h 512"/>
              <a:gd name="T80" fmla="*/ 512 w 512"/>
              <a:gd name="T81" fmla="*/ 256 h 512"/>
              <a:gd name="T82" fmla="*/ 256 w 512"/>
              <a:gd name="T83" fmla="*/ 0 h 512"/>
              <a:gd name="T84" fmla="*/ 394 w 512"/>
              <a:gd name="T85" fmla="*/ 384 h 512"/>
              <a:gd name="T86" fmla="*/ 384 w 512"/>
              <a:gd name="T87" fmla="*/ 394 h 512"/>
              <a:gd name="T88" fmla="*/ 128 w 512"/>
              <a:gd name="T89" fmla="*/ 394 h 512"/>
              <a:gd name="T90" fmla="*/ 117 w 512"/>
              <a:gd name="T91" fmla="*/ 384 h 512"/>
              <a:gd name="T92" fmla="*/ 117 w 512"/>
              <a:gd name="T93" fmla="*/ 128 h 512"/>
              <a:gd name="T94" fmla="*/ 128 w 512"/>
              <a:gd name="T95" fmla="*/ 117 h 512"/>
              <a:gd name="T96" fmla="*/ 341 w 512"/>
              <a:gd name="T97" fmla="*/ 117 h 512"/>
              <a:gd name="T98" fmla="*/ 349 w 512"/>
              <a:gd name="T99" fmla="*/ 120 h 512"/>
              <a:gd name="T100" fmla="*/ 391 w 512"/>
              <a:gd name="T101" fmla="*/ 163 h 512"/>
              <a:gd name="T102" fmla="*/ 394 w 512"/>
              <a:gd name="T103" fmla="*/ 170 h 512"/>
              <a:gd name="T104" fmla="*/ 394 w 512"/>
              <a:gd name="T105" fmla="*/ 384 h 512"/>
              <a:gd name="T106" fmla="*/ 309 w 512"/>
              <a:gd name="T107" fmla="*/ 202 h 512"/>
              <a:gd name="T108" fmla="*/ 202 w 512"/>
              <a:gd name="T109" fmla="*/ 202 h 512"/>
              <a:gd name="T110" fmla="*/ 202 w 512"/>
              <a:gd name="T111" fmla="*/ 138 h 512"/>
              <a:gd name="T112" fmla="*/ 309 w 512"/>
              <a:gd name="T113" fmla="*/ 138 h 512"/>
              <a:gd name="T114" fmla="*/ 309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73"/>
                </a:moveTo>
                <a:cubicBezTo>
                  <a:pt x="330" y="373"/>
                  <a:pt x="330" y="373"/>
                  <a:pt x="330" y="373"/>
                </a:cubicBezTo>
                <a:cubicBezTo>
                  <a:pt x="330" y="266"/>
                  <a:pt x="330" y="266"/>
                  <a:pt x="330" y="266"/>
                </a:cubicBezTo>
                <a:cubicBezTo>
                  <a:pt x="181" y="266"/>
                  <a:pt x="181" y="266"/>
                  <a:pt x="181" y="266"/>
                </a:cubicBezTo>
                <a:lnTo>
                  <a:pt x="181" y="373"/>
                </a:lnTo>
                <a:close/>
                <a:moveTo>
                  <a:pt x="213" y="288"/>
                </a:moveTo>
                <a:cubicBezTo>
                  <a:pt x="298" y="288"/>
                  <a:pt x="298" y="288"/>
                  <a:pt x="298" y="288"/>
                </a:cubicBezTo>
                <a:cubicBezTo>
                  <a:pt x="304" y="288"/>
                  <a:pt x="309" y="292"/>
                  <a:pt x="309" y="298"/>
                </a:cubicBezTo>
                <a:cubicBezTo>
                  <a:pt x="309" y="304"/>
                  <a:pt x="304" y="309"/>
                  <a:pt x="298" y="309"/>
                </a:cubicBezTo>
                <a:cubicBezTo>
                  <a:pt x="213" y="309"/>
                  <a:pt x="213" y="309"/>
                  <a:pt x="213" y="309"/>
                </a:cubicBezTo>
                <a:cubicBezTo>
                  <a:pt x="207" y="309"/>
                  <a:pt x="202" y="304"/>
                  <a:pt x="202" y="298"/>
                </a:cubicBezTo>
                <a:cubicBezTo>
                  <a:pt x="202" y="292"/>
                  <a:pt x="207" y="288"/>
                  <a:pt x="213" y="288"/>
                </a:cubicBezTo>
                <a:close/>
                <a:moveTo>
                  <a:pt x="213" y="330"/>
                </a:moveTo>
                <a:cubicBezTo>
                  <a:pt x="298" y="330"/>
                  <a:pt x="298" y="330"/>
                  <a:pt x="298" y="330"/>
                </a:cubicBezTo>
                <a:cubicBezTo>
                  <a:pt x="304" y="330"/>
                  <a:pt x="309" y="335"/>
                  <a:pt x="309" y="341"/>
                </a:cubicBezTo>
                <a:cubicBezTo>
                  <a:pt x="309" y="347"/>
                  <a:pt x="304" y="352"/>
                  <a:pt x="298" y="352"/>
                </a:cubicBezTo>
                <a:cubicBezTo>
                  <a:pt x="213" y="352"/>
                  <a:pt x="213" y="352"/>
                  <a:pt x="213" y="352"/>
                </a:cubicBezTo>
                <a:cubicBezTo>
                  <a:pt x="207" y="352"/>
                  <a:pt x="202" y="347"/>
                  <a:pt x="202" y="341"/>
                </a:cubicBezTo>
                <a:cubicBezTo>
                  <a:pt x="202" y="335"/>
                  <a:pt x="207" y="330"/>
                  <a:pt x="213" y="330"/>
                </a:cubicBezTo>
                <a:close/>
                <a:moveTo>
                  <a:pt x="337" y="138"/>
                </a:moveTo>
                <a:cubicBezTo>
                  <a:pt x="373" y="175"/>
                  <a:pt x="373" y="175"/>
                  <a:pt x="373" y="175"/>
                </a:cubicBezTo>
                <a:cubicBezTo>
                  <a:pt x="373" y="373"/>
                  <a:pt x="373" y="373"/>
                  <a:pt x="373" y="373"/>
                </a:cubicBezTo>
                <a:cubicBezTo>
                  <a:pt x="352" y="373"/>
                  <a:pt x="352" y="373"/>
                  <a:pt x="352" y="373"/>
                </a:cubicBezTo>
                <a:cubicBezTo>
                  <a:pt x="352" y="256"/>
                  <a:pt x="352" y="256"/>
                  <a:pt x="352" y="256"/>
                </a:cubicBezTo>
                <a:cubicBezTo>
                  <a:pt x="352" y="250"/>
                  <a:pt x="347" y="245"/>
                  <a:pt x="341" y="245"/>
                </a:cubicBezTo>
                <a:cubicBezTo>
                  <a:pt x="170" y="245"/>
                  <a:pt x="170" y="245"/>
                  <a:pt x="170" y="245"/>
                </a:cubicBezTo>
                <a:cubicBezTo>
                  <a:pt x="164" y="245"/>
                  <a:pt x="160" y="250"/>
                  <a:pt x="160" y="256"/>
                </a:cubicBezTo>
                <a:cubicBezTo>
                  <a:pt x="160" y="373"/>
                  <a:pt x="160" y="373"/>
                  <a:pt x="160" y="373"/>
                </a:cubicBezTo>
                <a:cubicBezTo>
                  <a:pt x="138" y="373"/>
                  <a:pt x="138" y="373"/>
                  <a:pt x="138" y="373"/>
                </a:cubicBezTo>
                <a:cubicBezTo>
                  <a:pt x="138" y="138"/>
                  <a:pt x="138" y="138"/>
                  <a:pt x="138" y="138"/>
                </a:cubicBezTo>
                <a:cubicBezTo>
                  <a:pt x="181" y="138"/>
                  <a:pt x="181" y="138"/>
                  <a:pt x="181" y="138"/>
                </a:cubicBezTo>
                <a:cubicBezTo>
                  <a:pt x="181" y="213"/>
                  <a:pt x="181" y="213"/>
                  <a:pt x="181" y="213"/>
                </a:cubicBezTo>
                <a:cubicBezTo>
                  <a:pt x="181" y="219"/>
                  <a:pt x="186" y="224"/>
                  <a:pt x="192" y="224"/>
                </a:cubicBezTo>
                <a:cubicBezTo>
                  <a:pt x="320" y="224"/>
                  <a:pt x="320" y="224"/>
                  <a:pt x="320" y="224"/>
                </a:cubicBezTo>
                <a:cubicBezTo>
                  <a:pt x="326" y="224"/>
                  <a:pt x="330" y="219"/>
                  <a:pt x="330" y="213"/>
                </a:cubicBezTo>
                <a:cubicBezTo>
                  <a:pt x="330" y="138"/>
                  <a:pt x="330" y="138"/>
                  <a:pt x="330" y="138"/>
                </a:cubicBezTo>
                <a:lnTo>
                  <a:pt x="337"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341" y="117"/>
                  <a:pt x="341" y="117"/>
                  <a:pt x="341" y="117"/>
                </a:cubicBezTo>
                <a:cubicBezTo>
                  <a:pt x="344" y="117"/>
                  <a:pt x="347" y="118"/>
                  <a:pt x="349" y="120"/>
                </a:cubicBezTo>
                <a:cubicBezTo>
                  <a:pt x="391" y="163"/>
                  <a:pt x="391" y="163"/>
                  <a:pt x="391" y="163"/>
                </a:cubicBezTo>
                <a:cubicBezTo>
                  <a:pt x="393" y="165"/>
                  <a:pt x="394" y="167"/>
                  <a:pt x="394" y="170"/>
                </a:cubicBezTo>
                <a:lnTo>
                  <a:pt x="394" y="384"/>
                </a:lnTo>
                <a:close/>
                <a:moveTo>
                  <a:pt x="309" y="202"/>
                </a:moveTo>
                <a:cubicBezTo>
                  <a:pt x="202" y="202"/>
                  <a:pt x="202" y="202"/>
                  <a:pt x="202" y="202"/>
                </a:cubicBezTo>
                <a:cubicBezTo>
                  <a:pt x="202" y="138"/>
                  <a:pt x="202" y="138"/>
                  <a:pt x="202" y="138"/>
                </a:cubicBezTo>
                <a:cubicBezTo>
                  <a:pt x="309" y="138"/>
                  <a:pt x="309" y="138"/>
                  <a:pt x="309" y="138"/>
                </a:cubicBezTo>
                <a:lnTo>
                  <a:pt x="309"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679" name="TextBox 678"/>
          <p:cNvSpPr txBox="1"/>
          <p:nvPr/>
        </p:nvSpPr>
        <p:spPr>
          <a:xfrm>
            <a:off x="2902413"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nk</a:t>
            </a:r>
          </a:p>
        </p:txBody>
      </p:sp>
      <p:sp>
        <p:nvSpPr>
          <p:cNvPr id="680" name="Freeform 594"/>
          <p:cNvSpPr>
            <a:spLocks noChangeAspect="1" noEditPoints="1"/>
          </p:cNvSpPr>
          <p:nvPr/>
        </p:nvSpPr>
        <p:spPr bwMode="auto">
          <a:xfrm>
            <a:off x="2931109" y="418441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81" name="Group 597"/>
          <p:cNvGrpSpPr>
            <a:grpSpLocks noChangeAspect="1"/>
          </p:cNvGrpSpPr>
          <p:nvPr/>
        </p:nvGrpSpPr>
        <p:grpSpPr bwMode="auto">
          <a:xfrm>
            <a:off x="3349978" y="4184419"/>
            <a:ext cx="368120" cy="367041"/>
            <a:chOff x="2745" y="2621"/>
            <a:chExt cx="341" cy="340"/>
          </a:xfrm>
          <a:solidFill>
            <a:schemeClr val="accent1"/>
          </a:solidFill>
        </p:grpSpPr>
        <p:sp>
          <p:nvSpPr>
            <p:cNvPr id="682" name="Freeform 598"/>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2" name="Freeform 599"/>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3" name="TextBox 702"/>
          <p:cNvSpPr txBox="1"/>
          <p:nvPr/>
        </p:nvSpPr>
        <p:spPr>
          <a:xfrm>
            <a:off x="406400"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Inbox</a:t>
            </a:r>
          </a:p>
        </p:txBody>
      </p:sp>
      <p:grpSp>
        <p:nvGrpSpPr>
          <p:cNvPr id="704" name="Group 362"/>
          <p:cNvGrpSpPr>
            <a:grpSpLocks noChangeAspect="1"/>
          </p:cNvGrpSpPr>
          <p:nvPr/>
        </p:nvGrpSpPr>
        <p:grpSpPr bwMode="auto">
          <a:xfrm>
            <a:off x="406400" y="5010657"/>
            <a:ext cx="367041" cy="367041"/>
            <a:chOff x="6240" y="1538"/>
            <a:chExt cx="340" cy="340"/>
          </a:xfrm>
          <a:solidFill>
            <a:schemeClr val="accent4"/>
          </a:solidFill>
        </p:grpSpPr>
        <p:sp>
          <p:nvSpPr>
            <p:cNvPr id="705" name="Freeform 363"/>
            <p:cNvSpPr>
              <a:spLocks/>
            </p:cNvSpPr>
            <p:nvPr/>
          </p:nvSpPr>
          <p:spPr bwMode="auto">
            <a:xfrm>
              <a:off x="6332" y="1729"/>
              <a:ext cx="156" cy="35"/>
            </a:xfrm>
            <a:custGeom>
              <a:avLst/>
              <a:gdLst>
                <a:gd name="T0" fmla="*/ 160 w 235"/>
                <a:gd name="T1" fmla="*/ 32 h 53"/>
                <a:gd name="T2" fmla="*/ 75 w 235"/>
                <a:gd name="T3" fmla="*/ 32 h 53"/>
                <a:gd name="T4" fmla="*/ 44 w 235"/>
                <a:gd name="T5" fmla="*/ 0 h 53"/>
                <a:gd name="T6" fmla="*/ 0 w 235"/>
                <a:gd name="T7" fmla="*/ 0 h 53"/>
                <a:gd name="T8" fmla="*/ 0 w 235"/>
                <a:gd name="T9" fmla="*/ 53 h 53"/>
                <a:gd name="T10" fmla="*/ 235 w 235"/>
                <a:gd name="T11" fmla="*/ 53 h 53"/>
                <a:gd name="T12" fmla="*/ 235 w 235"/>
                <a:gd name="T13" fmla="*/ 0 h 53"/>
                <a:gd name="T14" fmla="*/ 191 w 235"/>
                <a:gd name="T15" fmla="*/ 0 h 53"/>
                <a:gd name="T16" fmla="*/ 160 w 235"/>
                <a:gd name="T17"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3">
                  <a:moveTo>
                    <a:pt x="160" y="32"/>
                  </a:moveTo>
                  <a:cubicBezTo>
                    <a:pt x="75" y="32"/>
                    <a:pt x="75" y="32"/>
                    <a:pt x="75" y="32"/>
                  </a:cubicBezTo>
                  <a:cubicBezTo>
                    <a:pt x="60" y="32"/>
                    <a:pt x="48" y="18"/>
                    <a:pt x="44" y="0"/>
                  </a:cubicBezTo>
                  <a:cubicBezTo>
                    <a:pt x="0" y="0"/>
                    <a:pt x="0" y="0"/>
                    <a:pt x="0" y="0"/>
                  </a:cubicBezTo>
                  <a:cubicBezTo>
                    <a:pt x="0" y="53"/>
                    <a:pt x="0" y="53"/>
                    <a:pt x="0" y="53"/>
                  </a:cubicBezTo>
                  <a:cubicBezTo>
                    <a:pt x="235" y="53"/>
                    <a:pt x="235" y="53"/>
                    <a:pt x="235" y="53"/>
                  </a:cubicBezTo>
                  <a:cubicBezTo>
                    <a:pt x="235" y="0"/>
                    <a:pt x="235" y="0"/>
                    <a:pt x="235" y="0"/>
                  </a:cubicBezTo>
                  <a:cubicBezTo>
                    <a:pt x="191" y="0"/>
                    <a:pt x="191" y="0"/>
                    <a:pt x="191" y="0"/>
                  </a:cubicBezTo>
                  <a:cubicBezTo>
                    <a:pt x="188" y="18"/>
                    <a:pt x="175" y="32"/>
                    <a:pt x="160"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6" name="Freeform 364"/>
            <p:cNvSpPr>
              <a:spLocks noEditPoints="1"/>
            </p:cNvSpPr>
            <p:nvPr/>
          </p:nvSpPr>
          <p:spPr bwMode="auto">
            <a:xfrm>
              <a:off x="6240" y="15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52 h 512"/>
                <a:gd name="T12" fmla="*/ 384 w 512"/>
                <a:gd name="T13" fmla="*/ 362 h 512"/>
                <a:gd name="T14" fmla="*/ 128 w 512"/>
                <a:gd name="T15" fmla="*/ 362 h 512"/>
                <a:gd name="T16" fmla="*/ 117 w 512"/>
                <a:gd name="T17" fmla="*/ 352 h 512"/>
                <a:gd name="T18" fmla="*/ 117 w 512"/>
                <a:gd name="T19" fmla="*/ 277 h 512"/>
                <a:gd name="T20" fmla="*/ 117 w 512"/>
                <a:gd name="T21" fmla="*/ 275 h 512"/>
                <a:gd name="T22" fmla="*/ 118 w 512"/>
                <a:gd name="T23" fmla="*/ 273 h 512"/>
                <a:gd name="T24" fmla="*/ 171 w 512"/>
                <a:gd name="T25" fmla="*/ 134 h 512"/>
                <a:gd name="T26" fmla="*/ 181 w 512"/>
                <a:gd name="T27" fmla="*/ 128 h 512"/>
                <a:gd name="T28" fmla="*/ 181 w 512"/>
                <a:gd name="T29" fmla="*/ 128 h 512"/>
                <a:gd name="T30" fmla="*/ 330 w 512"/>
                <a:gd name="T31" fmla="*/ 128 h 512"/>
                <a:gd name="T32" fmla="*/ 330 w 512"/>
                <a:gd name="T33" fmla="*/ 128 h 512"/>
                <a:gd name="T34" fmla="*/ 340 w 512"/>
                <a:gd name="T35" fmla="*/ 134 h 512"/>
                <a:gd name="T36" fmla="*/ 394 w 512"/>
                <a:gd name="T37" fmla="*/ 273 h 512"/>
                <a:gd name="T38" fmla="*/ 394 w 512"/>
                <a:gd name="T39" fmla="*/ 275 h 512"/>
                <a:gd name="T40" fmla="*/ 394 w 512"/>
                <a:gd name="T41" fmla="*/ 277 h 512"/>
                <a:gd name="T42" fmla="*/ 394 w 512"/>
                <a:gd name="T43"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52"/>
                  </a:moveTo>
                  <a:cubicBezTo>
                    <a:pt x="394" y="358"/>
                    <a:pt x="390" y="362"/>
                    <a:pt x="384" y="362"/>
                  </a:cubicBezTo>
                  <a:cubicBezTo>
                    <a:pt x="128" y="362"/>
                    <a:pt x="128" y="362"/>
                    <a:pt x="128" y="362"/>
                  </a:cubicBezTo>
                  <a:cubicBezTo>
                    <a:pt x="122" y="362"/>
                    <a:pt x="117" y="358"/>
                    <a:pt x="117" y="352"/>
                  </a:cubicBezTo>
                  <a:cubicBezTo>
                    <a:pt x="117" y="277"/>
                    <a:pt x="117" y="277"/>
                    <a:pt x="117" y="277"/>
                  </a:cubicBezTo>
                  <a:cubicBezTo>
                    <a:pt x="117" y="276"/>
                    <a:pt x="117" y="276"/>
                    <a:pt x="117" y="275"/>
                  </a:cubicBezTo>
                  <a:cubicBezTo>
                    <a:pt x="117" y="275"/>
                    <a:pt x="117" y="274"/>
                    <a:pt x="118" y="273"/>
                  </a:cubicBezTo>
                  <a:cubicBezTo>
                    <a:pt x="171" y="134"/>
                    <a:pt x="171" y="134"/>
                    <a:pt x="171" y="134"/>
                  </a:cubicBezTo>
                  <a:cubicBezTo>
                    <a:pt x="173" y="130"/>
                    <a:pt x="177" y="128"/>
                    <a:pt x="181" y="128"/>
                  </a:cubicBezTo>
                  <a:cubicBezTo>
                    <a:pt x="181" y="128"/>
                    <a:pt x="181" y="128"/>
                    <a:pt x="181" y="128"/>
                  </a:cubicBezTo>
                  <a:cubicBezTo>
                    <a:pt x="330" y="128"/>
                    <a:pt x="330" y="128"/>
                    <a:pt x="330" y="128"/>
                  </a:cubicBezTo>
                  <a:cubicBezTo>
                    <a:pt x="330" y="128"/>
                    <a:pt x="330" y="128"/>
                    <a:pt x="330" y="128"/>
                  </a:cubicBezTo>
                  <a:cubicBezTo>
                    <a:pt x="335" y="128"/>
                    <a:pt x="339" y="130"/>
                    <a:pt x="340" y="134"/>
                  </a:cubicBezTo>
                  <a:cubicBezTo>
                    <a:pt x="394" y="273"/>
                    <a:pt x="394" y="273"/>
                    <a:pt x="394" y="273"/>
                  </a:cubicBezTo>
                  <a:cubicBezTo>
                    <a:pt x="394" y="274"/>
                    <a:pt x="394" y="275"/>
                    <a:pt x="394" y="275"/>
                  </a:cubicBezTo>
                  <a:cubicBezTo>
                    <a:pt x="394" y="276"/>
                    <a:pt x="394" y="276"/>
                    <a:pt x="394" y="277"/>
                  </a:cubicBezTo>
                  <a:lnTo>
                    <a:pt x="394" y="3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7" name="Freeform 365"/>
            <p:cNvSpPr>
              <a:spLocks/>
            </p:cNvSpPr>
            <p:nvPr/>
          </p:nvSpPr>
          <p:spPr bwMode="auto">
            <a:xfrm>
              <a:off x="6335" y="1637"/>
              <a:ext cx="149" cy="99"/>
            </a:xfrm>
            <a:custGeom>
              <a:avLst/>
              <a:gdLst>
                <a:gd name="T0" fmla="*/ 59 w 225"/>
                <a:gd name="T1" fmla="*/ 128 h 149"/>
                <a:gd name="T2" fmla="*/ 70 w 225"/>
                <a:gd name="T3" fmla="*/ 149 h 149"/>
                <a:gd name="T4" fmla="*/ 155 w 225"/>
                <a:gd name="T5" fmla="*/ 149 h 149"/>
                <a:gd name="T6" fmla="*/ 166 w 225"/>
                <a:gd name="T7" fmla="*/ 128 h 149"/>
                <a:gd name="T8" fmla="*/ 177 w 225"/>
                <a:gd name="T9" fmla="*/ 117 h 149"/>
                <a:gd name="T10" fmla="*/ 225 w 225"/>
                <a:gd name="T11" fmla="*/ 117 h 149"/>
                <a:gd name="T12" fmla="*/ 180 w 225"/>
                <a:gd name="T13" fmla="*/ 0 h 149"/>
                <a:gd name="T14" fmla="*/ 45 w 225"/>
                <a:gd name="T15" fmla="*/ 0 h 149"/>
                <a:gd name="T16" fmla="*/ 0 w 225"/>
                <a:gd name="T17" fmla="*/ 117 h 149"/>
                <a:gd name="T18" fmla="*/ 49 w 225"/>
                <a:gd name="T19" fmla="*/ 117 h 149"/>
                <a:gd name="T20" fmla="*/ 59 w 225"/>
                <a:gd name="T21"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149">
                  <a:moveTo>
                    <a:pt x="59" y="128"/>
                  </a:moveTo>
                  <a:cubicBezTo>
                    <a:pt x="59" y="141"/>
                    <a:pt x="66" y="149"/>
                    <a:pt x="70" y="149"/>
                  </a:cubicBezTo>
                  <a:cubicBezTo>
                    <a:pt x="155" y="149"/>
                    <a:pt x="155" y="149"/>
                    <a:pt x="155" y="149"/>
                  </a:cubicBezTo>
                  <a:cubicBezTo>
                    <a:pt x="160" y="149"/>
                    <a:pt x="166" y="141"/>
                    <a:pt x="166" y="128"/>
                  </a:cubicBezTo>
                  <a:cubicBezTo>
                    <a:pt x="166" y="122"/>
                    <a:pt x="171" y="117"/>
                    <a:pt x="177" y="117"/>
                  </a:cubicBezTo>
                  <a:cubicBezTo>
                    <a:pt x="225" y="117"/>
                    <a:pt x="225" y="117"/>
                    <a:pt x="225" y="117"/>
                  </a:cubicBezTo>
                  <a:cubicBezTo>
                    <a:pt x="180" y="0"/>
                    <a:pt x="180" y="0"/>
                    <a:pt x="180" y="0"/>
                  </a:cubicBezTo>
                  <a:cubicBezTo>
                    <a:pt x="45" y="0"/>
                    <a:pt x="45" y="0"/>
                    <a:pt x="45" y="0"/>
                  </a:cubicBezTo>
                  <a:cubicBezTo>
                    <a:pt x="0" y="117"/>
                    <a:pt x="0" y="117"/>
                    <a:pt x="0" y="117"/>
                  </a:cubicBezTo>
                  <a:cubicBezTo>
                    <a:pt x="49" y="117"/>
                    <a:pt x="49" y="117"/>
                    <a:pt x="49" y="117"/>
                  </a:cubicBezTo>
                  <a:cubicBezTo>
                    <a:pt x="55" y="117"/>
                    <a:pt x="59" y="122"/>
                    <a:pt x="59"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8" name="Group 368"/>
          <p:cNvGrpSpPr>
            <a:grpSpLocks noChangeAspect="1"/>
          </p:cNvGrpSpPr>
          <p:nvPr/>
        </p:nvGrpSpPr>
        <p:grpSpPr bwMode="auto">
          <a:xfrm>
            <a:off x="818665" y="5009578"/>
            <a:ext cx="367041" cy="368120"/>
            <a:chOff x="6849" y="1569"/>
            <a:chExt cx="340" cy="341"/>
          </a:xfrm>
          <a:solidFill>
            <a:schemeClr val="accent4"/>
          </a:solidFill>
        </p:grpSpPr>
        <p:sp>
          <p:nvSpPr>
            <p:cNvPr id="709" name="Freeform 369"/>
            <p:cNvSpPr>
              <a:spLocks noEditPoints="1"/>
            </p:cNvSpPr>
            <p:nvPr/>
          </p:nvSpPr>
          <p:spPr bwMode="auto">
            <a:xfrm>
              <a:off x="6849" y="156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0" name="Freeform 370"/>
            <p:cNvSpPr>
              <a:spLocks noEditPoints="1"/>
            </p:cNvSpPr>
            <p:nvPr/>
          </p:nvSpPr>
          <p:spPr bwMode="auto">
            <a:xfrm>
              <a:off x="6927" y="1654"/>
              <a:ext cx="184" cy="156"/>
            </a:xfrm>
            <a:custGeom>
              <a:avLst/>
              <a:gdLst>
                <a:gd name="T0" fmla="*/ 277 w 277"/>
                <a:gd name="T1" fmla="*/ 147 h 234"/>
                <a:gd name="T2" fmla="*/ 277 w 277"/>
                <a:gd name="T3" fmla="*/ 145 h 234"/>
                <a:gd name="T4" fmla="*/ 223 w 277"/>
                <a:gd name="T5" fmla="*/ 6 h 234"/>
                <a:gd name="T6" fmla="*/ 213 w 277"/>
                <a:gd name="T7" fmla="*/ 0 h 234"/>
                <a:gd name="T8" fmla="*/ 213 w 277"/>
                <a:gd name="T9" fmla="*/ 0 h 234"/>
                <a:gd name="T10" fmla="*/ 64 w 277"/>
                <a:gd name="T11" fmla="*/ 0 h 234"/>
                <a:gd name="T12" fmla="*/ 64 w 277"/>
                <a:gd name="T13" fmla="*/ 0 h 234"/>
                <a:gd name="T14" fmla="*/ 54 w 277"/>
                <a:gd name="T15" fmla="*/ 6 h 234"/>
                <a:gd name="T16" fmla="*/ 1 w 277"/>
                <a:gd name="T17" fmla="*/ 145 h 234"/>
                <a:gd name="T18" fmla="*/ 0 w 277"/>
                <a:gd name="T19" fmla="*/ 147 h 234"/>
                <a:gd name="T20" fmla="*/ 0 w 277"/>
                <a:gd name="T21" fmla="*/ 149 h 234"/>
                <a:gd name="T22" fmla="*/ 0 w 277"/>
                <a:gd name="T23" fmla="*/ 224 h 234"/>
                <a:gd name="T24" fmla="*/ 11 w 277"/>
                <a:gd name="T25" fmla="*/ 234 h 234"/>
                <a:gd name="T26" fmla="*/ 267 w 277"/>
                <a:gd name="T27" fmla="*/ 234 h 234"/>
                <a:gd name="T28" fmla="*/ 277 w 277"/>
                <a:gd name="T29" fmla="*/ 224 h 234"/>
                <a:gd name="T30" fmla="*/ 277 w 277"/>
                <a:gd name="T31" fmla="*/ 149 h 234"/>
                <a:gd name="T32" fmla="*/ 277 w 277"/>
                <a:gd name="T33" fmla="*/ 147 h 234"/>
                <a:gd name="T34" fmla="*/ 71 w 277"/>
                <a:gd name="T35" fmla="*/ 21 h 234"/>
                <a:gd name="T36" fmla="*/ 206 w 277"/>
                <a:gd name="T37" fmla="*/ 21 h 234"/>
                <a:gd name="T38" fmla="*/ 251 w 277"/>
                <a:gd name="T39" fmla="*/ 138 h 234"/>
                <a:gd name="T40" fmla="*/ 203 w 277"/>
                <a:gd name="T41" fmla="*/ 138 h 234"/>
                <a:gd name="T42" fmla="*/ 192 w 277"/>
                <a:gd name="T43" fmla="*/ 149 h 234"/>
                <a:gd name="T44" fmla="*/ 181 w 277"/>
                <a:gd name="T45" fmla="*/ 170 h 234"/>
                <a:gd name="T46" fmla="*/ 96 w 277"/>
                <a:gd name="T47" fmla="*/ 170 h 234"/>
                <a:gd name="T48" fmla="*/ 85 w 277"/>
                <a:gd name="T49" fmla="*/ 149 h 234"/>
                <a:gd name="T50" fmla="*/ 75 w 277"/>
                <a:gd name="T51" fmla="*/ 138 h 234"/>
                <a:gd name="T52" fmla="*/ 26 w 277"/>
                <a:gd name="T53" fmla="*/ 138 h 234"/>
                <a:gd name="T54" fmla="*/ 71 w 277"/>
                <a:gd name="T55" fmla="*/ 21 h 234"/>
                <a:gd name="T56" fmla="*/ 256 w 277"/>
                <a:gd name="T57" fmla="*/ 213 h 234"/>
                <a:gd name="T58" fmla="*/ 21 w 277"/>
                <a:gd name="T59" fmla="*/ 213 h 234"/>
                <a:gd name="T60" fmla="*/ 21 w 277"/>
                <a:gd name="T61" fmla="*/ 160 h 234"/>
                <a:gd name="T62" fmla="*/ 65 w 277"/>
                <a:gd name="T63" fmla="*/ 160 h 234"/>
                <a:gd name="T64" fmla="*/ 96 w 277"/>
                <a:gd name="T65" fmla="*/ 192 h 234"/>
                <a:gd name="T66" fmla="*/ 181 w 277"/>
                <a:gd name="T67" fmla="*/ 192 h 234"/>
                <a:gd name="T68" fmla="*/ 212 w 277"/>
                <a:gd name="T69" fmla="*/ 160 h 234"/>
                <a:gd name="T70" fmla="*/ 256 w 277"/>
                <a:gd name="T71" fmla="*/ 160 h 234"/>
                <a:gd name="T72" fmla="*/ 256 w 277"/>
                <a:gd name="T7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234">
                  <a:moveTo>
                    <a:pt x="277" y="147"/>
                  </a:moveTo>
                  <a:cubicBezTo>
                    <a:pt x="277" y="147"/>
                    <a:pt x="277" y="146"/>
                    <a:pt x="277" y="145"/>
                  </a:cubicBezTo>
                  <a:cubicBezTo>
                    <a:pt x="223" y="6"/>
                    <a:pt x="223" y="6"/>
                    <a:pt x="223" y="6"/>
                  </a:cubicBezTo>
                  <a:cubicBezTo>
                    <a:pt x="222" y="2"/>
                    <a:pt x="218" y="0"/>
                    <a:pt x="213" y="0"/>
                  </a:cubicBezTo>
                  <a:cubicBezTo>
                    <a:pt x="213" y="0"/>
                    <a:pt x="213" y="0"/>
                    <a:pt x="213" y="0"/>
                  </a:cubicBezTo>
                  <a:cubicBezTo>
                    <a:pt x="64" y="0"/>
                    <a:pt x="64" y="0"/>
                    <a:pt x="64" y="0"/>
                  </a:cubicBezTo>
                  <a:cubicBezTo>
                    <a:pt x="64" y="0"/>
                    <a:pt x="64" y="0"/>
                    <a:pt x="64" y="0"/>
                  </a:cubicBezTo>
                  <a:cubicBezTo>
                    <a:pt x="60" y="0"/>
                    <a:pt x="56" y="2"/>
                    <a:pt x="54" y="6"/>
                  </a:cubicBezTo>
                  <a:cubicBezTo>
                    <a:pt x="1" y="145"/>
                    <a:pt x="1" y="145"/>
                    <a:pt x="1" y="145"/>
                  </a:cubicBezTo>
                  <a:cubicBezTo>
                    <a:pt x="0" y="146"/>
                    <a:pt x="0" y="147"/>
                    <a:pt x="0" y="147"/>
                  </a:cubicBezTo>
                  <a:cubicBezTo>
                    <a:pt x="0" y="148"/>
                    <a:pt x="0" y="148"/>
                    <a:pt x="0" y="149"/>
                  </a:cubicBezTo>
                  <a:cubicBezTo>
                    <a:pt x="0" y="224"/>
                    <a:pt x="0" y="224"/>
                    <a:pt x="0" y="224"/>
                  </a:cubicBezTo>
                  <a:cubicBezTo>
                    <a:pt x="0" y="230"/>
                    <a:pt x="5" y="234"/>
                    <a:pt x="11" y="234"/>
                  </a:cubicBezTo>
                  <a:cubicBezTo>
                    <a:pt x="267" y="234"/>
                    <a:pt x="267" y="234"/>
                    <a:pt x="267" y="234"/>
                  </a:cubicBezTo>
                  <a:cubicBezTo>
                    <a:pt x="273" y="234"/>
                    <a:pt x="277" y="230"/>
                    <a:pt x="277" y="224"/>
                  </a:cubicBezTo>
                  <a:cubicBezTo>
                    <a:pt x="277" y="149"/>
                    <a:pt x="277" y="149"/>
                    <a:pt x="277" y="149"/>
                  </a:cubicBezTo>
                  <a:cubicBezTo>
                    <a:pt x="277" y="148"/>
                    <a:pt x="277" y="148"/>
                    <a:pt x="277" y="147"/>
                  </a:cubicBezTo>
                  <a:close/>
                  <a:moveTo>
                    <a:pt x="71" y="21"/>
                  </a:moveTo>
                  <a:cubicBezTo>
                    <a:pt x="206" y="21"/>
                    <a:pt x="206" y="21"/>
                    <a:pt x="206" y="21"/>
                  </a:cubicBezTo>
                  <a:cubicBezTo>
                    <a:pt x="251" y="138"/>
                    <a:pt x="251" y="138"/>
                    <a:pt x="251" y="138"/>
                  </a:cubicBezTo>
                  <a:cubicBezTo>
                    <a:pt x="203" y="138"/>
                    <a:pt x="203" y="138"/>
                    <a:pt x="203" y="138"/>
                  </a:cubicBezTo>
                  <a:cubicBezTo>
                    <a:pt x="197" y="138"/>
                    <a:pt x="192" y="143"/>
                    <a:pt x="192" y="149"/>
                  </a:cubicBezTo>
                  <a:cubicBezTo>
                    <a:pt x="192" y="162"/>
                    <a:pt x="186" y="170"/>
                    <a:pt x="181" y="170"/>
                  </a:cubicBezTo>
                  <a:cubicBezTo>
                    <a:pt x="96" y="170"/>
                    <a:pt x="96" y="170"/>
                    <a:pt x="96" y="170"/>
                  </a:cubicBezTo>
                  <a:cubicBezTo>
                    <a:pt x="92" y="170"/>
                    <a:pt x="85" y="162"/>
                    <a:pt x="85" y="149"/>
                  </a:cubicBezTo>
                  <a:cubicBezTo>
                    <a:pt x="85" y="143"/>
                    <a:pt x="81" y="138"/>
                    <a:pt x="75" y="138"/>
                  </a:cubicBezTo>
                  <a:cubicBezTo>
                    <a:pt x="26" y="138"/>
                    <a:pt x="26" y="138"/>
                    <a:pt x="26" y="138"/>
                  </a:cubicBezTo>
                  <a:lnTo>
                    <a:pt x="71" y="21"/>
                  </a:lnTo>
                  <a:close/>
                  <a:moveTo>
                    <a:pt x="256" y="213"/>
                  </a:moveTo>
                  <a:cubicBezTo>
                    <a:pt x="21" y="213"/>
                    <a:pt x="21" y="213"/>
                    <a:pt x="21" y="213"/>
                  </a:cubicBezTo>
                  <a:cubicBezTo>
                    <a:pt x="21" y="160"/>
                    <a:pt x="21" y="160"/>
                    <a:pt x="21" y="160"/>
                  </a:cubicBezTo>
                  <a:cubicBezTo>
                    <a:pt x="65" y="160"/>
                    <a:pt x="65" y="160"/>
                    <a:pt x="65" y="160"/>
                  </a:cubicBezTo>
                  <a:cubicBezTo>
                    <a:pt x="69" y="178"/>
                    <a:pt x="81" y="192"/>
                    <a:pt x="96" y="192"/>
                  </a:cubicBezTo>
                  <a:cubicBezTo>
                    <a:pt x="181" y="192"/>
                    <a:pt x="181" y="192"/>
                    <a:pt x="181" y="192"/>
                  </a:cubicBezTo>
                  <a:cubicBezTo>
                    <a:pt x="196" y="192"/>
                    <a:pt x="209" y="178"/>
                    <a:pt x="212" y="160"/>
                  </a:cubicBezTo>
                  <a:cubicBezTo>
                    <a:pt x="256" y="160"/>
                    <a:pt x="256" y="160"/>
                    <a:pt x="256" y="160"/>
                  </a:cubicBezTo>
                  <a:lnTo>
                    <a:pt x="256"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11" name="TextBox 710"/>
          <p:cNvSpPr txBox="1"/>
          <p:nvPr/>
        </p:nvSpPr>
        <p:spPr>
          <a:xfrm>
            <a:off x="1245423" y="545496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lder in</a:t>
            </a:r>
          </a:p>
        </p:txBody>
      </p:sp>
      <p:sp>
        <p:nvSpPr>
          <p:cNvPr id="712" name="TextBox 711"/>
          <p:cNvSpPr txBox="1"/>
          <p:nvPr/>
        </p:nvSpPr>
        <p:spPr>
          <a:xfrm>
            <a:off x="2072804"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lder out</a:t>
            </a:r>
          </a:p>
        </p:txBody>
      </p:sp>
      <p:sp>
        <p:nvSpPr>
          <p:cNvPr id="713" name="Freeform 885"/>
          <p:cNvSpPr>
            <a:spLocks noChangeAspect="1" noEditPoints="1"/>
          </p:cNvSpPr>
          <p:nvPr/>
        </p:nvSpPr>
        <p:spPr bwMode="auto">
          <a:xfrm>
            <a:off x="1230930" y="5010067"/>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4" name="Freeform 889"/>
          <p:cNvSpPr>
            <a:spLocks noChangeAspect="1" noEditPoints="1"/>
          </p:cNvSpPr>
          <p:nvPr/>
        </p:nvSpPr>
        <p:spPr bwMode="auto">
          <a:xfrm>
            <a:off x="1680548" y="5008986"/>
            <a:ext cx="404394" cy="368712"/>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5" name="Freeform 897"/>
          <p:cNvSpPr>
            <a:spLocks noChangeAspect="1" noEditPoints="1"/>
          </p:cNvSpPr>
          <p:nvPr/>
        </p:nvSpPr>
        <p:spPr bwMode="auto">
          <a:xfrm>
            <a:off x="2130166" y="5010067"/>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6" name="Freeform 901"/>
          <p:cNvSpPr>
            <a:spLocks noChangeAspect="1" noEditPoints="1"/>
          </p:cNvSpPr>
          <p:nvPr/>
        </p:nvSpPr>
        <p:spPr bwMode="auto">
          <a:xfrm>
            <a:off x="2579784" y="5010067"/>
            <a:ext cx="404394" cy="367631"/>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7" name="TextBox 716"/>
          <p:cNvSpPr txBox="1"/>
          <p:nvPr/>
        </p:nvSpPr>
        <p:spPr>
          <a:xfrm>
            <a:off x="2911827"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lders</a:t>
            </a:r>
          </a:p>
        </p:txBody>
      </p:sp>
      <p:sp>
        <p:nvSpPr>
          <p:cNvPr id="718" name="Freeform 914"/>
          <p:cNvSpPr>
            <a:spLocks noChangeAspect="1" noEditPoints="1"/>
          </p:cNvSpPr>
          <p:nvPr/>
        </p:nvSpPr>
        <p:spPr bwMode="auto">
          <a:xfrm>
            <a:off x="3029402" y="5010067"/>
            <a:ext cx="368712" cy="367631"/>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19" name="Group 917"/>
          <p:cNvGrpSpPr>
            <a:grpSpLocks noChangeAspect="1"/>
          </p:cNvGrpSpPr>
          <p:nvPr/>
        </p:nvGrpSpPr>
        <p:grpSpPr bwMode="auto">
          <a:xfrm>
            <a:off x="3443338" y="5010067"/>
            <a:ext cx="367631" cy="367631"/>
            <a:chOff x="2725" y="3572"/>
            <a:chExt cx="340" cy="340"/>
          </a:xfrm>
          <a:solidFill>
            <a:schemeClr val="accent4"/>
          </a:solidFill>
        </p:grpSpPr>
        <p:sp>
          <p:nvSpPr>
            <p:cNvPr id="72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1"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2" name="TextBox 721"/>
          <p:cNvSpPr txBox="1"/>
          <p:nvPr/>
        </p:nvSpPr>
        <p:spPr>
          <a:xfrm>
            <a:off x="7944908"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rame</a:t>
            </a:r>
          </a:p>
        </p:txBody>
      </p:sp>
      <p:sp>
        <p:nvSpPr>
          <p:cNvPr id="723" name="TextBox 722"/>
          <p:cNvSpPr txBox="1"/>
          <p:nvPr/>
        </p:nvSpPr>
        <p:spPr>
          <a:xfrm>
            <a:off x="7105059" y="298785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ull frame</a:t>
            </a:r>
          </a:p>
        </p:txBody>
      </p:sp>
      <p:sp>
        <p:nvSpPr>
          <p:cNvPr id="724" name="Freeform 951"/>
          <p:cNvSpPr>
            <a:spLocks noChangeAspect="1" noEditPoints="1"/>
          </p:cNvSpPr>
          <p:nvPr/>
        </p:nvSpPr>
        <p:spPr bwMode="auto">
          <a:xfrm>
            <a:off x="7137775" y="2530173"/>
            <a:ext cx="368712" cy="367631"/>
          </a:xfrm>
          <a:custGeom>
            <a:avLst/>
            <a:gdLst>
              <a:gd name="T0" fmla="*/ 192 w 512"/>
              <a:gd name="T1" fmla="*/ 192 h 512"/>
              <a:gd name="T2" fmla="*/ 320 w 512"/>
              <a:gd name="T3" fmla="*/ 192 h 512"/>
              <a:gd name="T4" fmla="*/ 320 w 512"/>
              <a:gd name="T5" fmla="*/ 320 h 512"/>
              <a:gd name="T6" fmla="*/ 192 w 512"/>
              <a:gd name="T7" fmla="*/ 320 h 512"/>
              <a:gd name="T8" fmla="*/ 192 w 512"/>
              <a:gd name="T9" fmla="*/ 19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17 w 512"/>
              <a:gd name="T21" fmla="*/ 202 h 512"/>
              <a:gd name="T22" fmla="*/ 128 w 512"/>
              <a:gd name="T23" fmla="*/ 213 h 512"/>
              <a:gd name="T24" fmla="*/ 138 w 512"/>
              <a:gd name="T25" fmla="*/ 202 h 512"/>
              <a:gd name="T26" fmla="*/ 138 w 512"/>
              <a:gd name="T27" fmla="*/ 138 h 512"/>
              <a:gd name="T28" fmla="*/ 202 w 512"/>
              <a:gd name="T29" fmla="*/ 138 h 512"/>
              <a:gd name="T30" fmla="*/ 213 w 512"/>
              <a:gd name="T31" fmla="*/ 128 h 512"/>
              <a:gd name="T32" fmla="*/ 202 w 512"/>
              <a:gd name="T33" fmla="*/ 117 h 512"/>
              <a:gd name="T34" fmla="*/ 128 w 512"/>
              <a:gd name="T35" fmla="*/ 117 h 512"/>
              <a:gd name="T36" fmla="*/ 117 w 512"/>
              <a:gd name="T37" fmla="*/ 128 h 512"/>
              <a:gd name="T38" fmla="*/ 117 w 512"/>
              <a:gd name="T39" fmla="*/ 202 h 512"/>
              <a:gd name="T40" fmla="*/ 213 w 512"/>
              <a:gd name="T41" fmla="*/ 384 h 512"/>
              <a:gd name="T42" fmla="*/ 202 w 512"/>
              <a:gd name="T43" fmla="*/ 373 h 512"/>
              <a:gd name="T44" fmla="*/ 138 w 512"/>
              <a:gd name="T45" fmla="*/ 373 h 512"/>
              <a:gd name="T46" fmla="*/ 138 w 512"/>
              <a:gd name="T47" fmla="*/ 309 h 512"/>
              <a:gd name="T48" fmla="*/ 128 w 512"/>
              <a:gd name="T49" fmla="*/ 298 h 512"/>
              <a:gd name="T50" fmla="*/ 117 w 512"/>
              <a:gd name="T51" fmla="*/ 309 h 512"/>
              <a:gd name="T52" fmla="*/ 117 w 512"/>
              <a:gd name="T53" fmla="*/ 384 h 512"/>
              <a:gd name="T54" fmla="*/ 128 w 512"/>
              <a:gd name="T55" fmla="*/ 394 h 512"/>
              <a:gd name="T56" fmla="*/ 202 w 512"/>
              <a:gd name="T57" fmla="*/ 394 h 512"/>
              <a:gd name="T58" fmla="*/ 213 w 512"/>
              <a:gd name="T59" fmla="*/ 384 h 512"/>
              <a:gd name="T60" fmla="*/ 330 w 512"/>
              <a:gd name="T61" fmla="*/ 341 h 512"/>
              <a:gd name="T62" fmla="*/ 341 w 512"/>
              <a:gd name="T63" fmla="*/ 330 h 512"/>
              <a:gd name="T64" fmla="*/ 341 w 512"/>
              <a:gd name="T65" fmla="*/ 181 h 512"/>
              <a:gd name="T66" fmla="*/ 330 w 512"/>
              <a:gd name="T67" fmla="*/ 170 h 512"/>
              <a:gd name="T68" fmla="*/ 181 w 512"/>
              <a:gd name="T69" fmla="*/ 170 h 512"/>
              <a:gd name="T70" fmla="*/ 170 w 512"/>
              <a:gd name="T71" fmla="*/ 181 h 512"/>
              <a:gd name="T72" fmla="*/ 170 w 512"/>
              <a:gd name="T73" fmla="*/ 330 h 512"/>
              <a:gd name="T74" fmla="*/ 181 w 512"/>
              <a:gd name="T75" fmla="*/ 341 h 512"/>
              <a:gd name="T76" fmla="*/ 330 w 512"/>
              <a:gd name="T77" fmla="*/ 341 h 512"/>
              <a:gd name="T78" fmla="*/ 394 w 512"/>
              <a:gd name="T79" fmla="*/ 309 h 512"/>
              <a:gd name="T80" fmla="*/ 384 w 512"/>
              <a:gd name="T81" fmla="*/ 298 h 512"/>
              <a:gd name="T82" fmla="*/ 373 w 512"/>
              <a:gd name="T83" fmla="*/ 309 h 512"/>
              <a:gd name="T84" fmla="*/ 373 w 512"/>
              <a:gd name="T85" fmla="*/ 373 h 512"/>
              <a:gd name="T86" fmla="*/ 309 w 512"/>
              <a:gd name="T87" fmla="*/ 373 h 512"/>
              <a:gd name="T88" fmla="*/ 298 w 512"/>
              <a:gd name="T89" fmla="*/ 384 h 512"/>
              <a:gd name="T90" fmla="*/ 309 w 512"/>
              <a:gd name="T91" fmla="*/ 394 h 512"/>
              <a:gd name="T92" fmla="*/ 384 w 512"/>
              <a:gd name="T93" fmla="*/ 394 h 512"/>
              <a:gd name="T94" fmla="*/ 394 w 512"/>
              <a:gd name="T95" fmla="*/ 384 h 512"/>
              <a:gd name="T96" fmla="*/ 394 w 512"/>
              <a:gd name="T97" fmla="*/ 309 h 512"/>
              <a:gd name="T98" fmla="*/ 394 w 512"/>
              <a:gd name="T99" fmla="*/ 128 h 512"/>
              <a:gd name="T100" fmla="*/ 384 w 512"/>
              <a:gd name="T101" fmla="*/ 117 h 512"/>
              <a:gd name="T102" fmla="*/ 309 w 512"/>
              <a:gd name="T103" fmla="*/ 117 h 512"/>
              <a:gd name="T104" fmla="*/ 298 w 512"/>
              <a:gd name="T105" fmla="*/ 128 h 512"/>
              <a:gd name="T106" fmla="*/ 309 w 512"/>
              <a:gd name="T107" fmla="*/ 138 h 512"/>
              <a:gd name="T108" fmla="*/ 373 w 512"/>
              <a:gd name="T109" fmla="*/ 138 h 512"/>
              <a:gd name="T110" fmla="*/ 373 w 512"/>
              <a:gd name="T111" fmla="*/ 202 h 512"/>
              <a:gd name="T112" fmla="*/ 384 w 512"/>
              <a:gd name="T113" fmla="*/ 213 h 512"/>
              <a:gd name="T114" fmla="*/ 394 w 512"/>
              <a:gd name="T115" fmla="*/ 202 h 512"/>
              <a:gd name="T116" fmla="*/ 394 w 512"/>
              <a:gd name="T11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92" y="192"/>
                </a:moveTo>
                <a:cubicBezTo>
                  <a:pt x="320" y="192"/>
                  <a:pt x="320" y="192"/>
                  <a:pt x="320" y="192"/>
                </a:cubicBezTo>
                <a:cubicBezTo>
                  <a:pt x="320" y="320"/>
                  <a:pt x="320" y="320"/>
                  <a:pt x="320" y="320"/>
                </a:cubicBezTo>
                <a:cubicBezTo>
                  <a:pt x="192" y="320"/>
                  <a:pt x="192" y="320"/>
                  <a:pt x="192" y="320"/>
                </a:cubicBezTo>
                <a:lnTo>
                  <a:pt x="192" y="19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17" y="202"/>
                </a:move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lnTo>
                  <a:pt x="117" y="202"/>
                </a:lnTo>
                <a:close/>
                <a:moveTo>
                  <a:pt x="213" y="384"/>
                </a:moveTo>
                <a:cubicBezTo>
                  <a:pt x="213" y="378"/>
                  <a:pt x="208" y="373"/>
                  <a:pt x="202" y="373"/>
                </a:cubicBez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lose/>
                <a:moveTo>
                  <a:pt x="330" y="341"/>
                </a:move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ubicBezTo>
                  <a:pt x="170" y="330"/>
                  <a:pt x="170" y="330"/>
                  <a:pt x="170" y="330"/>
                </a:cubicBezTo>
                <a:cubicBezTo>
                  <a:pt x="170" y="336"/>
                  <a:pt x="175" y="341"/>
                  <a:pt x="181" y="341"/>
                </a:cubicBezTo>
                <a:lnTo>
                  <a:pt x="330" y="341"/>
                </a:lnTo>
                <a:close/>
                <a:moveTo>
                  <a:pt x="394" y="309"/>
                </a:moveTo>
                <a:cubicBezTo>
                  <a:pt x="394" y="303"/>
                  <a:pt x="390" y="298"/>
                  <a:pt x="384" y="298"/>
                </a:cubicBez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lnTo>
                  <a:pt x="394" y="309"/>
                </a:lnTo>
                <a:close/>
                <a:moveTo>
                  <a:pt x="394" y="128"/>
                </a:moveTo>
                <a:cubicBezTo>
                  <a:pt x="394" y="122"/>
                  <a:pt x="390" y="117"/>
                  <a:pt x="384" y="117"/>
                </a:cubicBez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lnTo>
                  <a:pt x="394" y="12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5" name="Freeform 955"/>
          <p:cNvSpPr>
            <a:spLocks noChangeAspect="1" noEditPoints="1"/>
          </p:cNvSpPr>
          <p:nvPr/>
        </p:nvSpPr>
        <p:spPr bwMode="auto">
          <a:xfrm>
            <a:off x="7553664" y="2530173"/>
            <a:ext cx="367631" cy="36763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38 w 512"/>
              <a:gd name="T11" fmla="*/ 202 h 512"/>
              <a:gd name="T12" fmla="*/ 202 w 512"/>
              <a:gd name="T13" fmla="*/ 138 h 512"/>
              <a:gd name="T14" fmla="*/ 202 w 512"/>
              <a:gd name="T15" fmla="*/ 117 h 512"/>
              <a:gd name="T16" fmla="*/ 117 w 512"/>
              <a:gd name="T17" fmla="*/ 128 h 512"/>
              <a:gd name="T18" fmla="*/ 128 w 512"/>
              <a:gd name="T19" fmla="*/ 213 h 512"/>
              <a:gd name="T20" fmla="*/ 138 w 512"/>
              <a:gd name="T21" fmla="*/ 373 h 512"/>
              <a:gd name="T22" fmla="*/ 128 w 512"/>
              <a:gd name="T23" fmla="*/ 298 h 512"/>
              <a:gd name="T24" fmla="*/ 117 w 512"/>
              <a:gd name="T25" fmla="*/ 384 h 512"/>
              <a:gd name="T26" fmla="*/ 202 w 512"/>
              <a:gd name="T27" fmla="*/ 394 h 512"/>
              <a:gd name="T28" fmla="*/ 202 w 512"/>
              <a:gd name="T29" fmla="*/ 373 h 512"/>
              <a:gd name="T30" fmla="*/ 373 w 512"/>
              <a:gd name="T31" fmla="*/ 309 h 512"/>
              <a:gd name="T32" fmla="*/ 309 w 512"/>
              <a:gd name="T33" fmla="*/ 373 h 512"/>
              <a:gd name="T34" fmla="*/ 309 w 512"/>
              <a:gd name="T35" fmla="*/ 394 h 512"/>
              <a:gd name="T36" fmla="*/ 394 w 512"/>
              <a:gd name="T37" fmla="*/ 384 h 512"/>
              <a:gd name="T38" fmla="*/ 384 w 512"/>
              <a:gd name="T39" fmla="*/ 298 h 512"/>
              <a:gd name="T40" fmla="*/ 309 w 512"/>
              <a:gd name="T41" fmla="*/ 117 h 512"/>
              <a:gd name="T42" fmla="*/ 309 w 512"/>
              <a:gd name="T43" fmla="*/ 138 h 512"/>
              <a:gd name="T44" fmla="*/ 373 w 512"/>
              <a:gd name="T45" fmla="*/ 202 h 512"/>
              <a:gd name="T46" fmla="*/ 394 w 512"/>
              <a:gd name="T47" fmla="*/ 202 h 512"/>
              <a:gd name="T48" fmla="*/ 384 w 512"/>
              <a:gd name="T49" fmla="*/ 117 h 512"/>
              <a:gd name="T50" fmla="*/ 170 w 512"/>
              <a:gd name="T51" fmla="*/ 330 h 512"/>
              <a:gd name="T52" fmla="*/ 330 w 512"/>
              <a:gd name="T53" fmla="*/ 341 h 512"/>
              <a:gd name="T54" fmla="*/ 341 w 512"/>
              <a:gd name="T55" fmla="*/ 181 h 512"/>
              <a:gd name="T56" fmla="*/ 181 w 512"/>
              <a:gd name="T57" fmla="*/ 170 h 512"/>
              <a:gd name="T58" fmla="*/ 192 w 512"/>
              <a:gd name="T59" fmla="*/ 192 h 512"/>
              <a:gd name="T60" fmla="*/ 320 w 512"/>
              <a:gd name="T61" fmla="*/ 320 h 512"/>
              <a:gd name="T62" fmla="*/ 192 w 512"/>
              <a:gd name="T6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8" y="213"/>
                </a:move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cubicBezTo>
                  <a:pt x="117" y="202"/>
                  <a:pt x="117" y="202"/>
                  <a:pt x="117" y="202"/>
                </a:cubicBezTo>
                <a:cubicBezTo>
                  <a:pt x="117" y="208"/>
                  <a:pt x="122" y="213"/>
                  <a:pt x="128" y="213"/>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moveTo>
                  <a:pt x="170" y="181"/>
                </a:moveTo>
                <a:cubicBezTo>
                  <a:pt x="170" y="330"/>
                  <a:pt x="170" y="330"/>
                  <a:pt x="170" y="330"/>
                </a:cubicBezTo>
                <a:cubicBezTo>
                  <a:pt x="170" y="336"/>
                  <a:pt x="175" y="341"/>
                  <a:pt x="181" y="341"/>
                </a:cubicBezTo>
                <a:cubicBezTo>
                  <a:pt x="330" y="341"/>
                  <a:pt x="330" y="341"/>
                  <a:pt x="330" y="341"/>
                </a:cubicBez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lose/>
                <a:moveTo>
                  <a:pt x="192" y="192"/>
                </a:moveTo>
                <a:cubicBezTo>
                  <a:pt x="320" y="192"/>
                  <a:pt x="320" y="192"/>
                  <a:pt x="320" y="192"/>
                </a:cubicBezTo>
                <a:cubicBezTo>
                  <a:pt x="320" y="320"/>
                  <a:pt x="320" y="320"/>
                  <a:pt x="320" y="320"/>
                </a:cubicBezTo>
                <a:cubicBezTo>
                  <a:pt x="192" y="320"/>
                  <a:pt x="192" y="320"/>
                  <a:pt x="192" y="320"/>
                </a:cubicBezTo>
                <a:lnTo>
                  <a:pt x="192" y="1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6" name="Freeform 959"/>
          <p:cNvSpPr>
            <a:spLocks noChangeAspect="1" noEditPoints="1"/>
          </p:cNvSpPr>
          <p:nvPr/>
        </p:nvSpPr>
        <p:spPr bwMode="auto">
          <a:xfrm>
            <a:off x="7977444" y="2530173"/>
            <a:ext cx="367631" cy="3687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94 h 512"/>
              <a:gd name="T12" fmla="*/ 128 w 512"/>
              <a:gd name="T13" fmla="*/ 394 h 512"/>
              <a:gd name="T14" fmla="*/ 117 w 512"/>
              <a:gd name="T15" fmla="*/ 384 h 512"/>
              <a:gd name="T16" fmla="*/ 117 w 512"/>
              <a:gd name="T17" fmla="*/ 309 h 512"/>
              <a:gd name="T18" fmla="*/ 128 w 512"/>
              <a:gd name="T19" fmla="*/ 298 h 512"/>
              <a:gd name="T20" fmla="*/ 138 w 512"/>
              <a:gd name="T21" fmla="*/ 309 h 512"/>
              <a:gd name="T22" fmla="*/ 138 w 512"/>
              <a:gd name="T23" fmla="*/ 373 h 512"/>
              <a:gd name="T24" fmla="*/ 202 w 512"/>
              <a:gd name="T25" fmla="*/ 373 h 512"/>
              <a:gd name="T26" fmla="*/ 213 w 512"/>
              <a:gd name="T27" fmla="*/ 384 h 512"/>
              <a:gd name="T28" fmla="*/ 202 w 512"/>
              <a:gd name="T29" fmla="*/ 394 h 512"/>
              <a:gd name="T30" fmla="*/ 202 w 512"/>
              <a:gd name="T31" fmla="*/ 138 h 512"/>
              <a:gd name="T32" fmla="*/ 138 w 512"/>
              <a:gd name="T33" fmla="*/ 138 h 512"/>
              <a:gd name="T34" fmla="*/ 138 w 512"/>
              <a:gd name="T35" fmla="*/ 202 h 512"/>
              <a:gd name="T36" fmla="*/ 128 w 512"/>
              <a:gd name="T37" fmla="*/ 213 h 512"/>
              <a:gd name="T38" fmla="*/ 117 w 512"/>
              <a:gd name="T39" fmla="*/ 202 h 512"/>
              <a:gd name="T40" fmla="*/ 117 w 512"/>
              <a:gd name="T41" fmla="*/ 128 h 512"/>
              <a:gd name="T42" fmla="*/ 128 w 512"/>
              <a:gd name="T43" fmla="*/ 117 h 512"/>
              <a:gd name="T44" fmla="*/ 202 w 512"/>
              <a:gd name="T45" fmla="*/ 117 h 512"/>
              <a:gd name="T46" fmla="*/ 213 w 512"/>
              <a:gd name="T47" fmla="*/ 128 h 512"/>
              <a:gd name="T48" fmla="*/ 202 w 512"/>
              <a:gd name="T49" fmla="*/ 138 h 512"/>
              <a:gd name="T50" fmla="*/ 394 w 512"/>
              <a:gd name="T51" fmla="*/ 384 h 512"/>
              <a:gd name="T52" fmla="*/ 384 w 512"/>
              <a:gd name="T53" fmla="*/ 394 h 512"/>
              <a:gd name="T54" fmla="*/ 309 w 512"/>
              <a:gd name="T55" fmla="*/ 394 h 512"/>
              <a:gd name="T56" fmla="*/ 298 w 512"/>
              <a:gd name="T57" fmla="*/ 384 h 512"/>
              <a:gd name="T58" fmla="*/ 309 w 512"/>
              <a:gd name="T59" fmla="*/ 373 h 512"/>
              <a:gd name="T60" fmla="*/ 373 w 512"/>
              <a:gd name="T61" fmla="*/ 373 h 512"/>
              <a:gd name="T62" fmla="*/ 373 w 512"/>
              <a:gd name="T63" fmla="*/ 309 h 512"/>
              <a:gd name="T64" fmla="*/ 384 w 512"/>
              <a:gd name="T65" fmla="*/ 298 h 512"/>
              <a:gd name="T66" fmla="*/ 394 w 512"/>
              <a:gd name="T67" fmla="*/ 309 h 512"/>
              <a:gd name="T68" fmla="*/ 394 w 512"/>
              <a:gd name="T69" fmla="*/ 384 h 512"/>
              <a:gd name="T70" fmla="*/ 394 w 512"/>
              <a:gd name="T71" fmla="*/ 202 h 512"/>
              <a:gd name="T72" fmla="*/ 384 w 512"/>
              <a:gd name="T73" fmla="*/ 213 h 512"/>
              <a:gd name="T74" fmla="*/ 373 w 512"/>
              <a:gd name="T75" fmla="*/ 202 h 512"/>
              <a:gd name="T76" fmla="*/ 373 w 512"/>
              <a:gd name="T77" fmla="*/ 138 h 512"/>
              <a:gd name="T78" fmla="*/ 309 w 512"/>
              <a:gd name="T79" fmla="*/ 138 h 512"/>
              <a:gd name="T80" fmla="*/ 298 w 512"/>
              <a:gd name="T81" fmla="*/ 128 h 512"/>
              <a:gd name="T82" fmla="*/ 309 w 512"/>
              <a:gd name="T83" fmla="*/ 117 h 512"/>
              <a:gd name="T84" fmla="*/ 384 w 512"/>
              <a:gd name="T85" fmla="*/ 117 h 512"/>
              <a:gd name="T86" fmla="*/ 394 w 512"/>
              <a:gd name="T87" fmla="*/ 128 h 512"/>
              <a:gd name="T88" fmla="*/ 394 w 512"/>
              <a:gd name="T8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94"/>
                </a:moveTo>
                <a:cubicBezTo>
                  <a:pt x="128" y="394"/>
                  <a:pt x="128" y="394"/>
                  <a:pt x="128" y="394"/>
                </a:cubicBezTo>
                <a:cubicBezTo>
                  <a:pt x="122" y="394"/>
                  <a:pt x="117" y="390"/>
                  <a:pt x="117" y="384"/>
                </a:cubicBezTo>
                <a:cubicBezTo>
                  <a:pt x="117" y="309"/>
                  <a:pt x="117" y="309"/>
                  <a:pt x="117" y="309"/>
                </a:cubicBezTo>
                <a:cubicBezTo>
                  <a:pt x="117" y="303"/>
                  <a:pt x="122" y="298"/>
                  <a:pt x="128" y="298"/>
                </a:cubicBezTo>
                <a:cubicBezTo>
                  <a:pt x="134" y="298"/>
                  <a:pt x="138" y="303"/>
                  <a:pt x="138" y="309"/>
                </a:cubicBezTo>
                <a:cubicBezTo>
                  <a:pt x="138" y="373"/>
                  <a:pt x="138" y="373"/>
                  <a:pt x="138" y="373"/>
                </a:cubicBezTo>
                <a:cubicBezTo>
                  <a:pt x="202" y="373"/>
                  <a:pt x="202" y="373"/>
                  <a:pt x="202" y="373"/>
                </a:cubicBezTo>
                <a:cubicBezTo>
                  <a:pt x="208" y="373"/>
                  <a:pt x="213" y="378"/>
                  <a:pt x="213" y="384"/>
                </a:cubicBezTo>
                <a:cubicBezTo>
                  <a:pt x="213" y="390"/>
                  <a:pt x="208" y="394"/>
                  <a:pt x="202" y="394"/>
                </a:cubicBezTo>
                <a:close/>
                <a:moveTo>
                  <a:pt x="202" y="138"/>
                </a:moveTo>
                <a:cubicBezTo>
                  <a:pt x="138" y="138"/>
                  <a:pt x="138" y="138"/>
                  <a:pt x="138" y="138"/>
                </a:cubicBezTo>
                <a:cubicBezTo>
                  <a:pt x="138" y="202"/>
                  <a:pt x="138" y="202"/>
                  <a:pt x="138" y="202"/>
                </a:cubicBezTo>
                <a:cubicBezTo>
                  <a:pt x="138" y="208"/>
                  <a:pt x="134" y="213"/>
                  <a:pt x="128" y="213"/>
                </a:cubicBezTo>
                <a:cubicBezTo>
                  <a:pt x="122" y="213"/>
                  <a:pt x="117" y="208"/>
                  <a:pt x="117" y="202"/>
                </a:cubicBezTo>
                <a:cubicBezTo>
                  <a:pt x="117" y="128"/>
                  <a:pt x="117" y="128"/>
                  <a:pt x="117" y="128"/>
                </a:cubicBezTo>
                <a:cubicBezTo>
                  <a:pt x="117" y="122"/>
                  <a:pt x="122" y="117"/>
                  <a:pt x="128" y="117"/>
                </a:cubicBezTo>
                <a:cubicBezTo>
                  <a:pt x="202" y="117"/>
                  <a:pt x="202" y="117"/>
                  <a:pt x="202" y="117"/>
                </a:cubicBezTo>
                <a:cubicBezTo>
                  <a:pt x="208" y="117"/>
                  <a:pt x="213" y="122"/>
                  <a:pt x="213" y="128"/>
                </a:cubicBezTo>
                <a:cubicBezTo>
                  <a:pt x="213" y="134"/>
                  <a:pt x="208" y="138"/>
                  <a:pt x="202" y="138"/>
                </a:cubicBezTo>
                <a:close/>
                <a:moveTo>
                  <a:pt x="394" y="384"/>
                </a:moveTo>
                <a:cubicBezTo>
                  <a:pt x="394" y="390"/>
                  <a:pt x="390" y="394"/>
                  <a:pt x="384" y="394"/>
                </a:cubicBezTo>
                <a:cubicBezTo>
                  <a:pt x="309" y="394"/>
                  <a:pt x="309" y="394"/>
                  <a:pt x="309" y="394"/>
                </a:cubicBezTo>
                <a:cubicBezTo>
                  <a:pt x="303" y="394"/>
                  <a:pt x="298" y="390"/>
                  <a:pt x="298" y="384"/>
                </a:cubicBezTo>
                <a:cubicBezTo>
                  <a:pt x="298" y="378"/>
                  <a:pt x="303" y="373"/>
                  <a:pt x="309" y="373"/>
                </a:cubicBezTo>
                <a:cubicBezTo>
                  <a:pt x="373" y="373"/>
                  <a:pt x="373" y="373"/>
                  <a:pt x="373" y="373"/>
                </a:cubicBezTo>
                <a:cubicBezTo>
                  <a:pt x="373" y="309"/>
                  <a:pt x="373" y="309"/>
                  <a:pt x="373" y="309"/>
                </a:cubicBezTo>
                <a:cubicBezTo>
                  <a:pt x="373" y="303"/>
                  <a:pt x="378" y="298"/>
                  <a:pt x="384" y="298"/>
                </a:cubicBezTo>
                <a:cubicBezTo>
                  <a:pt x="390" y="298"/>
                  <a:pt x="394" y="303"/>
                  <a:pt x="394" y="309"/>
                </a:cubicBezTo>
                <a:lnTo>
                  <a:pt x="394" y="384"/>
                </a:lnTo>
                <a:close/>
                <a:moveTo>
                  <a:pt x="394" y="202"/>
                </a:moveTo>
                <a:cubicBezTo>
                  <a:pt x="394" y="208"/>
                  <a:pt x="390" y="213"/>
                  <a:pt x="384" y="213"/>
                </a:cubicBezTo>
                <a:cubicBezTo>
                  <a:pt x="378" y="213"/>
                  <a:pt x="373" y="208"/>
                  <a:pt x="373" y="202"/>
                </a:cubicBezTo>
                <a:cubicBezTo>
                  <a:pt x="373" y="138"/>
                  <a:pt x="373" y="138"/>
                  <a:pt x="373" y="138"/>
                </a:cubicBezTo>
                <a:cubicBezTo>
                  <a:pt x="309" y="138"/>
                  <a:pt x="309" y="138"/>
                  <a:pt x="309" y="138"/>
                </a:cubicBezTo>
                <a:cubicBezTo>
                  <a:pt x="303" y="138"/>
                  <a:pt x="298" y="134"/>
                  <a:pt x="298" y="128"/>
                </a:cubicBezTo>
                <a:cubicBezTo>
                  <a:pt x="298" y="122"/>
                  <a:pt x="303" y="117"/>
                  <a:pt x="309" y="117"/>
                </a:cubicBezTo>
                <a:cubicBezTo>
                  <a:pt x="384" y="117"/>
                  <a:pt x="384" y="117"/>
                  <a:pt x="384" y="117"/>
                </a:cubicBezTo>
                <a:cubicBezTo>
                  <a:pt x="390" y="117"/>
                  <a:pt x="394" y="122"/>
                  <a:pt x="394" y="128"/>
                </a:cubicBezTo>
                <a:lnTo>
                  <a:pt x="394" y="20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7" name="Freeform 963"/>
          <p:cNvSpPr>
            <a:spLocks noChangeAspect="1" noEditPoints="1"/>
          </p:cNvSpPr>
          <p:nvPr/>
        </p:nvSpPr>
        <p:spPr bwMode="auto">
          <a:xfrm>
            <a:off x="8394486" y="2530173"/>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8" name="TextBox 727"/>
          <p:cNvSpPr txBox="1"/>
          <p:nvPr/>
        </p:nvSpPr>
        <p:spPr>
          <a:xfrm>
            <a:off x="3750850" y="545496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il empty</a:t>
            </a:r>
          </a:p>
        </p:txBody>
      </p:sp>
      <p:sp>
        <p:nvSpPr>
          <p:cNvPr id="729" name="TextBox 728"/>
          <p:cNvSpPr txBox="1"/>
          <p:nvPr/>
        </p:nvSpPr>
        <p:spPr>
          <a:xfrm>
            <a:off x="4578231" y="5454961"/>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il full</a:t>
            </a:r>
          </a:p>
        </p:txBody>
      </p:sp>
      <p:sp>
        <p:nvSpPr>
          <p:cNvPr id="730" name="TextBox 729"/>
          <p:cNvSpPr txBox="1"/>
          <p:nvPr/>
        </p:nvSpPr>
        <p:spPr>
          <a:xfrm>
            <a:off x="5420429"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il in</a:t>
            </a:r>
          </a:p>
        </p:txBody>
      </p:sp>
      <p:sp>
        <p:nvSpPr>
          <p:cNvPr id="731" name="TextBox 730"/>
          <p:cNvSpPr txBox="1"/>
          <p:nvPr/>
        </p:nvSpPr>
        <p:spPr>
          <a:xfrm>
            <a:off x="7098475"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il out</a:t>
            </a:r>
          </a:p>
        </p:txBody>
      </p:sp>
      <p:sp>
        <p:nvSpPr>
          <p:cNvPr id="732" name="TextBox 731"/>
          <p:cNvSpPr txBox="1"/>
          <p:nvPr/>
        </p:nvSpPr>
        <p:spPr>
          <a:xfrm>
            <a:off x="6259452"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il</a:t>
            </a:r>
          </a:p>
        </p:txBody>
      </p:sp>
      <p:sp>
        <p:nvSpPr>
          <p:cNvPr id="733" name="Freeform 673"/>
          <p:cNvSpPr>
            <a:spLocks noChangeAspect="1" noEditPoints="1"/>
          </p:cNvSpPr>
          <p:nvPr/>
        </p:nvSpPr>
        <p:spPr bwMode="auto">
          <a:xfrm>
            <a:off x="3856193" y="5010657"/>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277 h 512"/>
              <a:gd name="T12" fmla="*/ 373 w 512"/>
              <a:gd name="T13" fmla="*/ 288 h 512"/>
              <a:gd name="T14" fmla="*/ 288 w 512"/>
              <a:gd name="T15" fmla="*/ 288 h 512"/>
              <a:gd name="T16" fmla="*/ 288 w 512"/>
              <a:gd name="T17" fmla="*/ 405 h 512"/>
              <a:gd name="T18" fmla="*/ 277 w 512"/>
              <a:gd name="T19" fmla="*/ 416 h 512"/>
              <a:gd name="T20" fmla="*/ 234 w 512"/>
              <a:gd name="T21" fmla="*/ 416 h 512"/>
              <a:gd name="T22" fmla="*/ 224 w 512"/>
              <a:gd name="T23" fmla="*/ 405 h 512"/>
              <a:gd name="T24" fmla="*/ 224 w 512"/>
              <a:gd name="T25" fmla="*/ 288 h 512"/>
              <a:gd name="T26" fmla="*/ 138 w 512"/>
              <a:gd name="T27" fmla="*/ 288 h 512"/>
              <a:gd name="T28" fmla="*/ 128 w 512"/>
              <a:gd name="T29" fmla="*/ 277 h 512"/>
              <a:gd name="T30" fmla="*/ 128 w 512"/>
              <a:gd name="T31" fmla="*/ 192 h 512"/>
              <a:gd name="T32" fmla="*/ 170 w 512"/>
              <a:gd name="T33" fmla="*/ 149 h 512"/>
              <a:gd name="T34" fmla="*/ 341 w 512"/>
              <a:gd name="T35" fmla="*/ 149 h 512"/>
              <a:gd name="T36" fmla="*/ 384 w 512"/>
              <a:gd name="T37" fmla="*/ 192 h 512"/>
              <a:gd name="T38" fmla="*/ 384 w 512"/>
              <a:gd name="T39" fmla="*/ 277 h 512"/>
              <a:gd name="T40" fmla="*/ 245 w 512"/>
              <a:gd name="T41" fmla="*/ 288 h 512"/>
              <a:gd name="T42" fmla="*/ 266 w 512"/>
              <a:gd name="T43" fmla="*/ 288 h 512"/>
              <a:gd name="T44" fmla="*/ 266 w 512"/>
              <a:gd name="T45" fmla="*/ 394 h 512"/>
              <a:gd name="T46" fmla="*/ 245 w 512"/>
              <a:gd name="T47" fmla="*/ 394 h 512"/>
              <a:gd name="T48" fmla="*/ 245 w 512"/>
              <a:gd name="T49" fmla="*/ 288 h 512"/>
              <a:gd name="T50" fmla="*/ 341 w 512"/>
              <a:gd name="T51" fmla="*/ 170 h 512"/>
              <a:gd name="T52" fmla="*/ 170 w 512"/>
              <a:gd name="T53" fmla="*/ 170 h 512"/>
              <a:gd name="T54" fmla="*/ 149 w 512"/>
              <a:gd name="T55" fmla="*/ 192 h 512"/>
              <a:gd name="T56" fmla="*/ 149 w 512"/>
              <a:gd name="T57" fmla="*/ 266 h 512"/>
              <a:gd name="T58" fmla="*/ 362 w 512"/>
              <a:gd name="T59" fmla="*/ 266 h 512"/>
              <a:gd name="T60" fmla="*/ 362 w 512"/>
              <a:gd name="T61" fmla="*/ 192 h 512"/>
              <a:gd name="T62" fmla="*/ 341 w 512"/>
              <a:gd name="T63" fmla="*/ 170 h 512"/>
              <a:gd name="T64" fmla="*/ 330 w 512"/>
              <a:gd name="T65" fmla="*/ 224 h 512"/>
              <a:gd name="T66" fmla="*/ 320 w 512"/>
              <a:gd name="T67" fmla="*/ 234 h 512"/>
              <a:gd name="T68" fmla="*/ 309 w 512"/>
              <a:gd name="T69" fmla="*/ 224 h 512"/>
              <a:gd name="T70" fmla="*/ 309 w 512"/>
              <a:gd name="T71" fmla="*/ 213 h 512"/>
              <a:gd name="T72" fmla="*/ 234 w 512"/>
              <a:gd name="T73" fmla="*/ 213 h 512"/>
              <a:gd name="T74" fmla="*/ 224 w 512"/>
              <a:gd name="T75" fmla="*/ 202 h 512"/>
              <a:gd name="T76" fmla="*/ 234 w 512"/>
              <a:gd name="T77" fmla="*/ 192 h 512"/>
              <a:gd name="T78" fmla="*/ 320 w 512"/>
              <a:gd name="T79" fmla="*/ 192 h 512"/>
              <a:gd name="T80" fmla="*/ 330 w 512"/>
              <a:gd name="T81" fmla="*/ 202 h 512"/>
              <a:gd name="T82" fmla="*/ 330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277"/>
                </a:moveTo>
                <a:cubicBezTo>
                  <a:pt x="384" y="283"/>
                  <a:pt x="379" y="288"/>
                  <a:pt x="373" y="288"/>
                </a:cubicBezTo>
                <a:cubicBezTo>
                  <a:pt x="288" y="288"/>
                  <a:pt x="288" y="288"/>
                  <a:pt x="288" y="288"/>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288"/>
                  <a:pt x="224" y="288"/>
                  <a:pt x="224" y="288"/>
                </a:cubicBezTo>
                <a:cubicBezTo>
                  <a:pt x="138" y="288"/>
                  <a:pt x="138" y="288"/>
                  <a:pt x="138" y="288"/>
                </a:cubicBezTo>
                <a:cubicBezTo>
                  <a:pt x="132" y="288"/>
                  <a:pt x="128" y="283"/>
                  <a:pt x="128" y="277"/>
                </a:cubicBezTo>
                <a:cubicBezTo>
                  <a:pt x="128" y="192"/>
                  <a:pt x="128" y="192"/>
                  <a:pt x="128" y="192"/>
                </a:cubicBezTo>
                <a:cubicBezTo>
                  <a:pt x="128" y="168"/>
                  <a:pt x="147" y="149"/>
                  <a:pt x="170" y="149"/>
                </a:cubicBezTo>
                <a:cubicBezTo>
                  <a:pt x="341" y="149"/>
                  <a:pt x="341" y="149"/>
                  <a:pt x="341" y="149"/>
                </a:cubicBezTo>
                <a:cubicBezTo>
                  <a:pt x="365" y="149"/>
                  <a:pt x="384" y="168"/>
                  <a:pt x="384" y="192"/>
                </a:cubicBezTo>
                <a:lnTo>
                  <a:pt x="384" y="277"/>
                </a:lnTo>
                <a:close/>
                <a:moveTo>
                  <a:pt x="245" y="288"/>
                </a:moveTo>
                <a:cubicBezTo>
                  <a:pt x="266" y="288"/>
                  <a:pt x="266" y="288"/>
                  <a:pt x="266" y="288"/>
                </a:cubicBezTo>
                <a:cubicBezTo>
                  <a:pt x="266" y="394"/>
                  <a:pt x="266" y="394"/>
                  <a:pt x="266" y="394"/>
                </a:cubicBezTo>
                <a:cubicBezTo>
                  <a:pt x="245" y="394"/>
                  <a:pt x="245" y="394"/>
                  <a:pt x="245" y="394"/>
                </a:cubicBezTo>
                <a:lnTo>
                  <a:pt x="245" y="288"/>
                </a:lnTo>
                <a:close/>
                <a:moveTo>
                  <a:pt x="341" y="170"/>
                </a:moveTo>
                <a:cubicBezTo>
                  <a:pt x="170" y="170"/>
                  <a:pt x="170" y="170"/>
                  <a:pt x="170" y="170"/>
                </a:cubicBezTo>
                <a:cubicBezTo>
                  <a:pt x="159" y="170"/>
                  <a:pt x="149" y="180"/>
                  <a:pt x="149" y="192"/>
                </a:cubicBezTo>
                <a:cubicBezTo>
                  <a:pt x="149" y="266"/>
                  <a:pt x="149" y="266"/>
                  <a:pt x="149" y="266"/>
                </a:cubicBezTo>
                <a:cubicBezTo>
                  <a:pt x="362" y="266"/>
                  <a:pt x="362" y="266"/>
                  <a:pt x="362" y="266"/>
                </a:cubicBezTo>
                <a:cubicBezTo>
                  <a:pt x="362" y="192"/>
                  <a:pt x="362" y="192"/>
                  <a:pt x="362" y="192"/>
                </a:cubicBezTo>
                <a:cubicBezTo>
                  <a:pt x="362" y="180"/>
                  <a:pt x="353" y="170"/>
                  <a:pt x="341" y="170"/>
                </a:cubicBezTo>
                <a:close/>
                <a:moveTo>
                  <a:pt x="330" y="224"/>
                </a:moveTo>
                <a:cubicBezTo>
                  <a:pt x="330" y="230"/>
                  <a:pt x="326" y="234"/>
                  <a:pt x="320" y="234"/>
                </a:cubicBezTo>
                <a:cubicBezTo>
                  <a:pt x="314" y="234"/>
                  <a:pt x="309" y="230"/>
                  <a:pt x="309" y="224"/>
                </a:cubicBezTo>
                <a:cubicBezTo>
                  <a:pt x="309" y="213"/>
                  <a:pt x="309" y="213"/>
                  <a:pt x="309" y="213"/>
                </a:cubicBezTo>
                <a:cubicBezTo>
                  <a:pt x="234" y="213"/>
                  <a:pt x="234" y="213"/>
                  <a:pt x="234" y="213"/>
                </a:cubicBezTo>
                <a:cubicBezTo>
                  <a:pt x="228" y="213"/>
                  <a:pt x="224" y="208"/>
                  <a:pt x="224" y="202"/>
                </a:cubicBezTo>
                <a:cubicBezTo>
                  <a:pt x="224" y="196"/>
                  <a:pt x="228" y="192"/>
                  <a:pt x="234" y="192"/>
                </a:cubicBezTo>
                <a:cubicBezTo>
                  <a:pt x="320" y="192"/>
                  <a:pt x="320" y="192"/>
                  <a:pt x="320" y="192"/>
                </a:cubicBezTo>
                <a:cubicBezTo>
                  <a:pt x="326" y="192"/>
                  <a:pt x="330" y="196"/>
                  <a:pt x="330" y="202"/>
                </a:cubicBezTo>
                <a:lnTo>
                  <a:pt x="330" y="224"/>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34" name="Group 676"/>
          <p:cNvGrpSpPr>
            <a:grpSpLocks noChangeAspect="1"/>
          </p:cNvGrpSpPr>
          <p:nvPr/>
        </p:nvGrpSpPr>
        <p:grpSpPr bwMode="auto">
          <a:xfrm>
            <a:off x="4268458" y="5010657"/>
            <a:ext cx="367041" cy="367041"/>
            <a:chOff x="2467" y="2974"/>
            <a:chExt cx="340" cy="340"/>
          </a:xfrm>
          <a:solidFill>
            <a:schemeClr val="accent2"/>
          </a:solidFill>
        </p:grpSpPr>
        <p:sp>
          <p:nvSpPr>
            <p:cNvPr id="735" name="Freeform 677"/>
            <p:cNvSpPr>
              <a:spLocks noEditPoints="1"/>
            </p:cNvSpPr>
            <p:nvPr/>
          </p:nvSpPr>
          <p:spPr bwMode="auto">
            <a:xfrm>
              <a:off x="2467" y="2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6" name="Freeform 678"/>
            <p:cNvSpPr>
              <a:spLocks noEditPoints="1"/>
            </p:cNvSpPr>
            <p:nvPr/>
          </p:nvSpPr>
          <p:spPr bwMode="auto">
            <a:xfrm>
              <a:off x="2552" y="3073"/>
              <a:ext cx="170" cy="177"/>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7" name="Freeform 682"/>
          <p:cNvSpPr>
            <a:spLocks noChangeAspect="1" noEditPoints="1"/>
          </p:cNvSpPr>
          <p:nvPr/>
        </p:nvSpPr>
        <p:spPr bwMode="auto">
          <a:xfrm>
            <a:off x="4680723" y="5010657"/>
            <a:ext cx="367041" cy="36704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38" name="Group 685"/>
          <p:cNvGrpSpPr>
            <a:grpSpLocks noChangeAspect="1"/>
          </p:cNvGrpSpPr>
          <p:nvPr/>
        </p:nvGrpSpPr>
        <p:grpSpPr bwMode="auto">
          <a:xfrm>
            <a:off x="5092988" y="5010657"/>
            <a:ext cx="367041" cy="367041"/>
            <a:chOff x="2658" y="2904"/>
            <a:chExt cx="340" cy="340"/>
          </a:xfrm>
          <a:solidFill>
            <a:schemeClr val="accent2"/>
          </a:solidFill>
        </p:grpSpPr>
        <p:sp>
          <p:nvSpPr>
            <p:cNvPr id="739" name="Freeform 686"/>
            <p:cNvSpPr>
              <a:spLocks noEditPoints="1"/>
            </p:cNvSpPr>
            <p:nvPr/>
          </p:nvSpPr>
          <p:spPr bwMode="auto">
            <a:xfrm>
              <a:off x="2658" y="29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0" name="Freeform 687"/>
            <p:cNvSpPr>
              <a:spLocks noEditPoints="1"/>
            </p:cNvSpPr>
            <p:nvPr/>
          </p:nvSpPr>
          <p:spPr bwMode="auto">
            <a:xfrm>
              <a:off x="2743" y="2968"/>
              <a:ext cx="170" cy="212"/>
            </a:xfrm>
            <a:custGeom>
              <a:avLst/>
              <a:gdLst>
                <a:gd name="T0" fmla="*/ 213 w 256"/>
                <a:gd name="T1" fmla="*/ 53 h 320"/>
                <a:gd name="T2" fmla="*/ 117 w 256"/>
                <a:gd name="T3" fmla="*/ 53 h 320"/>
                <a:gd name="T4" fmla="*/ 117 w 256"/>
                <a:gd name="T5" fmla="*/ 21 h 320"/>
                <a:gd name="T6" fmla="*/ 128 w 256"/>
                <a:gd name="T7" fmla="*/ 21 h 320"/>
                <a:gd name="T8" fmla="*/ 138 w 256"/>
                <a:gd name="T9" fmla="*/ 10 h 320"/>
                <a:gd name="T10" fmla="*/ 128 w 256"/>
                <a:gd name="T11" fmla="*/ 0 h 320"/>
                <a:gd name="T12" fmla="*/ 106 w 256"/>
                <a:gd name="T13" fmla="*/ 0 h 320"/>
                <a:gd name="T14" fmla="*/ 96 w 256"/>
                <a:gd name="T15" fmla="*/ 10 h 320"/>
                <a:gd name="T16" fmla="*/ 96 w 256"/>
                <a:gd name="T17" fmla="*/ 53 h 320"/>
                <a:gd name="T18" fmla="*/ 42 w 256"/>
                <a:gd name="T19" fmla="*/ 53 h 320"/>
                <a:gd name="T20" fmla="*/ 0 w 256"/>
                <a:gd name="T21" fmla="*/ 96 h 320"/>
                <a:gd name="T22" fmla="*/ 0 w 256"/>
                <a:gd name="T23" fmla="*/ 181 h 320"/>
                <a:gd name="T24" fmla="*/ 10 w 256"/>
                <a:gd name="T25" fmla="*/ 192 h 320"/>
                <a:gd name="T26" fmla="*/ 96 w 256"/>
                <a:gd name="T27" fmla="*/ 192 h 320"/>
                <a:gd name="T28" fmla="*/ 96 w 256"/>
                <a:gd name="T29" fmla="*/ 309 h 320"/>
                <a:gd name="T30" fmla="*/ 106 w 256"/>
                <a:gd name="T31" fmla="*/ 320 h 320"/>
                <a:gd name="T32" fmla="*/ 149 w 256"/>
                <a:gd name="T33" fmla="*/ 320 h 320"/>
                <a:gd name="T34" fmla="*/ 160 w 256"/>
                <a:gd name="T35" fmla="*/ 309 h 320"/>
                <a:gd name="T36" fmla="*/ 160 w 256"/>
                <a:gd name="T37" fmla="*/ 192 h 320"/>
                <a:gd name="T38" fmla="*/ 245 w 256"/>
                <a:gd name="T39" fmla="*/ 192 h 320"/>
                <a:gd name="T40" fmla="*/ 256 w 256"/>
                <a:gd name="T41" fmla="*/ 181 h 320"/>
                <a:gd name="T42" fmla="*/ 256 w 256"/>
                <a:gd name="T43" fmla="*/ 96 h 320"/>
                <a:gd name="T44" fmla="*/ 213 w 256"/>
                <a:gd name="T45" fmla="*/ 53 h 320"/>
                <a:gd name="T46" fmla="*/ 138 w 256"/>
                <a:gd name="T47" fmla="*/ 298 h 320"/>
                <a:gd name="T48" fmla="*/ 117 w 256"/>
                <a:gd name="T49" fmla="*/ 298 h 320"/>
                <a:gd name="T50" fmla="*/ 117 w 256"/>
                <a:gd name="T51" fmla="*/ 192 h 320"/>
                <a:gd name="T52" fmla="*/ 138 w 256"/>
                <a:gd name="T53" fmla="*/ 192 h 320"/>
                <a:gd name="T54" fmla="*/ 138 w 256"/>
                <a:gd name="T55" fmla="*/ 298 h 320"/>
                <a:gd name="T56" fmla="*/ 234 w 256"/>
                <a:gd name="T57" fmla="*/ 170 h 320"/>
                <a:gd name="T58" fmla="*/ 21 w 256"/>
                <a:gd name="T59" fmla="*/ 170 h 320"/>
                <a:gd name="T60" fmla="*/ 21 w 256"/>
                <a:gd name="T61" fmla="*/ 96 h 320"/>
                <a:gd name="T62" fmla="*/ 42 w 256"/>
                <a:gd name="T63" fmla="*/ 74 h 320"/>
                <a:gd name="T64" fmla="*/ 96 w 256"/>
                <a:gd name="T65" fmla="*/ 74 h 320"/>
                <a:gd name="T66" fmla="*/ 96 w 256"/>
                <a:gd name="T67" fmla="*/ 96 h 320"/>
                <a:gd name="T68" fmla="*/ 106 w 256"/>
                <a:gd name="T69" fmla="*/ 106 h 320"/>
                <a:gd name="T70" fmla="*/ 117 w 256"/>
                <a:gd name="T71" fmla="*/ 96 h 320"/>
                <a:gd name="T72" fmla="*/ 117 w 256"/>
                <a:gd name="T73" fmla="*/ 74 h 320"/>
                <a:gd name="T74" fmla="*/ 213 w 256"/>
                <a:gd name="T75" fmla="*/ 74 h 320"/>
                <a:gd name="T76" fmla="*/ 234 w 256"/>
                <a:gd name="T77" fmla="*/ 96 h 320"/>
                <a:gd name="T78" fmla="*/ 234 w 256"/>
                <a:gd name="T79"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320">
                  <a:moveTo>
                    <a:pt x="213" y="53"/>
                  </a:moveTo>
                  <a:cubicBezTo>
                    <a:pt x="117" y="53"/>
                    <a:pt x="117" y="53"/>
                    <a:pt x="117" y="53"/>
                  </a:cubicBezTo>
                  <a:cubicBezTo>
                    <a:pt x="117" y="21"/>
                    <a:pt x="117" y="21"/>
                    <a:pt x="117" y="21"/>
                  </a:cubicBezTo>
                  <a:cubicBezTo>
                    <a:pt x="128" y="21"/>
                    <a:pt x="128" y="21"/>
                    <a:pt x="128" y="21"/>
                  </a:cubicBezTo>
                  <a:cubicBezTo>
                    <a:pt x="134" y="21"/>
                    <a:pt x="138" y="16"/>
                    <a:pt x="138" y="10"/>
                  </a:cubicBezTo>
                  <a:cubicBezTo>
                    <a:pt x="138" y="4"/>
                    <a:pt x="134" y="0"/>
                    <a:pt x="128" y="0"/>
                  </a:cubicBezTo>
                  <a:cubicBezTo>
                    <a:pt x="106" y="0"/>
                    <a:pt x="106" y="0"/>
                    <a:pt x="106" y="0"/>
                  </a:cubicBezTo>
                  <a:cubicBezTo>
                    <a:pt x="100" y="0"/>
                    <a:pt x="96" y="4"/>
                    <a:pt x="96" y="10"/>
                  </a:cubicBezTo>
                  <a:cubicBezTo>
                    <a:pt x="96" y="53"/>
                    <a:pt x="96" y="53"/>
                    <a:pt x="96" y="53"/>
                  </a:cubicBezTo>
                  <a:cubicBezTo>
                    <a:pt x="42" y="53"/>
                    <a:pt x="42" y="53"/>
                    <a:pt x="42" y="53"/>
                  </a:cubicBezTo>
                  <a:cubicBezTo>
                    <a:pt x="19" y="53"/>
                    <a:pt x="0" y="72"/>
                    <a:pt x="0" y="96"/>
                  </a:cubicBezTo>
                  <a:cubicBezTo>
                    <a:pt x="0" y="181"/>
                    <a:pt x="0" y="181"/>
                    <a:pt x="0" y="181"/>
                  </a:cubicBezTo>
                  <a:cubicBezTo>
                    <a:pt x="0" y="187"/>
                    <a:pt x="4" y="192"/>
                    <a:pt x="10" y="192"/>
                  </a:cubicBezTo>
                  <a:cubicBezTo>
                    <a:pt x="96" y="192"/>
                    <a:pt x="96" y="192"/>
                    <a:pt x="96" y="192"/>
                  </a:cubicBezTo>
                  <a:cubicBezTo>
                    <a:pt x="96" y="309"/>
                    <a:pt x="96" y="309"/>
                    <a:pt x="96" y="309"/>
                  </a:cubicBezTo>
                  <a:cubicBezTo>
                    <a:pt x="96" y="315"/>
                    <a:pt x="100" y="320"/>
                    <a:pt x="106" y="320"/>
                  </a:cubicBezTo>
                  <a:cubicBezTo>
                    <a:pt x="149" y="320"/>
                    <a:pt x="149" y="320"/>
                    <a:pt x="149" y="320"/>
                  </a:cubicBezTo>
                  <a:cubicBezTo>
                    <a:pt x="155" y="320"/>
                    <a:pt x="160" y="315"/>
                    <a:pt x="160" y="309"/>
                  </a:cubicBezTo>
                  <a:cubicBezTo>
                    <a:pt x="160" y="192"/>
                    <a:pt x="160" y="192"/>
                    <a:pt x="160" y="192"/>
                  </a:cubicBezTo>
                  <a:cubicBezTo>
                    <a:pt x="245" y="192"/>
                    <a:pt x="245" y="192"/>
                    <a:pt x="245" y="192"/>
                  </a:cubicBezTo>
                  <a:cubicBezTo>
                    <a:pt x="251" y="192"/>
                    <a:pt x="256" y="187"/>
                    <a:pt x="256" y="181"/>
                  </a:cubicBezTo>
                  <a:cubicBezTo>
                    <a:pt x="256" y="96"/>
                    <a:pt x="256" y="96"/>
                    <a:pt x="256" y="96"/>
                  </a:cubicBezTo>
                  <a:cubicBezTo>
                    <a:pt x="256" y="72"/>
                    <a:pt x="237" y="53"/>
                    <a:pt x="213" y="53"/>
                  </a:cubicBezTo>
                  <a:close/>
                  <a:moveTo>
                    <a:pt x="138" y="298"/>
                  </a:moveTo>
                  <a:cubicBezTo>
                    <a:pt x="117" y="298"/>
                    <a:pt x="117" y="298"/>
                    <a:pt x="117" y="298"/>
                  </a:cubicBezTo>
                  <a:cubicBezTo>
                    <a:pt x="117" y="192"/>
                    <a:pt x="117" y="192"/>
                    <a:pt x="117" y="192"/>
                  </a:cubicBezTo>
                  <a:cubicBezTo>
                    <a:pt x="138" y="192"/>
                    <a:pt x="138" y="192"/>
                    <a:pt x="138" y="192"/>
                  </a:cubicBezTo>
                  <a:lnTo>
                    <a:pt x="138" y="298"/>
                  </a:lnTo>
                  <a:close/>
                  <a:moveTo>
                    <a:pt x="234" y="170"/>
                  </a:moveTo>
                  <a:cubicBezTo>
                    <a:pt x="21" y="170"/>
                    <a:pt x="21" y="170"/>
                    <a:pt x="21" y="170"/>
                  </a:cubicBezTo>
                  <a:cubicBezTo>
                    <a:pt x="21" y="96"/>
                    <a:pt x="21" y="96"/>
                    <a:pt x="21" y="96"/>
                  </a:cubicBezTo>
                  <a:cubicBezTo>
                    <a:pt x="21" y="84"/>
                    <a:pt x="31" y="74"/>
                    <a:pt x="42" y="74"/>
                  </a:cubicBezTo>
                  <a:cubicBezTo>
                    <a:pt x="96" y="74"/>
                    <a:pt x="96" y="74"/>
                    <a:pt x="96" y="74"/>
                  </a:cubicBezTo>
                  <a:cubicBezTo>
                    <a:pt x="96" y="96"/>
                    <a:pt x="96" y="96"/>
                    <a:pt x="96" y="96"/>
                  </a:cubicBezTo>
                  <a:cubicBezTo>
                    <a:pt x="96" y="102"/>
                    <a:pt x="100" y="106"/>
                    <a:pt x="106" y="106"/>
                  </a:cubicBezTo>
                  <a:cubicBezTo>
                    <a:pt x="112" y="106"/>
                    <a:pt x="117" y="102"/>
                    <a:pt x="117" y="96"/>
                  </a:cubicBezTo>
                  <a:cubicBezTo>
                    <a:pt x="117" y="74"/>
                    <a:pt x="117" y="74"/>
                    <a:pt x="117" y="74"/>
                  </a:cubicBezTo>
                  <a:cubicBezTo>
                    <a:pt x="213" y="74"/>
                    <a:pt x="213" y="74"/>
                    <a:pt x="213" y="74"/>
                  </a:cubicBezTo>
                  <a:cubicBezTo>
                    <a:pt x="225" y="74"/>
                    <a:pt x="234" y="84"/>
                    <a:pt x="234" y="96"/>
                  </a:cubicBezTo>
                  <a:lnTo>
                    <a:pt x="234"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1" name="Freeform 691"/>
          <p:cNvSpPr>
            <a:spLocks noChangeAspect="1" noEditPoints="1"/>
          </p:cNvSpPr>
          <p:nvPr/>
        </p:nvSpPr>
        <p:spPr bwMode="auto">
          <a:xfrm>
            <a:off x="5505253" y="5009577"/>
            <a:ext cx="367041" cy="368121"/>
          </a:xfrm>
          <a:custGeom>
            <a:avLst/>
            <a:gdLst>
              <a:gd name="T0" fmla="*/ 208 w 512"/>
              <a:gd name="T1" fmla="*/ 300 h 512"/>
              <a:gd name="T2" fmla="*/ 149 w 512"/>
              <a:gd name="T3" fmla="*/ 359 h 512"/>
              <a:gd name="T4" fmla="*/ 149 w 512"/>
              <a:gd name="T5" fmla="*/ 248 h 512"/>
              <a:gd name="T6" fmla="*/ 208 w 512"/>
              <a:gd name="T7" fmla="*/ 300 h 512"/>
              <a:gd name="T8" fmla="*/ 228 w 512"/>
              <a:gd name="T9" fmla="*/ 310 h 512"/>
              <a:gd name="T10" fmla="*/ 164 w 512"/>
              <a:gd name="T11" fmla="*/ 374 h 512"/>
              <a:gd name="T12" fmla="*/ 348 w 512"/>
              <a:gd name="T13" fmla="*/ 374 h 512"/>
              <a:gd name="T14" fmla="*/ 284 w 512"/>
              <a:gd name="T15" fmla="*/ 310 h 512"/>
              <a:gd name="T16" fmla="*/ 228 w 512"/>
              <a:gd name="T17" fmla="*/ 31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384 w 512"/>
              <a:gd name="T29" fmla="*/ 224 h 512"/>
              <a:gd name="T30" fmla="*/ 381 w 512"/>
              <a:gd name="T31" fmla="*/ 217 h 512"/>
              <a:gd name="T32" fmla="*/ 264 w 512"/>
              <a:gd name="T33" fmla="*/ 99 h 512"/>
              <a:gd name="T34" fmla="*/ 248 w 512"/>
              <a:gd name="T35" fmla="*/ 99 h 512"/>
              <a:gd name="T36" fmla="*/ 131 w 512"/>
              <a:gd name="T37" fmla="*/ 217 h 512"/>
              <a:gd name="T38" fmla="*/ 128 w 512"/>
              <a:gd name="T39" fmla="*/ 224 h 512"/>
              <a:gd name="T40" fmla="*/ 128 w 512"/>
              <a:gd name="T41" fmla="*/ 384 h 512"/>
              <a:gd name="T42" fmla="*/ 139 w 512"/>
              <a:gd name="T43" fmla="*/ 395 h 512"/>
              <a:gd name="T44" fmla="*/ 373 w 512"/>
              <a:gd name="T45" fmla="*/ 395 h 512"/>
              <a:gd name="T46" fmla="*/ 384 w 512"/>
              <a:gd name="T47" fmla="*/ 384 h 512"/>
              <a:gd name="T48" fmla="*/ 384 w 512"/>
              <a:gd name="T49" fmla="*/ 224 h 512"/>
              <a:gd name="T50" fmla="*/ 228 w 512"/>
              <a:gd name="T51" fmla="*/ 288 h 512"/>
              <a:gd name="T52" fmla="*/ 154 w 512"/>
              <a:gd name="T53" fmla="*/ 224 h 512"/>
              <a:gd name="T54" fmla="*/ 256 w 512"/>
              <a:gd name="T55" fmla="*/ 122 h 512"/>
              <a:gd name="T56" fmla="*/ 358 w 512"/>
              <a:gd name="T57" fmla="*/ 224 h 512"/>
              <a:gd name="T58" fmla="*/ 284 w 512"/>
              <a:gd name="T59" fmla="*/ 288 h 512"/>
              <a:gd name="T60" fmla="*/ 228 w 512"/>
              <a:gd name="T61" fmla="*/ 288 h 512"/>
              <a:gd name="T62" fmla="*/ 216 w 512"/>
              <a:gd name="T63" fmla="*/ 232 h 512"/>
              <a:gd name="T64" fmla="*/ 248 w 512"/>
              <a:gd name="T65" fmla="*/ 264 h 512"/>
              <a:gd name="T66" fmla="*/ 252 w 512"/>
              <a:gd name="T67" fmla="*/ 266 h 512"/>
              <a:gd name="T68" fmla="*/ 256 w 512"/>
              <a:gd name="T69" fmla="*/ 267 h 512"/>
              <a:gd name="T70" fmla="*/ 260 w 512"/>
              <a:gd name="T71" fmla="*/ 266 h 512"/>
              <a:gd name="T72" fmla="*/ 264 w 512"/>
              <a:gd name="T73" fmla="*/ 264 h 512"/>
              <a:gd name="T74" fmla="*/ 296 w 512"/>
              <a:gd name="T75" fmla="*/ 232 h 512"/>
              <a:gd name="T76" fmla="*/ 296 w 512"/>
              <a:gd name="T77" fmla="*/ 217 h 512"/>
              <a:gd name="T78" fmla="*/ 280 w 512"/>
              <a:gd name="T79" fmla="*/ 217 h 512"/>
              <a:gd name="T80" fmla="*/ 267 w 512"/>
              <a:gd name="T81" fmla="*/ 231 h 512"/>
              <a:gd name="T82" fmla="*/ 267 w 512"/>
              <a:gd name="T83" fmla="*/ 171 h 512"/>
              <a:gd name="T84" fmla="*/ 256 w 512"/>
              <a:gd name="T85" fmla="*/ 160 h 512"/>
              <a:gd name="T86" fmla="*/ 245 w 512"/>
              <a:gd name="T87" fmla="*/ 171 h 512"/>
              <a:gd name="T88" fmla="*/ 245 w 512"/>
              <a:gd name="T89" fmla="*/ 231 h 512"/>
              <a:gd name="T90" fmla="*/ 232 w 512"/>
              <a:gd name="T91" fmla="*/ 217 h 512"/>
              <a:gd name="T92" fmla="*/ 216 w 512"/>
              <a:gd name="T93" fmla="*/ 217 h 512"/>
              <a:gd name="T94" fmla="*/ 216 w 512"/>
              <a:gd name="T95" fmla="*/ 232 h 512"/>
              <a:gd name="T96" fmla="*/ 363 w 512"/>
              <a:gd name="T97" fmla="*/ 359 h 512"/>
              <a:gd name="T98" fmla="*/ 363 w 512"/>
              <a:gd name="T99" fmla="*/ 248 h 512"/>
              <a:gd name="T100" fmla="*/ 304 w 512"/>
              <a:gd name="T101" fmla="*/ 300 h 512"/>
              <a:gd name="T102" fmla="*/ 363 w 512"/>
              <a:gd name="T103" fmla="*/ 3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08" y="300"/>
                </a:moveTo>
                <a:cubicBezTo>
                  <a:pt x="149" y="359"/>
                  <a:pt x="149" y="359"/>
                  <a:pt x="149" y="359"/>
                </a:cubicBezTo>
                <a:cubicBezTo>
                  <a:pt x="149" y="248"/>
                  <a:pt x="149" y="248"/>
                  <a:pt x="149" y="248"/>
                </a:cubicBezTo>
                <a:lnTo>
                  <a:pt x="208" y="300"/>
                </a:lnTo>
                <a:close/>
                <a:moveTo>
                  <a:pt x="228" y="310"/>
                </a:moveTo>
                <a:cubicBezTo>
                  <a:pt x="164" y="374"/>
                  <a:pt x="164" y="374"/>
                  <a:pt x="164" y="374"/>
                </a:cubicBezTo>
                <a:cubicBezTo>
                  <a:pt x="348" y="374"/>
                  <a:pt x="348" y="374"/>
                  <a:pt x="348" y="374"/>
                </a:cubicBezTo>
                <a:cubicBezTo>
                  <a:pt x="284" y="310"/>
                  <a:pt x="284" y="310"/>
                  <a:pt x="284" y="310"/>
                </a:cubicBezTo>
                <a:lnTo>
                  <a:pt x="228" y="31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24"/>
                </a:moveTo>
                <a:cubicBezTo>
                  <a:pt x="384" y="222"/>
                  <a:pt x="383" y="219"/>
                  <a:pt x="381" y="217"/>
                </a:cubicBezTo>
                <a:cubicBezTo>
                  <a:pt x="264" y="99"/>
                  <a:pt x="264" y="99"/>
                  <a:pt x="264" y="99"/>
                </a:cubicBezTo>
                <a:cubicBezTo>
                  <a:pt x="259" y="95"/>
                  <a:pt x="253" y="95"/>
                  <a:pt x="248" y="99"/>
                </a:cubicBezTo>
                <a:cubicBezTo>
                  <a:pt x="131" y="217"/>
                  <a:pt x="131" y="217"/>
                  <a:pt x="131" y="217"/>
                </a:cubicBezTo>
                <a:cubicBezTo>
                  <a:pt x="129" y="219"/>
                  <a:pt x="128" y="222"/>
                  <a:pt x="128" y="224"/>
                </a:cubicBezTo>
                <a:cubicBezTo>
                  <a:pt x="128" y="384"/>
                  <a:pt x="128" y="384"/>
                  <a:pt x="128" y="384"/>
                </a:cubicBezTo>
                <a:cubicBezTo>
                  <a:pt x="128" y="390"/>
                  <a:pt x="133" y="395"/>
                  <a:pt x="139" y="395"/>
                </a:cubicBezTo>
                <a:cubicBezTo>
                  <a:pt x="373" y="395"/>
                  <a:pt x="373" y="395"/>
                  <a:pt x="373" y="395"/>
                </a:cubicBezTo>
                <a:cubicBezTo>
                  <a:pt x="379" y="395"/>
                  <a:pt x="384" y="390"/>
                  <a:pt x="384" y="384"/>
                </a:cubicBezTo>
                <a:lnTo>
                  <a:pt x="384" y="224"/>
                </a:lnTo>
                <a:close/>
                <a:moveTo>
                  <a:pt x="228" y="288"/>
                </a:moveTo>
                <a:cubicBezTo>
                  <a:pt x="154" y="224"/>
                  <a:pt x="154" y="224"/>
                  <a:pt x="154" y="224"/>
                </a:cubicBezTo>
                <a:cubicBezTo>
                  <a:pt x="256" y="122"/>
                  <a:pt x="256" y="122"/>
                  <a:pt x="256" y="122"/>
                </a:cubicBezTo>
                <a:cubicBezTo>
                  <a:pt x="358" y="224"/>
                  <a:pt x="358" y="224"/>
                  <a:pt x="358" y="224"/>
                </a:cubicBezTo>
                <a:cubicBezTo>
                  <a:pt x="284" y="288"/>
                  <a:pt x="284" y="288"/>
                  <a:pt x="284" y="288"/>
                </a:cubicBezTo>
                <a:lnTo>
                  <a:pt x="228" y="288"/>
                </a:lnTo>
                <a:close/>
                <a:moveTo>
                  <a:pt x="216" y="232"/>
                </a:moveTo>
                <a:cubicBezTo>
                  <a:pt x="248" y="264"/>
                  <a:pt x="248" y="264"/>
                  <a:pt x="248" y="264"/>
                </a:cubicBezTo>
                <a:cubicBezTo>
                  <a:pt x="249" y="265"/>
                  <a:pt x="251" y="266"/>
                  <a:pt x="252" y="266"/>
                </a:cubicBezTo>
                <a:cubicBezTo>
                  <a:pt x="253" y="267"/>
                  <a:pt x="255" y="267"/>
                  <a:pt x="256" y="267"/>
                </a:cubicBezTo>
                <a:cubicBezTo>
                  <a:pt x="257" y="267"/>
                  <a:pt x="259" y="267"/>
                  <a:pt x="260" y="266"/>
                </a:cubicBezTo>
                <a:cubicBezTo>
                  <a:pt x="261" y="266"/>
                  <a:pt x="263" y="265"/>
                  <a:pt x="264" y="264"/>
                </a:cubicBezTo>
                <a:cubicBezTo>
                  <a:pt x="296" y="232"/>
                  <a:pt x="296" y="232"/>
                  <a:pt x="296" y="232"/>
                </a:cubicBezTo>
                <a:cubicBezTo>
                  <a:pt x="300" y="228"/>
                  <a:pt x="300" y="221"/>
                  <a:pt x="296" y="217"/>
                </a:cubicBezTo>
                <a:cubicBezTo>
                  <a:pt x="291" y="213"/>
                  <a:pt x="285" y="213"/>
                  <a:pt x="280" y="217"/>
                </a:cubicBezTo>
                <a:cubicBezTo>
                  <a:pt x="267" y="231"/>
                  <a:pt x="267" y="231"/>
                  <a:pt x="267" y="231"/>
                </a:cubicBezTo>
                <a:cubicBezTo>
                  <a:pt x="267" y="171"/>
                  <a:pt x="267" y="171"/>
                  <a:pt x="267" y="171"/>
                </a:cubicBezTo>
                <a:cubicBezTo>
                  <a:pt x="267" y="165"/>
                  <a:pt x="262" y="160"/>
                  <a:pt x="256" y="160"/>
                </a:cubicBezTo>
                <a:cubicBezTo>
                  <a:pt x="250" y="160"/>
                  <a:pt x="245" y="165"/>
                  <a:pt x="245" y="171"/>
                </a:cubicBezTo>
                <a:cubicBezTo>
                  <a:pt x="245" y="231"/>
                  <a:pt x="245" y="231"/>
                  <a:pt x="245" y="231"/>
                </a:cubicBezTo>
                <a:cubicBezTo>
                  <a:pt x="232" y="217"/>
                  <a:pt x="232" y="217"/>
                  <a:pt x="232" y="217"/>
                </a:cubicBezTo>
                <a:cubicBezTo>
                  <a:pt x="227" y="213"/>
                  <a:pt x="221" y="213"/>
                  <a:pt x="216" y="217"/>
                </a:cubicBezTo>
                <a:cubicBezTo>
                  <a:pt x="212" y="221"/>
                  <a:pt x="212" y="228"/>
                  <a:pt x="216" y="232"/>
                </a:cubicBezTo>
                <a:close/>
                <a:moveTo>
                  <a:pt x="363" y="359"/>
                </a:moveTo>
                <a:cubicBezTo>
                  <a:pt x="363" y="248"/>
                  <a:pt x="363" y="248"/>
                  <a:pt x="363" y="248"/>
                </a:cubicBezTo>
                <a:cubicBezTo>
                  <a:pt x="304" y="300"/>
                  <a:pt x="304" y="300"/>
                  <a:pt x="304" y="300"/>
                </a:cubicBezTo>
                <a:lnTo>
                  <a:pt x="363" y="35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2" name="Group 694"/>
          <p:cNvGrpSpPr>
            <a:grpSpLocks noChangeAspect="1"/>
          </p:cNvGrpSpPr>
          <p:nvPr/>
        </p:nvGrpSpPr>
        <p:grpSpPr bwMode="auto">
          <a:xfrm>
            <a:off x="5917518" y="5010657"/>
            <a:ext cx="367041" cy="367041"/>
            <a:chOff x="2437" y="2897"/>
            <a:chExt cx="340" cy="340"/>
          </a:xfrm>
          <a:solidFill>
            <a:schemeClr val="accent2"/>
          </a:solidFill>
        </p:grpSpPr>
        <p:sp>
          <p:nvSpPr>
            <p:cNvPr id="743" name="Freeform 695"/>
            <p:cNvSpPr>
              <a:spLocks noEditPoints="1"/>
            </p:cNvSpPr>
            <p:nvPr/>
          </p:nvSpPr>
          <p:spPr bwMode="auto">
            <a:xfrm>
              <a:off x="2437" y="28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4" name="Freeform 696"/>
            <p:cNvSpPr>
              <a:spLocks noEditPoints="1"/>
            </p:cNvSpPr>
            <p:nvPr/>
          </p:nvSpPr>
          <p:spPr bwMode="auto">
            <a:xfrm>
              <a:off x="2522" y="2960"/>
              <a:ext cx="170" cy="199"/>
            </a:xfrm>
            <a:custGeom>
              <a:avLst/>
              <a:gdLst>
                <a:gd name="T0" fmla="*/ 253 w 256"/>
                <a:gd name="T1" fmla="*/ 122 h 300"/>
                <a:gd name="T2" fmla="*/ 136 w 256"/>
                <a:gd name="T3" fmla="*/ 4 h 300"/>
                <a:gd name="T4" fmla="*/ 120 w 256"/>
                <a:gd name="T5" fmla="*/ 4 h 300"/>
                <a:gd name="T6" fmla="*/ 3 w 256"/>
                <a:gd name="T7" fmla="*/ 122 h 300"/>
                <a:gd name="T8" fmla="*/ 0 w 256"/>
                <a:gd name="T9" fmla="*/ 129 h 300"/>
                <a:gd name="T10" fmla="*/ 0 w 256"/>
                <a:gd name="T11" fmla="*/ 289 h 300"/>
                <a:gd name="T12" fmla="*/ 11 w 256"/>
                <a:gd name="T13" fmla="*/ 300 h 300"/>
                <a:gd name="T14" fmla="*/ 245 w 256"/>
                <a:gd name="T15" fmla="*/ 300 h 300"/>
                <a:gd name="T16" fmla="*/ 256 w 256"/>
                <a:gd name="T17" fmla="*/ 289 h 300"/>
                <a:gd name="T18" fmla="*/ 256 w 256"/>
                <a:gd name="T19" fmla="*/ 129 h 300"/>
                <a:gd name="T20" fmla="*/ 253 w 256"/>
                <a:gd name="T21" fmla="*/ 122 h 300"/>
                <a:gd name="T22" fmla="*/ 21 w 256"/>
                <a:gd name="T23" fmla="*/ 153 h 300"/>
                <a:gd name="T24" fmla="*/ 80 w 256"/>
                <a:gd name="T25" fmla="*/ 205 h 300"/>
                <a:gd name="T26" fmla="*/ 21 w 256"/>
                <a:gd name="T27" fmla="*/ 264 h 300"/>
                <a:gd name="T28" fmla="*/ 21 w 256"/>
                <a:gd name="T29" fmla="*/ 153 h 300"/>
                <a:gd name="T30" fmla="*/ 100 w 256"/>
                <a:gd name="T31" fmla="*/ 215 h 300"/>
                <a:gd name="T32" fmla="*/ 156 w 256"/>
                <a:gd name="T33" fmla="*/ 215 h 300"/>
                <a:gd name="T34" fmla="*/ 220 w 256"/>
                <a:gd name="T35" fmla="*/ 279 h 300"/>
                <a:gd name="T36" fmla="*/ 36 w 256"/>
                <a:gd name="T37" fmla="*/ 279 h 300"/>
                <a:gd name="T38" fmla="*/ 100 w 256"/>
                <a:gd name="T39" fmla="*/ 215 h 300"/>
                <a:gd name="T40" fmla="*/ 176 w 256"/>
                <a:gd name="T41" fmla="*/ 205 h 300"/>
                <a:gd name="T42" fmla="*/ 235 w 256"/>
                <a:gd name="T43" fmla="*/ 153 h 300"/>
                <a:gd name="T44" fmla="*/ 235 w 256"/>
                <a:gd name="T45" fmla="*/ 264 h 300"/>
                <a:gd name="T46" fmla="*/ 176 w 256"/>
                <a:gd name="T47" fmla="*/ 205 h 300"/>
                <a:gd name="T48" fmla="*/ 128 w 256"/>
                <a:gd name="T49" fmla="*/ 27 h 300"/>
                <a:gd name="T50" fmla="*/ 230 w 256"/>
                <a:gd name="T51" fmla="*/ 129 h 300"/>
                <a:gd name="T52" fmla="*/ 156 w 256"/>
                <a:gd name="T53" fmla="*/ 193 h 300"/>
                <a:gd name="T54" fmla="*/ 100 w 256"/>
                <a:gd name="T55" fmla="*/ 193 h 300"/>
                <a:gd name="T56" fmla="*/ 26 w 256"/>
                <a:gd name="T57" fmla="*/ 129 h 300"/>
                <a:gd name="T58" fmla="*/ 128 w 256"/>
                <a:gd name="T59" fmla="*/ 2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6" h="300">
                  <a:moveTo>
                    <a:pt x="253" y="122"/>
                  </a:moveTo>
                  <a:cubicBezTo>
                    <a:pt x="136" y="4"/>
                    <a:pt x="136" y="4"/>
                    <a:pt x="136" y="4"/>
                  </a:cubicBezTo>
                  <a:cubicBezTo>
                    <a:pt x="131" y="0"/>
                    <a:pt x="125" y="0"/>
                    <a:pt x="120" y="4"/>
                  </a:cubicBezTo>
                  <a:cubicBezTo>
                    <a:pt x="3" y="122"/>
                    <a:pt x="3" y="122"/>
                    <a:pt x="3" y="122"/>
                  </a:cubicBezTo>
                  <a:cubicBezTo>
                    <a:pt x="1" y="124"/>
                    <a:pt x="0" y="127"/>
                    <a:pt x="0" y="129"/>
                  </a:cubicBezTo>
                  <a:cubicBezTo>
                    <a:pt x="0" y="289"/>
                    <a:pt x="0" y="289"/>
                    <a:pt x="0" y="289"/>
                  </a:cubicBezTo>
                  <a:cubicBezTo>
                    <a:pt x="0" y="295"/>
                    <a:pt x="5" y="300"/>
                    <a:pt x="11" y="300"/>
                  </a:cubicBezTo>
                  <a:cubicBezTo>
                    <a:pt x="245" y="300"/>
                    <a:pt x="245" y="300"/>
                    <a:pt x="245" y="300"/>
                  </a:cubicBezTo>
                  <a:cubicBezTo>
                    <a:pt x="251" y="300"/>
                    <a:pt x="256" y="295"/>
                    <a:pt x="256" y="289"/>
                  </a:cubicBezTo>
                  <a:cubicBezTo>
                    <a:pt x="256" y="129"/>
                    <a:pt x="256" y="129"/>
                    <a:pt x="256" y="129"/>
                  </a:cubicBezTo>
                  <a:cubicBezTo>
                    <a:pt x="256" y="127"/>
                    <a:pt x="255" y="124"/>
                    <a:pt x="253" y="122"/>
                  </a:cubicBezTo>
                  <a:close/>
                  <a:moveTo>
                    <a:pt x="21" y="153"/>
                  </a:moveTo>
                  <a:cubicBezTo>
                    <a:pt x="80" y="205"/>
                    <a:pt x="80" y="205"/>
                    <a:pt x="80" y="205"/>
                  </a:cubicBezTo>
                  <a:cubicBezTo>
                    <a:pt x="21" y="264"/>
                    <a:pt x="21" y="264"/>
                    <a:pt x="21" y="264"/>
                  </a:cubicBezTo>
                  <a:lnTo>
                    <a:pt x="21" y="153"/>
                  </a:lnTo>
                  <a:close/>
                  <a:moveTo>
                    <a:pt x="100" y="215"/>
                  </a:moveTo>
                  <a:cubicBezTo>
                    <a:pt x="156" y="215"/>
                    <a:pt x="156" y="215"/>
                    <a:pt x="156" y="215"/>
                  </a:cubicBezTo>
                  <a:cubicBezTo>
                    <a:pt x="220" y="279"/>
                    <a:pt x="220" y="279"/>
                    <a:pt x="220" y="279"/>
                  </a:cubicBezTo>
                  <a:cubicBezTo>
                    <a:pt x="36" y="279"/>
                    <a:pt x="36" y="279"/>
                    <a:pt x="36" y="279"/>
                  </a:cubicBezTo>
                  <a:lnTo>
                    <a:pt x="100" y="215"/>
                  </a:lnTo>
                  <a:close/>
                  <a:moveTo>
                    <a:pt x="176" y="205"/>
                  </a:moveTo>
                  <a:cubicBezTo>
                    <a:pt x="235" y="153"/>
                    <a:pt x="235" y="153"/>
                    <a:pt x="235" y="153"/>
                  </a:cubicBezTo>
                  <a:cubicBezTo>
                    <a:pt x="235" y="264"/>
                    <a:pt x="235" y="264"/>
                    <a:pt x="235" y="264"/>
                  </a:cubicBezTo>
                  <a:lnTo>
                    <a:pt x="176" y="205"/>
                  </a:lnTo>
                  <a:close/>
                  <a:moveTo>
                    <a:pt x="128" y="27"/>
                  </a:moveTo>
                  <a:cubicBezTo>
                    <a:pt x="230" y="129"/>
                    <a:pt x="230" y="129"/>
                    <a:pt x="230" y="129"/>
                  </a:cubicBezTo>
                  <a:cubicBezTo>
                    <a:pt x="156" y="193"/>
                    <a:pt x="156" y="193"/>
                    <a:pt x="156" y="193"/>
                  </a:cubicBezTo>
                  <a:cubicBezTo>
                    <a:pt x="100" y="193"/>
                    <a:pt x="100" y="193"/>
                    <a:pt x="100" y="193"/>
                  </a:cubicBezTo>
                  <a:cubicBezTo>
                    <a:pt x="26" y="129"/>
                    <a:pt x="26" y="129"/>
                    <a:pt x="26" y="129"/>
                  </a:cubicBezTo>
                  <a:lnTo>
                    <a:pt x="128" y="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5" name="Freeform 697"/>
            <p:cNvSpPr>
              <a:spLocks/>
            </p:cNvSpPr>
            <p:nvPr/>
          </p:nvSpPr>
          <p:spPr bwMode="auto">
            <a:xfrm>
              <a:off x="2578" y="3003"/>
              <a:ext cx="58" cy="71"/>
            </a:xfrm>
            <a:custGeom>
              <a:avLst/>
              <a:gdLst>
                <a:gd name="T0" fmla="*/ 4 w 88"/>
                <a:gd name="T1" fmla="*/ 72 h 107"/>
                <a:gd name="T2" fmla="*/ 36 w 88"/>
                <a:gd name="T3" fmla="*/ 104 h 107"/>
                <a:gd name="T4" fmla="*/ 40 w 88"/>
                <a:gd name="T5" fmla="*/ 106 h 107"/>
                <a:gd name="T6" fmla="*/ 44 w 88"/>
                <a:gd name="T7" fmla="*/ 107 h 107"/>
                <a:gd name="T8" fmla="*/ 48 w 88"/>
                <a:gd name="T9" fmla="*/ 106 h 107"/>
                <a:gd name="T10" fmla="*/ 52 w 88"/>
                <a:gd name="T11" fmla="*/ 104 h 107"/>
                <a:gd name="T12" fmla="*/ 84 w 88"/>
                <a:gd name="T13" fmla="*/ 72 h 107"/>
                <a:gd name="T14" fmla="*/ 84 w 88"/>
                <a:gd name="T15" fmla="*/ 57 h 107"/>
                <a:gd name="T16" fmla="*/ 68 w 88"/>
                <a:gd name="T17" fmla="*/ 57 h 107"/>
                <a:gd name="T18" fmla="*/ 55 w 88"/>
                <a:gd name="T19" fmla="*/ 71 h 107"/>
                <a:gd name="T20" fmla="*/ 55 w 88"/>
                <a:gd name="T21" fmla="*/ 11 h 107"/>
                <a:gd name="T22" fmla="*/ 44 w 88"/>
                <a:gd name="T23" fmla="*/ 0 h 107"/>
                <a:gd name="T24" fmla="*/ 33 w 88"/>
                <a:gd name="T25" fmla="*/ 11 h 107"/>
                <a:gd name="T26" fmla="*/ 33 w 88"/>
                <a:gd name="T27" fmla="*/ 71 h 107"/>
                <a:gd name="T28" fmla="*/ 20 w 88"/>
                <a:gd name="T29" fmla="*/ 57 h 107"/>
                <a:gd name="T30" fmla="*/ 4 w 88"/>
                <a:gd name="T31" fmla="*/ 57 h 107"/>
                <a:gd name="T32" fmla="*/ 4 w 88"/>
                <a:gd name="T33" fmla="*/ 7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7">
                  <a:moveTo>
                    <a:pt x="4" y="72"/>
                  </a:moveTo>
                  <a:cubicBezTo>
                    <a:pt x="36" y="104"/>
                    <a:pt x="36" y="104"/>
                    <a:pt x="36" y="104"/>
                  </a:cubicBezTo>
                  <a:cubicBezTo>
                    <a:pt x="37" y="105"/>
                    <a:pt x="39" y="106"/>
                    <a:pt x="40" y="106"/>
                  </a:cubicBezTo>
                  <a:cubicBezTo>
                    <a:pt x="41" y="107"/>
                    <a:pt x="43" y="107"/>
                    <a:pt x="44" y="107"/>
                  </a:cubicBezTo>
                  <a:cubicBezTo>
                    <a:pt x="45" y="107"/>
                    <a:pt x="47" y="107"/>
                    <a:pt x="48" y="106"/>
                  </a:cubicBezTo>
                  <a:cubicBezTo>
                    <a:pt x="49" y="106"/>
                    <a:pt x="51" y="105"/>
                    <a:pt x="52" y="104"/>
                  </a:cubicBezTo>
                  <a:cubicBezTo>
                    <a:pt x="84" y="72"/>
                    <a:pt x="84" y="72"/>
                    <a:pt x="84" y="72"/>
                  </a:cubicBezTo>
                  <a:cubicBezTo>
                    <a:pt x="88" y="68"/>
                    <a:pt x="88" y="61"/>
                    <a:pt x="84" y="57"/>
                  </a:cubicBezTo>
                  <a:cubicBezTo>
                    <a:pt x="79" y="53"/>
                    <a:pt x="73" y="53"/>
                    <a:pt x="68" y="57"/>
                  </a:cubicBezTo>
                  <a:cubicBezTo>
                    <a:pt x="55" y="71"/>
                    <a:pt x="55" y="71"/>
                    <a:pt x="55" y="71"/>
                  </a:cubicBezTo>
                  <a:cubicBezTo>
                    <a:pt x="55" y="11"/>
                    <a:pt x="55" y="11"/>
                    <a:pt x="55" y="11"/>
                  </a:cubicBezTo>
                  <a:cubicBezTo>
                    <a:pt x="55" y="5"/>
                    <a:pt x="50" y="0"/>
                    <a:pt x="44" y="0"/>
                  </a:cubicBezTo>
                  <a:cubicBezTo>
                    <a:pt x="38" y="0"/>
                    <a:pt x="33" y="5"/>
                    <a:pt x="33" y="11"/>
                  </a:cubicBezTo>
                  <a:cubicBezTo>
                    <a:pt x="33" y="71"/>
                    <a:pt x="33" y="71"/>
                    <a:pt x="33" y="71"/>
                  </a:cubicBezTo>
                  <a:cubicBezTo>
                    <a:pt x="20" y="57"/>
                    <a:pt x="20" y="57"/>
                    <a:pt x="20" y="57"/>
                  </a:cubicBezTo>
                  <a:cubicBezTo>
                    <a:pt x="15" y="53"/>
                    <a:pt x="9" y="53"/>
                    <a:pt x="4" y="57"/>
                  </a:cubicBezTo>
                  <a:cubicBezTo>
                    <a:pt x="0" y="61"/>
                    <a:pt x="0" y="68"/>
                    <a:pt x="4"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6" name="Freeform 701"/>
          <p:cNvSpPr>
            <a:spLocks noChangeAspect="1" noEditPoints="1"/>
          </p:cNvSpPr>
          <p:nvPr/>
        </p:nvSpPr>
        <p:spPr bwMode="auto">
          <a:xfrm>
            <a:off x="6329783" y="5009577"/>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47" name="Freeform 705"/>
          <p:cNvSpPr>
            <a:spLocks noChangeAspect="1" noEditPoints="1"/>
          </p:cNvSpPr>
          <p:nvPr/>
        </p:nvSpPr>
        <p:spPr bwMode="auto">
          <a:xfrm>
            <a:off x="7154313" y="5010657"/>
            <a:ext cx="367041" cy="367041"/>
          </a:xfrm>
          <a:custGeom>
            <a:avLst/>
            <a:gdLst>
              <a:gd name="T0" fmla="*/ 283 w 512"/>
              <a:gd name="T1" fmla="*/ 309 h 512"/>
              <a:gd name="T2" fmla="*/ 347 w 512"/>
              <a:gd name="T3" fmla="*/ 373 h 512"/>
              <a:gd name="T4" fmla="*/ 164 w 512"/>
              <a:gd name="T5" fmla="*/ 373 h 512"/>
              <a:gd name="T6" fmla="*/ 228 w 512"/>
              <a:gd name="T7" fmla="*/ 309 h 512"/>
              <a:gd name="T8" fmla="*/ 283 w 512"/>
              <a:gd name="T9" fmla="*/ 309 h 512"/>
              <a:gd name="T10" fmla="*/ 149 w 512"/>
              <a:gd name="T11" fmla="*/ 247 h 512"/>
              <a:gd name="T12" fmla="*/ 149 w 512"/>
              <a:gd name="T13" fmla="*/ 358 h 512"/>
              <a:gd name="T14" fmla="*/ 208 w 512"/>
              <a:gd name="T15" fmla="*/ 299 h 512"/>
              <a:gd name="T16" fmla="*/ 149 w 512"/>
              <a:gd name="T17" fmla="*/ 247 h 512"/>
              <a:gd name="T18" fmla="*/ 228 w 512"/>
              <a:gd name="T19" fmla="*/ 288 h 512"/>
              <a:gd name="T20" fmla="*/ 154 w 512"/>
              <a:gd name="T21" fmla="*/ 223 h 512"/>
              <a:gd name="T22" fmla="*/ 256 w 512"/>
              <a:gd name="T23" fmla="*/ 121 h 512"/>
              <a:gd name="T24" fmla="*/ 357 w 512"/>
              <a:gd name="T25" fmla="*/ 223 h 512"/>
              <a:gd name="T26" fmla="*/ 284 w 512"/>
              <a:gd name="T27" fmla="*/ 288 h 512"/>
              <a:gd name="T28" fmla="*/ 228 w 512"/>
              <a:gd name="T29" fmla="*/ 288 h 512"/>
              <a:gd name="T30" fmla="*/ 224 w 512"/>
              <a:gd name="T31" fmla="*/ 213 h 512"/>
              <a:gd name="T32" fmla="*/ 231 w 512"/>
              <a:gd name="T33" fmla="*/ 210 h 512"/>
              <a:gd name="T34" fmla="*/ 245 w 512"/>
              <a:gd name="T35" fmla="*/ 196 h 512"/>
              <a:gd name="T36" fmla="*/ 245 w 512"/>
              <a:gd name="T37" fmla="*/ 256 h 512"/>
              <a:gd name="T38" fmla="*/ 256 w 512"/>
              <a:gd name="T39" fmla="*/ 266 h 512"/>
              <a:gd name="T40" fmla="*/ 266 w 512"/>
              <a:gd name="T41" fmla="*/ 256 h 512"/>
              <a:gd name="T42" fmla="*/ 266 w 512"/>
              <a:gd name="T43" fmla="*/ 196 h 512"/>
              <a:gd name="T44" fmla="*/ 280 w 512"/>
              <a:gd name="T45" fmla="*/ 210 h 512"/>
              <a:gd name="T46" fmla="*/ 288 w 512"/>
              <a:gd name="T47" fmla="*/ 213 h 512"/>
              <a:gd name="T48" fmla="*/ 295 w 512"/>
              <a:gd name="T49" fmla="*/ 210 h 512"/>
              <a:gd name="T50" fmla="*/ 295 w 512"/>
              <a:gd name="T51" fmla="*/ 195 h 512"/>
              <a:gd name="T52" fmla="*/ 263 w 512"/>
              <a:gd name="T53" fmla="*/ 163 h 512"/>
              <a:gd name="T54" fmla="*/ 260 w 512"/>
              <a:gd name="T55" fmla="*/ 160 h 512"/>
              <a:gd name="T56" fmla="*/ 252 w 512"/>
              <a:gd name="T57" fmla="*/ 160 h 512"/>
              <a:gd name="T58" fmla="*/ 248 w 512"/>
              <a:gd name="T59" fmla="*/ 163 h 512"/>
              <a:gd name="T60" fmla="*/ 216 w 512"/>
              <a:gd name="T61" fmla="*/ 195 h 512"/>
              <a:gd name="T62" fmla="*/ 216 w 512"/>
              <a:gd name="T63" fmla="*/ 210 h 512"/>
              <a:gd name="T64" fmla="*/ 224 w 512"/>
              <a:gd name="T65" fmla="*/ 213 h 512"/>
              <a:gd name="T66" fmla="*/ 512 w 512"/>
              <a:gd name="T67" fmla="*/ 256 h 512"/>
              <a:gd name="T68" fmla="*/ 256 w 512"/>
              <a:gd name="T69" fmla="*/ 512 h 512"/>
              <a:gd name="T70" fmla="*/ 0 w 512"/>
              <a:gd name="T71" fmla="*/ 256 h 512"/>
              <a:gd name="T72" fmla="*/ 256 w 512"/>
              <a:gd name="T73" fmla="*/ 0 h 512"/>
              <a:gd name="T74" fmla="*/ 512 w 512"/>
              <a:gd name="T75" fmla="*/ 256 h 512"/>
              <a:gd name="T76" fmla="*/ 384 w 512"/>
              <a:gd name="T77" fmla="*/ 224 h 512"/>
              <a:gd name="T78" fmla="*/ 381 w 512"/>
              <a:gd name="T79" fmla="*/ 216 h 512"/>
              <a:gd name="T80" fmla="*/ 263 w 512"/>
              <a:gd name="T81" fmla="*/ 99 h 512"/>
              <a:gd name="T82" fmla="*/ 248 w 512"/>
              <a:gd name="T83" fmla="*/ 99 h 512"/>
              <a:gd name="T84" fmla="*/ 131 w 512"/>
              <a:gd name="T85" fmla="*/ 216 h 512"/>
              <a:gd name="T86" fmla="*/ 128 w 512"/>
              <a:gd name="T87" fmla="*/ 224 h 512"/>
              <a:gd name="T88" fmla="*/ 128 w 512"/>
              <a:gd name="T89" fmla="*/ 384 h 512"/>
              <a:gd name="T90" fmla="*/ 138 w 512"/>
              <a:gd name="T91" fmla="*/ 394 h 512"/>
              <a:gd name="T92" fmla="*/ 373 w 512"/>
              <a:gd name="T93" fmla="*/ 394 h 512"/>
              <a:gd name="T94" fmla="*/ 384 w 512"/>
              <a:gd name="T95" fmla="*/ 384 h 512"/>
              <a:gd name="T96" fmla="*/ 384 w 512"/>
              <a:gd name="T97" fmla="*/ 224 h 512"/>
              <a:gd name="T98" fmla="*/ 362 w 512"/>
              <a:gd name="T99" fmla="*/ 358 h 512"/>
              <a:gd name="T100" fmla="*/ 362 w 512"/>
              <a:gd name="T101" fmla="*/ 247 h 512"/>
              <a:gd name="T102" fmla="*/ 303 w 512"/>
              <a:gd name="T103" fmla="*/ 299 h 512"/>
              <a:gd name="T104" fmla="*/ 362 w 512"/>
              <a:gd name="T10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83" y="309"/>
                </a:moveTo>
                <a:cubicBezTo>
                  <a:pt x="347" y="373"/>
                  <a:pt x="347" y="373"/>
                  <a:pt x="347" y="373"/>
                </a:cubicBezTo>
                <a:cubicBezTo>
                  <a:pt x="164" y="373"/>
                  <a:pt x="164" y="373"/>
                  <a:pt x="164" y="373"/>
                </a:cubicBezTo>
                <a:cubicBezTo>
                  <a:pt x="228" y="309"/>
                  <a:pt x="228" y="309"/>
                  <a:pt x="228" y="309"/>
                </a:cubicBezTo>
                <a:lnTo>
                  <a:pt x="283" y="309"/>
                </a:lnTo>
                <a:close/>
                <a:moveTo>
                  <a:pt x="149" y="247"/>
                </a:moveTo>
                <a:cubicBezTo>
                  <a:pt x="149" y="358"/>
                  <a:pt x="149" y="358"/>
                  <a:pt x="149" y="358"/>
                </a:cubicBezTo>
                <a:cubicBezTo>
                  <a:pt x="208" y="299"/>
                  <a:pt x="208" y="299"/>
                  <a:pt x="208" y="299"/>
                </a:cubicBezTo>
                <a:lnTo>
                  <a:pt x="149" y="247"/>
                </a:lnTo>
                <a:close/>
                <a:moveTo>
                  <a:pt x="228" y="288"/>
                </a:moveTo>
                <a:cubicBezTo>
                  <a:pt x="154" y="223"/>
                  <a:pt x="154" y="223"/>
                  <a:pt x="154" y="223"/>
                </a:cubicBezTo>
                <a:cubicBezTo>
                  <a:pt x="256" y="121"/>
                  <a:pt x="256" y="121"/>
                  <a:pt x="256" y="121"/>
                </a:cubicBezTo>
                <a:cubicBezTo>
                  <a:pt x="357" y="223"/>
                  <a:pt x="357" y="223"/>
                  <a:pt x="357" y="223"/>
                </a:cubicBezTo>
                <a:cubicBezTo>
                  <a:pt x="284" y="288"/>
                  <a:pt x="284" y="288"/>
                  <a:pt x="284" y="288"/>
                </a:cubicBezTo>
                <a:lnTo>
                  <a:pt x="228" y="288"/>
                </a:lnTo>
                <a:close/>
                <a:moveTo>
                  <a:pt x="224" y="213"/>
                </a:moveTo>
                <a:cubicBezTo>
                  <a:pt x="226" y="213"/>
                  <a:pt x="229" y="212"/>
                  <a:pt x="231" y="210"/>
                </a:cubicBezTo>
                <a:cubicBezTo>
                  <a:pt x="245" y="196"/>
                  <a:pt x="245" y="196"/>
                  <a:pt x="245" y="196"/>
                </a:cubicBezTo>
                <a:cubicBezTo>
                  <a:pt x="245" y="256"/>
                  <a:pt x="245" y="256"/>
                  <a:pt x="245" y="256"/>
                </a:cubicBezTo>
                <a:cubicBezTo>
                  <a:pt x="245" y="262"/>
                  <a:pt x="250" y="266"/>
                  <a:pt x="256" y="266"/>
                </a:cubicBezTo>
                <a:cubicBezTo>
                  <a:pt x="262" y="266"/>
                  <a:pt x="266" y="262"/>
                  <a:pt x="266" y="256"/>
                </a:cubicBezTo>
                <a:cubicBezTo>
                  <a:pt x="266" y="196"/>
                  <a:pt x="266" y="196"/>
                  <a:pt x="266" y="196"/>
                </a:cubicBezTo>
                <a:cubicBezTo>
                  <a:pt x="280" y="210"/>
                  <a:pt x="280" y="210"/>
                  <a:pt x="280" y="210"/>
                </a:cubicBezTo>
                <a:cubicBezTo>
                  <a:pt x="282" y="212"/>
                  <a:pt x="285" y="213"/>
                  <a:pt x="288" y="213"/>
                </a:cubicBezTo>
                <a:cubicBezTo>
                  <a:pt x="290" y="213"/>
                  <a:pt x="293" y="212"/>
                  <a:pt x="295" y="210"/>
                </a:cubicBezTo>
                <a:cubicBezTo>
                  <a:pt x="299" y="206"/>
                  <a:pt x="299" y="199"/>
                  <a:pt x="295" y="195"/>
                </a:cubicBezTo>
                <a:cubicBezTo>
                  <a:pt x="263" y="163"/>
                  <a:pt x="263" y="163"/>
                  <a:pt x="263" y="163"/>
                </a:cubicBezTo>
                <a:cubicBezTo>
                  <a:pt x="262" y="162"/>
                  <a:pt x="261" y="161"/>
                  <a:pt x="260" y="160"/>
                </a:cubicBezTo>
                <a:cubicBezTo>
                  <a:pt x="257" y="159"/>
                  <a:pt x="254" y="159"/>
                  <a:pt x="252" y="160"/>
                </a:cubicBezTo>
                <a:cubicBezTo>
                  <a:pt x="250" y="161"/>
                  <a:pt x="249" y="162"/>
                  <a:pt x="248" y="163"/>
                </a:cubicBezTo>
                <a:cubicBezTo>
                  <a:pt x="216" y="195"/>
                  <a:pt x="216" y="195"/>
                  <a:pt x="216" y="195"/>
                </a:cubicBezTo>
                <a:cubicBezTo>
                  <a:pt x="212" y="199"/>
                  <a:pt x="212" y="206"/>
                  <a:pt x="216" y="210"/>
                </a:cubicBezTo>
                <a:cubicBezTo>
                  <a:pt x="218" y="212"/>
                  <a:pt x="221" y="213"/>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221"/>
                  <a:pt x="383" y="218"/>
                  <a:pt x="381" y="216"/>
                </a:cubicBezTo>
                <a:cubicBezTo>
                  <a:pt x="263" y="99"/>
                  <a:pt x="263" y="99"/>
                  <a:pt x="263" y="99"/>
                </a:cubicBezTo>
                <a:cubicBezTo>
                  <a:pt x="259" y="95"/>
                  <a:pt x="252" y="95"/>
                  <a:pt x="248" y="99"/>
                </a:cubicBezTo>
                <a:cubicBezTo>
                  <a:pt x="131" y="216"/>
                  <a:pt x="131" y="216"/>
                  <a:pt x="131" y="216"/>
                </a:cubicBezTo>
                <a:cubicBezTo>
                  <a:pt x="129" y="218"/>
                  <a:pt x="128" y="221"/>
                  <a:pt x="128" y="224"/>
                </a:cubicBezTo>
                <a:cubicBezTo>
                  <a:pt x="128" y="384"/>
                  <a:pt x="128" y="384"/>
                  <a:pt x="128" y="384"/>
                </a:cubicBezTo>
                <a:cubicBezTo>
                  <a:pt x="128" y="390"/>
                  <a:pt x="132" y="394"/>
                  <a:pt x="138" y="394"/>
                </a:cubicBezTo>
                <a:cubicBezTo>
                  <a:pt x="373" y="394"/>
                  <a:pt x="373" y="394"/>
                  <a:pt x="373" y="394"/>
                </a:cubicBezTo>
                <a:cubicBezTo>
                  <a:pt x="379" y="394"/>
                  <a:pt x="384" y="390"/>
                  <a:pt x="384" y="384"/>
                </a:cubicBezTo>
                <a:lnTo>
                  <a:pt x="384" y="224"/>
                </a:lnTo>
                <a:close/>
                <a:moveTo>
                  <a:pt x="362" y="358"/>
                </a:moveTo>
                <a:cubicBezTo>
                  <a:pt x="362" y="247"/>
                  <a:pt x="362" y="247"/>
                  <a:pt x="362" y="247"/>
                </a:cubicBezTo>
                <a:cubicBezTo>
                  <a:pt x="303" y="299"/>
                  <a:pt x="303" y="299"/>
                  <a:pt x="303" y="299"/>
                </a:cubicBezTo>
                <a:lnTo>
                  <a:pt x="362" y="35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8" name="Group 708"/>
          <p:cNvGrpSpPr>
            <a:grpSpLocks noChangeAspect="1"/>
          </p:cNvGrpSpPr>
          <p:nvPr/>
        </p:nvGrpSpPr>
        <p:grpSpPr bwMode="auto">
          <a:xfrm>
            <a:off x="7566578" y="5009578"/>
            <a:ext cx="367041" cy="368120"/>
            <a:chOff x="3670" y="2977"/>
            <a:chExt cx="340" cy="341"/>
          </a:xfrm>
          <a:solidFill>
            <a:schemeClr val="accent2"/>
          </a:solidFill>
        </p:grpSpPr>
        <p:sp>
          <p:nvSpPr>
            <p:cNvPr id="749" name="Freeform 709"/>
            <p:cNvSpPr>
              <a:spLocks noEditPoints="1"/>
            </p:cNvSpPr>
            <p:nvPr/>
          </p:nvSpPr>
          <p:spPr bwMode="auto">
            <a:xfrm>
              <a:off x="3670" y="29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0" name="Freeform 710"/>
            <p:cNvSpPr>
              <a:spLocks noEditPoints="1"/>
            </p:cNvSpPr>
            <p:nvPr/>
          </p:nvSpPr>
          <p:spPr bwMode="auto">
            <a:xfrm>
              <a:off x="3755" y="3040"/>
              <a:ext cx="170" cy="199"/>
            </a:xfrm>
            <a:custGeom>
              <a:avLst/>
              <a:gdLst>
                <a:gd name="T0" fmla="*/ 253 w 256"/>
                <a:gd name="T1" fmla="*/ 121 h 299"/>
                <a:gd name="T2" fmla="*/ 135 w 256"/>
                <a:gd name="T3" fmla="*/ 4 h 299"/>
                <a:gd name="T4" fmla="*/ 120 w 256"/>
                <a:gd name="T5" fmla="*/ 4 h 299"/>
                <a:gd name="T6" fmla="*/ 3 w 256"/>
                <a:gd name="T7" fmla="*/ 121 h 299"/>
                <a:gd name="T8" fmla="*/ 0 w 256"/>
                <a:gd name="T9" fmla="*/ 129 h 299"/>
                <a:gd name="T10" fmla="*/ 0 w 256"/>
                <a:gd name="T11" fmla="*/ 289 h 299"/>
                <a:gd name="T12" fmla="*/ 10 w 256"/>
                <a:gd name="T13" fmla="*/ 299 h 299"/>
                <a:gd name="T14" fmla="*/ 245 w 256"/>
                <a:gd name="T15" fmla="*/ 299 h 299"/>
                <a:gd name="T16" fmla="*/ 256 w 256"/>
                <a:gd name="T17" fmla="*/ 289 h 299"/>
                <a:gd name="T18" fmla="*/ 256 w 256"/>
                <a:gd name="T19" fmla="*/ 129 h 299"/>
                <a:gd name="T20" fmla="*/ 253 w 256"/>
                <a:gd name="T21" fmla="*/ 121 h 299"/>
                <a:gd name="T22" fmla="*/ 21 w 256"/>
                <a:gd name="T23" fmla="*/ 152 h 299"/>
                <a:gd name="T24" fmla="*/ 80 w 256"/>
                <a:gd name="T25" fmla="*/ 204 h 299"/>
                <a:gd name="T26" fmla="*/ 21 w 256"/>
                <a:gd name="T27" fmla="*/ 263 h 299"/>
                <a:gd name="T28" fmla="*/ 21 w 256"/>
                <a:gd name="T29" fmla="*/ 152 h 299"/>
                <a:gd name="T30" fmla="*/ 100 w 256"/>
                <a:gd name="T31" fmla="*/ 214 h 299"/>
                <a:gd name="T32" fmla="*/ 155 w 256"/>
                <a:gd name="T33" fmla="*/ 214 h 299"/>
                <a:gd name="T34" fmla="*/ 219 w 256"/>
                <a:gd name="T35" fmla="*/ 278 h 299"/>
                <a:gd name="T36" fmla="*/ 36 w 256"/>
                <a:gd name="T37" fmla="*/ 278 h 299"/>
                <a:gd name="T38" fmla="*/ 100 w 256"/>
                <a:gd name="T39" fmla="*/ 214 h 299"/>
                <a:gd name="T40" fmla="*/ 175 w 256"/>
                <a:gd name="T41" fmla="*/ 204 h 299"/>
                <a:gd name="T42" fmla="*/ 234 w 256"/>
                <a:gd name="T43" fmla="*/ 152 h 299"/>
                <a:gd name="T44" fmla="*/ 234 w 256"/>
                <a:gd name="T45" fmla="*/ 263 h 299"/>
                <a:gd name="T46" fmla="*/ 175 w 256"/>
                <a:gd name="T47" fmla="*/ 204 h 299"/>
                <a:gd name="T48" fmla="*/ 128 w 256"/>
                <a:gd name="T49" fmla="*/ 26 h 299"/>
                <a:gd name="T50" fmla="*/ 229 w 256"/>
                <a:gd name="T51" fmla="*/ 128 h 299"/>
                <a:gd name="T52" fmla="*/ 156 w 256"/>
                <a:gd name="T53" fmla="*/ 193 h 299"/>
                <a:gd name="T54" fmla="*/ 100 w 256"/>
                <a:gd name="T55" fmla="*/ 193 h 299"/>
                <a:gd name="T56" fmla="*/ 26 w 256"/>
                <a:gd name="T57" fmla="*/ 128 h 299"/>
                <a:gd name="T58" fmla="*/ 128 w 256"/>
                <a:gd name="T59" fmla="*/ 26 h 299"/>
                <a:gd name="T60" fmla="*/ 88 w 256"/>
                <a:gd name="T61" fmla="*/ 100 h 299"/>
                <a:gd name="T62" fmla="*/ 120 w 256"/>
                <a:gd name="T63" fmla="*/ 68 h 299"/>
                <a:gd name="T64" fmla="*/ 124 w 256"/>
                <a:gd name="T65" fmla="*/ 65 h 299"/>
                <a:gd name="T66" fmla="*/ 132 w 256"/>
                <a:gd name="T67" fmla="*/ 65 h 299"/>
                <a:gd name="T68" fmla="*/ 135 w 256"/>
                <a:gd name="T69" fmla="*/ 68 h 299"/>
                <a:gd name="T70" fmla="*/ 167 w 256"/>
                <a:gd name="T71" fmla="*/ 100 h 299"/>
                <a:gd name="T72" fmla="*/ 167 w 256"/>
                <a:gd name="T73" fmla="*/ 115 h 299"/>
                <a:gd name="T74" fmla="*/ 160 w 256"/>
                <a:gd name="T75" fmla="*/ 118 h 299"/>
                <a:gd name="T76" fmla="*/ 152 w 256"/>
                <a:gd name="T77" fmla="*/ 115 h 299"/>
                <a:gd name="T78" fmla="*/ 138 w 256"/>
                <a:gd name="T79" fmla="*/ 101 h 299"/>
                <a:gd name="T80" fmla="*/ 138 w 256"/>
                <a:gd name="T81" fmla="*/ 161 h 299"/>
                <a:gd name="T82" fmla="*/ 128 w 256"/>
                <a:gd name="T83" fmla="*/ 171 h 299"/>
                <a:gd name="T84" fmla="*/ 117 w 256"/>
                <a:gd name="T85" fmla="*/ 161 h 299"/>
                <a:gd name="T86" fmla="*/ 117 w 256"/>
                <a:gd name="T87" fmla="*/ 101 h 299"/>
                <a:gd name="T88" fmla="*/ 103 w 256"/>
                <a:gd name="T89" fmla="*/ 115 h 299"/>
                <a:gd name="T90" fmla="*/ 96 w 256"/>
                <a:gd name="T91" fmla="*/ 118 h 299"/>
                <a:gd name="T92" fmla="*/ 88 w 256"/>
                <a:gd name="T93" fmla="*/ 115 h 299"/>
                <a:gd name="T94" fmla="*/ 88 w 256"/>
                <a:gd name="T9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99">
                  <a:moveTo>
                    <a:pt x="253" y="121"/>
                  </a:moveTo>
                  <a:cubicBezTo>
                    <a:pt x="135" y="4"/>
                    <a:pt x="135" y="4"/>
                    <a:pt x="135" y="4"/>
                  </a:cubicBezTo>
                  <a:cubicBezTo>
                    <a:pt x="131" y="0"/>
                    <a:pt x="124" y="0"/>
                    <a:pt x="120" y="4"/>
                  </a:cubicBezTo>
                  <a:cubicBezTo>
                    <a:pt x="3" y="121"/>
                    <a:pt x="3" y="121"/>
                    <a:pt x="3" y="121"/>
                  </a:cubicBezTo>
                  <a:cubicBezTo>
                    <a:pt x="1" y="123"/>
                    <a:pt x="0" y="126"/>
                    <a:pt x="0" y="129"/>
                  </a:cubicBezTo>
                  <a:cubicBezTo>
                    <a:pt x="0" y="289"/>
                    <a:pt x="0" y="289"/>
                    <a:pt x="0" y="289"/>
                  </a:cubicBezTo>
                  <a:cubicBezTo>
                    <a:pt x="0" y="295"/>
                    <a:pt x="4" y="299"/>
                    <a:pt x="10" y="299"/>
                  </a:cubicBezTo>
                  <a:cubicBezTo>
                    <a:pt x="245" y="299"/>
                    <a:pt x="245" y="299"/>
                    <a:pt x="245" y="299"/>
                  </a:cubicBezTo>
                  <a:cubicBezTo>
                    <a:pt x="251" y="299"/>
                    <a:pt x="256" y="295"/>
                    <a:pt x="256" y="289"/>
                  </a:cubicBezTo>
                  <a:cubicBezTo>
                    <a:pt x="256" y="129"/>
                    <a:pt x="256" y="129"/>
                    <a:pt x="256" y="129"/>
                  </a:cubicBezTo>
                  <a:cubicBezTo>
                    <a:pt x="256" y="126"/>
                    <a:pt x="255" y="123"/>
                    <a:pt x="253" y="121"/>
                  </a:cubicBezTo>
                  <a:close/>
                  <a:moveTo>
                    <a:pt x="21" y="152"/>
                  </a:moveTo>
                  <a:cubicBezTo>
                    <a:pt x="80" y="204"/>
                    <a:pt x="80" y="204"/>
                    <a:pt x="80" y="204"/>
                  </a:cubicBezTo>
                  <a:cubicBezTo>
                    <a:pt x="21" y="263"/>
                    <a:pt x="21" y="263"/>
                    <a:pt x="21" y="263"/>
                  </a:cubicBezTo>
                  <a:lnTo>
                    <a:pt x="21" y="152"/>
                  </a:lnTo>
                  <a:close/>
                  <a:moveTo>
                    <a:pt x="100" y="214"/>
                  </a:moveTo>
                  <a:cubicBezTo>
                    <a:pt x="155" y="214"/>
                    <a:pt x="155" y="214"/>
                    <a:pt x="155" y="214"/>
                  </a:cubicBezTo>
                  <a:cubicBezTo>
                    <a:pt x="219" y="278"/>
                    <a:pt x="219" y="278"/>
                    <a:pt x="219" y="278"/>
                  </a:cubicBezTo>
                  <a:cubicBezTo>
                    <a:pt x="36" y="278"/>
                    <a:pt x="36" y="278"/>
                    <a:pt x="36" y="278"/>
                  </a:cubicBezTo>
                  <a:lnTo>
                    <a:pt x="100" y="214"/>
                  </a:lnTo>
                  <a:close/>
                  <a:moveTo>
                    <a:pt x="175" y="204"/>
                  </a:moveTo>
                  <a:cubicBezTo>
                    <a:pt x="234" y="152"/>
                    <a:pt x="234" y="152"/>
                    <a:pt x="234" y="152"/>
                  </a:cubicBezTo>
                  <a:cubicBezTo>
                    <a:pt x="234" y="263"/>
                    <a:pt x="234" y="263"/>
                    <a:pt x="234" y="263"/>
                  </a:cubicBezTo>
                  <a:lnTo>
                    <a:pt x="175" y="204"/>
                  </a:lnTo>
                  <a:close/>
                  <a:moveTo>
                    <a:pt x="128" y="26"/>
                  </a:moveTo>
                  <a:cubicBezTo>
                    <a:pt x="229" y="128"/>
                    <a:pt x="229" y="128"/>
                    <a:pt x="229" y="128"/>
                  </a:cubicBezTo>
                  <a:cubicBezTo>
                    <a:pt x="156" y="193"/>
                    <a:pt x="156" y="193"/>
                    <a:pt x="156" y="193"/>
                  </a:cubicBezTo>
                  <a:cubicBezTo>
                    <a:pt x="100" y="193"/>
                    <a:pt x="100" y="193"/>
                    <a:pt x="100" y="193"/>
                  </a:cubicBezTo>
                  <a:cubicBezTo>
                    <a:pt x="26" y="128"/>
                    <a:pt x="26" y="128"/>
                    <a:pt x="26" y="128"/>
                  </a:cubicBezTo>
                  <a:lnTo>
                    <a:pt x="128" y="26"/>
                  </a:lnTo>
                  <a:close/>
                  <a:moveTo>
                    <a:pt x="88" y="100"/>
                  </a:moveTo>
                  <a:cubicBezTo>
                    <a:pt x="120" y="68"/>
                    <a:pt x="120" y="68"/>
                    <a:pt x="120" y="68"/>
                  </a:cubicBezTo>
                  <a:cubicBezTo>
                    <a:pt x="121" y="67"/>
                    <a:pt x="122" y="66"/>
                    <a:pt x="124" y="65"/>
                  </a:cubicBezTo>
                  <a:cubicBezTo>
                    <a:pt x="126" y="64"/>
                    <a:pt x="129" y="64"/>
                    <a:pt x="132" y="65"/>
                  </a:cubicBezTo>
                  <a:cubicBezTo>
                    <a:pt x="133" y="66"/>
                    <a:pt x="134" y="67"/>
                    <a:pt x="135" y="68"/>
                  </a:cubicBezTo>
                  <a:cubicBezTo>
                    <a:pt x="167" y="100"/>
                    <a:pt x="167" y="100"/>
                    <a:pt x="167" y="100"/>
                  </a:cubicBezTo>
                  <a:cubicBezTo>
                    <a:pt x="171" y="104"/>
                    <a:pt x="171" y="111"/>
                    <a:pt x="167" y="115"/>
                  </a:cubicBezTo>
                  <a:cubicBezTo>
                    <a:pt x="165" y="117"/>
                    <a:pt x="162" y="118"/>
                    <a:pt x="160" y="118"/>
                  </a:cubicBezTo>
                  <a:cubicBezTo>
                    <a:pt x="157" y="118"/>
                    <a:pt x="154" y="117"/>
                    <a:pt x="152" y="115"/>
                  </a:cubicBezTo>
                  <a:cubicBezTo>
                    <a:pt x="138" y="101"/>
                    <a:pt x="138" y="101"/>
                    <a:pt x="138" y="101"/>
                  </a:cubicBezTo>
                  <a:cubicBezTo>
                    <a:pt x="138" y="161"/>
                    <a:pt x="138" y="161"/>
                    <a:pt x="138" y="161"/>
                  </a:cubicBezTo>
                  <a:cubicBezTo>
                    <a:pt x="138" y="167"/>
                    <a:pt x="134" y="171"/>
                    <a:pt x="128" y="171"/>
                  </a:cubicBezTo>
                  <a:cubicBezTo>
                    <a:pt x="122" y="171"/>
                    <a:pt x="117" y="167"/>
                    <a:pt x="117" y="161"/>
                  </a:cubicBezTo>
                  <a:cubicBezTo>
                    <a:pt x="117" y="101"/>
                    <a:pt x="117" y="101"/>
                    <a:pt x="117" y="101"/>
                  </a:cubicBezTo>
                  <a:cubicBezTo>
                    <a:pt x="103" y="115"/>
                    <a:pt x="103" y="115"/>
                    <a:pt x="103" y="115"/>
                  </a:cubicBezTo>
                  <a:cubicBezTo>
                    <a:pt x="101" y="117"/>
                    <a:pt x="98" y="118"/>
                    <a:pt x="96" y="118"/>
                  </a:cubicBezTo>
                  <a:cubicBezTo>
                    <a:pt x="93" y="118"/>
                    <a:pt x="90" y="117"/>
                    <a:pt x="88" y="115"/>
                  </a:cubicBezTo>
                  <a:cubicBezTo>
                    <a:pt x="84" y="111"/>
                    <a:pt x="84" y="104"/>
                    <a:pt x="8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1" name="Group 713"/>
          <p:cNvGrpSpPr>
            <a:grpSpLocks noChangeAspect="1"/>
          </p:cNvGrpSpPr>
          <p:nvPr/>
        </p:nvGrpSpPr>
        <p:grpSpPr bwMode="auto">
          <a:xfrm>
            <a:off x="6710149" y="5010657"/>
            <a:ext cx="367041" cy="367041"/>
            <a:chOff x="3986" y="3055"/>
            <a:chExt cx="340" cy="340"/>
          </a:xfrm>
          <a:solidFill>
            <a:schemeClr val="accent2"/>
          </a:solidFill>
        </p:grpSpPr>
        <p:sp>
          <p:nvSpPr>
            <p:cNvPr id="752" name="Freeform 714"/>
            <p:cNvSpPr>
              <a:spLocks noEditPoints="1"/>
            </p:cNvSpPr>
            <p:nvPr/>
          </p:nvSpPr>
          <p:spPr bwMode="auto">
            <a:xfrm>
              <a:off x="3986" y="30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3" name="Freeform 715"/>
            <p:cNvSpPr>
              <a:spLocks noEditPoints="1"/>
            </p:cNvSpPr>
            <p:nvPr/>
          </p:nvSpPr>
          <p:spPr bwMode="auto">
            <a:xfrm>
              <a:off x="4050" y="31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54" name="TextBox 753"/>
          <p:cNvSpPr txBox="1"/>
          <p:nvPr/>
        </p:nvSpPr>
        <p:spPr>
          <a:xfrm>
            <a:off x="1245054"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ragraph</a:t>
            </a:r>
          </a:p>
        </p:txBody>
      </p:sp>
      <p:sp>
        <p:nvSpPr>
          <p:cNvPr id="755" name="TextBox 754"/>
          <p:cNvSpPr txBox="1"/>
          <p:nvPr/>
        </p:nvSpPr>
        <p:spPr>
          <a:xfrm>
            <a:off x="2083708"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ste</a:t>
            </a:r>
          </a:p>
        </p:txBody>
      </p:sp>
      <p:sp>
        <p:nvSpPr>
          <p:cNvPr id="756" name="TextBox 755"/>
          <p:cNvSpPr txBox="1"/>
          <p:nvPr/>
        </p:nvSpPr>
        <p:spPr>
          <a:xfrm>
            <a:off x="406400"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SS</a:t>
            </a:r>
          </a:p>
        </p:txBody>
      </p:sp>
      <p:sp>
        <p:nvSpPr>
          <p:cNvPr id="757" name="TextBox 756"/>
          <p:cNvSpPr txBox="1"/>
          <p:nvPr/>
        </p:nvSpPr>
        <p:spPr>
          <a:xfrm>
            <a:off x="4599670"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nd</a:t>
            </a:r>
          </a:p>
        </p:txBody>
      </p:sp>
      <p:sp>
        <p:nvSpPr>
          <p:cNvPr id="758" name="TextBox 757"/>
          <p:cNvSpPr txBox="1"/>
          <p:nvPr/>
        </p:nvSpPr>
        <p:spPr>
          <a:xfrm>
            <a:off x="3761016"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ply</a:t>
            </a:r>
          </a:p>
        </p:txBody>
      </p:sp>
      <p:sp>
        <p:nvSpPr>
          <p:cNvPr id="759" name="TextBox 758"/>
          <p:cNvSpPr txBox="1"/>
          <p:nvPr/>
        </p:nvSpPr>
        <p:spPr>
          <a:xfrm>
            <a:off x="2922362" y="624350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ply all</a:t>
            </a:r>
          </a:p>
        </p:txBody>
      </p:sp>
      <p:grpSp>
        <p:nvGrpSpPr>
          <p:cNvPr id="760" name="Group 815"/>
          <p:cNvGrpSpPr>
            <a:grpSpLocks noChangeAspect="1"/>
          </p:cNvGrpSpPr>
          <p:nvPr/>
        </p:nvGrpSpPr>
        <p:grpSpPr bwMode="auto">
          <a:xfrm>
            <a:off x="826832" y="5843297"/>
            <a:ext cx="369021" cy="369021"/>
            <a:chOff x="2629" y="3102"/>
            <a:chExt cx="340" cy="340"/>
          </a:xfrm>
          <a:solidFill>
            <a:schemeClr val="accent3"/>
          </a:solidFill>
        </p:grpSpPr>
        <p:sp>
          <p:nvSpPr>
            <p:cNvPr id="761" name="Freeform 816"/>
            <p:cNvSpPr>
              <a:spLocks noEditPoints="1"/>
            </p:cNvSpPr>
            <p:nvPr/>
          </p:nvSpPr>
          <p:spPr bwMode="auto">
            <a:xfrm>
              <a:off x="2629"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2" name="Oval 817"/>
            <p:cNvSpPr>
              <a:spLocks noChangeArrowheads="1"/>
            </p:cNvSpPr>
            <p:nvPr/>
          </p:nvSpPr>
          <p:spPr bwMode="auto">
            <a:xfrm>
              <a:off x="2728" y="3314"/>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3" name="Freeform 818"/>
            <p:cNvSpPr>
              <a:spLocks/>
            </p:cNvSpPr>
            <p:nvPr/>
          </p:nvSpPr>
          <p:spPr bwMode="auto">
            <a:xfrm>
              <a:off x="2721" y="3166"/>
              <a:ext cx="184" cy="184"/>
            </a:xfrm>
            <a:custGeom>
              <a:avLst/>
              <a:gdLst>
                <a:gd name="T0" fmla="*/ 11 w 278"/>
                <a:gd name="T1" fmla="*/ 0 h 277"/>
                <a:gd name="T2" fmla="*/ 0 w 278"/>
                <a:gd name="T3" fmla="*/ 10 h 277"/>
                <a:gd name="T4" fmla="*/ 11 w 278"/>
                <a:gd name="T5" fmla="*/ 21 h 277"/>
                <a:gd name="T6" fmla="*/ 256 w 278"/>
                <a:gd name="T7" fmla="*/ 266 h 277"/>
                <a:gd name="T8" fmla="*/ 267 w 278"/>
                <a:gd name="T9" fmla="*/ 277 h 277"/>
                <a:gd name="T10" fmla="*/ 278 w 278"/>
                <a:gd name="T11" fmla="*/ 266 h 277"/>
                <a:gd name="T12" fmla="*/ 11 w 278"/>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11" y="0"/>
                  </a:moveTo>
                  <a:cubicBezTo>
                    <a:pt x="5" y="0"/>
                    <a:pt x="0" y="4"/>
                    <a:pt x="0" y="10"/>
                  </a:cubicBezTo>
                  <a:cubicBezTo>
                    <a:pt x="0" y="16"/>
                    <a:pt x="5" y="21"/>
                    <a:pt x="11" y="21"/>
                  </a:cubicBezTo>
                  <a:cubicBezTo>
                    <a:pt x="146" y="21"/>
                    <a:pt x="256" y="131"/>
                    <a:pt x="256" y="266"/>
                  </a:cubicBezTo>
                  <a:cubicBezTo>
                    <a:pt x="256" y="272"/>
                    <a:pt x="261" y="277"/>
                    <a:pt x="267" y="277"/>
                  </a:cubicBezTo>
                  <a:cubicBezTo>
                    <a:pt x="273" y="277"/>
                    <a:pt x="278" y="272"/>
                    <a:pt x="278" y="266"/>
                  </a:cubicBezTo>
                  <a:cubicBezTo>
                    <a:pt x="278" y="119"/>
                    <a:pt x="158"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4" name="Freeform 819"/>
            <p:cNvSpPr>
              <a:spLocks/>
            </p:cNvSpPr>
            <p:nvPr/>
          </p:nvSpPr>
          <p:spPr bwMode="auto">
            <a:xfrm>
              <a:off x="2721" y="3243"/>
              <a:ext cx="106" cy="107"/>
            </a:xfrm>
            <a:custGeom>
              <a:avLst/>
              <a:gdLst>
                <a:gd name="T0" fmla="*/ 11 w 160"/>
                <a:gd name="T1" fmla="*/ 0 h 160"/>
                <a:gd name="T2" fmla="*/ 0 w 160"/>
                <a:gd name="T3" fmla="*/ 11 h 160"/>
                <a:gd name="T4" fmla="*/ 11 w 160"/>
                <a:gd name="T5" fmla="*/ 21 h 160"/>
                <a:gd name="T6" fmla="*/ 139 w 160"/>
                <a:gd name="T7" fmla="*/ 149 h 160"/>
                <a:gd name="T8" fmla="*/ 150 w 160"/>
                <a:gd name="T9" fmla="*/ 160 h 160"/>
                <a:gd name="T10" fmla="*/ 160 w 160"/>
                <a:gd name="T11" fmla="*/ 149 h 160"/>
                <a:gd name="T12" fmla="*/ 11 w 16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0" h="160">
                  <a:moveTo>
                    <a:pt x="11" y="0"/>
                  </a:moveTo>
                  <a:cubicBezTo>
                    <a:pt x="5" y="0"/>
                    <a:pt x="0" y="5"/>
                    <a:pt x="0" y="11"/>
                  </a:cubicBezTo>
                  <a:cubicBezTo>
                    <a:pt x="0" y="17"/>
                    <a:pt x="5" y="21"/>
                    <a:pt x="11" y="21"/>
                  </a:cubicBezTo>
                  <a:cubicBezTo>
                    <a:pt x="82" y="21"/>
                    <a:pt x="139" y="79"/>
                    <a:pt x="139" y="149"/>
                  </a:cubicBezTo>
                  <a:cubicBezTo>
                    <a:pt x="139" y="155"/>
                    <a:pt x="144" y="160"/>
                    <a:pt x="150" y="160"/>
                  </a:cubicBezTo>
                  <a:cubicBezTo>
                    <a:pt x="156" y="160"/>
                    <a:pt x="160" y="155"/>
                    <a:pt x="160" y="149"/>
                  </a:cubicBezTo>
                  <a:cubicBezTo>
                    <a:pt x="160" y="67"/>
                    <a:pt x="93"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5" name="Freeform 823"/>
          <p:cNvSpPr>
            <a:spLocks noChangeAspect="1" noEditPoints="1"/>
          </p:cNvSpPr>
          <p:nvPr/>
        </p:nvSpPr>
        <p:spPr bwMode="auto">
          <a:xfrm>
            <a:off x="406400" y="5843297"/>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70 w 512"/>
              <a:gd name="T11" fmla="*/ 362 h 512"/>
              <a:gd name="T12" fmla="*/ 149 w 512"/>
              <a:gd name="T13" fmla="*/ 341 h 512"/>
              <a:gd name="T14" fmla="*/ 170 w 512"/>
              <a:gd name="T15" fmla="*/ 320 h 512"/>
              <a:gd name="T16" fmla="*/ 192 w 512"/>
              <a:gd name="T17" fmla="*/ 341 h 512"/>
              <a:gd name="T18" fmla="*/ 170 w 512"/>
              <a:gd name="T19" fmla="*/ 362 h 512"/>
              <a:gd name="T20" fmla="*/ 288 w 512"/>
              <a:gd name="T21" fmla="*/ 373 h 512"/>
              <a:gd name="T22" fmla="*/ 277 w 512"/>
              <a:gd name="T23" fmla="*/ 362 h 512"/>
              <a:gd name="T24" fmla="*/ 149 w 512"/>
              <a:gd name="T25" fmla="*/ 234 h 512"/>
              <a:gd name="T26" fmla="*/ 138 w 512"/>
              <a:gd name="T27" fmla="*/ 224 h 512"/>
              <a:gd name="T28" fmla="*/ 149 w 512"/>
              <a:gd name="T29" fmla="*/ 213 h 512"/>
              <a:gd name="T30" fmla="*/ 298 w 512"/>
              <a:gd name="T31" fmla="*/ 362 h 512"/>
              <a:gd name="T32" fmla="*/ 288 w 512"/>
              <a:gd name="T33" fmla="*/ 373 h 512"/>
              <a:gd name="T34" fmla="*/ 405 w 512"/>
              <a:gd name="T35" fmla="*/ 373 h 512"/>
              <a:gd name="T36" fmla="*/ 394 w 512"/>
              <a:gd name="T37" fmla="*/ 362 h 512"/>
              <a:gd name="T38" fmla="*/ 149 w 512"/>
              <a:gd name="T39" fmla="*/ 117 h 512"/>
              <a:gd name="T40" fmla="*/ 138 w 512"/>
              <a:gd name="T41" fmla="*/ 106 h 512"/>
              <a:gd name="T42" fmla="*/ 149 w 512"/>
              <a:gd name="T43" fmla="*/ 96 h 512"/>
              <a:gd name="T44" fmla="*/ 416 w 512"/>
              <a:gd name="T45" fmla="*/ 362 h 512"/>
              <a:gd name="T46" fmla="*/ 405 w 512"/>
              <a:gd name="T4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70" y="362"/>
                </a:moveTo>
                <a:cubicBezTo>
                  <a:pt x="159" y="362"/>
                  <a:pt x="149" y="353"/>
                  <a:pt x="149" y="341"/>
                </a:cubicBezTo>
                <a:cubicBezTo>
                  <a:pt x="149" y="329"/>
                  <a:pt x="159" y="320"/>
                  <a:pt x="170" y="320"/>
                </a:cubicBezTo>
                <a:cubicBezTo>
                  <a:pt x="182" y="320"/>
                  <a:pt x="192" y="329"/>
                  <a:pt x="192" y="341"/>
                </a:cubicBezTo>
                <a:cubicBezTo>
                  <a:pt x="192" y="353"/>
                  <a:pt x="182" y="362"/>
                  <a:pt x="170" y="362"/>
                </a:cubicBezTo>
                <a:close/>
                <a:moveTo>
                  <a:pt x="288" y="373"/>
                </a:moveTo>
                <a:cubicBezTo>
                  <a:pt x="282" y="373"/>
                  <a:pt x="277" y="368"/>
                  <a:pt x="277" y="362"/>
                </a:cubicBezTo>
                <a:cubicBezTo>
                  <a:pt x="277" y="292"/>
                  <a:pt x="220" y="234"/>
                  <a:pt x="149" y="234"/>
                </a:cubicBezTo>
                <a:cubicBezTo>
                  <a:pt x="143" y="234"/>
                  <a:pt x="138" y="230"/>
                  <a:pt x="138" y="224"/>
                </a:cubicBezTo>
                <a:cubicBezTo>
                  <a:pt x="138" y="218"/>
                  <a:pt x="143" y="213"/>
                  <a:pt x="149" y="213"/>
                </a:cubicBezTo>
                <a:cubicBezTo>
                  <a:pt x="231" y="213"/>
                  <a:pt x="298" y="280"/>
                  <a:pt x="298" y="362"/>
                </a:cubicBezTo>
                <a:cubicBezTo>
                  <a:pt x="298" y="368"/>
                  <a:pt x="294" y="373"/>
                  <a:pt x="288" y="373"/>
                </a:cubicBezTo>
                <a:close/>
                <a:moveTo>
                  <a:pt x="405" y="373"/>
                </a:moveTo>
                <a:cubicBezTo>
                  <a:pt x="399" y="373"/>
                  <a:pt x="394" y="368"/>
                  <a:pt x="394" y="362"/>
                </a:cubicBezTo>
                <a:cubicBezTo>
                  <a:pt x="394" y="227"/>
                  <a:pt x="284" y="117"/>
                  <a:pt x="149" y="117"/>
                </a:cubicBezTo>
                <a:cubicBezTo>
                  <a:pt x="143" y="117"/>
                  <a:pt x="138" y="112"/>
                  <a:pt x="138" y="106"/>
                </a:cubicBezTo>
                <a:cubicBezTo>
                  <a:pt x="138" y="100"/>
                  <a:pt x="143" y="96"/>
                  <a:pt x="149" y="96"/>
                </a:cubicBezTo>
                <a:cubicBezTo>
                  <a:pt x="296" y="96"/>
                  <a:pt x="416" y="215"/>
                  <a:pt x="416" y="362"/>
                </a:cubicBezTo>
                <a:cubicBezTo>
                  <a:pt x="416" y="368"/>
                  <a:pt x="411" y="373"/>
                  <a:pt x="405" y="37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66" name="Freeform 201"/>
          <p:cNvSpPr>
            <a:spLocks noChangeAspect="1" noEditPoints="1"/>
          </p:cNvSpPr>
          <p:nvPr/>
        </p:nvSpPr>
        <p:spPr bwMode="auto">
          <a:xfrm>
            <a:off x="1247264" y="5843297"/>
            <a:ext cx="369021" cy="369021"/>
          </a:xfrm>
          <a:custGeom>
            <a:avLst/>
            <a:gdLst>
              <a:gd name="T0" fmla="*/ 224 w 512"/>
              <a:gd name="T1" fmla="*/ 117 h 512"/>
              <a:gd name="T2" fmla="*/ 234 w 512"/>
              <a:gd name="T3" fmla="*/ 117 h 512"/>
              <a:gd name="T4" fmla="*/ 234 w 512"/>
              <a:gd name="T5" fmla="*/ 245 h 512"/>
              <a:gd name="T6" fmla="*/ 224 w 512"/>
              <a:gd name="T7" fmla="*/ 245 h 512"/>
              <a:gd name="T8" fmla="*/ 160 w 512"/>
              <a:gd name="T9" fmla="*/ 181 h 512"/>
              <a:gd name="T10" fmla="*/ 224 w 512"/>
              <a:gd name="T11" fmla="*/ 117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30 w 512"/>
              <a:gd name="T23" fmla="*/ 106 h 512"/>
              <a:gd name="T24" fmla="*/ 320 w 512"/>
              <a:gd name="T25" fmla="*/ 96 h 512"/>
              <a:gd name="T26" fmla="*/ 224 w 512"/>
              <a:gd name="T27" fmla="*/ 96 h 512"/>
              <a:gd name="T28" fmla="*/ 138 w 512"/>
              <a:gd name="T29" fmla="*/ 181 h 512"/>
              <a:gd name="T30" fmla="*/ 224 w 512"/>
              <a:gd name="T31" fmla="*/ 266 h 512"/>
              <a:gd name="T32" fmla="*/ 234 w 512"/>
              <a:gd name="T33" fmla="*/ 266 h 512"/>
              <a:gd name="T34" fmla="*/ 234 w 512"/>
              <a:gd name="T35" fmla="*/ 405 h 512"/>
              <a:gd name="T36" fmla="*/ 245 w 512"/>
              <a:gd name="T37" fmla="*/ 416 h 512"/>
              <a:gd name="T38" fmla="*/ 256 w 512"/>
              <a:gd name="T39" fmla="*/ 405 h 512"/>
              <a:gd name="T40" fmla="*/ 256 w 512"/>
              <a:gd name="T41" fmla="*/ 117 h 512"/>
              <a:gd name="T42" fmla="*/ 277 w 512"/>
              <a:gd name="T43" fmla="*/ 117 h 512"/>
              <a:gd name="T44" fmla="*/ 277 w 512"/>
              <a:gd name="T45" fmla="*/ 405 h 512"/>
              <a:gd name="T46" fmla="*/ 288 w 512"/>
              <a:gd name="T47" fmla="*/ 416 h 512"/>
              <a:gd name="T48" fmla="*/ 298 w 512"/>
              <a:gd name="T49" fmla="*/ 405 h 512"/>
              <a:gd name="T50" fmla="*/ 298 w 512"/>
              <a:gd name="T51" fmla="*/ 117 h 512"/>
              <a:gd name="T52" fmla="*/ 320 w 512"/>
              <a:gd name="T53" fmla="*/ 117 h 512"/>
              <a:gd name="T54" fmla="*/ 330 w 512"/>
              <a:gd name="T5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24" y="117"/>
                </a:moveTo>
                <a:cubicBezTo>
                  <a:pt x="234" y="117"/>
                  <a:pt x="234" y="117"/>
                  <a:pt x="234" y="117"/>
                </a:cubicBezTo>
                <a:cubicBezTo>
                  <a:pt x="234" y="245"/>
                  <a:pt x="234" y="245"/>
                  <a:pt x="234" y="245"/>
                </a:cubicBezTo>
                <a:cubicBezTo>
                  <a:pt x="224" y="245"/>
                  <a:pt x="224" y="245"/>
                  <a:pt x="224" y="245"/>
                </a:cubicBezTo>
                <a:cubicBezTo>
                  <a:pt x="188" y="245"/>
                  <a:pt x="160" y="216"/>
                  <a:pt x="160" y="181"/>
                </a:cubicBezTo>
                <a:cubicBezTo>
                  <a:pt x="160" y="146"/>
                  <a:pt x="188" y="117"/>
                  <a:pt x="224"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224" y="96"/>
                  <a:pt x="224" y="96"/>
                  <a:pt x="224" y="96"/>
                </a:cubicBezTo>
                <a:cubicBezTo>
                  <a:pt x="177" y="96"/>
                  <a:pt x="138" y="134"/>
                  <a:pt x="138" y="181"/>
                </a:cubicBezTo>
                <a:cubicBezTo>
                  <a:pt x="138" y="228"/>
                  <a:pt x="177" y="266"/>
                  <a:pt x="224" y="266"/>
                </a:cubicBezTo>
                <a:cubicBezTo>
                  <a:pt x="234" y="266"/>
                  <a:pt x="234" y="266"/>
                  <a:pt x="234" y="266"/>
                </a:cubicBezTo>
                <a:cubicBezTo>
                  <a:pt x="234" y="405"/>
                  <a:pt x="234" y="405"/>
                  <a:pt x="234" y="405"/>
                </a:cubicBezTo>
                <a:cubicBezTo>
                  <a:pt x="234" y="411"/>
                  <a:pt x="239" y="416"/>
                  <a:pt x="245" y="416"/>
                </a:cubicBezTo>
                <a:cubicBezTo>
                  <a:pt x="251" y="416"/>
                  <a:pt x="256" y="411"/>
                  <a:pt x="256" y="405"/>
                </a:cubicBezTo>
                <a:cubicBezTo>
                  <a:pt x="256" y="117"/>
                  <a:pt x="256" y="117"/>
                  <a:pt x="256" y="117"/>
                </a:cubicBezTo>
                <a:cubicBezTo>
                  <a:pt x="277" y="117"/>
                  <a:pt x="277" y="117"/>
                  <a:pt x="277" y="117"/>
                </a:cubicBezTo>
                <a:cubicBezTo>
                  <a:pt x="277" y="405"/>
                  <a:pt x="277" y="405"/>
                  <a:pt x="277" y="405"/>
                </a:cubicBezTo>
                <a:cubicBezTo>
                  <a:pt x="277" y="411"/>
                  <a:pt x="282" y="416"/>
                  <a:pt x="288" y="416"/>
                </a:cubicBezTo>
                <a:cubicBezTo>
                  <a:pt x="294" y="416"/>
                  <a:pt x="298" y="411"/>
                  <a:pt x="298" y="405"/>
                </a:cubicBezTo>
                <a:cubicBezTo>
                  <a:pt x="298" y="117"/>
                  <a:pt x="298" y="117"/>
                  <a:pt x="298" y="117"/>
                </a:cubicBezTo>
                <a:cubicBezTo>
                  <a:pt x="320" y="117"/>
                  <a:pt x="320" y="117"/>
                  <a:pt x="320" y="117"/>
                </a:cubicBezTo>
                <a:cubicBezTo>
                  <a:pt x="326" y="117"/>
                  <a:pt x="330" y="112"/>
                  <a:pt x="330" y="10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67" name="Group 204"/>
          <p:cNvGrpSpPr>
            <a:grpSpLocks noChangeAspect="1"/>
          </p:cNvGrpSpPr>
          <p:nvPr/>
        </p:nvGrpSpPr>
        <p:grpSpPr bwMode="auto">
          <a:xfrm>
            <a:off x="1667696" y="5843297"/>
            <a:ext cx="369021" cy="369021"/>
            <a:chOff x="374" y="771"/>
            <a:chExt cx="340" cy="340"/>
          </a:xfrm>
          <a:solidFill>
            <a:schemeClr val="accent3"/>
          </a:solidFill>
        </p:grpSpPr>
        <p:sp>
          <p:nvSpPr>
            <p:cNvPr id="768" name="Freeform 205"/>
            <p:cNvSpPr>
              <a:spLocks noEditPoints="1"/>
            </p:cNvSpPr>
            <p:nvPr/>
          </p:nvSpPr>
          <p:spPr bwMode="auto">
            <a:xfrm>
              <a:off x="374"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9" name="Freeform 206"/>
            <p:cNvSpPr>
              <a:spLocks noEditPoints="1"/>
            </p:cNvSpPr>
            <p:nvPr/>
          </p:nvSpPr>
          <p:spPr bwMode="auto">
            <a:xfrm>
              <a:off x="466" y="835"/>
              <a:ext cx="127" cy="212"/>
            </a:xfrm>
            <a:custGeom>
              <a:avLst/>
              <a:gdLst>
                <a:gd name="T0" fmla="*/ 182 w 192"/>
                <a:gd name="T1" fmla="*/ 0 h 320"/>
                <a:gd name="T2" fmla="*/ 86 w 192"/>
                <a:gd name="T3" fmla="*/ 0 h 320"/>
                <a:gd name="T4" fmla="*/ 0 w 192"/>
                <a:gd name="T5" fmla="*/ 85 h 320"/>
                <a:gd name="T6" fmla="*/ 86 w 192"/>
                <a:gd name="T7" fmla="*/ 170 h 320"/>
                <a:gd name="T8" fmla="*/ 96 w 192"/>
                <a:gd name="T9" fmla="*/ 170 h 320"/>
                <a:gd name="T10" fmla="*/ 96 w 192"/>
                <a:gd name="T11" fmla="*/ 309 h 320"/>
                <a:gd name="T12" fmla="*/ 107 w 192"/>
                <a:gd name="T13" fmla="*/ 320 h 320"/>
                <a:gd name="T14" fmla="*/ 118 w 192"/>
                <a:gd name="T15" fmla="*/ 309 h 320"/>
                <a:gd name="T16" fmla="*/ 118 w 192"/>
                <a:gd name="T17" fmla="*/ 21 h 320"/>
                <a:gd name="T18" fmla="*/ 139 w 192"/>
                <a:gd name="T19" fmla="*/ 21 h 320"/>
                <a:gd name="T20" fmla="*/ 139 w 192"/>
                <a:gd name="T21" fmla="*/ 309 h 320"/>
                <a:gd name="T22" fmla="*/ 150 w 192"/>
                <a:gd name="T23" fmla="*/ 320 h 320"/>
                <a:gd name="T24" fmla="*/ 160 w 192"/>
                <a:gd name="T25" fmla="*/ 309 h 320"/>
                <a:gd name="T26" fmla="*/ 160 w 192"/>
                <a:gd name="T27" fmla="*/ 21 h 320"/>
                <a:gd name="T28" fmla="*/ 182 w 192"/>
                <a:gd name="T29" fmla="*/ 21 h 320"/>
                <a:gd name="T30" fmla="*/ 192 w 192"/>
                <a:gd name="T31" fmla="*/ 10 h 320"/>
                <a:gd name="T32" fmla="*/ 182 w 192"/>
                <a:gd name="T33" fmla="*/ 0 h 320"/>
                <a:gd name="T34" fmla="*/ 96 w 192"/>
                <a:gd name="T35" fmla="*/ 149 h 320"/>
                <a:gd name="T36" fmla="*/ 86 w 192"/>
                <a:gd name="T37" fmla="*/ 149 h 320"/>
                <a:gd name="T38" fmla="*/ 22 w 192"/>
                <a:gd name="T39" fmla="*/ 85 h 320"/>
                <a:gd name="T40" fmla="*/ 86 w 192"/>
                <a:gd name="T41" fmla="*/ 21 h 320"/>
                <a:gd name="T42" fmla="*/ 96 w 192"/>
                <a:gd name="T43" fmla="*/ 21 h 320"/>
                <a:gd name="T44" fmla="*/ 96 w 192"/>
                <a:gd name="T45"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320">
                  <a:moveTo>
                    <a:pt x="182" y="0"/>
                  </a:moveTo>
                  <a:cubicBezTo>
                    <a:pt x="86" y="0"/>
                    <a:pt x="86" y="0"/>
                    <a:pt x="86" y="0"/>
                  </a:cubicBezTo>
                  <a:cubicBezTo>
                    <a:pt x="39" y="0"/>
                    <a:pt x="0" y="38"/>
                    <a:pt x="0" y="85"/>
                  </a:cubicBezTo>
                  <a:cubicBezTo>
                    <a:pt x="0" y="132"/>
                    <a:pt x="39" y="170"/>
                    <a:pt x="86" y="170"/>
                  </a:cubicBezTo>
                  <a:cubicBezTo>
                    <a:pt x="96" y="170"/>
                    <a:pt x="96" y="170"/>
                    <a:pt x="96" y="170"/>
                  </a:cubicBezTo>
                  <a:cubicBezTo>
                    <a:pt x="96" y="309"/>
                    <a:pt x="96" y="309"/>
                    <a:pt x="96" y="309"/>
                  </a:cubicBezTo>
                  <a:cubicBezTo>
                    <a:pt x="96" y="315"/>
                    <a:pt x="101" y="320"/>
                    <a:pt x="107" y="320"/>
                  </a:cubicBezTo>
                  <a:cubicBezTo>
                    <a:pt x="113" y="320"/>
                    <a:pt x="118" y="315"/>
                    <a:pt x="118" y="309"/>
                  </a:cubicBezTo>
                  <a:cubicBezTo>
                    <a:pt x="118" y="21"/>
                    <a:pt x="118" y="21"/>
                    <a:pt x="118" y="21"/>
                  </a:cubicBezTo>
                  <a:cubicBezTo>
                    <a:pt x="139" y="21"/>
                    <a:pt x="139" y="21"/>
                    <a:pt x="139" y="21"/>
                  </a:cubicBezTo>
                  <a:cubicBezTo>
                    <a:pt x="139" y="309"/>
                    <a:pt x="139" y="309"/>
                    <a:pt x="139" y="309"/>
                  </a:cubicBezTo>
                  <a:cubicBezTo>
                    <a:pt x="139" y="315"/>
                    <a:pt x="144" y="320"/>
                    <a:pt x="150" y="320"/>
                  </a:cubicBezTo>
                  <a:cubicBezTo>
                    <a:pt x="156" y="320"/>
                    <a:pt x="160" y="315"/>
                    <a:pt x="160" y="309"/>
                  </a:cubicBezTo>
                  <a:cubicBezTo>
                    <a:pt x="160" y="21"/>
                    <a:pt x="160" y="21"/>
                    <a:pt x="160" y="21"/>
                  </a:cubicBezTo>
                  <a:cubicBezTo>
                    <a:pt x="182" y="21"/>
                    <a:pt x="182" y="21"/>
                    <a:pt x="182" y="21"/>
                  </a:cubicBezTo>
                  <a:cubicBezTo>
                    <a:pt x="188" y="21"/>
                    <a:pt x="192" y="16"/>
                    <a:pt x="192" y="10"/>
                  </a:cubicBezTo>
                  <a:cubicBezTo>
                    <a:pt x="192" y="4"/>
                    <a:pt x="188" y="0"/>
                    <a:pt x="182" y="0"/>
                  </a:cubicBezTo>
                  <a:close/>
                  <a:moveTo>
                    <a:pt x="96" y="149"/>
                  </a:moveTo>
                  <a:cubicBezTo>
                    <a:pt x="86" y="149"/>
                    <a:pt x="86" y="149"/>
                    <a:pt x="86" y="149"/>
                  </a:cubicBezTo>
                  <a:cubicBezTo>
                    <a:pt x="50" y="149"/>
                    <a:pt x="22" y="120"/>
                    <a:pt x="22" y="85"/>
                  </a:cubicBezTo>
                  <a:cubicBezTo>
                    <a:pt x="22" y="50"/>
                    <a:pt x="50" y="21"/>
                    <a:pt x="86" y="21"/>
                  </a:cubicBezTo>
                  <a:cubicBezTo>
                    <a:pt x="96" y="21"/>
                    <a:pt x="96" y="21"/>
                    <a:pt x="96" y="21"/>
                  </a:cubicBezTo>
                  <a:lnTo>
                    <a:pt x="96"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0" name="Freeform 210"/>
          <p:cNvSpPr>
            <a:spLocks noChangeAspect="1" noEditPoints="1"/>
          </p:cNvSpPr>
          <p:nvPr/>
        </p:nvSpPr>
        <p:spPr bwMode="auto">
          <a:xfrm>
            <a:off x="2088128" y="5843297"/>
            <a:ext cx="369021" cy="369021"/>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71" name="Group 213"/>
          <p:cNvGrpSpPr>
            <a:grpSpLocks noChangeAspect="1"/>
          </p:cNvGrpSpPr>
          <p:nvPr/>
        </p:nvGrpSpPr>
        <p:grpSpPr bwMode="auto">
          <a:xfrm>
            <a:off x="2508560" y="5843297"/>
            <a:ext cx="369021" cy="369021"/>
            <a:chOff x="1157" y="771"/>
            <a:chExt cx="340" cy="340"/>
          </a:xfrm>
          <a:solidFill>
            <a:schemeClr val="accent3"/>
          </a:solidFill>
        </p:grpSpPr>
        <p:sp>
          <p:nvSpPr>
            <p:cNvPr id="772" name="Freeform 214"/>
            <p:cNvSpPr>
              <a:spLocks noEditPoints="1"/>
            </p:cNvSpPr>
            <p:nvPr/>
          </p:nvSpPr>
          <p:spPr bwMode="auto">
            <a:xfrm>
              <a:off x="1249" y="835"/>
              <a:ext cx="156" cy="212"/>
            </a:xfrm>
            <a:custGeom>
              <a:avLst/>
              <a:gdLst>
                <a:gd name="T0" fmla="*/ 224 w 235"/>
                <a:gd name="T1" fmla="*/ 106 h 320"/>
                <a:gd name="T2" fmla="*/ 214 w 235"/>
                <a:gd name="T3" fmla="*/ 106 h 320"/>
                <a:gd name="T4" fmla="*/ 214 w 235"/>
                <a:gd name="T5" fmla="*/ 32 h 320"/>
                <a:gd name="T6" fmla="*/ 203 w 235"/>
                <a:gd name="T7" fmla="*/ 21 h 320"/>
                <a:gd name="T8" fmla="*/ 171 w 235"/>
                <a:gd name="T9" fmla="*/ 21 h 320"/>
                <a:gd name="T10" fmla="*/ 171 w 235"/>
                <a:gd name="T11" fmla="*/ 10 h 320"/>
                <a:gd name="T12" fmla="*/ 160 w 235"/>
                <a:gd name="T13" fmla="*/ 0 h 320"/>
                <a:gd name="T14" fmla="*/ 54 w 235"/>
                <a:gd name="T15" fmla="*/ 0 h 320"/>
                <a:gd name="T16" fmla="*/ 43 w 235"/>
                <a:gd name="T17" fmla="*/ 10 h 320"/>
                <a:gd name="T18" fmla="*/ 43 w 235"/>
                <a:gd name="T19" fmla="*/ 21 h 320"/>
                <a:gd name="T20" fmla="*/ 11 w 235"/>
                <a:gd name="T21" fmla="*/ 21 h 320"/>
                <a:gd name="T22" fmla="*/ 0 w 235"/>
                <a:gd name="T23" fmla="*/ 32 h 320"/>
                <a:gd name="T24" fmla="*/ 0 w 235"/>
                <a:gd name="T25" fmla="*/ 309 h 320"/>
                <a:gd name="T26" fmla="*/ 11 w 235"/>
                <a:gd name="T27" fmla="*/ 320 h 320"/>
                <a:gd name="T28" fmla="*/ 224 w 235"/>
                <a:gd name="T29" fmla="*/ 320 h 320"/>
                <a:gd name="T30" fmla="*/ 235 w 235"/>
                <a:gd name="T31" fmla="*/ 309 h 320"/>
                <a:gd name="T32" fmla="*/ 235 w 235"/>
                <a:gd name="T33" fmla="*/ 117 h 320"/>
                <a:gd name="T34" fmla="*/ 224 w 235"/>
                <a:gd name="T35" fmla="*/ 106 h 320"/>
                <a:gd name="T36" fmla="*/ 150 w 235"/>
                <a:gd name="T37" fmla="*/ 21 h 320"/>
                <a:gd name="T38" fmla="*/ 150 w 235"/>
                <a:gd name="T39" fmla="*/ 42 h 320"/>
                <a:gd name="T40" fmla="*/ 64 w 235"/>
                <a:gd name="T41" fmla="*/ 42 h 320"/>
                <a:gd name="T42" fmla="*/ 64 w 235"/>
                <a:gd name="T43" fmla="*/ 32 h 320"/>
                <a:gd name="T44" fmla="*/ 64 w 235"/>
                <a:gd name="T45" fmla="*/ 32 h 320"/>
                <a:gd name="T46" fmla="*/ 64 w 235"/>
                <a:gd name="T47" fmla="*/ 32 h 320"/>
                <a:gd name="T48" fmla="*/ 64 w 235"/>
                <a:gd name="T49" fmla="*/ 21 h 320"/>
                <a:gd name="T50" fmla="*/ 150 w 235"/>
                <a:gd name="T51" fmla="*/ 21 h 320"/>
                <a:gd name="T52" fmla="*/ 22 w 235"/>
                <a:gd name="T53" fmla="*/ 42 h 320"/>
                <a:gd name="T54" fmla="*/ 43 w 235"/>
                <a:gd name="T55" fmla="*/ 42 h 320"/>
                <a:gd name="T56" fmla="*/ 43 w 235"/>
                <a:gd name="T57" fmla="*/ 53 h 320"/>
                <a:gd name="T58" fmla="*/ 54 w 235"/>
                <a:gd name="T59" fmla="*/ 64 h 320"/>
                <a:gd name="T60" fmla="*/ 160 w 235"/>
                <a:gd name="T61" fmla="*/ 64 h 320"/>
                <a:gd name="T62" fmla="*/ 171 w 235"/>
                <a:gd name="T63" fmla="*/ 53 h 320"/>
                <a:gd name="T64" fmla="*/ 171 w 235"/>
                <a:gd name="T65" fmla="*/ 42 h 320"/>
                <a:gd name="T66" fmla="*/ 192 w 235"/>
                <a:gd name="T67" fmla="*/ 42 h 320"/>
                <a:gd name="T68" fmla="*/ 192 w 235"/>
                <a:gd name="T69" fmla="*/ 106 h 320"/>
                <a:gd name="T70" fmla="*/ 75 w 235"/>
                <a:gd name="T71" fmla="*/ 106 h 320"/>
                <a:gd name="T72" fmla="*/ 64 w 235"/>
                <a:gd name="T73" fmla="*/ 117 h 320"/>
                <a:gd name="T74" fmla="*/ 64 w 235"/>
                <a:gd name="T75" fmla="*/ 298 h 320"/>
                <a:gd name="T76" fmla="*/ 22 w 235"/>
                <a:gd name="T77" fmla="*/ 298 h 320"/>
                <a:gd name="T78" fmla="*/ 22 w 235"/>
                <a:gd name="T79" fmla="*/ 42 h 320"/>
                <a:gd name="T80" fmla="*/ 214 w 235"/>
                <a:gd name="T81" fmla="*/ 298 h 320"/>
                <a:gd name="T82" fmla="*/ 86 w 235"/>
                <a:gd name="T83" fmla="*/ 298 h 320"/>
                <a:gd name="T84" fmla="*/ 86 w 235"/>
                <a:gd name="T85" fmla="*/ 128 h 320"/>
                <a:gd name="T86" fmla="*/ 214 w 235"/>
                <a:gd name="T87" fmla="*/ 128 h 320"/>
                <a:gd name="T88" fmla="*/ 214 w 235"/>
                <a:gd name="T8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24" y="106"/>
                  </a:moveTo>
                  <a:cubicBezTo>
                    <a:pt x="214" y="106"/>
                    <a:pt x="214" y="106"/>
                    <a:pt x="214" y="106"/>
                  </a:cubicBezTo>
                  <a:cubicBezTo>
                    <a:pt x="214" y="32"/>
                    <a:pt x="214" y="32"/>
                    <a:pt x="214" y="32"/>
                  </a:cubicBezTo>
                  <a:cubicBezTo>
                    <a:pt x="214" y="26"/>
                    <a:pt x="209" y="21"/>
                    <a:pt x="203" y="21"/>
                  </a:cubicBezTo>
                  <a:cubicBezTo>
                    <a:pt x="171" y="21"/>
                    <a:pt x="171" y="21"/>
                    <a:pt x="171" y="21"/>
                  </a:cubicBezTo>
                  <a:cubicBezTo>
                    <a:pt x="171" y="10"/>
                    <a:pt x="171" y="10"/>
                    <a:pt x="171" y="10"/>
                  </a:cubicBezTo>
                  <a:cubicBezTo>
                    <a:pt x="171" y="4"/>
                    <a:pt x="166" y="0"/>
                    <a:pt x="160" y="0"/>
                  </a:cubicBezTo>
                  <a:cubicBezTo>
                    <a:pt x="54" y="0"/>
                    <a:pt x="54" y="0"/>
                    <a:pt x="54" y="0"/>
                  </a:cubicBezTo>
                  <a:cubicBezTo>
                    <a:pt x="48" y="0"/>
                    <a:pt x="43" y="4"/>
                    <a:pt x="43" y="10"/>
                  </a:cubicBezTo>
                  <a:cubicBezTo>
                    <a:pt x="43" y="21"/>
                    <a:pt x="43" y="21"/>
                    <a:pt x="43" y="21"/>
                  </a:cubicBezTo>
                  <a:cubicBezTo>
                    <a:pt x="11" y="21"/>
                    <a:pt x="11" y="21"/>
                    <a:pt x="11" y="21"/>
                  </a:cubicBezTo>
                  <a:cubicBezTo>
                    <a:pt x="5" y="21"/>
                    <a:pt x="0" y="26"/>
                    <a:pt x="0" y="32"/>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17"/>
                    <a:pt x="235" y="117"/>
                    <a:pt x="235" y="117"/>
                  </a:cubicBezTo>
                  <a:cubicBezTo>
                    <a:pt x="235" y="111"/>
                    <a:pt x="230" y="106"/>
                    <a:pt x="224" y="106"/>
                  </a:cubicBezTo>
                  <a:close/>
                  <a:moveTo>
                    <a:pt x="150" y="21"/>
                  </a:moveTo>
                  <a:cubicBezTo>
                    <a:pt x="150" y="42"/>
                    <a:pt x="150" y="42"/>
                    <a:pt x="150" y="42"/>
                  </a:cubicBezTo>
                  <a:cubicBezTo>
                    <a:pt x="64" y="42"/>
                    <a:pt x="64" y="42"/>
                    <a:pt x="64" y="42"/>
                  </a:cubicBezTo>
                  <a:cubicBezTo>
                    <a:pt x="64" y="32"/>
                    <a:pt x="64" y="32"/>
                    <a:pt x="64" y="32"/>
                  </a:cubicBezTo>
                  <a:cubicBezTo>
                    <a:pt x="64" y="32"/>
                    <a:pt x="64" y="32"/>
                    <a:pt x="64" y="32"/>
                  </a:cubicBezTo>
                  <a:cubicBezTo>
                    <a:pt x="64" y="32"/>
                    <a:pt x="64" y="32"/>
                    <a:pt x="64" y="32"/>
                  </a:cubicBezTo>
                  <a:cubicBezTo>
                    <a:pt x="64" y="21"/>
                    <a:pt x="64" y="21"/>
                    <a:pt x="64" y="21"/>
                  </a:cubicBezTo>
                  <a:lnTo>
                    <a:pt x="150" y="21"/>
                  </a:lnTo>
                  <a:close/>
                  <a:moveTo>
                    <a:pt x="22" y="42"/>
                  </a:moveTo>
                  <a:cubicBezTo>
                    <a:pt x="43" y="42"/>
                    <a:pt x="43" y="42"/>
                    <a:pt x="43" y="42"/>
                  </a:cubicBezTo>
                  <a:cubicBezTo>
                    <a:pt x="43" y="53"/>
                    <a:pt x="43" y="53"/>
                    <a:pt x="43" y="53"/>
                  </a:cubicBezTo>
                  <a:cubicBezTo>
                    <a:pt x="43" y="59"/>
                    <a:pt x="48" y="64"/>
                    <a:pt x="54" y="64"/>
                  </a:cubicBezTo>
                  <a:cubicBezTo>
                    <a:pt x="160" y="64"/>
                    <a:pt x="160" y="64"/>
                    <a:pt x="160" y="64"/>
                  </a:cubicBezTo>
                  <a:cubicBezTo>
                    <a:pt x="166" y="64"/>
                    <a:pt x="171" y="59"/>
                    <a:pt x="171" y="53"/>
                  </a:cubicBezTo>
                  <a:cubicBezTo>
                    <a:pt x="171" y="42"/>
                    <a:pt x="171" y="42"/>
                    <a:pt x="171" y="42"/>
                  </a:cubicBezTo>
                  <a:cubicBezTo>
                    <a:pt x="192" y="42"/>
                    <a:pt x="192" y="42"/>
                    <a:pt x="192" y="42"/>
                  </a:cubicBezTo>
                  <a:cubicBezTo>
                    <a:pt x="192" y="106"/>
                    <a:pt x="192" y="106"/>
                    <a:pt x="192" y="106"/>
                  </a:cubicBezTo>
                  <a:cubicBezTo>
                    <a:pt x="75" y="106"/>
                    <a:pt x="75" y="106"/>
                    <a:pt x="75" y="106"/>
                  </a:cubicBezTo>
                  <a:cubicBezTo>
                    <a:pt x="69" y="106"/>
                    <a:pt x="64" y="111"/>
                    <a:pt x="64" y="117"/>
                  </a:cubicBezTo>
                  <a:cubicBezTo>
                    <a:pt x="64" y="298"/>
                    <a:pt x="64" y="298"/>
                    <a:pt x="64" y="298"/>
                  </a:cubicBezTo>
                  <a:cubicBezTo>
                    <a:pt x="22" y="298"/>
                    <a:pt x="22" y="298"/>
                    <a:pt x="22" y="298"/>
                  </a:cubicBezTo>
                  <a:lnTo>
                    <a:pt x="22" y="42"/>
                  </a:lnTo>
                  <a:close/>
                  <a:moveTo>
                    <a:pt x="214" y="298"/>
                  </a:moveTo>
                  <a:cubicBezTo>
                    <a:pt x="86" y="298"/>
                    <a:pt x="86" y="298"/>
                    <a:pt x="86" y="298"/>
                  </a:cubicBezTo>
                  <a:cubicBezTo>
                    <a:pt x="86" y="128"/>
                    <a:pt x="86" y="128"/>
                    <a:pt x="86" y="128"/>
                  </a:cubicBezTo>
                  <a:cubicBezTo>
                    <a:pt x="214" y="128"/>
                    <a:pt x="214" y="128"/>
                    <a:pt x="214" y="128"/>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215"/>
            <p:cNvSpPr>
              <a:spLocks/>
            </p:cNvSpPr>
            <p:nvPr/>
          </p:nvSpPr>
          <p:spPr bwMode="auto">
            <a:xfrm>
              <a:off x="1320" y="941"/>
              <a:ext cx="56" cy="14"/>
            </a:xfrm>
            <a:custGeom>
              <a:avLst/>
              <a:gdLst>
                <a:gd name="T0" fmla="*/ 75 w 85"/>
                <a:gd name="T1" fmla="*/ 0 h 21"/>
                <a:gd name="T2" fmla="*/ 11 w 85"/>
                <a:gd name="T3" fmla="*/ 0 h 21"/>
                <a:gd name="T4" fmla="*/ 0 w 85"/>
                <a:gd name="T5" fmla="*/ 10 h 21"/>
                <a:gd name="T6" fmla="*/ 11 w 85"/>
                <a:gd name="T7" fmla="*/ 21 h 21"/>
                <a:gd name="T8" fmla="*/ 75 w 85"/>
                <a:gd name="T9" fmla="*/ 21 h 21"/>
                <a:gd name="T10" fmla="*/ 85 w 85"/>
                <a:gd name="T11" fmla="*/ 10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4"/>
                    <a:pt x="0" y="10"/>
                  </a:cubicBezTo>
                  <a:cubicBezTo>
                    <a:pt x="0" y="16"/>
                    <a:pt x="5" y="21"/>
                    <a:pt x="11" y="21"/>
                  </a:cubicBezTo>
                  <a:cubicBezTo>
                    <a:pt x="75" y="21"/>
                    <a:pt x="75" y="21"/>
                    <a:pt x="75" y="21"/>
                  </a:cubicBezTo>
                  <a:cubicBezTo>
                    <a:pt x="81" y="21"/>
                    <a:pt x="85" y="16"/>
                    <a:pt x="85" y="10"/>
                  </a:cubicBezTo>
                  <a:cubicBezTo>
                    <a:pt x="85" y="4"/>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216"/>
            <p:cNvSpPr>
              <a:spLocks/>
            </p:cNvSpPr>
            <p:nvPr/>
          </p:nvSpPr>
          <p:spPr bwMode="auto">
            <a:xfrm>
              <a:off x="1320" y="969"/>
              <a:ext cx="56" cy="14"/>
            </a:xfrm>
            <a:custGeom>
              <a:avLst/>
              <a:gdLst>
                <a:gd name="T0" fmla="*/ 75 w 85"/>
                <a:gd name="T1" fmla="*/ 0 h 22"/>
                <a:gd name="T2" fmla="*/ 11 w 85"/>
                <a:gd name="T3" fmla="*/ 0 h 22"/>
                <a:gd name="T4" fmla="*/ 0 w 85"/>
                <a:gd name="T5" fmla="*/ 11 h 22"/>
                <a:gd name="T6" fmla="*/ 11 w 85"/>
                <a:gd name="T7" fmla="*/ 22 h 22"/>
                <a:gd name="T8" fmla="*/ 75 w 85"/>
                <a:gd name="T9" fmla="*/ 22 h 22"/>
                <a:gd name="T10" fmla="*/ 85 w 85"/>
                <a:gd name="T11" fmla="*/ 11 h 22"/>
                <a:gd name="T12" fmla="*/ 75 w 85"/>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85" h="22">
                  <a:moveTo>
                    <a:pt x="75" y="0"/>
                  </a:moveTo>
                  <a:cubicBezTo>
                    <a:pt x="11" y="0"/>
                    <a:pt x="11" y="0"/>
                    <a:pt x="11" y="0"/>
                  </a:cubicBezTo>
                  <a:cubicBezTo>
                    <a:pt x="5" y="0"/>
                    <a:pt x="0" y="5"/>
                    <a:pt x="0" y="11"/>
                  </a:cubicBezTo>
                  <a:cubicBezTo>
                    <a:pt x="0" y="17"/>
                    <a:pt x="5" y="22"/>
                    <a:pt x="11" y="22"/>
                  </a:cubicBezTo>
                  <a:cubicBezTo>
                    <a:pt x="75" y="22"/>
                    <a:pt x="75" y="22"/>
                    <a:pt x="75" y="22"/>
                  </a:cubicBezTo>
                  <a:cubicBezTo>
                    <a:pt x="81" y="22"/>
                    <a:pt x="85" y="17"/>
                    <a:pt x="85" y="11"/>
                  </a:cubicBezTo>
                  <a:cubicBezTo>
                    <a:pt x="85" y="5"/>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5" name="Freeform 217"/>
            <p:cNvSpPr>
              <a:spLocks/>
            </p:cNvSpPr>
            <p:nvPr/>
          </p:nvSpPr>
          <p:spPr bwMode="auto">
            <a:xfrm>
              <a:off x="1320" y="997"/>
              <a:ext cx="56" cy="14"/>
            </a:xfrm>
            <a:custGeom>
              <a:avLst/>
              <a:gdLst>
                <a:gd name="T0" fmla="*/ 75 w 85"/>
                <a:gd name="T1" fmla="*/ 0 h 21"/>
                <a:gd name="T2" fmla="*/ 11 w 85"/>
                <a:gd name="T3" fmla="*/ 0 h 21"/>
                <a:gd name="T4" fmla="*/ 0 w 85"/>
                <a:gd name="T5" fmla="*/ 11 h 21"/>
                <a:gd name="T6" fmla="*/ 11 w 85"/>
                <a:gd name="T7" fmla="*/ 21 h 21"/>
                <a:gd name="T8" fmla="*/ 75 w 85"/>
                <a:gd name="T9" fmla="*/ 21 h 21"/>
                <a:gd name="T10" fmla="*/ 85 w 85"/>
                <a:gd name="T11" fmla="*/ 11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5"/>
                    <a:pt x="0" y="11"/>
                  </a:cubicBezTo>
                  <a:cubicBezTo>
                    <a:pt x="0" y="17"/>
                    <a:pt x="5" y="21"/>
                    <a:pt x="11" y="21"/>
                  </a:cubicBezTo>
                  <a:cubicBezTo>
                    <a:pt x="75" y="21"/>
                    <a:pt x="75" y="21"/>
                    <a:pt x="75" y="21"/>
                  </a:cubicBezTo>
                  <a:cubicBezTo>
                    <a:pt x="81" y="21"/>
                    <a:pt x="85" y="17"/>
                    <a:pt x="85" y="11"/>
                  </a:cubicBezTo>
                  <a:cubicBezTo>
                    <a:pt x="85" y="5"/>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218"/>
            <p:cNvSpPr>
              <a:spLocks noEditPoints="1"/>
            </p:cNvSpPr>
            <p:nvPr/>
          </p:nvSpPr>
          <p:spPr bwMode="auto">
            <a:xfrm>
              <a:off x="1157"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7" name="Group 741"/>
          <p:cNvGrpSpPr>
            <a:grpSpLocks noChangeAspect="1"/>
          </p:cNvGrpSpPr>
          <p:nvPr/>
        </p:nvGrpSpPr>
        <p:grpSpPr bwMode="auto">
          <a:xfrm>
            <a:off x="4191373" y="5843297"/>
            <a:ext cx="369021" cy="369021"/>
            <a:chOff x="1163" y="2706"/>
            <a:chExt cx="340" cy="340"/>
          </a:xfrm>
          <a:solidFill>
            <a:schemeClr val="accent2"/>
          </a:solidFill>
        </p:grpSpPr>
        <p:sp>
          <p:nvSpPr>
            <p:cNvPr id="778" name="Freeform 742"/>
            <p:cNvSpPr>
              <a:spLocks noEditPoints="1"/>
            </p:cNvSpPr>
            <p:nvPr/>
          </p:nvSpPr>
          <p:spPr bwMode="auto">
            <a:xfrm>
              <a:off x="1247" y="2769"/>
              <a:ext cx="178" cy="213"/>
            </a:xfrm>
            <a:custGeom>
              <a:avLst/>
              <a:gdLst>
                <a:gd name="T0" fmla="*/ 182 w 268"/>
                <a:gd name="T1" fmla="*/ 321 h 321"/>
                <a:gd name="T2" fmla="*/ 173 w 268"/>
                <a:gd name="T3" fmla="*/ 316 h 321"/>
                <a:gd name="T4" fmla="*/ 176 w 268"/>
                <a:gd name="T5" fmla="*/ 302 h 321"/>
                <a:gd name="T6" fmla="*/ 203 w 268"/>
                <a:gd name="T7" fmla="*/ 247 h 321"/>
                <a:gd name="T8" fmla="*/ 134 w 268"/>
                <a:gd name="T9" fmla="*/ 172 h 321"/>
                <a:gd name="T10" fmla="*/ 129 w 268"/>
                <a:gd name="T11" fmla="*/ 172 h 321"/>
                <a:gd name="T12" fmla="*/ 129 w 268"/>
                <a:gd name="T13" fmla="*/ 225 h 321"/>
                <a:gd name="T14" fmla="*/ 122 w 268"/>
                <a:gd name="T15" fmla="*/ 235 h 321"/>
                <a:gd name="T16" fmla="*/ 111 w 268"/>
                <a:gd name="T17" fmla="*/ 233 h 321"/>
                <a:gd name="T18" fmla="*/ 4 w 268"/>
                <a:gd name="T19" fmla="*/ 126 h 321"/>
                <a:gd name="T20" fmla="*/ 4 w 268"/>
                <a:gd name="T21" fmla="*/ 111 h 321"/>
                <a:gd name="T22" fmla="*/ 111 w 268"/>
                <a:gd name="T23" fmla="*/ 4 h 321"/>
                <a:gd name="T24" fmla="*/ 122 w 268"/>
                <a:gd name="T25" fmla="*/ 2 h 321"/>
                <a:gd name="T26" fmla="*/ 129 w 268"/>
                <a:gd name="T27" fmla="*/ 12 h 321"/>
                <a:gd name="T28" fmla="*/ 129 w 268"/>
                <a:gd name="T29" fmla="*/ 55 h 321"/>
                <a:gd name="T30" fmla="*/ 268 w 268"/>
                <a:gd name="T31" fmla="*/ 193 h 321"/>
                <a:gd name="T32" fmla="*/ 187 w 268"/>
                <a:gd name="T33" fmla="*/ 320 h 321"/>
                <a:gd name="T34" fmla="*/ 182 w 268"/>
                <a:gd name="T35" fmla="*/ 321 h 321"/>
                <a:gd name="T36" fmla="*/ 118 w 268"/>
                <a:gd name="T37" fmla="*/ 151 h 321"/>
                <a:gd name="T38" fmla="*/ 134 w 268"/>
                <a:gd name="T39" fmla="*/ 151 h 321"/>
                <a:gd name="T40" fmla="*/ 225 w 268"/>
                <a:gd name="T41" fmla="*/ 247 h 321"/>
                <a:gd name="T42" fmla="*/ 222 w 268"/>
                <a:gd name="T43" fmla="*/ 266 h 321"/>
                <a:gd name="T44" fmla="*/ 246 w 268"/>
                <a:gd name="T45" fmla="*/ 193 h 321"/>
                <a:gd name="T46" fmla="*/ 129 w 268"/>
                <a:gd name="T47" fmla="*/ 76 h 321"/>
                <a:gd name="T48" fmla="*/ 118 w 268"/>
                <a:gd name="T49" fmla="*/ 76 h 321"/>
                <a:gd name="T50" fmla="*/ 108 w 268"/>
                <a:gd name="T51" fmla="*/ 65 h 321"/>
                <a:gd name="T52" fmla="*/ 108 w 268"/>
                <a:gd name="T53" fmla="*/ 38 h 321"/>
                <a:gd name="T54" fmla="*/ 27 w 268"/>
                <a:gd name="T55" fmla="*/ 119 h 321"/>
                <a:gd name="T56" fmla="*/ 108 w 268"/>
                <a:gd name="T57" fmla="*/ 200 h 321"/>
                <a:gd name="T58" fmla="*/ 108 w 268"/>
                <a:gd name="T59" fmla="*/ 161 h 321"/>
                <a:gd name="T60" fmla="*/ 118 w 268"/>
                <a:gd name="T61" fmla="*/ 15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321">
                  <a:moveTo>
                    <a:pt x="182" y="321"/>
                  </a:moveTo>
                  <a:cubicBezTo>
                    <a:pt x="179" y="321"/>
                    <a:pt x="175" y="320"/>
                    <a:pt x="173" y="316"/>
                  </a:cubicBezTo>
                  <a:cubicBezTo>
                    <a:pt x="170" y="312"/>
                    <a:pt x="171" y="306"/>
                    <a:pt x="176" y="302"/>
                  </a:cubicBezTo>
                  <a:cubicBezTo>
                    <a:pt x="193" y="288"/>
                    <a:pt x="203" y="267"/>
                    <a:pt x="203" y="247"/>
                  </a:cubicBezTo>
                  <a:cubicBezTo>
                    <a:pt x="203" y="210"/>
                    <a:pt x="182" y="172"/>
                    <a:pt x="134" y="172"/>
                  </a:cubicBezTo>
                  <a:cubicBezTo>
                    <a:pt x="129" y="172"/>
                    <a:pt x="129" y="172"/>
                    <a:pt x="129" y="172"/>
                  </a:cubicBezTo>
                  <a:cubicBezTo>
                    <a:pt x="129" y="225"/>
                    <a:pt x="129" y="225"/>
                    <a:pt x="129" y="225"/>
                  </a:cubicBezTo>
                  <a:cubicBezTo>
                    <a:pt x="129" y="230"/>
                    <a:pt x="126" y="234"/>
                    <a:pt x="122" y="235"/>
                  </a:cubicBezTo>
                  <a:cubicBezTo>
                    <a:pt x="118" y="237"/>
                    <a:pt x="114" y="236"/>
                    <a:pt x="111" y="233"/>
                  </a:cubicBezTo>
                  <a:cubicBezTo>
                    <a:pt x="4" y="126"/>
                    <a:pt x="4" y="126"/>
                    <a:pt x="4" y="126"/>
                  </a:cubicBezTo>
                  <a:cubicBezTo>
                    <a:pt x="0" y="122"/>
                    <a:pt x="0" y="115"/>
                    <a:pt x="4" y="111"/>
                  </a:cubicBezTo>
                  <a:cubicBezTo>
                    <a:pt x="111" y="4"/>
                    <a:pt x="111" y="4"/>
                    <a:pt x="111" y="4"/>
                  </a:cubicBezTo>
                  <a:cubicBezTo>
                    <a:pt x="114" y="1"/>
                    <a:pt x="118" y="0"/>
                    <a:pt x="122" y="2"/>
                  </a:cubicBezTo>
                  <a:cubicBezTo>
                    <a:pt x="126" y="4"/>
                    <a:pt x="129" y="8"/>
                    <a:pt x="129" y="12"/>
                  </a:cubicBezTo>
                  <a:cubicBezTo>
                    <a:pt x="129" y="55"/>
                    <a:pt x="129" y="55"/>
                    <a:pt x="129" y="55"/>
                  </a:cubicBezTo>
                  <a:cubicBezTo>
                    <a:pt x="205" y="55"/>
                    <a:pt x="268" y="117"/>
                    <a:pt x="268" y="193"/>
                  </a:cubicBezTo>
                  <a:cubicBezTo>
                    <a:pt x="268" y="249"/>
                    <a:pt x="236" y="299"/>
                    <a:pt x="187" y="320"/>
                  </a:cubicBezTo>
                  <a:cubicBezTo>
                    <a:pt x="185" y="321"/>
                    <a:pt x="184" y="321"/>
                    <a:pt x="182" y="321"/>
                  </a:cubicBezTo>
                  <a:close/>
                  <a:moveTo>
                    <a:pt x="118" y="151"/>
                  </a:moveTo>
                  <a:cubicBezTo>
                    <a:pt x="134" y="151"/>
                    <a:pt x="134" y="151"/>
                    <a:pt x="134" y="151"/>
                  </a:cubicBezTo>
                  <a:cubicBezTo>
                    <a:pt x="187" y="151"/>
                    <a:pt x="225" y="190"/>
                    <a:pt x="225" y="247"/>
                  </a:cubicBezTo>
                  <a:cubicBezTo>
                    <a:pt x="225" y="253"/>
                    <a:pt x="224" y="260"/>
                    <a:pt x="222" y="266"/>
                  </a:cubicBezTo>
                  <a:cubicBezTo>
                    <a:pt x="238" y="246"/>
                    <a:pt x="246" y="221"/>
                    <a:pt x="246" y="193"/>
                  </a:cubicBezTo>
                  <a:cubicBezTo>
                    <a:pt x="246" y="129"/>
                    <a:pt x="194" y="76"/>
                    <a:pt x="129" y="76"/>
                  </a:cubicBezTo>
                  <a:cubicBezTo>
                    <a:pt x="118" y="76"/>
                    <a:pt x="118" y="76"/>
                    <a:pt x="118" y="76"/>
                  </a:cubicBezTo>
                  <a:cubicBezTo>
                    <a:pt x="112" y="76"/>
                    <a:pt x="108" y="71"/>
                    <a:pt x="108" y="65"/>
                  </a:cubicBezTo>
                  <a:cubicBezTo>
                    <a:pt x="108" y="38"/>
                    <a:pt x="108" y="38"/>
                    <a:pt x="108" y="38"/>
                  </a:cubicBezTo>
                  <a:cubicBezTo>
                    <a:pt x="27" y="119"/>
                    <a:pt x="27" y="119"/>
                    <a:pt x="27" y="119"/>
                  </a:cubicBezTo>
                  <a:cubicBezTo>
                    <a:pt x="108" y="200"/>
                    <a:pt x="108" y="200"/>
                    <a:pt x="108" y="200"/>
                  </a:cubicBezTo>
                  <a:cubicBezTo>
                    <a:pt x="108" y="161"/>
                    <a:pt x="108" y="161"/>
                    <a:pt x="108" y="161"/>
                  </a:cubicBezTo>
                  <a:cubicBezTo>
                    <a:pt x="108" y="155"/>
                    <a:pt x="112" y="151"/>
                    <a:pt x="118" y="1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9" name="Freeform 743"/>
            <p:cNvSpPr>
              <a:spLocks noEditPoints="1"/>
            </p:cNvSpPr>
            <p:nvPr/>
          </p:nvSpPr>
          <p:spPr bwMode="auto">
            <a:xfrm>
              <a:off x="1163" y="270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0" name="Freeform 747"/>
          <p:cNvSpPr>
            <a:spLocks noChangeAspect="1" noEditPoints="1"/>
          </p:cNvSpPr>
          <p:nvPr/>
        </p:nvSpPr>
        <p:spPr bwMode="auto">
          <a:xfrm>
            <a:off x="3770941" y="5843297"/>
            <a:ext cx="369021" cy="370106"/>
          </a:xfrm>
          <a:custGeom>
            <a:avLst/>
            <a:gdLst>
              <a:gd name="T0" fmla="*/ 373 w 512"/>
              <a:gd name="T1" fmla="*/ 288 h 512"/>
              <a:gd name="T2" fmla="*/ 349 w 512"/>
              <a:gd name="T3" fmla="*/ 361 h 512"/>
              <a:gd name="T4" fmla="*/ 352 w 512"/>
              <a:gd name="T5" fmla="*/ 342 h 512"/>
              <a:gd name="T6" fmla="*/ 261 w 512"/>
              <a:gd name="T7" fmla="*/ 246 h 512"/>
              <a:gd name="T8" fmla="*/ 245 w 512"/>
              <a:gd name="T9" fmla="*/ 246 h 512"/>
              <a:gd name="T10" fmla="*/ 235 w 512"/>
              <a:gd name="T11" fmla="*/ 256 h 512"/>
              <a:gd name="T12" fmla="*/ 235 w 512"/>
              <a:gd name="T13" fmla="*/ 295 h 512"/>
              <a:gd name="T14" fmla="*/ 154 w 512"/>
              <a:gd name="T15" fmla="*/ 214 h 512"/>
              <a:gd name="T16" fmla="*/ 235 w 512"/>
              <a:gd name="T17" fmla="*/ 133 h 512"/>
              <a:gd name="T18" fmla="*/ 235 w 512"/>
              <a:gd name="T19" fmla="*/ 160 h 512"/>
              <a:gd name="T20" fmla="*/ 245 w 512"/>
              <a:gd name="T21" fmla="*/ 171 h 512"/>
              <a:gd name="T22" fmla="*/ 256 w 512"/>
              <a:gd name="T23" fmla="*/ 171 h 512"/>
              <a:gd name="T24" fmla="*/ 373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5 w 512"/>
              <a:gd name="T37" fmla="*/ 288 h 512"/>
              <a:gd name="T38" fmla="*/ 256 w 512"/>
              <a:gd name="T39" fmla="*/ 150 h 512"/>
              <a:gd name="T40" fmla="*/ 256 w 512"/>
              <a:gd name="T41" fmla="*/ 107 h 512"/>
              <a:gd name="T42" fmla="*/ 249 w 512"/>
              <a:gd name="T43" fmla="*/ 97 h 512"/>
              <a:gd name="T44" fmla="*/ 238 w 512"/>
              <a:gd name="T45" fmla="*/ 99 h 512"/>
              <a:gd name="T46" fmla="*/ 131 w 512"/>
              <a:gd name="T47" fmla="*/ 206 h 512"/>
              <a:gd name="T48" fmla="*/ 131 w 512"/>
              <a:gd name="T49" fmla="*/ 221 h 512"/>
              <a:gd name="T50" fmla="*/ 238 w 512"/>
              <a:gd name="T51" fmla="*/ 328 h 512"/>
              <a:gd name="T52" fmla="*/ 249 w 512"/>
              <a:gd name="T53" fmla="*/ 330 h 512"/>
              <a:gd name="T54" fmla="*/ 256 w 512"/>
              <a:gd name="T55" fmla="*/ 320 h 512"/>
              <a:gd name="T56" fmla="*/ 256 w 512"/>
              <a:gd name="T57" fmla="*/ 267 h 512"/>
              <a:gd name="T58" fmla="*/ 261 w 512"/>
              <a:gd name="T59" fmla="*/ 267 h 512"/>
              <a:gd name="T60" fmla="*/ 330 w 512"/>
              <a:gd name="T61" fmla="*/ 342 h 512"/>
              <a:gd name="T62" fmla="*/ 303 w 512"/>
              <a:gd name="T63" fmla="*/ 397 h 512"/>
              <a:gd name="T64" fmla="*/ 300 w 512"/>
              <a:gd name="T65" fmla="*/ 411 h 512"/>
              <a:gd name="T66" fmla="*/ 309 w 512"/>
              <a:gd name="T67" fmla="*/ 416 h 512"/>
              <a:gd name="T68" fmla="*/ 314 w 512"/>
              <a:gd name="T69" fmla="*/ 415 h 512"/>
              <a:gd name="T70" fmla="*/ 395 w 512"/>
              <a:gd name="T7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73" y="288"/>
                </a:moveTo>
                <a:cubicBezTo>
                  <a:pt x="373" y="316"/>
                  <a:pt x="365" y="341"/>
                  <a:pt x="349" y="361"/>
                </a:cubicBezTo>
                <a:cubicBezTo>
                  <a:pt x="351" y="355"/>
                  <a:pt x="352" y="348"/>
                  <a:pt x="352" y="342"/>
                </a:cubicBezTo>
                <a:cubicBezTo>
                  <a:pt x="352" y="285"/>
                  <a:pt x="314" y="246"/>
                  <a:pt x="261" y="246"/>
                </a:cubicBezTo>
                <a:cubicBezTo>
                  <a:pt x="245" y="246"/>
                  <a:pt x="245" y="246"/>
                  <a:pt x="245" y="246"/>
                </a:cubicBezTo>
                <a:cubicBezTo>
                  <a:pt x="239" y="246"/>
                  <a:pt x="235" y="250"/>
                  <a:pt x="235" y="256"/>
                </a:cubicBezTo>
                <a:cubicBezTo>
                  <a:pt x="235" y="295"/>
                  <a:pt x="235" y="295"/>
                  <a:pt x="235" y="295"/>
                </a:cubicBezTo>
                <a:cubicBezTo>
                  <a:pt x="154" y="214"/>
                  <a:pt x="154" y="214"/>
                  <a:pt x="154" y="214"/>
                </a:cubicBezTo>
                <a:cubicBezTo>
                  <a:pt x="235" y="133"/>
                  <a:pt x="235" y="133"/>
                  <a:pt x="235" y="133"/>
                </a:cubicBezTo>
                <a:cubicBezTo>
                  <a:pt x="235" y="160"/>
                  <a:pt x="235" y="160"/>
                  <a:pt x="235" y="160"/>
                </a:cubicBezTo>
                <a:cubicBezTo>
                  <a:pt x="235" y="166"/>
                  <a:pt x="239" y="171"/>
                  <a:pt x="245" y="171"/>
                </a:cubicBezTo>
                <a:cubicBezTo>
                  <a:pt x="256" y="171"/>
                  <a:pt x="256" y="171"/>
                  <a:pt x="256" y="171"/>
                </a:cubicBezTo>
                <a:cubicBezTo>
                  <a:pt x="321" y="171"/>
                  <a:pt x="373" y="224"/>
                  <a:pt x="373"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5" y="288"/>
                </a:moveTo>
                <a:cubicBezTo>
                  <a:pt x="395" y="212"/>
                  <a:pt x="332" y="150"/>
                  <a:pt x="256" y="150"/>
                </a:cubicBezTo>
                <a:cubicBezTo>
                  <a:pt x="256" y="107"/>
                  <a:pt x="256" y="107"/>
                  <a:pt x="256" y="107"/>
                </a:cubicBezTo>
                <a:cubicBezTo>
                  <a:pt x="256" y="103"/>
                  <a:pt x="253" y="99"/>
                  <a:pt x="249" y="97"/>
                </a:cubicBezTo>
                <a:cubicBezTo>
                  <a:pt x="245" y="95"/>
                  <a:pt x="241" y="96"/>
                  <a:pt x="238" y="99"/>
                </a:cubicBezTo>
                <a:cubicBezTo>
                  <a:pt x="131" y="206"/>
                  <a:pt x="131" y="206"/>
                  <a:pt x="131" y="206"/>
                </a:cubicBezTo>
                <a:cubicBezTo>
                  <a:pt x="127" y="210"/>
                  <a:pt x="127" y="217"/>
                  <a:pt x="131" y="221"/>
                </a:cubicBezTo>
                <a:cubicBezTo>
                  <a:pt x="238" y="328"/>
                  <a:pt x="238" y="328"/>
                  <a:pt x="238" y="328"/>
                </a:cubicBezTo>
                <a:cubicBezTo>
                  <a:pt x="241" y="331"/>
                  <a:pt x="245" y="332"/>
                  <a:pt x="249" y="330"/>
                </a:cubicBezTo>
                <a:cubicBezTo>
                  <a:pt x="253" y="329"/>
                  <a:pt x="256" y="325"/>
                  <a:pt x="256" y="320"/>
                </a:cubicBezTo>
                <a:cubicBezTo>
                  <a:pt x="256" y="267"/>
                  <a:pt x="256" y="267"/>
                  <a:pt x="256" y="267"/>
                </a:cubicBezTo>
                <a:cubicBezTo>
                  <a:pt x="261" y="267"/>
                  <a:pt x="261" y="267"/>
                  <a:pt x="261" y="267"/>
                </a:cubicBezTo>
                <a:cubicBezTo>
                  <a:pt x="309" y="267"/>
                  <a:pt x="330" y="305"/>
                  <a:pt x="330" y="342"/>
                </a:cubicBezTo>
                <a:cubicBezTo>
                  <a:pt x="330" y="362"/>
                  <a:pt x="320" y="383"/>
                  <a:pt x="303" y="397"/>
                </a:cubicBezTo>
                <a:cubicBezTo>
                  <a:pt x="298" y="401"/>
                  <a:pt x="297" y="407"/>
                  <a:pt x="300" y="411"/>
                </a:cubicBezTo>
                <a:cubicBezTo>
                  <a:pt x="302" y="415"/>
                  <a:pt x="306" y="416"/>
                  <a:pt x="309" y="416"/>
                </a:cubicBezTo>
                <a:cubicBezTo>
                  <a:pt x="311" y="416"/>
                  <a:pt x="312" y="416"/>
                  <a:pt x="314" y="415"/>
                </a:cubicBezTo>
                <a:cubicBezTo>
                  <a:pt x="363" y="394"/>
                  <a:pt x="395" y="344"/>
                  <a:pt x="395" y="28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1" name="Group 750"/>
          <p:cNvGrpSpPr>
            <a:grpSpLocks noChangeAspect="1"/>
          </p:cNvGrpSpPr>
          <p:nvPr/>
        </p:nvGrpSpPr>
        <p:grpSpPr bwMode="auto">
          <a:xfrm>
            <a:off x="3349424" y="5843297"/>
            <a:ext cx="370106" cy="369021"/>
            <a:chOff x="388" y="2730"/>
            <a:chExt cx="341" cy="340"/>
          </a:xfrm>
          <a:solidFill>
            <a:schemeClr val="accent2"/>
          </a:solidFill>
        </p:grpSpPr>
        <p:sp>
          <p:nvSpPr>
            <p:cNvPr id="782" name="Freeform 751"/>
            <p:cNvSpPr>
              <a:spLocks noEditPoints="1"/>
            </p:cNvSpPr>
            <p:nvPr/>
          </p:nvSpPr>
          <p:spPr bwMode="auto">
            <a:xfrm>
              <a:off x="451" y="2793"/>
              <a:ext cx="214" cy="213"/>
            </a:xfrm>
            <a:custGeom>
              <a:avLst/>
              <a:gdLst>
                <a:gd name="T0" fmla="*/ 236 w 321"/>
                <a:gd name="T1" fmla="*/ 321 h 321"/>
                <a:gd name="T2" fmla="*/ 227 w 321"/>
                <a:gd name="T3" fmla="*/ 316 h 321"/>
                <a:gd name="T4" fmla="*/ 229 w 321"/>
                <a:gd name="T5" fmla="*/ 302 h 321"/>
                <a:gd name="T6" fmla="*/ 257 w 321"/>
                <a:gd name="T7" fmla="*/ 247 h 321"/>
                <a:gd name="T8" fmla="*/ 187 w 321"/>
                <a:gd name="T9" fmla="*/ 172 h 321"/>
                <a:gd name="T10" fmla="*/ 182 w 321"/>
                <a:gd name="T11" fmla="*/ 172 h 321"/>
                <a:gd name="T12" fmla="*/ 182 w 321"/>
                <a:gd name="T13" fmla="*/ 225 h 321"/>
                <a:gd name="T14" fmla="*/ 176 w 321"/>
                <a:gd name="T15" fmla="*/ 235 h 321"/>
                <a:gd name="T16" fmla="*/ 164 w 321"/>
                <a:gd name="T17" fmla="*/ 233 h 321"/>
                <a:gd name="T18" fmla="*/ 57 w 321"/>
                <a:gd name="T19" fmla="*/ 126 h 321"/>
                <a:gd name="T20" fmla="*/ 57 w 321"/>
                <a:gd name="T21" fmla="*/ 111 h 321"/>
                <a:gd name="T22" fmla="*/ 164 w 321"/>
                <a:gd name="T23" fmla="*/ 4 h 321"/>
                <a:gd name="T24" fmla="*/ 176 w 321"/>
                <a:gd name="T25" fmla="*/ 2 h 321"/>
                <a:gd name="T26" fmla="*/ 182 w 321"/>
                <a:gd name="T27" fmla="*/ 12 h 321"/>
                <a:gd name="T28" fmla="*/ 182 w 321"/>
                <a:gd name="T29" fmla="*/ 55 h 321"/>
                <a:gd name="T30" fmla="*/ 321 w 321"/>
                <a:gd name="T31" fmla="*/ 193 h 321"/>
                <a:gd name="T32" fmla="*/ 240 w 321"/>
                <a:gd name="T33" fmla="*/ 320 h 321"/>
                <a:gd name="T34" fmla="*/ 236 w 321"/>
                <a:gd name="T35" fmla="*/ 321 h 321"/>
                <a:gd name="T36" fmla="*/ 172 w 321"/>
                <a:gd name="T37" fmla="*/ 151 h 321"/>
                <a:gd name="T38" fmla="*/ 187 w 321"/>
                <a:gd name="T39" fmla="*/ 151 h 321"/>
                <a:gd name="T40" fmla="*/ 278 w 321"/>
                <a:gd name="T41" fmla="*/ 247 h 321"/>
                <a:gd name="T42" fmla="*/ 276 w 321"/>
                <a:gd name="T43" fmla="*/ 266 h 321"/>
                <a:gd name="T44" fmla="*/ 300 w 321"/>
                <a:gd name="T45" fmla="*/ 193 h 321"/>
                <a:gd name="T46" fmla="*/ 182 w 321"/>
                <a:gd name="T47" fmla="*/ 76 h 321"/>
                <a:gd name="T48" fmla="*/ 172 w 321"/>
                <a:gd name="T49" fmla="*/ 76 h 321"/>
                <a:gd name="T50" fmla="*/ 161 w 321"/>
                <a:gd name="T51" fmla="*/ 65 h 321"/>
                <a:gd name="T52" fmla="*/ 161 w 321"/>
                <a:gd name="T53" fmla="*/ 38 h 321"/>
                <a:gd name="T54" fmla="*/ 80 w 321"/>
                <a:gd name="T55" fmla="*/ 119 h 321"/>
                <a:gd name="T56" fmla="*/ 161 w 321"/>
                <a:gd name="T57" fmla="*/ 200 h 321"/>
                <a:gd name="T58" fmla="*/ 161 w 321"/>
                <a:gd name="T59" fmla="*/ 161 h 321"/>
                <a:gd name="T60" fmla="*/ 172 w 321"/>
                <a:gd name="T61" fmla="*/ 151 h 321"/>
                <a:gd name="T62" fmla="*/ 126 w 321"/>
                <a:gd name="T63" fmla="*/ 233 h 321"/>
                <a:gd name="T64" fmla="*/ 126 w 321"/>
                <a:gd name="T65" fmla="*/ 218 h 321"/>
                <a:gd name="T66" fmla="*/ 27 w 321"/>
                <a:gd name="T67" fmla="*/ 119 h 321"/>
                <a:gd name="T68" fmla="*/ 126 w 321"/>
                <a:gd name="T69" fmla="*/ 20 h 321"/>
                <a:gd name="T70" fmla="*/ 126 w 321"/>
                <a:gd name="T71" fmla="*/ 4 h 321"/>
                <a:gd name="T72" fmla="*/ 111 w 321"/>
                <a:gd name="T73" fmla="*/ 4 h 321"/>
                <a:gd name="T74" fmla="*/ 4 w 321"/>
                <a:gd name="T75" fmla="*/ 111 h 321"/>
                <a:gd name="T76" fmla="*/ 4 w 321"/>
                <a:gd name="T77" fmla="*/ 126 h 321"/>
                <a:gd name="T78" fmla="*/ 111 w 321"/>
                <a:gd name="T79" fmla="*/ 233 h 321"/>
                <a:gd name="T80" fmla="*/ 118 w 321"/>
                <a:gd name="T81" fmla="*/ 236 h 321"/>
                <a:gd name="T82" fmla="*/ 126 w 321"/>
                <a:gd name="T83" fmla="*/ 2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1" h="321">
                  <a:moveTo>
                    <a:pt x="236" y="321"/>
                  </a:moveTo>
                  <a:cubicBezTo>
                    <a:pt x="232" y="321"/>
                    <a:pt x="229" y="320"/>
                    <a:pt x="227" y="316"/>
                  </a:cubicBezTo>
                  <a:cubicBezTo>
                    <a:pt x="224" y="312"/>
                    <a:pt x="225" y="306"/>
                    <a:pt x="229" y="302"/>
                  </a:cubicBezTo>
                  <a:cubicBezTo>
                    <a:pt x="247" y="288"/>
                    <a:pt x="257" y="267"/>
                    <a:pt x="257" y="247"/>
                  </a:cubicBezTo>
                  <a:cubicBezTo>
                    <a:pt x="257" y="210"/>
                    <a:pt x="235" y="172"/>
                    <a:pt x="187" y="172"/>
                  </a:cubicBezTo>
                  <a:cubicBezTo>
                    <a:pt x="182" y="172"/>
                    <a:pt x="182" y="172"/>
                    <a:pt x="182" y="172"/>
                  </a:cubicBezTo>
                  <a:cubicBezTo>
                    <a:pt x="182" y="225"/>
                    <a:pt x="182" y="225"/>
                    <a:pt x="182" y="225"/>
                  </a:cubicBezTo>
                  <a:cubicBezTo>
                    <a:pt x="182" y="230"/>
                    <a:pt x="180" y="234"/>
                    <a:pt x="176" y="235"/>
                  </a:cubicBezTo>
                  <a:cubicBezTo>
                    <a:pt x="172" y="237"/>
                    <a:pt x="167" y="236"/>
                    <a:pt x="164" y="233"/>
                  </a:cubicBezTo>
                  <a:cubicBezTo>
                    <a:pt x="57" y="126"/>
                    <a:pt x="57" y="126"/>
                    <a:pt x="57" y="126"/>
                  </a:cubicBezTo>
                  <a:cubicBezTo>
                    <a:pt x="53" y="122"/>
                    <a:pt x="53" y="115"/>
                    <a:pt x="57" y="111"/>
                  </a:cubicBezTo>
                  <a:cubicBezTo>
                    <a:pt x="164" y="4"/>
                    <a:pt x="164" y="4"/>
                    <a:pt x="164" y="4"/>
                  </a:cubicBezTo>
                  <a:cubicBezTo>
                    <a:pt x="167" y="1"/>
                    <a:pt x="172" y="0"/>
                    <a:pt x="176" y="2"/>
                  </a:cubicBezTo>
                  <a:cubicBezTo>
                    <a:pt x="180" y="4"/>
                    <a:pt x="182" y="8"/>
                    <a:pt x="182" y="12"/>
                  </a:cubicBezTo>
                  <a:cubicBezTo>
                    <a:pt x="182" y="55"/>
                    <a:pt x="182" y="55"/>
                    <a:pt x="182" y="55"/>
                  </a:cubicBezTo>
                  <a:cubicBezTo>
                    <a:pt x="259" y="55"/>
                    <a:pt x="321" y="117"/>
                    <a:pt x="321" y="193"/>
                  </a:cubicBezTo>
                  <a:cubicBezTo>
                    <a:pt x="321" y="249"/>
                    <a:pt x="289" y="299"/>
                    <a:pt x="240" y="320"/>
                  </a:cubicBezTo>
                  <a:cubicBezTo>
                    <a:pt x="239" y="321"/>
                    <a:pt x="237" y="321"/>
                    <a:pt x="236" y="321"/>
                  </a:cubicBezTo>
                  <a:close/>
                  <a:moveTo>
                    <a:pt x="172" y="151"/>
                  </a:moveTo>
                  <a:cubicBezTo>
                    <a:pt x="187" y="151"/>
                    <a:pt x="187" y="151"/>
                    <a:pt x="187" y="151"/>
                  </a:cubicBezTo>
                  <a:cubicBezTo>
                    <a:pt x="241" y="151"/>
                    <a:pt x="278" y="190"/>
                    <a:pt x="278" y="247"/>
                  </a:cubicBezTo>
                  <a:cubicBezTo>
                    <a:pt x="278" y="253"/>
                    <a:pt x="277" y="260"/>
                    <a:pt x="276" y="266"/>
                  </a:cubicBezTo>
                  <a:cubicBezTo>
                    <a:pt x="291" y="246"/>
                    <a:pt x="300" y="221"/>
                    <a:pt x="300" y="193"/>
                  </a:cubicBezTo>
                  <a:cubicBezTo>
                    <a:pt x="300" y="129"/>
                    <a:pt x="247" y="76"/>
                    <a:pt x="182" y="76"/>
                  </a:cubicBezTo>
                  <a:cubicBezTo>
                    <a:pt x="172" y="76"/>
                    <a:pt x="172" y="76"/>
                    <a:pt x="172" y="76"/>
                  </a:cubicBezTo>
                  <a:cubicBezTo>
                    <a:pt x="166" y="76"/>
                    <a:pt x="161" y="71"/>
                    <a:pt x="161" y="65"/>
                  </a:cubicBezTo>
                  <a:cubicBezTo>
                    <a:pt x="161" y="38"/>
                    <a:pt x="161" y="38"/>
                    <a:pt x="161" y="38"/>
                  </a:cubicBezTo>
                  <a:cubicBezTo>
                    <a:pt x="80" y="119"/>
                    <a:pt x="80" y="119"/>
                    <a:pt x="80" y="119"/>
                  </a:cubicBezTo>
                  <a:cubicBezTo>
                    <a:pt x="161" y="200"/>
                    <a:pt x="161" y="200"/>
                    <a:pt x="161" y="200"/>
                  </a:cubicBezTo>
                  <a:cubicBezTo>
                    <a:pt x="161" y="161"/>
                    <a:pt x="161" y="161"/>
                    <a:pt x="161" y="161"/>
                  </a:cubicBezTo>
                  <a:cubicBezTo>
                    <a:pt x="161" y="155"/>
                    <a:pt x="166" y="151"/>
                    <a:pt x="172" y="151"/>
                  </a:cubicBezTo>
                  <a:close/>
                  <a:moveTo>
                    <a:pt x="126" y="233"/>
                  </a:moveTo>
                  <a:cubicBezTo>
                    <a:pt x="130" y="229"/>
                    <a:pt x="130" y="222"/>
                    <a:pt x="126" y="218"/>
                  </a:cubicBezTo>
                  <a:cubicBezTo>
                    <a:pt x="27" y="119"/>
                    <a:pt x="27" y="119"/>
                    <a:pt x="27" y="119"/>
                  </a:cubicBezTo>
                  <a:cubicBezTo>
                    <a:pt x="126" y="20"/>
                    <a:pt x="126" y="20"/>
                    <a:pt x="126" y="20"/>
                  </a:cubicBezTo>
                  <a:cubicBezTo>
                    <a:pt x="130" y="15"/>
                    <a:pt x="130" y="9"/>
                    <a:pt x="126" y="4"/>
                  </a:cubicBezTo>
                  <a:cubicBezTo>
                    <a:pt x="122" y="0"/>
                    <a:pt x="115" y="0"/>
                    <a:pt x="111" y="4"/>
                  </a:cubicBezTo>
                  <a:cubicBezTo>
                    <a:pt x="4" y="111"/>
                    <a:pt x="4" y="111"/>
                    <a:pt x="4" y="111"/>
                  </a:cubicBezTo>
                  <a:cubicBezTo>
                    <a:pt x="0" y="115"/>
                    <a:pt x="0" y="122"/>
                    <a:pt x="4" y="126"/>
                  </a:cubicBezTo>
                  <a:cubicBezTo>
                    <a:pt x="111" y="233"/>
                    <a:pt x="111" y="233"/>
                    <a:pt x="111" y="233"/>
                  </a:cubicBezTo>
                  <a:cubicBezTo>
                    <a:pt x="113" y="235"/>
                    <a:pt x="116" y="236"/>
                    <a:pt x="118" y="236"/>
                  </a:cubicBezTo>
                  <a:cubicBezTo>
                    <a:pt x="121" y="236"/>
                    <a:pt x="124" y="235"/>
                    <a:pt x="126" y="2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3" name="Freeform 752"/>
            <p:cNvSpPr>
              <a:spLocks noEditPoints="1"/>
            </p:cNvSpPr>
            <p:nvPr/>
          </p:nvSpPr>
          <p:spPr bwMode="auto">
            <a:xfrm>
              <a:off x="388" y="2730"/>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84" name="Freeform 756"/>
          <p:cNvSpPr>
            <a:spLocks noChangeAspect="1" noEditPoints="1"/>
          </p:cNvSpPr>
          <p:nvPr/>
        </p:nvSpPr>
        <p:spPr bwMode="auto">
          <a:xfrm>
            <a:off x="2928992" y="5843297"/>
            <a:ext cx="369021" cy="369021"/>
          </a:xfrm>
          <a:custGeom>
            <a:avLst/>
            <a:gdLst>
              <a:gd name="T0" fmla="*/ 395 w 512"/>
              <a:gd name="T1" fmla="*/ 288 h 512"/>
              <a:gd name="T2" fmla="*/ 371 w 512"/>
              <a:gd name="T3" fmla="*/ 361 h 512"/>
              <a:gd name="T4" fmla="*/ 373 w 512"/>
              <a:gd name="T5" fmla="*/ 342 h 512"/>
              <a:gd name="T6" fmla="*/ 282 w 512"/>
              <a:gd name="T7" fmla="*/ 246 h 512"/>
              <a:gd name="T8" fmla="*/ 267 w 512"/>
              <a:gd name="T9" fmla="*/ 246 h 512"/>
              <a:gd name="T10" fmla="*/ 256 w 512"/>
              <a:gd name="T11" fmla="*/ 256 h 512"/>
              <a:gd name="T12" fmla="*/ 256 w 512"/>
              <a:gd name="T13" fmla="*/ 295 h 512"/>
              <a:gd name="T14" fmla="*/ 175 w 512"/>
              <a:gd name="T15" fmla="*/ 214 h 512"/>
              <a:gd name="T16" fmla="*/ 256 w 512"/>
              <a:gd name="T17" fmla="*/ 133 h 512"/>
              <a:gd name="T18" fmla="*/ 256 w 512"/>
              <a:gd name="T19" fmla="*/ 160 h 512"/>
              <a:gd name="T20" fmla="*/ 267 w 512"/>
              <a:gd name="T21" fmla="*/ 171 h 512"/>
              <a:gd name="T22" fmla="*/ 277 w 512"/>
              <a:gd name="T23" fmla="*/ 171 h 512"/>
              <a:gd name="T24" fmla="*/ 395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221 w 512"/>
              <a:gd name="T37" fmla="*/ 313 h 512"/>
              <a:gd name="T38" fmla="*/ 122 w 512"/>
              <a:gd name="T39" fmla="*/ 214 h 512"/>
              <a:gd name="T40" fmla="*/ 221 w 512"/>
              <a:gd name="T41" fmla="*/ 115 h 512"/>
              <a:gd name="T42" fmla="*/ 221 w 512"/>
              <a:gd name="T43" fmla="*/ 99 h 512"/>
              <a:gd name="T44" fmla="*/ 206 w 512"/>
              <a:gd name="T45" fmla="*/ 99 h 512"/>
              <a:gd name="T46" fmla="*/ 99 w 512"/>
              <a:gd name="T47" fmla="*/ 206 h 512"/>
              <a:gd name="T48" fmla="*/ 99 w 512"/>
              <a:gd name="T49" fmla="*/ 221 h 512"/>
              <a:gd name="T50" fmla="*/ 206 w 512"/>
              <a:gd name="T51" fmla="*/ 328 h 512"/>
              <a:gd name="T52" fmla="*/ 213 w 512"/>
              <a:gd name="T53" fmla="*/ 331 h 512"/>
              <a:gd name="T54" fmla="*/ 221 w 512"/>
              <a:gd name="T55" fmla="*/ 328 h 512"/>
              <a:gd name="T56" fmla="*/ 221 w 512"/>
              <a:gd name="T57" fmla="*/ 313 h 512"/>
              <a:gd name="T58" fmla="*/ 416 w 512"/>
              <a:gd name="T59" fmla="*/ 288 h 512"/>
              <a:gd name="T60" fmla="*/ 277 w 512"/>
              <a:gd name="T61" fmla="*/ 150 h 512"/>
              <a:gd name="T62" fmla="*/ 277 w 512"/>
              <a:gd name="T63" fmla="*/ 107 h 512"/>
              <a:gd name="T64" fmla="*/ 271 w 512"/>
              <a:gd name="T65" fmla="*/ 97 h 512"/>
              <a:gd name="T66" fmla="*/ 259 w 512"/>
              <a:gd name="T67" fmla="*/ 99 h 512"/>
              <a:gd name="T68" fmla="*/ 152 w 512"/>
              <a:gd name="T69" fmla="*/ 206 h 512"/>
              <a:gd name="T70" fmla="*/ 152 w 512"/>
              <a:gd name="T71" fmla="*/ 221 h 512"/>
              <a:gd name="T72" fmla="*/ 259 w 512"/>
              <a:gd name="T73" fmla="*/ 328 h 512"/>
              <a:gd name="T74" fmla="*/ 271 w 512"/>
              <a:gd name="T75" fmla="*/ 330 h 512"/>
              <a:gd name="T76" fmla="*/ 277 w 512"/>
              <a:gd name="T77" fmla="*/ 320 h 512"/>
              <a:gd name="T78" fmla="*/ 277 w 512"/>
              <a:gd name="T79" fmla="*/ 267 h 512"/>
              <a:gd name="T80" fmla="*/ 282 w 512"/>
              <a:gd name="T81" fmla="*/ 267 h 512"/>
              <a:gd name="T82" fmla="*/ 352 w 512"/>
              <a:gd name="T83" fmla="*/ 342 h 512"/>
              <a:gd name="T84" fmla="*/ 324 w 512"/>
              <a:gd name="T85" fmla="*/ 397 h 512"/>
              <a:gd name="T86" fmla="*/ 322 w 512"/>
              <a:gd name="T87" fmla="*/ 411 h 512"/>
              <a:gd name="T88" fmla="*/ 331 w 512"/>
              <a:gd name="T89" fmla="*/ 416 h 512"/>
              <a:gd name="T90" fmla="*/ 335 w 512"/>
              <a:gd name="T91" fmla="*/ 415 h 512"/>
              <a:gd name="T92" fmla="*/ 416 w 512"/>
              <a:gd name="T9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395" y="288"/>
                </a:moveTo>
                <a:cubicBezTo>
                  <a:pt x="395" y="316"/>
                  <a:pt x="386" y="341"/>
                  <a:pt x="371" y="361"/>
                </a:cubicBezTo>
                <a:cubicBezTo>
                  <a:pt x="372" y="355"/>
                  <a:pt x="373" y="348"/>
                  <a:pt x="373" y="342"/>
                </a:cubicBezTo>
                <a:cubicBezTo>
                  <a:pt x="373" y="285"/>
                  <a:pt x="336" y="246"/>
                  <a:pt x="282" y="246"/>
                </a:cubicBezTo>
                <a:cubicBezTo>
                  <a:pt x="267" y="246"/>
                  <a:pt x="267" y="246"/>
                  <a:pt x="267" y="246"/>
                </a:cubicBezTo>
                <a:cubicBezTo>
                  <a:pt x="261" y="246"/>
                  <a:pt x="256" y="250"/>
                  <a:pt x="256" y="256"/>
                </a:cubicBezTo>
                <a:cubicBezTo>
                  <a:pt x="256" y="295"/>
                  <a:pt x="256" y="295"/>
                  <a:pt x="256" y="295"/>
                </a:cubicBezTo>
                <a:cubicBezTo>
                  <a:pt x="175" y="214"/>
                  <a:pt x="175" y="214"/>
                  <a:pt x="175" y="214"/>
                </a:cubicBezTo>
                <a:cubicBezTo>
                  <a:pt x="256" y="133"/>
                  <a:pt x="256" y="133"/>
                  <a:pt x="256" y="133"/>
                </a:cubicBezTo>
                <a:cubicBezTo>
                  <a:pt x="256" y="160"/>
                  <a:pt x="256" y="160"/>
                  <a:pt x="256" y="160"/>
                </a:cubicBezTo>
                <a:cubicBezTo>
                  <a:pt x="256" y="166"/>
                  <a:pt x="261" y="171"/>
                  <a:pt x="267" y="171"/>
                </a:cubicBezTo>
                <a:cubicBezTo>
                  <a:pt x="277" y="171"/>
                  <a:pt x="277" y="171"/>
                  <a:pt x="277" y="171"/>
                </a:cubicBezTo>
                <a:cubicBezTo>
                  <a:pt x="342" y="171"/>
                  <a:pt x="395" y="224"/>
                  <a:pt x="395"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21" y="313"/>
                </a:moveTo>
                <a:cubicBezTo>
                  <a:pt x="122" y="214"/>
                  <a:pt x="122" y="214"/>
                  <a:pt x="122" y="214"/>
                </a:cubicBezTo>
                <a:cubicBezTo>
                  <a:pt x="221" y="115"/>
                  <a:pt x="221" y="115"/>
                  <a:pt x="221" y="115"/>
                </a:cubicBezTo>
                <a:cubicBezTo>
                  <a:pt x="225" y="110"/>
                  <a:pt x="225" y="104"/>
                  <a:pt x="221" y="99"/>
                </a:cubicBezTo>
                <a:cubicBezTo>
                  <a:pt x="217" y="95"/>
                  <a:pt x="210" y="95"/>
                  <a:pt x="206" y="99"/>
                </a:cubicBezTo>
                <a:cubicBezTo>
                  <a:pt x="99" y="206"/>
                  <a:pt x="99" y="206"/>
                  <a:pt x="99" y="206"/>
                </a:cubicBezTo>
                <a:cubicBezTo>
                  <a:pt x="95" y="210"/>
                  <a:pt x="95" y="217"/>
                  <a:pt x="99" y="221"/>
                </a:cubicBezTo>
                <a:cubicBezTo>
                  <a:pt x="206" y="328"/>
                  <a:pt x="206" y="328"/>
                  <a:pt x="206" y="328"/>
                </a:cubicBezTo>
                <a:cubicBezTo>
                  <a:pt x="208" y="330"/>
                  <a:pt x="211" y="331"/>
                  <a:pt x="213" y="331"/>
                </a:cubicBezTo>
                <a:cubicBezTo>
                  <a:pt x="216" y="331"/>
                  <a:pt x="219" y="330"/>
                  <a:pt x="221" y="328"/>
                </a:cubicBezTo>
                <a:cubicBezTo>
                  <a:pt x="225" y="324"/>
                  <a:pt x="225" y="317"/>
                  <a:pt x="221" y="313"/>
                </a:cubicBezTo>
                <a:close/>
                <a:moveTo>
                  <a:pt x="416" y="288"/>
                </a:moveTo>
                <a:cubicBezTo>
                  <a:pt x="416" y="212"/>
                  <a:pt x="354" y="150"/>
                  <a:pt x="277" y="150"/>
                </a:cubicBezTo>
                <a:cubicBezTo>
                  <a:pt x="277" y="107"/>
                  <a:pt x="277" y="107"/>
                  <a:pt x="277" y="107"/>
                </a:cubicBezTo>
                <a:cubicBezTo>
                  <a:pt x="277" y="103"/>
                  <a:pt x="275" y="99"/>
                  <a:pt x="271" y="97"/>
                </a:cubicBezTo>
                <a:cubicBezTo>
                  <a:pt x="267" y="95"/>
                  <a:pt x="262" y="96"/>
                  <a:pt x="259" y="99"/>
                </a:cubicBezTo>
                <a:cubicBezTo>
                  <a:pt x="152" y="206"/>
                  <a:pt x="152" y="206"/>
                  <a:pt x="152" y="206"/>
                </a:cubicBezTo>
                <a:cubicBezTo>
                  <a:pt x="148" y="210"/>
                  <a:pt x="148" y="217"/>
                  <a:pt x="152" y="221"/>
                </a:cubicBezTo>
                <a:cubicBezTo>
                  <a:pt x="259" y="328"/>
                  <a:pt x="259" y="328"/>
                  <a:pt x="259" y="328"/>
                </a:cubicBezTo>
                <a:cubicBezTo>
                  <a:pt x="262" y="331"/>
                  <a:pt x="267" y="332"/>
                  <a:pt x="271" y="330"/>
                </a:cubicBezTo>
                <a:cubicBezTo>
                  <a:pt x="275" y="329"/>
                  <a:pt x="277" y="325"/>
                  <a:pt x="277" y="320"/>
                </a:cubicBezTo>
                <a:cubicBezTo>
                  <a:pt x="277" y="267"/>
                  <a:pt x="277" y="267"/>
                  <a:pt x="277" y="267"/>
                </a:cubicBezTo>
                <a:cubicBezTo>
                  <a:pt x="282" y="267"/>
                  <a:pt x="282" y="267"/>
                  <a:pt x="282" y="267"/>
                </a:cubicBezTo>
                <a:cubicBezTo>
                  <a:pt x="330" y="267"/>
                  <a:pt x="352" y="305"/>
                  <a:pt x="352" y="342"/>
                </a:cubicBezTo>
                <a:cubicBezTo>
                  <a:pt x="352" y="362"/>
                  <a:pt x="342" y="383"/>
                  <a:pt x="324" y="397"/>
                </a:cubicBezTo>
                <a:cubicBezTo>
                  <a:pt x="320" y="401"/>
                  <a:pt x="319" y="407"/>
                  <a:pt x="322" y="411"/>
                </a:cubicBezTo>
                <a:cubicBezTo>
                  <a:pt x="324" y="415"/>
                  <a:pt x="327" y="416"/>
                  <a:pt x="331" y="416"/>
                </a:cubicBezTo>
                <a:cubicBezTo>
                  <a:pt x="332" y="416"/>
                  <a:pt x="334" y="416"/>
                  <a:pt x="335" y="415"/>
                </a:cubicBezTo>
                <a:cubicBezTo>
                  <a:pt x="384" y="394"/>
                  <a:pt x="416" y="344"/>
                  <a:pt x="416" y="28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85" name="Freeform 183"/>
          <p:cNvSpPr>
            <a:spLocks noChangeAspect="1" noEditPoints="1"/>
          </p:cNvSpPr>
          <p:nvPr/>
        </p:nvSpPr>
        <p:spPr bwMode="auto">
          <a:xfrm>
            <a:off x="4611805" y="5843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74 h 512"/>
              <a:gd name="T12" fmla="*/ 347 w 512"/>
              <a:gd name="T13" fmla="*/ 382 h 512"/>
              <a:gd name="T14" fmla="*/ 341 w 512"/>
              <a:gd name="T15" fmla="*/ 384 h 512"/>
              <a:gd name="T16" fmla="*/ 337 w 512"/>
              <a:gd name="T17" fmla="*/ 383 h 512"/>
              <a:gd name="T18" fmla="*/ 252 w 512"/>
              <a:gd name="T19" fmla="*/ 348 h 512"/>
              <a:gd name="T20" fmla="*/ 222 w 512"/>
              <a:gd name="T21" fmla="*/ 390 h 512"/>
              <a:gd name="T22" fmla="*/ 222 w 512"/>
              <a:gd name="T23" fmla="*/ 390 h 512"/>
              <a:gd name="T24" fmla="*/ 213 w 512"/>
              <a:gd name="T25" fmla="*/ 394 h 512"/>
              <a:gd name="T26" fmla="*/ 212 w 512"/>
              <a:gd name="T27" fmla="*/ 394 h 512"/>
              <a:gd name="T28" fmla="*/ 203 w 512"/>
              <a:gd name="T29" fmla="*/ 387 h 512"/>
              <a:gd name="T30" fmla="*/ 184 w 512"/>
              <a:gd name="T31" fmla="*/ 320 h 512"/>
              <a:gd name="T32" fmla="*/ 102 w 512"/>
              <a:gd name="T33" fmla="*/ 287 h 512"/>
              <a:gd name="T34" fmla="*/ 96 w 512"/>
              <a:gd name="T35" fmla="*/ 278 h 512"/>
              <a:gd name="T36" fmla="*/ 101 w 512"/>
              <a:gd name="T37" fmla="*/ 268 h 512"/>
              <a:gd name="T38" fmla="*/ 357 w 512"/>
              <a:gd name="T39" fmla="*/ 118 h 512"/>
              <a:gd name="T40" fmla="*/ 368 w 512"/>
              <a:gd name="T41" fmla="*/ 119 h 512"/>
              <a:gd name="T42" fmla="*/ 373 w 512"/>
              <a:gd name="T43" fmla="*/ 129 h 512"/>
              <a:gd name="T44" fmla="*/ 352 w 512"/>
              <a:gd name="T45" fmla="*/ 374 h 512"/>
              <a:gd name="T46" fmla="*/ 304 w 512"/>
              <a:gd name="T47" fmla="*/ 174 h 512"/>
              <a:gd name="T48" fmla="*/ 187 w 512"/>
              <a:gd name="T49" fmla="*/ 298 h 512"/>
              <a:gd name="T50" fmla="*/ 130 w 512"/>
              <a:gd name="T51" fmla="*/ 275 h 512"/>
              <a:gd name="T52" fmla="*/ 304 w 512"/>
              <a:gd name="T53" fmla="*/ 174 h 512"/>
              <a:gd name="T54" fmla="*/ 294 w 512"/>
              <a:gd name="T55" fmla="*/ 216 h 512"/>
              <a:gd name="T56" fmla="*/ 225 w 512"/>
              <a:gd name="T57" fmla="*/ 325 h 512"/>
              <a:gd name="T58" fmla="*/ 224 w 512"/>
              <a:gd name="T59" fmla="*/ 326 h 512"/>
              <a:gd name="T60" fmla="*/ 215 w 512"/>
              <a:gd name="T61" fmla="*/ 351 h 512"/>
              <a:gd name="T62" fmla="*/ 204 w 512"/>
              <a:gd name="T63" fmla="*/ 312 h 512"/>
              <a:gd name="T64" fmla="*/ 294 w 512"/>
              <a:gd name="T65" fmla="*/ 216 h 512"/>
              <a:gd name="T66" fmla="*/ 251 w 512"/>
              <a:gd name="T67" fmla="*/ 325 h 512"/>
              <a:gd name="T68" fmla="*/ 348 w 512"/>
              <a:gd name="T69" fmla="*/ 170 h 512"/>
              <a:gd name="T70" fmla="*/ 332 w 512"/>
              <a:gd name="T71" fmla="*/ 358 h 512"/>
              <a:gd name="T72" fmla="*/ 251 w 512"/>
              <a:gd name="T73"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74"/>
                </a:moveTo>
                <a:cubicBezTo>
                  <a:pt x="351" y="377"/>
                  <a:pt x="349" y="380"/>
                  <a:pt x="347" y="382"/>
                </a:cubicBezTo>
                <a:cubicBezTo>
                  <a:pt x="345" y="383"/>
                  <a:pt x="343" y="384"/>
                  <a:pt x="341" y="384"/>
                </a:cubicBezTo>
                <a:cubicBezTo>
                  <a:pt x="340" y="384"/>
                  <a:pt x="338" y="383"/>
                  <a:pt x="337" y="383"/>
                </a:cubicBezTo>
                <a:cubicBezTo>
                  <a:pt x="252" y="348"/>
                  <a:pt x="252" y="348"/>
                  <a:pt x="252" y="348"/>
                </a:cubicBezTo>
                <a:cubicBezTo>
                  <a:pt x="222" y="390"/>
                  <a:pt x="222" y="390"/>
                  <a:pt x="222" y="390"/>
                </a:cubicBezTo>
                <a:cubicBezTo>
                  <a:pt x="222" y="390"/>
                  <a:pt x="222" y="390"/>
                  <a:pt x="222" y="390"/>
                </a:cubicBezTo>
                <a:cubicBezTo>
                  <a:pt x="220" y="393"/>
                  <a:pt x="216" y="394"/>
                  <a:pt x="213" y="394"/>
                </a:cubicBezTo>
                <a:cubicBezTo>
                  <a:pt x="213" y="394"/>
                  <a:pt x="213" y="394"/>
                  <a:pt x="212" y="394"/>
                </a:cubicBezTo>
                <a:cubicBezTo>
                  <a:pt x="208" y="394"/>
                  <a:pt x="204" y="391"/>
                  <a:pt x="203" y="387"/>
                </a:cubicBezTo>
                <a:cubicBezTo>
                  <a:pt x="184" y="320"/>
                  <a:pt x="184" y="320"/>
                  <a:pt x="184" y="320"/>
                </a:cubicBezTo>
                <a:cubicBezTo>
                  <a:pt x="102" y="287"/>
                  <a:pt x="102" y="287"/>
                  <a:pt x="102" y="287"/>
                </a:cubicBezTo>
                <a:cubicBezTo>
                  <a:pt x="99" y="285"/>
                  <a:pt x="96" y="282"/>
                  <a:pt x="96" y="278"/>
                </a:cubicBezTo>
                <a:cubicBezTo>
                  <a:pt x="95" y="274"/>
                  <a:pt x="97" y="270"/>
                  <a:pt x="101" y="268"/>
                </a:cubicBezTo>
                <a:cubicBezTo>
                  <a:pt x="357" y="118"/>
                  <a:pt x="357" y="118"/>
                  <a:pt x="357" y="118"/>
                </a:cubicBezTo>
                <a:cubicBezTo>
                  <a:pt x="360" y="116"/>
                  <a:pt x="365" y="117"/>
                  <a:pt x="368" y="119"/>
                </a:cubicBezTo>
                <a:cubicBezTo>
                  <a:pt x="371" y="121"/>
                  <a:pt x="373" y="125"/>
                  <a:pt x="373" y="129"/>
                </a:cubicBezTo>
                <a:lnTo>
                  <a:pt x="352" y="374"/>
                </a:lnTo>
                <a:close/>
                <a:moveTo>
                  <a:pt x="304" y="174"/>
                </a:moveTo>
                <a:cubicBezTo>
                  <a:pt x="187" y="298"/>
                  <a:pt x="187" y="298"/>
                  <a:pt x="187" y="298"/>
                </a:cubicBezTo>
                <a:cubicBezTo>
                  <a:pt x="130" y="275"/>
                  <a:pt x="130" y="275"/>
                  <a:pt x="130" y="275"/>
                </a:cubicBezTo>
                <a:lnTo>
                  <a:pt x="304" y="174"/>
                </a:lnTo>
                <a:close/>
                <a:moveTo>
                  <a:pt x="294" y="216"/>
                </a:moveTo>
                <a:cubicBezTo>
                  <a:pt x="225" y="325"/>
                  <a:pt x="225" y="325"/>
                  <a:pt x="225" y="325"/>
                </a:cubicBezTo>
                <a:cubicBezTo>
                  <a:pt x="225" y="325"/>
                  <a:pt x="225" y="326"/>
                  <a:pt x="224" y="326"/>
                </a:cubicBezTo>
                <a:cubicBezTo>
                  <a:pt x="215" y="351"/>
                  <a:pt x="215" y="351"/>
                  <a:pt x="215" y="351"/>
                </a:cubicBezTo>
                <a:cubicBezTo>
                  <a:pt x="204" y="312"/>
                  <a:pt x="204" y="312"/>
                  <a:pt x="204" y="312"/>
                </a:cubicBezTo>
                <a:lnTo>
                  <a:pt x="294" y="216"/>
                </a:lnTo>
                <a:close/>
                <a:moveTo>
                  <a:pt x="251" y="325"/>
                </a:moveTo>
                <a:cubicBezTo>
                  <a:pt x="348" y="170"/>
                  <a:pt x="348" y="170"/>
                  <a:pt x="348" y="170"/>
                </a:cubicBezTo>
                <a:cubicBezTo>
                  <a:pt x="332" y="358"/>
                  <a:pt x="332" y="358"/>
                  <a:pt x="332" y="358"/>
                </a:cubicBezTo>
                <a:lnTo>
                  <a:pt x="251" y="325"/>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86" name="Group 186"/>
          <p:cNvGrpSpPr>
            <a:grpSpLocks noChangeAspect="1"/>
          </p:cNvGrpSpPr>
          <p:nvPr/>
        </p:nvGrpSpPr>
        <p:grpSpPr bwMode="auto">
          <a:xfrm>
            <a:off x="5032237" y="5843297"/>
            <a:ext cx="369021" cy="369021"/>
            <a:chOff x="6560" y="394"/>
            <a:chExt cx="340" cy="340"/>
          </a:xfrm>
          <a:solidFill>
            <a:schemeClr val="accent2"/>
          </a:solidFill>
        </p:grpSpPr>
        <p:sp>
          <p:nvSpPr>
            <p:cNvPr id="787"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8"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6" name="TextBox 795"/>
          <p:cNvSpPr txBox="1"/>
          <p:nvPr/>
        </p:nvSpPr>
        <p:spPr>
          <a:xfrm>
            <a:off x="406400" y="2987858"/>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st forward</a:t>
            </a:r>
          </a:p>
        </p:txBody>
      </p:sp>
      <p:grpSp>
        <p:nvGrpSpPr>
          <p:cNvPr id="797" name="Group 595"/>
          <p:cNvGrpSpPr>
            <a:grpSpLocks noChangeAspect="1"/>
          </p:cNvGrpSpPr>
          <p:nvPr/>
        </p:nvGrpSpPr>
        <p:grpSpPr bwMode="auto">
          <a:xfrm>
            <a:off x="406400" y="2530173"/>
            <a:ext cx="367631" cy="367631"/>
            <a:chOff x="1572" y="2382"/>
            <a:chExt cx="340" cy="340"/>
          </a:xfrm>
          <a:solidFill>
            <a:schemeClr val="accent1"/>
          </a:solidFill>
        </p:grpSpPr>
        <p:sp>
          <p:nvSpPr>
            <p:cNvPr id="798" name="Freeform 596"/>
            <p:cNvSpPr>
              <a:spLocks noEditPoints="1"/>
            </p:cNvSpPr>
            <p:nvPr/>
          </p:nvSpPr>
          <p:spPr bwMode="auto">
            <a:xfrm>
              <a:off x="1572" y="238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1 w 512"/>
                <a:gd name="T11" fmla="*/ 265 h 512"/>
                <a:gd name="T12" fmla="*/ 240 w 512"/>
                <a:gd name="T13" fmla="*/ 371 h 512"/>
                <a:gd name="T14" fmla="*/ 234 w 512"/>
                <a:gd name="T15" fmla="*/ 373 h 512"/>
                <a:gd name="T16" fmla="*/ 229 w 512"/>
                <a:gd name="T17" fmla="*/ 372 h 512"/>
                <a:gd name="T18" fmla="*/ 224 w 512"/>
                <a:gd name="T19" fmla="*/ 362 h 512"/>
                <a:gd name="T20" fmla="*/ 224 w 512"/>
                <a:gd name="T21" fmla="*/ 308 h 512"/>
                <a:gd name="T22" fmla="*/ 123 w 512"/>
                <a:gd name="T23" fmla="*/ 371 h 512"/>
                <a:gd name="T24" fmla="*/ 112 w 512"/>
                <a:gd name="T25" fmla="*/ 372 h 512"/>
                <a:gd name="T26" fmla="*/ 106 w 512"/>
                <a:gd name="T27" fmla="*/ 362 h 512"/>
                <a:gd name="T28" fmla="*/ 106 w 512"/>
                <a:gd name="T29" fmla="*/ 149 h 512"/>
                <a:gd name="T30" fmla="*/ 112 w 512"/>
                <a:gd name="T31" fmla="*/ 140 h 512"/>
                <a:gd name="T32" fmla="*/ 123 w 512"/>
                <a:gd name="T33" fmla="*/ 140 h 512"/>
                <a:gd name="T34" fmla="*/ 224 w 512"/>
                <a:gd name="T35" fmla="*/ 203 h 512"/>
                <a:gd name="T36" fmla="*/ 224 w 512"/>
                <a:gd name="T37" fmla="*/ 149 h 512"/>
                <a:gd name="T38" fmla="*/ 229 w 512"/>
                <a:gd name="T39" fmla="*/ 140 h 512"/>
                <a:gd name="T40" fmla="*/ 240 w 512"/>
                <a:gd name="T41" fmla="*/ 140 h 512"/>
                <a:gd name="T42" fmla="*/ 411 w 512"/>
                <a:gd name="T43" fmla="*/ 247 h 512"/>
                <a:gd name="T44" fmla="*/ 416 w 512"/>
                <a:gd name="T45" fmla="*/ 256 h 512"/>
                <a:gd name="T46" fmla="*/ 411 w 512"/>
                <a:gd name="T47"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1" y="265"/>
                  </a:moveTo>
                  <a:cubicBezTo>
                    <a:pt x="240" y="371"/>
                    <a:pt x="240" y="371"/>
                    <a:pt x="240" y="371"/>
                  </a:cubicBezTo>
                  <a:cubicBezTo>
                    <a:pt x="238" y="372"/>
                    <a:pt x="236" y="373"/>
                    <a:pt x="234" y="373"/>
                  </a:cubicBezTo>
                  <a:cubicBezTo>
                    <a:pt x="233" y="373"/>
                    <a:pt x="231" y="373"/>
                    <a:pt x="229" y="372"/>
                  </a:cubicBezTo>
                  <a:cubicBezTo>
                    <a:pt x="226" y="370"/>
                    <a:pt x="224" y="366"/>
                    <a:pt x="224" y="362"/>
                  </a:cubicBezTo>
                  <a:cubicBezTo>
                    <a:pt x="224" y="308"/>
                    <a:pt x="224" y="308"/>
                    <a:pt x="224" y="308"/>
                  </a:cubicBezTo>
                  <a:cubicBezTo>
                    <a:pt x="123" y="371"/>
                    <a:pt x="123" y="371"/>
                    <a:pt x="123" y="371"/>
                  </a:cubicBezTo>
                  <a:cubicBezTo>
                    <a:pt x="119" y="373"/>
                    <a:pt x="115" y="374"/>
                    <a:pt x="112" y="372"/>
                  </a:cubicBezTo>
                  <a:cubicBezTo>
                    <a:pt x="108" y="370"/>
                    <a:pt x="106" y="366"/>
                    <a:pt x="106" y="362"/>
                  </a:cubicBezTo>
                  <a:cubicBezTo>
                    <a:pt x="106" y="149"/>
                    <a:pt x="106" y="149"/>
                    <a:pt x="106" y="149"/>
                  </a:cubicBezTo>
                  <a:cubicBezTo>
                    <a:pt x="106" y="145"/>
                    <a:pt x="108" y="142"/>
                    <a:pt x="112" y="140"/>
                  </a:cubicBezTo>
                  <a:cubicBezTo>
                    <a:pt x="115" y="138"/>
                    <a:pt x="119" y="138"/>
                    <a:pt x="123" y="140"/>
                  </a:cubicBezTo>
                  <a:cubicBezTo>
                    <a:pt x="224" y="203"/>
                    <a:pt x="224" y="203"/>
                    <a:pt x="224" y="203"/>
                  </a:cubicBezTo>
                  <a:cubicBezTo>
                    <a:pt x="224" y="149"/>
                    <a:pt x="224" y="149"/>
                    <a:pt x="224" y="149"/>
                  </a:cubicBezTo>
                  <a:cubicBezTo>
                    <a:pt x="224" y="145"/>
                    <a:pt x="226" y="142"/>
                    <a:pt x="229" y="140"/>
                  </a:cubicBezTo>
                  <a:cubicBezTo>
                    <a:pt x="233" y="138"/>
                    <a:pt x="237" y="138"/>
                    <a:pt x="240" y="140"/>
                  </a:cubicBezTo>
                  <a:cubicBezTo>
                    <a:pt x="411" y="247"/>
                    <a:pt x="411" y="247"/>
                    <a:pt x="411" y="247"/>
                  </a:cubicBezTo>
                  <a:cubicBezTo>
                    <a:pt x="414" y="249"/>
                    <a:pt x="416" y="252"/>
                    <a:pt x="416" y="256"/>
                  </a:cubicBezTo>
                  <a:cubicBezTo>
                    <a:pt x="416" y="259"/>
                    <a:pt x="414" y="263"/>
                    <a:pt x="411" y="2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9" name="Freeform 597"/>
            <p:cNvSpPr>
              <a:spLocks/>
            </p:cNvSpPr>
            <p:nvPr/>
          </p:nvSpPr>
          <p:spPr bwMode="auto">
            <a:xfrm>
              <a:off x="1657" y="2494"/>
              <a:ext cx="171" cy="116"/>
            </a:xfrm>
            <a:custGeom>
              <a:avLst/>
              <a:gdLst>
                <a:gd name="T0" fmla="*/ 117 w 257"/>
                <a:gd name="T1" fmla="*/ 54 h 175"/>
                <a:gd name="T2" fmla="*/ 112 w 257"/>
                <a:gd name="T3" fmla="*/ 64 h 175"/>
                <a:gd name="T4" fmla="*/ 101 w 257"/>
                <a:gd name="T5" fmla="*/ 63 h 175"/>
                <a:gd name="T6" fmla="*/ 0 w 257"/>
                <a:gd name="T7" fmla="*/ 0 h 175"/>
                <a:gd name="T8" fmla="*/ 0 w 257"/>
                <a:gd name="T9" fmla="*/ 175 h 175"/>
                <a:gd name="T10" fmla="*/ 101 w 257"/>
                <a:gd name="T11" fmla="*/ 112 h 175"/>
                <a:gd name="T12" fmla="*/ 106 w 257"/>
                <a:gd name="T13" fmla="*/ 110 h 175"/>
                <a:gd name="T14" fmla="*/ 112 w 257"/>
                <a:gd name="T15" fmla="*/ 112 h 175"/>
                <a:gd name="T16" fmla="*/ 117 w 257"/>
                <a:gd name="T17" fmla="*/ 121 h 175"/>
                <a:gd name="T18" fmla="*/ 117 w 257"/>
                <a:gd name="T19" fmla="*/ 175 h 175"/>
                <a:gd name="T20" fmla="*/ 257 w 257"/>
                <a:gd name="T21" fmla="*/ 88 h 175"/>
                <a:gd name="T22" fmla="*/ 117 w 257"/>
                <a:gd name="T23" fmla="*/ 0 h 175"/>
                <a:gd name="T24" fmla="*/ 117 w 257"/>
                <a:gd name="T25" fmla="*/ 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17" y="54"/>
                  </a:moveTo>
                  <a:cubicBezTo>
                    <a:pt x="117" y="58"/>
                    <a:pt x="115" y="62"/>
                    <a:pt x="112" y="64"/>
                  </a:cubicBezTo>
                  <a:cubicBezTo>
                    <a:pt x="108" y="66"/>
                    <a:pt x="104" y="65"/>
                    <a:pt x="101" y="63"/>
                  </a:cubicBezTo>
                  <a:cubicBezTo>
                    <a:pt x="0" y="0"/>
                    <a:pt x="0" y="0"/>
                    <a:pt x="0" y="0"/>
                  </a:cubicBezTo>
                  <a:cubicBezTo>
                    <a:pt x="0" y="175"/>
                    <a:pt x="0" y="175"/>
                    <a:pt x="0" y="175"/>
                  </a:cubicBezTo>
                  <a:cubicBezTo>
                    <a:pt x="101" y="112"/>
                    <a:pt x="101" y="112"/>
                    <a:pt x="101" y="112"/>
                  </a:cubicBezTo>
                  <a:cubicBezTo>
                    <a:pt x="102" y="111"/>
                    <a:pt x="104" y="110"/>
                    <a:pt x="106" y="110"/>
                  </a:cubicBezTo>
                  <a:cubicBezTo>
                    <a:pt x="108" y="110"/>
                    <a:pt x="110" y="111"/>
                    <a:pt x="112" y="112"/>
                  </a:cubicBezTo>
                  <a:cubicBezTo>
                    <a:pt x="115" y="114"/>
                    <a:pt x="117" y="117"/>
                    <a:pt x="117" y="121"/>
                  </a:cubicBezTo>
                  <a:cubicBezTo>
                    <a:pt x="117" y="175"/>
                    <a:pt x="117" y="175"/>
                    <a:pt x="117" y="175"/>
                  </a:cubicBezTo>
                  <a:cubicBezTo>
                    <a:pt x="257" y="88"/>
                    <a:pt x="257" y="88"/>
                    <a:pt x="257" y="88"/>
                  </a:cubicBezTo>
                  <a:cubicBezTo>
                    <a:pt x="117" y="0"/>
                    <a:pt x="117" y="0"/>
                    <a:pt x="117" y="0"/>
                  </a:cubicBezTo>
                  <a:lnTo>
                    <a:pt x="117"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0" name="Group 600"/>
          <p:cNvGrpSpPr>
            <a:grpSpLocks noChangeAspect="1"/>
          </p:cNvGrpSpPr>
          <p:nvPr/>
        </p:nvGrpSpPr>
        <p:grpSpPr bwMode="auto">
          <a:xfrm>
            <a:off x="859129" y="2530173"/>
            <a:ext cx="367631" cy="367631"/>
            <a:chOff x="1949" y="2395"/>
            <a:chExt cx="340" cy="340"/>
          </a:xfrm>
          <a:solidFill>
            <a:schemeClr val="accent1"/>
          </a:solidFill>
        </p:grpSpPr>
        <p:sp>
          <p:nvSpPr>
            <p:cNvPr id="801" name="Freeform 601"/>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2" name="Freeform 602"/>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03" name="TextBox 802"/>
          <p:cNvSpPr txBox="1"/>
          <p:nvPr/>
        </p:nvSpPr>
        <p:spPr>
          <a:xfrm>
            <a:off x="5441488" y="461102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dit profile</a:t>
            </a:r>
          </a:p>
        </p:txBody>
      </p:sp>
      <p:sp>
        <p:nvSpPr>
          <p:cNvPr id="804" name="Freeform 433"/>
          <p:cNvSpPr>
            <a:spLocks noChangeAspect="1" noEditPoints="1"/>
          </p:cNvSpPr>
          <p:nvPr/>
        </p:nvSpPr>
        <p:spPr bwMode="auto">
          <a:xfrm>
            <a:off x="5454632" y="4183829"/>
            <a:ext cx="367631" cy="367631"/>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05" name="Group 436"/>
          <p:cNvGrpSpPr>
            <a:grpSpLocks noChangeAspect="1"/>
          </p:cNvGrpSpPr>
          <p:nvPr/>
        </p:nvGrpSpPr>
        <p:grpSpPr bwMode="auto">
          <a:xfrm>
            <a:off x="5874091" y="4183829"/>
            <a:ext cx="367631" cy="367631"/>
            <a:chOff x="4224" y="1636"/>
            <a:chExt cx="340" cy="340"/>
          </a:xfrm>
          <a:solidFill>
            <a:schemeClr val="accent5"/>
          </a:solidFill>
        </p:grpSpPr>
        <p:sp>
          <p:nvSpPr>
            <p:cNvPr id="806" name="Freeform 437"/>
            <p:cNvSpPr>
              <a:spLocks noEditPoints="1"/>
            </p:cNvSpPr>
            <p:nvPr/>
          </p:nvSpPr>
          <p:spPr bwMode="auto">
            <a:xfrm>
              <a:off x="4224"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7" name="Freeform 438"/>
            <p:cNvSpPr>
              <a:spLocks/>
            </p:cNvSpPr>
            <p:nvPr/>
          </p:nvSpPr>
          <p:spPr bwMode="auto">
            <a:xfrm>
              <a:off x="4415" y="1820"/>
              <a:ext cx="85" cy="14"/>
            </a:xfrm>
            <a:custGeom>
              <a:avLst/>
              <a:gdLst>
                <a:gd name="T0" fmla="*/ 117 w 128"/>
                <a:gd name="T1" fmla="*/ 0 h 21"/>
                <a:gd name="T2" fmla="*/ 10 w 128"/>
                <a:gd name="T3" fmla="*/ 0 h 21"/>
                <a:gd name="T4" fmla="*/ 0 w 128"/>
                <a:gd name="T5" fmla="*/ 11 h 21"/>
                <a:gd name="T6" fmla="*/ 10 w 128"/>
                <a:gd name="T7" fmla="*/ 21 h 21"/>
                <a:gd name="T8" fmla="*/ 117 w 128"/>
                <a:gd name="T9" fmla="*/ 21 h 21"/>
                <a:gd name="T10" fmla="*/ 128 w 128"/>
                <a:gd name="T11" fmla="*/ 11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5"/>
                    <a:pt x="0" y="11"/>
                  </a:cubicBezTo>
                  <a:cubicBezTo>
                    <a:pt x="0" y="17"/>
                    <a:pt x="4" y="21"/>
                    <a:pt x="10" y="21"/>
                  </a:cubicBezTo>
                  <a:cubicBezTo>
                    <a:pt x="117" y="21"/>
                    <a:pt x="117" y="21"/>
                    <a:pt x="117" y="21"/>
                  </a:cubicBezTo>
                  <a:cubicBezTo>
                    <a:pt x="123" y="21"/>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8" name="Freeform 439"/>
            <p:cNvSpPr>
              <a:spLocks noEditPoints="1"/>
            </p:cNvSpPr>
            <p:nvPr/>
          </p:nvSpPr>
          <p:spPr bwMode="auto">
            <a:xfrm>
              <a:off x="4393" y="1699"/>
              <a:ext cx="107" cy="107"/>
            </a:xfrm>
            <a:custGeom>
              <a:avLst/>
              <a:gdLst>
                <a:gd name="T0" fmla="*/ 100 w 161"/>
                <a:gd name="T1" fmla="*/ 147 h 161"/>
                <a:gd name="T2" fmla="*/ 105 w 161"/>
                <a:gd name="T3" fmla="*/ 150 h 161"/>
                <a:gd name="T4" fmla="*/ 147 w 161"/>
                <a:gd name="T5" fmla="*/ 160 h 161"/>
                <a:gd name="T6" fmla="*/ 150 w 161"/>
                <a:gd name="T7" fmla="*/ 161 h 161"/>
                <a:gd name="T8" fmla="*/ 158 w 161"/>
                <a:gd name="T9" fmla="*/ 158 h 161"/>
                <a:gd name="T10" fmla="*/ 160 w 161"/>
                <a:gd name="T11" fmla="*/ 147 h 161"/>
                <a:gd name="T12" fmla="*/ 150 w 161"/>
                <a:gd name="T13" fmla="*/ 105 h 161"/>
                <a:gd name="T14" fmla="*/ 147 w 161"/>
                <a:gd name="T15" fmla="*/ 100 h 161"/>
                <a:gd name="T16" fmla="*/ 51 w 161"/>
                <a:gd name="T17" fmla="*/ 4 h 161"/>
                <a:gd name="T18" fmla="*/ 36 w 161"/>
                <a:gd name="T19" fmla="*/ 4 h 161"/>
                <a:gd name="T20" fmla="*/ 4 w 161"/>
                <a:gd name="T21" fmla="*/ 36 h 161"/>
                <a:gd name="T22" fmla="*/ 4 w 161"/>
                <a:gd name="T23" fmla="*/ 51 h 161"/>
                <a:gd name="T24" fmla="*/ 100 w 161"/>
                <a:gd name="T25" fmla="*/ 147 h 161"/>
                <a:gd name="T26" fmla="*/ 43 w 161"/>
                <a:gd name="T27" fmla="*/ 26 h 161"/>
                <a:gd name="T28" fmla="*/ 130 w 161"/>
                <a:gd name="T29" fmla="*/ 113 h 161"/>
                <a:gd name="T30" fmla="*/ 135 w 161"/>
                <a:gd name="T31" fmla="*/ 135 h 161"/>
                <a:gd name="T32" fmla="*/ 113 w 161"/>
                <a:gd name="T33" fmla="*/ 130 h 161"/>
                <a:gd name="T34" fmla="*/ 26 w 161"/>
                <a:gd name="T35" fmla="*/ 43 h 161"/>
                <a:gd name="T36" fmla="*/ 43 w 161"/>
                <a:gd name="T37" fmla="*/ 2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 h="161">
                  <a:moveTo>
                    <a:pt x="100" y="147"/>
                  </a:moveTo>
                  <a:cubicBezTo>
                    <a:pt x="101" y="148"/>
                    <a:pt x="103" y="149"/>
                    <a:pt x="105" y="150"/>
                  </a:cubicBezTo>
                  <a:cubicBezTo>
                    <a:pt x="147" y="160"/>
                    <a:pt x="147" y="160"/>
                    <a:pt x="147" y="160"/>
                  </a:cubicBezTo>
                  <a:cubicBezTo>
                    <a:pt x="148" y="161"/>
                    <a:pt x="149" y="161"/>
                    <a:pt x="150" y="161"/>
                  </a:cubicBezTo>
                  <a:cubicBezTo>
                    <a:pt x="153" y="161"/>
                    <a:pt x="156" y="160"/>
                    <a:pt x="158" y="158"/>
                  </a:cubicBezTo>
                  <a:cubicBezTo>
                    <a:pt x="160" y="155"/>
                    <a:pt x="161" y="151"/>
                    <a:pt x="160" y="147"/>
                  </a:cubicBezTo>
                  <a:cubicBezTo>
                    <a:pt x="150" y="105"/>
                    <a:pt x="150" y="105"/>
                    <a:pt x="150" y="105"/>
                  </a:cubicBezTo>
                  <a:cubicBezTo>
                    <a:pt x="149" y="103"/>
                    <a:pt x="148" y="101"/>
                    <a:pt x="147" y="100"/>
                  </a:cubicBezTo>
                  <a:cubicBezTo>
                    <a:pt x="51" y="4"/>
                    <a:pt x="51" y="4"/>
                    <a:pt x="51" y="4"/>
                  </a:cubicBezTo>
                  <a:cubicBezTo>
                    <a:pt x="47" y="0"/>
                    <a:pt x="40" y="0"/>
                    <a:pt x="36" y="4"/>
                  </a:cubicBezTo>
                  <a:cubicBezTo>
                    <a:pt x="4" y="36"/>
                    <a:pt x="4" y="36"/>
                    <a:pt x="4" y="36"/>
                  </a:cubicBezTo>
                  <a:cubicBezTo>
                    <a:pt x="0" y="40"/>
                    <a:pt x="0" y="47"/>
                    <a:pt x="4" y="51"/>
                  </a:cubicBezTo>
                  <a:lnTo>
                    <a:pt x="100" y="147"/>
                  </a:lnTo>
                  <a:close/>
                  <a:moveTo>
                    <a:pt x="43" y="26"/>
                  </a:moveTo>
                  <a:cubicBezTo>
                    <a:pt x="130" y="113"/>
                    <a:pt x="130" y="113"/>
                    <a:pt x="130" y="113"/>
                  </a:cubicBezTo>
                  <a:cubicBezTo>
                    <a:pt x="135" y="135"/>
                    <a:pt x="135" y="135"/>
                    <a:pt x="135" y="135"/>
                  </a:cubicBezTo>
                  <a:cubicBezTo>
                    <a:pt x="113" y="130"/>
                    <a:pt x="113" y="130"/>
                    <a:pt x="113" y="130"/>
                  </a:cubicBezTo>
                  <a:cubicBezTo>
                    <a:pt x="26" y="43"/>
                    <a:pt x="26" y="43"/>
                    <a:pt x="26" y="43"/>
                  </a:cubicBezTo>
                  <a:lnTo>
                    <a:pt x="4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9" name="Freeform 440"/>
            <p:cNvSpPr>
              <a:spLocks/>
            </p:cNvSpPr>
            <p:nvPr/>
          </p:nvSpPr>
          <p:spPr bwMode="auto">
            <a:xfrm>
              <a:off x="4286" y="1739"/>
              <a:ext cx="144"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0" name="TextBox 809"/>
          <p:cNvSpPr txBox="1"/>
          <p:nvPr/>
        </p:nvSpPr>
        <p:spPr>
          <a:xfrm>
            <a:off x="7937500" y="54549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perclip</a:t>
            </a:r>
          </a:p>
        </p:txBody>
      </p:sp>
      <p:sp>
        <p:nvSpPr>
          <p:cNvPr id="811" name="Freeform 192"/>
          <p:cNvSpPr>
            <a:spLocks noChangeAspect="1" noEditPoints="1"/>
          </p:cNvSpPr>
          <p:nvPr/>
        </p:nvSpPr>
        <p:spPr bwMode="auto">
          <a:xfrm>
            <a:off x="7978843" y="500867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1 w 512"/>
              <a:gd name="T11" fmla="*/ 226 h 512"/>
              <a:gd name="T12" fmla="*/ 241 w 512"/>
              <a:gd name="T13" fmla="*/ 376 h 512"/>
              <a:gd name="T14" fmla="*/ 188 w 512"/>
              <a:gd name="T15" fmla="*/ 398 h 512"/>
              <a:gd name="T16" fmla="*/ 135 w 512"/>
              <a:gd name="T17" fmla="*/ 376 h 512"/>
              <a:gd name="T18" fmla="*/ 113 w 512"/>
              <a:gd name="T19" fmla="*/ 324 h 512"/>
              <a:gd name="T20" fmla="*/ 135 w 512"/>
              <a:gd name="T21" fmla="*/ 271 h 512"/>
              <a:gd name="T22" fmla="*/ 241 w 512"/>
              <a:gd name="T23" fmla="*/ 165 h 512"/>
              <a:gd name="T24" fmla="*/ 256 w 512"/>
              <a:gd name="T25" fmla="*/ 165 h 512"/>
              <a:gd name="T26" fmla="*/ 256 w 512"/>
              <a:gd name="T27" fmla="*/ 180 h 512"/>
              <a:gd name="T28" fmla="*/ 150 w 512"/>
              <a:gd name="T29" fmla="*/ 286 h 512"/>
              <a:gd name="T30" fmla="*/ 134 w 512"/>
              <a:gd name="T31" fmla="*/ 324 h 512"/>
              <a:gd name="T32" fmla="*/ 150 w 512"/>
              <a:gd name="T33" fmla="*/ 361 h 512"/>
              <a:gd name="T34" fmla="*/ 188 w 512"/>
              <a:gd name="T35" fmla="*/ 377 h 512"/>
              <a:gd name="T36" fmla="*/ 226 w 512"/>
              <a:gd name="T37" fmla="*/ 361 h 512"/>
              <a:gd name="T38" fmla="*/ 376 w 512"/>
              <a:gd name="T39" fmla="*/ 210 h 512"/>
              <a:gd name="T40" fmla="*/ 376 w 512"/>
              <a:gd name="T41" fmla="*/ 165 h 512"/>
              <a:gd name="T42" fmla="*/ 331 w 512"/>
              <a:gd name="T43" fmla="*/ 165 h 512"/>
              <a:gd name="T44" fmla="*/ 180 w 512"/>
              <a:gd name="T45" fmla="*/ 316 h 512"/>
              <a:gd name="T46" fmla="*/ 177 w 512"/>
              <a:gd name="T47" fmla="*/ 324 h 512"/>
              <a:gd name="T48" fmla="*/ 180 w 512"/>
              <a:gd name="T49" fmla="*/ 331 h 512"/>
              <a:gd name="T50" fmla="*/ 195 w 512"/>
              <a:gd name="T51" fmla="*/ 331 h 512"/>
              <a:gd name="T52" fmla="*/ 301 w 512"/>
              <a:gd name="T53" fmla="*/ 226 h 512"/>
              <a:gd name="T54" fmla="*/ 316 w 512"/>
              <a:gd name="T55" fmla="*/ 226 h 512"/>
              <a:gd name="T56" fmla="*/ 316 w 512"/>
              <a:gd name="T57" fmla="*/ 241 h 512"/>
              <a:gd name="T58" fmla="*/ 210 w 512"/>
              <a:gd name="T59" fmla="*/ 346 h 512"/>
              <a:gd name="T60" fmla="*/ 188 w 512"/>
              <a:gd name="T61" fmla="*/ 356 h 512"/>
              <a:gd name="T62" fmla="*/ 165 w 512"/>
              <a:gd name="T63" fmla="*/ 346 h 512"/>
              <a:gd name="T64" fmla="*/ 156 w 512"/>
              <a:gd name="T65" fmla="*/ 324 h 512"/>
              <a:gd name="T66" fmla="*/ 165 w 512"/>
              <a:gd name="T67" fmla="*/ 301 h 512"/>
              <a:gd name="T68" fmla="*/ 316 w 512"/>
              <a:gd name="T69" fmla="*/ 150 h 512"/>
              <a:gd name="T70" fmla="*/ 391 w 512"/>
              <a:gd name="T71" fmla="*/ 150 h 512"/>
              <a:gd name="T72" fmla="*/ 391 w 512"/>
              <a:gd name="T73" fmla="*/ 2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1" y="226"/>
                </a:moveTo>
                <a:cubicBezTo>
                  <a:pt x="241" y="376"/>
                  <a:pt x="241" y="376"/>
                  <a:pt x="241" y="376"/>
                </a:cubicBezTo>
                <a:cubicBezTo>
                  <a:pt x="226" y="390"/>
                  <a:pt x="208" y="398"/>
                  <a:pt x="188" y="398"/>
                </a:cubicBezTo>
                <a:cubicBezTo>
                  <a:pt x="168" y="398"/>
                  <a:pt x="149" y="390"/>
                  <a:pt x="135" y="376"/>
                </a:cubicBezTo>
                <a:cubicBezTo>
                  <a:pt x="121" y="362"/>
                  <a:pt x="113" y="344"/>
                  <a:pt x="113" y="324"/>
                </a:cubicBezTo>
                <a:cubicBezTo>
                  <a:pt x="113" y="304"/>
                  <a:pt x="121" y="285"/>
                  <a:pt x="135" y="271"/>
                </a:cubicBezTo>
                <a:cubicBezTo>
                  <a:pt x="241" y="165"/>
                  <a:pt x="241" y="165"/>
                  <a:pt x="241" y="165"/>
                </a:cubicBezTo>
                <a:cubicBezTo>
                  <a:pt x="245" y="161"/>
                  <a:pt x="252" y="161"/>
                  <a:pt x="256" y="165"/>
                </a:cubicBezTo>
                <a:cubicBezTo>
                  <a:pt x="260" y="169"/>
                  <a:pt x="260" y="176"/>
                  <a:pt x="256" y="180"/>
                </a:cubicBezTo>
                <a:cubicBezTo>
                  <a:pt x="150" y="286"/>
                  <a:pt x="150" y="286"/>
                  <a:pt x="150" y="286"/>
                </a:cubicBezTo>
                <a:cubicBezTo>
                  <a:pt x="140" y="296"/>
                  <a:pt x="134" y="309"/>
                  <a:pt x="134" y="324"/>
                </a:cubicBezTo>
                <a:cubicBezTo>
                  <a:pt x="134" y="338"/>
                  <a:pt x="140" y="351"/>
                  <a:pt x="150" y="361"/>
                </a:cubicBezTo>
                <a:cubicBezTo>
                  <a:pt x="160" y="371"/>
                  <a:pt x="174" y="377"/>
                  <a:pt x="188" y="377"/>
                </a:cubicBezTo>
                <a:cubicBezTo>
                  <a:pt x="202" y="377"/>
                  <a:pt x="215" y="371"/>
                  <a:pt x="226" y="361"/>
                </a:cubicBezTo>
                <a:cubicBezTo>
                  <a:pt x="376" y="210"/>
                  <a:pt x="376" y="210"/>
                  <a:pt x="376" y="210"/>
                </a:cubicBezTo>
                <a:cubicBezTo>
                  <a:pt x="389" y="198"/>
                  <a:pt x="389" y="178"/>
                  <a:pt x="376" y="165"/>
                </a:cubicBezTo>
                <a:cubicBezTo>
                  <a:pt x="364" y="153"/>
                  <a:pt x="344" y="153"/>
                  <a:pt x="331" y="165"/>
                </a:cubicBezTo>
                <a:cubicBezTo>
                  <a:pt x="180" y="316"/>
                  <a:pt x="180" y="316"/>
                  <a:pt x="180" y="316"/>
                </a:cubicBezTo>
                <a:cubicBezTo>
                  <a:pt x="178" y="318"/>
                  <a:pt x="177" y="321"/>
                  <a:pt x="177" y="324"/>
                </a:cubicBezTo>
                <a:cubicBezTo>
                  <a:pt x="177" y="326"/>
                  <a:pt x="178" y="329"/>
                  <a:pt x="180" y="331"/>
                </a:cubicBezTo>
                <a:cubicBezTo>
                  <a:pt x="184" y="335"/>
                  <a:pt x="191" y="335"/>
                  <a:pt x="195" y="331"/>
                </a:cubicBezTo>
                <a:cubicBezTo>
                  <a:pt x="301" y="226"/>
                  <a:pt x="301" y="226"/>
                  <a:pt x="301" y="226"/>
                </a:cubicBezTo>
                <a:cubicBezTo>
                  <a:pt x="305" y="221"/>
                  <a:pt x="312" y="221"/>
                  <a:pt x="316" y="226"/>
                </a:cubicBezTo>
                <a:cubicBezTo>
                  <a:pt x="320" y="230"/>
                  <a:pt x="320" y="236"/>
                  <a:pt x="316" y="241"/>
                </a:cubicBezTo>
                <a:cubicBezTo>
                  <a:pt x="210" y="346"/>
                  <a:pt x="210" y="346"/>
                  <a:pt x="210" y="346"/>
                </a:cubicBezTo>
                <a:cubicBezTo>
                  <a:pt x="204" y="352"/>
                  <a:pt x="196" y="356"/>
                  <a:pt x="188" y="356"/>
                </a:cubicBezTo>
                <a:cubicBezTo>
                  <a:pt x="180" y="356"/>
                  <a:pt x="171" y="352"/>
                  <a:pt x="165" y="346"/>
                </a:cubicBezTo>
                <a:cubicBezTo>
                  <a:pt x="159" y="340"/>
                  <a:pt x="156" y="332"/>
                  <a:pt x="156" y="324"/>
                </a:cubicBezTo>
                <a:cubicBezTo>
                  <a:pt x="156" y="315"/>
                  <a:pt x="159" y="307"/>
                  <a:pt x="165" y="301"/>
                </a:cubicBezTo>
                <a:cubicBezTo>
                  <a:pt x="316" y="150"/>
                  <a:pt x="316" y="150"/>
                  <a:pt x="316" y="150"/>
                </a:cubicBezTo>
                <a:cubicBezTo>
                  <a:pt x="337" y="129"/>
                  <a:pt x="371" y="129"/>
                  <a:pt x="391" y="150"/>
                </a:cubicBezTo>
                <a:cubicBezTo>
                  <a:pt x="412" y="171"/>
                  <a:pt x="412" y="205"/>
                  <a:pt x="391" y="22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12" name="Group 195"/>
          <p:cNvGrpSpPr>
            <a:grpSpLocks noChangeAspect="1"/>
          </p:cNvGrpSpPr>
          <p:nvPr/>
        </p:nvGrpSpPr>
        <p:grpSpPr bwMode="auto">
          <a:xfrm>
            <a:off x="8393096" y="5008677"/>
            <a:ext cx="369021" cy="369021"/>
            <a:chOff x="7340" y="410"/>
            <a:chExt cx="340" cy="340"/>
          </a:xfrm>
          <a:solidFill>
            <a:schemeClr val="accent2"/>
          </a:solidFill>
        </p:grpSpPr>
        <p:sp>
          <p:nvSpPr>
            <p:cNvPr id="813" name="Freeform 196"/>
            <p:cNvSpPr>
              <a:spLocks/>
            </p:cNvSpPr>
            <p:nvPr/>
          </p:nvSpPr>
          <p:spPr bwMode="auto">
            <a:xfrm>
              <a:off x="7415" y="496"/>
              <a:ext cx="199" cy="178"/>
            </a:xfrm>
            <a:custGeom>
              <a:avLst/>
              <a:gdLst>
                <a:gd name="T0" fmla="*/ 278 w 299"/>
                <a:gd name="T1" fmla="*/ 21 h 269"/>
                <a:gd name="T2" fmla="*/ 203 w 299"/>
                <a:gd name="T3" fmla="*/ 21 h 269"/>
                <a:gd name="T4" fmla="*/ 52 w 299"/>
                <a:gd name="T5" fmla="*/ 172 h 269"/>
                <a:gd name="T6" fmla="*/ 43 w 299"/>
                <a:gd name="T7" fmla="*/ 195 h 269"/>
                <a:gd name="T8" fmla="*/ 52 w 299"/>
                <a:gd name="T9" fmla="*/ 217 h 269"/>
                <a:gd name="T10" fmla="*/ 75 w 299"/>
                <a:gd name="T11" fmla="*/ 227 h 269"/>
                <a:gd name="T12" fmla="*/ 97 w 299"/>
                <a:gd name="T13" fmla="*/ 217 h 269"/>
                <a:gd name="T14" fmla="*/ 203 w 299"/>
                <a:gd name="T15" fmla="*/ 112 h 269"/>
                <a:gd name="T16" fmla="*/ 203 w 299"/>
                <a:gd name="T17" fmla="*/ 97 h 269"/>
                <a:gd name="T18" fmla="*/ 188 w 299"/>
                <a:gd name="T19" fmla="*/ 97 h 269"/>
                <a:gd name="T20" fmla="*/ 82 w 299"/>
                <a:gd name="T21" fmla="*/ 202 h 269"/>
                <a:gd name="T22" fmla="*/ 67 w 299"/>
                <a:gd name="T23" fmla="*/ 202 h 269"/>
                <a:gd name="T24" fmla="*/ 64 w 299"/>
                <a:gd name="T25" fmla="*/ 195 h 269"/>
                <a:gd name="T26" fmla="*/ 67 w 299"/>
                <a:gd name="T27" fmla="*/ 187 h 269"/>
                <a:gd name="T28" fmla="*/ 218 w 299"/>
                <a:gd name="T29" fmla="*/ 36 h 269"/>
                <a:gd name="T30" fmla="*/ 263 w 299"/>
                <a:gd name="T31" fmla="*/ 36 h 269"/>
                <a:gd name="T32" fmla="*/ 263 w 299"/>
                <a:gd name="T33" fmla="*/ 81 h 269"/>
                <a:gd name="T34" fmla="*/ 113 w 299"/>
                <a:gd name="T35" fmla="*/ 232 h 269"/>
                <a:gd name="T36" fmla="*/ 75 w 299"/>
                <a:gd name="T37" fmla="*/ 248 h 269"/>
                <a:gd name="T38" fmla="*/ 37 w 299"/>
                <a:gd name="T39" fmla="*/ 232 h 269"/>
                <a:gd name="T40" fmla="*/ 21 w 299"/>
                <a:gd name="T41" fmla="*/ 195 h 269"/>
                <a:gd name="T42" fmla="*/ 37 w 299"/>
                <a:gd name="T43" fmla="*/ 157 h 269"/>
                <a:gd name="T44" fmla="*/ 143 w 299"/>
                <a:gd name="T45" fmla="*/ 51 h 269"/>
                <a:gd name="T46" fmla="*/ 143 w 299"/>
                <a:gd name="T47" fmla="*/ 36 h 269"/>
                <a:gd name="T48" fmla="*/ 128 w 299"/>
                <a:gd name="T49" fmla="*/ 36 h 269"/>
                <a:gd name="T50" fmla="*/ 22 w 299"/>
                <a:gd name="T51" fmla="*/ 142 h 269"/>
                <a:gd name="T52" fmla="*/ 0 w 299"/>
                <a:gd name="T53" fmla="*/ 195 h 269"/>
                <a:gd name="T54" fmla="*/ 22 w 299"/>
                <a:gd name="T55" fmla="*/ 247 h 269"/>
                <a:gd name="T56" fmla="*/ 75 w 299"/>
                <a:gd name="T57" fmla="*/ 269 h 269"/>
                <a:gd name="T58" fmla="*/ 128 w 299"/>
                <a:gd name="T59" fmla="*/ 247 h 269"/>
                <a:gd name="T60" fmla="*/ 278 w 299"/>
                <a:gd name="T61" fmla="*/ 97 h 269"/>
                <a:gd name="T62" fmla="*/ 278 w 299"/>
                <a:gd name="T63" fmla="*/ 2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269">
                  <a:moveTo>
                    <a:pt x="278" y="21"/>
                  </a:moveTo>
                  <a:cubicBezTo>
                    <a:pt x="258" y="0"/>
                    <a:pt x="224" y="0"/>
                    <a:pt x="203" y="21"/>
                  </a:cubicBezTo>
                  <a:cubicBezTo>
                    <a:pt x="52" y="172"/>
                    <a:pt x="52" y="172"/>
                    <a:pt x="52" y="172"/>
                  </a:cubicBezTo>
                  <a:cubicBezTo>
                    <a:pt x="46" y="178"/>
                    <a:pt x="43" y="186"/>
                    <a:pt x="43" y="195"/>
                  </a:cubicBezTo>
                  <a:cubicBezTo>
                    <a:pt x="43" y="203"/>
                    <a:pt x="46" y="211"/>
                    <a:pt x="52" y="217"/>
                  </a:cubicBezTo>
                  <a:cubicBezTo>
                    <a:pt x="58" y="223"/>
                    <a:pt x="67" y="227"/>
                    <a:pt x="75" y="227"/>
                  </a:cubicBezTo>
                  <a:cubicBezTo>
                    <a:pt x="83" y="227"/>
                    <a:pt x="91" y="223"/>
                    <a:pt x="97" y="217"/>
                  </a:cubicBezTo>
                  <a:cubicBezTo>
                    <a:pt x="203" y="112"/>
                    <a:pt x="203" y="112"/>
                    <a:pt x="203" y="112"/>
                  </a:cubicBezTo>
                  <a:cubicBezTo>
                    <a:pt x="207" y="107"/>
                    <a:pt x="207" y="101"/>
                    <a:pt x="203" y="97"/>
                  </a:cubicBezTo>
                  <a:cubicBezTo>
                    <a:pt x="199" y="92"/>
                    <a:pt x="192" y="92"/>
                    <a:pt x="188" y="97"/>
                  </a:cubicBezTo>
                  <a:cubicBezTo>
                    <a:pt x="82" y="202"/>
                    <a:pt x="82" y="202"/>
                    <a:pt x="82" y="202"/>
                  </a:cubicBezTo>
                  <a:cubicBezTo>
                    <a:pt x="78" y="206"/>
                    <a:pt x="71" y="206"/>
                    <a:pt x="67" y="202"/>
                  </a:cubicBezTo>
                  <a:cubicBezTo>
                    <a:pt x="65" y="200"/>
                    <a:pt x="64" y="197"/>
                    <a:pt x="64" y="195"/>
                  </a:cubicBezTo>
                  <a:cubicBezTo>
                    <a:pt x="64" y="192"/>
                    <a:pt x="65" y="189"/>
                    <a:pt x="67" y="187"/>
                  </a:cubicBezTo>
                  <a:cubicBezTo>
                    <a:pt x="218" y="36"/>
                    <a:pt x="218" y="36"/>
                    <a:pt x="218" y="36"/>
                  </a:cubicBezTo>
                  <a:cubicBezTo>
                    <a:pt x="231" y="24"/>
                    <a:pt x="251" y="24"/>
                    <a:pt x="263" y="36"/>
                  </a:cubicBezTo>
                  <a:cubicBezTo>
                    <a:pt x="276" y="49"/>
                    <a:pt x="276" y="69"/>
                    <a:pt x="263" y="81"/>
                  </a:cubicBezTo>
                  <a:cubicBezTo>
                    <a:pt x="113" y="232"/>
                    <a:pt x="113" y="232"/>
                    <a:pt x="113" y="232"/>
                  </a:cubicBezTo>
                  <a:cubicBezTo>
                    <a:pt x="102" y="242"/>
                    <a:pt x="89" y="248"/>
                    <a:pt x="75" y="248"/>
                  </a:cubicBezTo>
                  <a:cubicBezTo>
                    <a:pt x="61" y="248"/>
                    <a:pt x="47" y="242"/>
                    <a:pt x="37" y="232"/>
                  </a:cubicBezTo>
                  <a:cubicBezTo>
                    <a:pt x="27" y="222"/>
                    <a:pt x="21" y="209"/>
                    <a:pt x="21" y="195"/>
                  </a:cubicBezTo>
                  <a:cubicBezTo>
                    <a:pt x="21" y="180"/>
                    <a:pt x="27" y="167"/>
                    <a:pt x="37" y="157"/>
                  </a:cubicBezTo>
                  <a:cubicBezTo>
                    <a:pt x="143" y="51"/>
                    <a:pt x="143" y="51"/>
                    <a:pt x="143" y="51"/>
                  </a:cubicBezTo>
                  <a:cubicBezTo>
                    <a:pt x="147" y="47"/>
                    <a:pt x="147" y="40"/>
                    <a:pt x="143" y="36"/>
                  </a:cubicBezTo>
                  <a:cubicBezTo>
                    <a:pt x="139" y="32"/>
                    <a:pt x="132" y="32"/>
                    <a:pt x="128" y="36"/>
                  </a:cubicBezTo>
                  <a:cubicBezTo>
                    <a:pt x="22" y="142"/>
                    <a:pt x="22" y="142"/>
                    <a:pt x="22" y="142"/>
                  </a:cubicBezTo>
                  <a:cubicBezTo>
                    <a:pt x="8" y="156"/>
                    <a:pt x="0" y="175"/>
                    <a:pt x="0" y="195"/>
                  </a:cubicBezTo>
                  <a:cubicBezTo>
                    <a:pt x="0" y="215"/>
                    <a:pt x="8" y="233"/>
                    <a:pt x="22" y="247"/>
                  </a:cubicBezTo>
                  <a:cubicBezTo>
                    <a:pt x="36" y="261"/>
                    <a:pt x="55" y="269"/>
                    <a:pt x="75" y="269"/>
                  </a:cubicBezTo>
                  <a:cubicBezTo>
                    <a:pt x="95" y="269"/>
                    <a:pt x="113" y="261"/>
                    <a:pt x="128" y="247"/>
                  </a:cubicBezTo>
                  <a:cubicBezTo>
                    <a:pt x="278" y="97"/>
                    <a:pt x="278" y="97"/>
                    <a:pt x="278" y="97"/>
                  </a:cubicBezTo>
                  <a:cubicBezTo>
                    <a:pt x="299" y="76"/>
                    <a:pt x="299" y="42"/>
                    <a:pt x="278"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4" name="Freeform 197"/>
            <p:cNvSpPr>
              <a:spLocks noEditPoints="1"/>
            </p:cNvSpPr>
            <p:nvPr/>
          </p:nvSpPr>
          <p:spPr bwMode="auto">
            <a:xfrm>
              <a:off x="7340" y="4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5" name="TextBox 814"/>
          <p:cNvSpPr txBox="1"/>
          <p:nvPr/>
        </p:nvSpPr>
        <p:spPr>
          <a:xfrm>
            <a:off x="6275146" y="461102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de</a:t>
            </a:r>
          </a:p>
        </p:txBody>
      </p:sp>
      <p:sp>
        <p:nvSpPr>
          <p:cNvPr id="816" name="Freeform 815"/>
          <p:cNvSpPr>
            <a:spLocks noChangeAspect="1" noEditPoints="1"/>
          </p:cNvSpPr>
          <p:nvPr/>
        </p:nvSpPr>
        <p:spPr bwMode="auto">
          <a:xfrm>
            <a:off x="6293550" y="4183829"/>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17" name="Group 8"/>
          <p:cNvGrpSpPr>
            <a:grpSpLocks noChangeAspect="1"/>
          </p:cNvGrpSpPr>
          <p:nvPr/>
        </p:nvGrpSpPr>
        <p:grpSpPr bwMode="auto">
          <a:xfrm>
            <a:off x="6709559" y="4183829"/>
            <a:ext cx="367631" cy="367631"/>
            <a:chOff x="4229" y="1872"/>
            <a:chExt cx="340" cy="340"/>
          </a:xfrm>
          <a:solidFill>
            <a:schemeClr val="accent1"/>
          </a:solidFill>
        </p:grpSpPr>
        <p:sp>
          <p:nvSpPr>
            <p:cNvPr id="818" name="Freeform 9"/>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9" name="Freeform 10"/>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0" name="TextBox 819"/>
          <p:cNvSpPr txBox="1"/>
          <p:nvPr/>
        </p:nvSpPr>
        <p:spPr>
          <a:xfrm>
            <a:off x="7121527"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audio</a:t>
            </a:r>
          </a:p>
        </p:txBody>
      </p:sp>
      <p:sp>
        <p:nvSpPr>
          <p:cNvPr id="821" name="TextBox 820"/>
          <p:cNvSpPr txBox="1"/>
          <p:nvPr/>
        </p:nvSpPr>
        <p:spPr>
          <a:xfrm>
            <a:off x="7966224"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code</a:t>
            </a:r>
          </a:p>
        </p:txBody>
      </p:sp>
      <p:sp>
        <p:nvSpPr>
          <p:cNvPr id="822" name="TextBox 821"/>
          <p:cNvSpPr txBox="1"/>
          <p:nvPr/>
        </p:nvSpPr>
        <p:spPr>
          <a:xfrm>
            <a:off x="6276832" y="380268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Doc</a:t>
            </a:r>
          </a:p>
        </p:txBody>
      </p:sp>
      <p:sp>
        <p:nvSpPr>
          <p:cNvPr id="823" name="Freeform 641"/>
          <p:cNvSpPr>
            <a:spLocks noChangeAspect="1" noEditPoints="1"/>
          </p:cNvSpPr>
          <p:nvPr/>
        </p:nvSpPr>
        <p:spPr bwMode="auto">
          <a:xfrm>
            <a:off x="7133489" y="3357001"/>
            <a:ext cx="367631" cy="367631"/>
          </a:xfrm>
          <a:custGeom>
            <a:avLst/>
            <a:gdLst>
              <a:gd name="T0" fmla="*/ 309 w 512"/>
              <a:gd name="T1" fmla="*/ 330 h 512"/>
              <a:gd name="T2" fmla="*/ 298 w 512"/>
              <a:gd name="T3" fmla="*/ 341 h 512"/>
              <a:gd name="T4" fmla="*/ 288 w 512"/>
              <a:gd name="T5" fmla="*/ 330 h 512"/>
              <a:gd name="T6" fmla="*/ 298 w 512"/>
              <a:gd name="T7" fmla="*/ 320 h 512"/>
              <a:gd name="T8" fmla="*/ 309 w 512"/>
              <a:gd name="T9" fmla="*/ 330 h 512"/>
              <a:gd name="T10" fmla="*/ 213 w 512"/>
              <a:gd name="T11" fmla="*/ 330 h 512"/>
              <a:gd name="T12" fmla="*/ 202 w 512"/>
              <a:gd name="T13" fmla="*/ 341 h 512"/>
              <a:gd name="T14" fmla="*/ 213 w 512"/>
              <a:gd name="T15" fmla="*/ 352 h 512"/>
              <a:gd name="T16" fmla="*/ 224 w 512"/>
              <a:gd name="T17" fmla="*/ 341 h 512"/>
              <a:gd name="T18" fmla="*/ 213 w 512"/>
              <a:gd name="T19" fmla="*/ 330 h 512"/>
              <a:gd name="T20" fmla="*/ 298 w 512"/>
              <a:gd name="T21" fmla="*/ 132 h 512"/>
              <a:gd name="T22" fmla="*/ 298 w 512"/>
              <a:gd name="T23" fmla="*/ 170 h 512"/>
              <a:gd name="T24" fmla="*/ 337 w 512"/>
              <a:gd name="T25" fmla="*/ 170 h 512"/>
              <a:gd name="T26" fmla="*/ 298 w 512"/>
              <a:gd name="T27" fmla="*/ 132 h 512"/>
              <a:gd name="T28" fmla="*/ 288 w 512"/>
              <a:gd name="T29" fmla="*/ 192 h 512"/>
              <a:gd name="T30" fmla="*/ 352 w 512"/>
              <a:gd name="T31" fmla="*/ 192 h 512"/>
              <a:gd name="T32" fmla="*/ 352 w 512"/>
              <a:gd name="T33" fmla="*/ 394 h 512"/>
              <a:gd name="T34" fmla="*/ 160 w 512"/>
              <a:gd name="T35" fmla="*/ 394 h 512"/>
              <a:gd name="T36" fmla="*/ 160 w 512"/>
              <a:gd name="T37" fmla="*/ 117 h 512"/>
              <a:gd name="T38" fmla="*/ 277 w 512"/>
              <a:gd name="T39" fmla="*/ 117 h 512"/>
              <a:gd name="T40" fmla="*/ 277 w 512"/>
              <a:gd name="T41" fmla="*/ 181 h 512"/>
              <a:gd name="T42" fmla="*/ 288 w 512"/>
              <a:gd name="T43" fmla="*/ 192 h 512"/>
              <a:gd name="T44" fmla="*/ 317 w 512"/>
              <a:gd name="T45" fmla="*/ 224 h 512"/>
              <a:gd name="T46" fmla="*/ 232 w 512"/>
              <a:gd name="T47" fmla="*/ 245 h 512"/>
              <a:gd name="T48" fmla="*/ 224 w 512"/>
              <a:gd name="T49" fmla="*/ 256 h 512"/>
              <a:gd name="T50" fmla="*/ 224 w 512"/>
              <a:gd name="T51" fmla="*/ 311 h 512"/>
              <a:gd name="T52" fmla="*/ 213 w 512"/>
              <a:gd name="T53" fmla="*/ 309 h 512"/>
              <a:gd name="T54" fmla="*/ 181 w 512"/>
              <a:gd name="T55" fmla="*/ 341 h 512"/>
              <a:gd name="T56" fmla="*/ 213 w 512"/>
              <a:gd name="T57" fmla="*/ 373 h 512"/>
              <a:gd name="T58" fmla="*/ 245 w 512"/>
              <a:gd name="T59" fmla="*/ 341 h 512"/>
              <a:gd name="T60" fmla="*/ 245 w 512"/>
              <a:gd name="T61" fmla="*/ 264 h 512"/>
              <a:gd name="T62" fmla="*/ 309 w 512"/>
              <a:gd name="T63" fmla="*/ 248 h 512"/>
              <a:gd name="T64" fmla="*/ 309 w 512"/>
              <a:gd name="T65" fmla="*/ 300 h 512"/>
              <a:gd name="T66" fmla="*/ 298 w 512"/>
              <a:gd name="T67" fmla="*/ 298 h 512"/>
              <a:gd name="T68" fmla="*/ 266 w 512"/>
              <a:gd name="T69" fmla="*/ 330 h 512"/>
              <a:gd name="T70" fmla="*/ 298 w 512"/>
              <a:gd name="T71" fmla="*/ 362 h 512"/>
              <a:gd name="T72" fmla="*/ 330 w 512"/>
              <a:gd name="T73" fmla="*/ 330 h 512"/>
              <a:gd name="T74" fmla="*/ 330 w 512"/>
              <a:gd name="T75" fmla="*/ 234 h 512"/>
              <a:gd name="T76" fmla="*/ 330 w 512"/>
              <a:gd name="T77" fmla="*/ 232 h 512"/>
              <a:gd name="T78" fmla="*/ 317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1 h 512"/>
              <a:gd name="T92" fmla="*/ 372 w 512"/>
              <a:gd name="T93" fmla="*/ 177 h 512"/>
              <a:gd name="T94" fmla="*/ 370 w 512"/>
              <a:gd name="T95" fmla="*/ 173 h 512"/>
              <a:gd name="T96" fmla="*/ 295 w 512"/>
              <a:gd name="T97" fmla="*/ 99 h 512"/>
              <a:gd name="T98" fmla="*/ 292 w 512"/>
              <a:gd name="T99" fmla="*/ 96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09" y="330"/>
                </a:moveTo>
                <a:cubicBezTo>
                  <a:pt x="309" y="336"/>
                  <a:pt x="304" y="341"/>
                  <a:pt x="298" y="341"/>
                </a:cubicBezTo>
                <a:cubicBezTo>
                  <a:pt x="292" y="341"/>
                  <a:pt x="288" y="336"/>
                  <a:pt x="288" y="330"/>
                </a:cubicBezTo>
                <a:cubicBezTo>
                  <a:pt x="288" y="324"/>
                  <a:pt x="292" y="320"/>
                  <a:pt x="298" y="320"/>
                </a:cubicBezTo>
                <a:cubicBezTo>
                  <a:pt x="304" y="320"/>
                  <a:pt x="309" y="324"/>
                  <a:pt x="309" y="330"/>
                </a:cubicBezTo>
                <a:close/>
                <a:moveTo>
                  <a:pt x="213" y="330"/>
                </a:moveTo>
                <a:cubicBezTo>
                  <a:pt x="207" y="330"/>
                  <a:pt x="202" y="335"/>
                  <a:pt x="202" y="341"/>
                </a:cubicBezTo>
                <a:cubicBezTo>
                  <a:pt x="202" y="347"/>
                  <a:pt x="207" y="352"/>
                  <a:pt x="213" y="352"/>
                </a:cubicBezTo>
                <a:cubicBezTo>
                  <a:pt x="219" y="352"/>
                  <a:pt x="224" y="347"/>
                  <a:pt x="224" y="341"/>
                </a:cubicBezTo>
                <a:cubicBezTo>
                  <a:pt x="224" y="335"/>
                  <a:pt x="219" y="330"/>
                  <a:pt x="213" y="330"/>
                </a:cubicBezTo>
                <a:close/>
                <a:moveTo>
                  <a:pt x="298" y="132"/>
                </a:moveTo>
                <a:cubicBezTo>
                  <a:pt x="298" y="170"/>
                  <a:pt x="298" y="170"/>
                  <a:pt x="298" y="170"/>
                </a:cubicBezTo>
                <a:cubicBezTo>
                  <a:pt x="337" y="170"/>
                  <a:pt x="337" y="170"/>
                  <a:pt x="337" y="170"/>
                </a:cubicBezTo>
                <a:lnTo>
                  <a:pt x="298" y="132"/>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17" y="224"/>
                </a:moveTo>
                <a:cubicBezTo>
                  <a:pt x="232" y="245"/>
                  <a:pt x="232" y="245"/>
                  <a:pt x="232" y="245"/>
                </a:cubicBezTo>
                <a:cubicBezTo>
                  <a:pt x="227" y="247"/>
                  <a:pt x="224" y="251"/>
                  <a:pt x="224" y="256"/>
                </a:cubicBezTo>
                <a:cubicBezTo>
                  <a:pt x="224" y="311"/>
                  <a:pt x="224" y="311"/>
                  <a:pt x="224" y="311"/>
                </a:cubicBezTo>
                <a:cubicBezTo>
                  <a:pt x="220" y="310"/>
                  <a:pt x="217" y="309"/>
                  <a:pt x="213" y="309"/>
                </a:cubicBezTo>
                <a:cubicBezTo>
                  <a:pt x="195" y="309"/>
                  <a:pt x="181" y="323"/>
                  <a:pt x="181" y="341"/>
                </a:cubicBezTo>
                <a:cubicBezTo>
                  <a:pt x="181" y="359"/>
                  <a:pt x="195" y="373"/>
                  <a:pt x="213" y="373"/>
                </a:cubicBezTo>
                <a:cubicBezTo>
                  <a:pt x="231" y="373"/>
                  <a:pt x="245" y="359"/>
                  <a:pt x="245" y="341"/>
                </a:cubicBezTo>
                <a:cubicBezTo>
                  <a:pt x="245" y="264"/>
                  <a:pt x="245" y="264"/>
                  <a:pt x="245" y="264"/>
                </a:cubicBezTo>
                <a:cubicBezTo>
                  <a:pt x="309" y="248"/>
                  <a:pt x="309" y="248"/>
                  <a:pt x="309" y="248"/>
                </a:cubicBezTo>
                <a:cubicBezTo>
                  <a:pt x="309" y="300"/>
                  <a:pt x="309" y="300"/>
                  <a:pt x="309" y="300"/>
                </a:cubicBezTo>
                <a:cubicBezTo>
                  <a:pt x="306" y="299"/>
                  <a:pt x="302" y="298"/>
                  <a:pt x="298" y="298"/>
                </a:cubicBezTo>
                <a:cubicBezTo>
                  <a:pt x="281" y="298"/>
                  <a:pt x="266" y="313"/>
                  <a:pt x="266" y="330"/>
                </a:cubicBezTo>
                <a:cubicBezTo>
                  <a:pt x="266" y="348"/>
                  <a:pt x="281" y="362"/>
                  <a:pt x="298" y="362"/>
                </a:cubicBezTo>
                <a:cubicBezTo>
                  <a:pt x="316" y="362"/>
                  <a:pt x="330" y="348"/>
                  <a:pt x="330" y="330"/>
                </a:cubicBezTo>
                <a:cubicBezTo>
                  <a:pt x="330" y="234"/>
                  <a:pt x="330" y="234"/>
                  <a:pt x="330" y="234"/>
                </a:cubicBezTo>
                <a:cubicBezTo>
                  <a:pt x="330" y="233"/>
                  <a:pt x="330" y="233"/>
                  <a:pt x="330" y="232"/>
                </a:cubicBezTo>
                <a:cubicBezTo>
                  <a:pt x="329" y="226"/>
                  <a:pt x="323" y="223"/>
                  <a:pt x="317"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8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24" name="Group 644"/>
          <p:cNvGrpSpPr>
            <a:grpSpLocks noChangeAspect="1"/>
          </p:cNvGrpSpPr>
          <p:nvPr/>
        </p:nvGrpSpPr>
        <p:grpSpPr bwMode="auto">
          <a:xfrm>
            <a:off x="7553459" y="3357001"/>
            <a:ext cx="367631" cy="368713"/>
            <a:chOff x="5834" y="2368"/>
            <a:chExt cx="340" cy="341"/>
          </a:xfrm>
          <a:solidFill>
            <a:schemeClr val="accent1"/>
          </a:solidFill>
        </p:grpSpPr>
        <p:sp>
          <p:nvSpPr>
            <p:cNvPr id="825" name="Freeform 645"/>
            <p:cNvSpPr>
              <a:spLocks noEditPoints="1"/>
            </p:cNvSpPr>
            <p:nvPr/>
          </p:nvSpPr>
          <p:spPr bwMode="auto">
            <a:xfrm>
              <a:off x="5926" y="2432"/>
              <a:ext cx="156" cy="213"/>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14 w 235"/>
                <a:gd name="T35" fmla="*/ 298 h 320"/>
                <a:gd name="T36" fmla="*/ 22 w 235"/>
                <a:gd name="T37" fmla="*/ 298 h 320"/>
                <a:gd name="T38" fmla="*/ 22 w 235"/>
                <a:gd name="T39" fmla="*/ 21 h 320"/>
                <a:gd name="T40" fmla="*/ 139 w 235"/>
                <a:gd name="T41" fmla="*/ 21 h 320"/>
                <a:gd name="T42" fmla="*/ 139 w 235"/>
                <a:gd name="T43" fmla="*/ 85 h 320"/>
                <a:gd name="T44" fmla="*/ 150 w 235"/>
                <a:gd name="T45" fmla="*/ 96 h 320"/>
                <a:gd name="T46" fmla="*/ 214 w 235"/>
                <a:gd name="T47" fmla="*/ 96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6" name="Freeform 646"/>
            <p:cNvSpPr>
              <a:spLocks noEditPoints="1"/>
            </p:cNvSpPr>
            <p:nvPr/>
          </p:nvSpPr>
          <p:spPr bwMode="auto">
            <a:xfrm>
              <a:off x="5954" y="2517"/>
              <a:ext cx="99" cy="99"/>
            </a:xfrm>
            <a:custGeom>
              <a:avLst/>
              <a:gdLst>
                <a:gd name="T0" fmla="*/ 43 w 149"/>
                <a:gd name="T1" fmla="*/ 33 h 150"/>
                <a:gd name="T2" fmla="*/ 43 w 149"/>
                <a:gd name="T3" fmla="*/ 88 h 150"/>
                <a:gd name="T4" fmla="*/ 32 w 149"/>
                <a:gd name="T5" fmla="*/ 86 h 150"/>
                <a:gd name="T6" fmla="*/ 0 w 149"/>
                <a:gd name="T7" fmla="*/ 118 h 150"/>
                <a:gd name="T8" fmla="*/ 32 w 149"/>
                <a:gd name="T9" fmla="*/ 150 h 150"/>
                <a:gd name="T10" fmla="*/ 64 w 149"/>
                <a:gd name="T11" fmla="*/ 118 h 150"/>
                <a:gd name="T12" fmla="*/ 64 w 149"/>
                <a:gd name="T13" fmla="*/ 41 h 150"/>
                <a:gd name="T14" fmla="*/ 128 w 149"/>
                <a:gd name="T15" fmla="*/ 25 h 150"/>
                <a:gd name="T16" fmla="*/ 128 w 149"/>
                <a:gd name="T17" fmla="*/ 77 h 150"/>
                <a:gd name="T18" fmla="*/ 117 w 149"/>
                <a:gd name="T19" fmla="*/ 75 h 150"/>
                <a:gd name="T20" fmla="*/ 85 w 149"/>
                <a:gd name="T21" fmla="*/ 107 h 150"/>
                <a:gd name="T22" fmla="*/ 117 w 149"/>
                <a:gd name="T23" fmla="*/ 139 h 150"/>
                <a:gd name="T24" fmla="*/ 149 w 149"/>
                <a:gd name="T25" fmla="*/ 107 h 150"/>
                <a:gd name="T26" fmla="*/ 149 w 149"/>
                <a:gd name="T27" fmla="*/ 11 h 150"/>
                <a:gd name="T28" fmla="*/ 149 w 149"/>
                <a:gd name="T29" fmla="*/ 9 h 150"/>
                <a:gd name="T30" fmla="*/ 136 w 149"/>
                <a:gd name="T31" fmla="*/ 1 h 150"/>
                <a:gd name="T32" fmla="*/ 51 w 149"/>
                <a:gd name="T33" fmla="*/ 22 h 150"/>
                <a:gd name="T34" fmla="*/ 43 w 149"/>
                <a:gd name="T35" fmla="*/ 33 h 150"/>
                <a:gd name="T36" fmla="*/ 32 w 149"/>
                <a:gd name="T37" fmla="*/ 129 h 150"/>
                <a:gd name="T38" fmla="*/ 21 w 149"/>
                <a:gd name="T39" fmla="*/ 118 h 150"/>
                <a:gd name="T40" fmla="*/ 32 w 149"/>
                <a:gd name="T41" fmla="*/ 107 h 150"/>
                <a:gd name="T42" fmla="*/ 43 w 149"/>
                <a:gd name="T43" fmla="*/ 118 h 150"/>
                <a:gd name="T44" fmla="*/ 32 w 149"/>
                <a:gd name="T45" fmla="*/ 129 h 150"/>
                <a:gd name="T46" fmla="*/ 117 w 149"/>
                <a:gd name="T47" fmla="*/ 118 h 150"/>
                <a:gd name="T48" fmla="*/ 107 w 149"/>
                <a:gd name="T49" fmla="*/ 107 h 150"/>
                <a:gd name="T50" fmla="*/ 117 w 149"/>
                <a:gd name="T51" fmla="*/ 97 h 150"/>
                <a:gd name="T52" fmla="*/ 128 w 149"/>
                <a:gd name="T53" fmla="*/ 107 h 150"/>
                <a:gd name="T54" fmla="*/ 117 w 149"/>
                <a:gd name="T55"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50">
                  <a:moveTo>
                    <a:pt x="43" y="33"/>
                  </a:moveTo>
                  <a:cubicBezTo>
                    <a:pt x="43" y="88"/>
                    <a:pt x="43" y="88"/>
                    <a:pt x="43" y="88"/>
                  </a:cubicBezTo>
                  <a:cubicBezTo>
                    <a:pt x="39" y="87"/>
                    <a:pt x="36" y="86"/>
                    <a:pt x="32" y="86"/>
                  </a:cubicBezTo>
                  <a:cubicBezTo>
                    <a:pt x="14" y="86"/>
                    <a:pt x="0" y="100"/>
                    <a:pt x="0" y="118"/>
                  </a:cubicBezTo>
                  <a:cubicBezTo>
                    <a:pt x="0" y="136"/>
                    <a:pt x="14" y="150"/>
                    <a:pt x="32" y="150"/>
                  </a:cubicBezTo>
                  <a:cubicBezTo>
                    <a:pt x="50" y="150"/>
                    <a:pt x="64" y="136"/>
                    <a:pt x="64" y="118"/>
                  </a:cubicBezTo>
                  <a:cubicBezTo>
                    <a:pt x="64" y="41"/>
                    <a:pt x="64" y="41"/>
                    <a:pt x="64" y="41"/>
                  </a:cubicBezTo>
                  <a:cubicBezTo>
                    <a:pt x="128" y="25"/>
                    <a:pt x="128" y="25"/>
                    <a:pt x="128" y="25"/>
                  </a:cubicBezTo>
                  <a:cubicBezTo>
                    <a:pt x="128" y="77"/>
                    <a:pt x="128" y="77"/>
                    <a:pt x="128" y="77"/>
                  </a:cubicBezTo>
                  <a:cubicBezTo>
                    <a:pt x="125" y="76"/>
                    <a:pt x="121" y="75"/>
                    <a:pt x="117" y="75"/>
                  </a:cubicBezTo>
                  <a:cubicBezTo>
                    <a:pt x="100" y="75"/>
                    <a:pt x="85" y="90"/>
                    <a:pt x="85" y="107"/>
                  </a:cubicBezTo>
                  <a:cubicBezTo>
                    <a:pt x="85" y="125"/>
                    <a:pt x="100" y="139"/>
                    <a:pt x="117" y="139"/>
                  </a:cubicBezTo>
                  <a:cubicBezTo>
                    <a:pt x="135" y="139"/>
                    <a:pt x="149" y="125"/>
                    <a:pt x="149" y="107"/>
                  </a:cubicBezTo>
                  <a:cubicBezTo>
                    <a:pt x="149" y="11"/>
                    <a:pt x="149" y="11"/>
                    <a:pt x="149" y="11"/>
                  </a:cubicBezTo>
                  <a:cubicBezTo>
                    <a:pt x="149" y="10"/>
                    <a:pt x="149" y="10"/>
                    <a:pt x="149" y="9"/>
                  </a:cubicBezTo>
                  <a:cubicBezTo>
                    <a:pt x="148" y="3"/>
                    <a:pt x="142" y="0"/>
                    <a:pt x="136" y="1"/>
                  </a:cubicBezTo>
                  <a:cubicBezTo>
                    <a:pt x="51" y="22"/>
                    <a:pt x="51" y="22"/>
                    <a:pt x="51" y="22"/>
                  </a:cubicBezTo>
                  <a:cubicBezTo>
                    <a:pt x="46" y="24"/>
                    <a:pt x="43" y="28"/>
                    <a:pt x="43" y="33"/>
                  </a:cubicBezTo>
                  <a:close/>
                  <a:moveTo>
                    <a:pt x="32" y="129"/>
                  </a:moveTo>
                  <a:cubicBezTo>
                    <a:pt x="26" y="129"/>
                    <a:pt x="21" y="124"/>
                    <a:pt x="21" y="118"/>
                  </a:cubicBezTo>
                  <a:cubicBezTo>
                    <a:pt x="21" y="112"/>
                    <a:pt x="26" y="107"/>
                    <a:pt x="32" y="107"/>
                  </a:cubicBezTo>
                  <a:cubicBezTo>
                    <a:pt x="38" y="107"/>
                    <a:pt x="43" y="112"/>
                    <a:pt x="43" y="118"/>
                  </a:cubicBezTo>
                  <a:cubicBezTo>
                    <a:pt x="43" y="124"/>
                    <a:pt x="38" y="129"/>
                    <a:pt x="32" y="129"/>
                  </a:cubicBezTo>
                  <a:close/>
                  <a:moveTo>
                    <a:pt x="117" y="118"/>
                  </a:moveTo>
                  <a:cubicBezTo>
                    <a:pt x="111" y="118"/>
                    <a:pt x="107" y="113"/>
                    <a:pt x="107" y="107"/>
                  </a:cubicBezTo>
                  <a:cubicBezTo>
                    <a:pt x="107" y="101"/>
                    <a:pt x="111" y="97"/>
                    <a:pt x="117" y="97"/>
                  </a:cubicBezTo>
                  <a:cubicBezTo>
                    <a:pt x="123" y="97"/>
                    <a:pt x="128" y="101"/>
                    <a:pt x="128" y="107"/>
                  </a:cubicBezTo>
                  <a:cubicBezTo>
                    <a:pt x="128" y="113"/>
                    <a:pt x="123" y="118"/>
                    <a:pt x="117"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7" name="Freeform 647"/>
            <p:cNvSpPr>
              <a:spLocks noEditPoints="1"/>
            </p:cNvSpPr>
            <p:nvPr/>
          </p:nvSpPr>
          <p:spPr bwMode="auto">
            <a:xfrm>
              <a:off x="5834" y="236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28" name="Group 650"/>
          <p:cNvGrpSpPr>
            <a:grpSpLocks noChangeAspect="1"/>
          </p:cNvGrpSpPr>
          <p:nvPr/>
        </p:nvGrpSpPr>
        <p:grpSpPr bwMode="auto">
          <a:xfrm>
            <a:off x="7973429" y="3357001"/>
            <a:ext cx="367631" cy="367631"/>
            <a:chOff x="6224" y="2372"/>
            <a:chExt cx="340" cy="340"/>
          </a:xfrm>
          <a:solidFill>
            <a:schemeClr val="accent1"/>
          </a:solidFill>
        </p:grpSpPr>
        <p:sp>
          <p:nvSpPr>
            <p:cNvPr id="829" name="Freeform 651"/>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0" name="Freeform 652"/>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1" name="Freeform 653"/>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2" name="Group 656"/>
          <p:cNvGrpSpPr>
            <a:grpSpLocks noChangeAspect="1"/>
          </p:cNvGrpSpPr>
          <p:nvPr/>
        </p:nvGrpSpPr>
        <p:grpSpPr bwMode="auto">
          <a:xfrm>
            <a:off x="8393405" y="3357001"/>
            <a:ext cx="368712" cy="368713"/>
            <a:chOff x="6597" y="2396"/>
            <a:chExt cx="341" cy="341"/>
          </a:xfrm>
          <a:solidFill>
            <a:schemeClr val="accent1"/>
          </a:solidFill>
        </p:grpSpPr>
        <p:sp>
          <p:nvSpPr>
            <p:cNvPr id="833" name="Freeform 657"/>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4" name="Freeform 658"/>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5" name="Freeform 659"/>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6" name="Freeform 660"/>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7" name="Freeform 661"/>
            <p:cNvSpPr>
              <a:spLocks noEditPoints="1"/>
            </p:cNvSpPr>
            <p:nvPr/>
          </p:nvSpPr>
          <p:spPr bwMode="auto">
            <a:xfrm>
              <a:off x="6597" y="239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8" name="Group 664"/>
          <p:cNvGrpSpPr>
            <a:grpSpLocks noChangeAspect="1"/>
          </p:cNvGrpSpPr>
          <p:nvPr/>
        </p:nvGrpSpPr>
        <p:grpSpPr bwMode="auto">
          <a:xfrm>
            <a:off x="6293549" y="3357001"/>
            <a:ext cx="367631" cy="367631"/>
            <a:chOff x="6958" y="2381"/>
            <a:chExt cx="340" cy="340"/>
          </a:xfrm>
          <a:solidFill>
            <a:schemeClr val="accent1"/>
          </a:solidFill>
        </p:grpSpPr>
        <p:sp>
          <p:nvSpPr>
            <p:cNvPr id="839" name="Freeform 665"/>
            <p:cNvSpPr>
              <a:spLocks/>
            </p:cNvSpPr>
            <p:nvPr/>
          </p:nvSpPr>
          <p:spPr bwMode="auto">
            <a:xfrm>
              <a:off x="7117" y="2559"/>
              <a:ext cx="26" cy="33"/>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0" name="Rectangle 666"/>
            <p:cNvSpPr>
              <a:spLocks noChangeArrowheads="1"/>
            </p:cNvSpPr>
            <p:nvPr/>
          </p:nvSpPr>
          <p:spPr bwMode="auto">
            <a:xfrm>
              <a:off x="7064" y="2629"/>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1" name="Freeform 667"/>
            <p:cNvSpPr>
              <a:spLocks/>
            </p:cNvSpPr>
            <p:nvPr/>
          </p:nvSpPr>
          <p:spPr bwMode="auto">
            <a:xfrm>
              <a:off x="7064" y="2459"/>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2" name="Freeform 668"/>
            <p:cNvSpPr>
              <a:spLocks/>
            </p:cNvSpPr>
            <p:nvPr/>
          </p:nvSpPr>
          <p:spPr bwMode="auto">
            <a:xfrm>
              <a:off x="7156" y="246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3" name="Freeform 669"/>
            <p:cNvSpPr>
              <a:spLocks noEditPoints="1"/>
            </p:cNvSpPr>
            <p:nvPr/>
          </p:nvSpPr>
          <p:spPr bwMode="auto">
            <a:xfrm>
              <a:off x="6958" y="23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4" name="Freeform 670"/>
            <p:cNvSpPr>
              <a:spLocks noEditPoints="1"/>
            </p:cNvSpPr>
            <p:nvPr/>
          </p:nvSpPr>
          <p:spPr bwMode="auto">
            <a:xfrm>
              <a:off x="7043" y="2536"/>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Freeform 671"/>
            <p:cNvSpPr>
              <a:spLocks/>
            </p:cNvSpPr>
            <p:nvPr/>
          </p:nvSpPr>
          <p:spPr bwMode="auto">
            <a:xfrm>
              <a:off x="7068" y="2560"/>
              <a:ext cx="19" cy="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6" name="Group 674"/>
          <p:cNvGrpSpPr>
            <a:grpSpLocks noChangeAspect="1"/>
          </p:cNvGrpSpPr>
          <p:nvPr/>
        </p:nvGrpSpPr>
        <p:grpSpPr bwMode="auto">
          <a:xfrm>
            <a:off x="6709559" y="3357001"/>
            <a:ext cx="367631" cy="367631"/>
            <a:chOff x="6082" y="3636"/>
            <a:chExt cx="340" cy="340"/>
          </a:xfrm>
          <a:solidFill>
            <a:schemeClr val="accent1"/>
          </a:solidFill>
        </p:grpSpPr>
        <p:sp>
          <p:nvSpPr>
            <p:cNvPr id="847" name="Freeform 675"/>
            <p:cNvSpPr>
              <a:spLocks noEditPoints="1"/>
            </p:cNvSpPr>
            <p:nvPr/>
          </p:nvSpPr>
          <p:spPr bwMode="auto">
            <a:xfrm>
              <a:off x="6082" y="3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8" name="Freeform 676"/>
            <p:cNvSpPr>
              <a:spLocks noEditPoints="1"/>
            </p:cNvSpPr>
            <p:nvPr/>
          </p:nvSpPr>
          <p:spPr bwMode="auto">
            <a:xfrm>
              <a:off x="6152" y="3700"/>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9 w 299"/>
                <a:gd name="T47" fmla="*/ 225 h 320"/>
                <a:gd name="T48" fmla="*/ 205 w 299"/>
                <a:gd name="T49" fmla="*/ 177 h 320"/>
                <a:gd name="T50" fmla="*/ 235 w 299"/>
                <a:gd name="T51" fmla="*/ 159 h 320"/>
                <a:gd name="T52" fmla="*/ 252 w 299"/>
                <a:gd name="T53" fmla="*/ 177 h 320"/>
                <a:gd name="T54" fmla="*/ 235 w 299"/>
                <a:gd name="T55" fmla="*/ 172 h 320"/>
                <a:gd name="T56" fmla="*/ 217 w 299"/>
                <a:gd name="T57" fmla="*/ 197 h 320"/>
                <a:gd name="T58" fmla="*/ 254 w 299"/>
                <a:gd name="T59" fmla="*/ 218 h 320"/>
                <a:gd name="T60" fmla="*/ 234 w 299"/>
                <a:gd name="T61" fmla="*/ 235 h 320"/>
                <a:gd name="T62" fmla="*/ 153 w 299"/>
                <a:gd name="T63" fmla="*/ 235 h 320"/>
                <a:gd name="T64" fmla="*/ 188 w 299"/>
                <a:gd name="T65" fmla="*/ 197 h 320"/>
                <a:gd name="T66" fmla="*/ 153 w 299"/>
                <a:gd name="T67" fmla="*/ 159 h 320"/>
                <a:gd name="T68" fmla="*/ 117 w 299"/>
                <a:gd name="T69" fmla="*/ 197 h 320"/>
                <a:gd name="T70" fmla="*/ 153 w 299"/>
                <a:gd name="T71" fmla="*/ 235 h 320"/>
                <a:gd name="T72" fmla="*/ 153 w 299"/>
                <a:gd name="T73" fmla="*/ 172 h 320"/>
                <a:gd name="T74" fmla="*/ 153 w 299"/>
                <a:gd name="T75" fmla="*/ 222 h 320"/>
                <a:gd name="T76" fmla="*/ 134 w 299"/>
                <a:gd name="T77" fmla="*/ 197 h 320"/>
                <a:gd name="T78" fmla="*/ 94 w 299"/>
                <a:gd name="T79" fmla="*/ 225 h 320"/>
                <a:gd name="T80" fmla="*/ 95 w 299"/>
                <a:gd name="T81" fmla="*/ 169 h 320"/>
                <a:gd name="T82" fmla="*/ 43 w 299"/>
                <a:gd name="T83" fmla="*/ 160 h 320"/>
                <a:gd name="T84" fmla="*/ 64 w 299"/>
                <a:gd name="T85" fmla="*/ 234 h 320"/>
                <a:gd name="T86" fmla="*/ 59 w 299"/>
                <a:gd name="T87" fmla="*/ 173 h 320"/>
                <a:gd name="T88" fmla="*/ 88 w 299"/>
                <a:gd name="T89" fmla="*/ 197 h 320"/>
                <a:gd name="T90" fmla="*/ 59 w 299"/>
                <a:gd name="T91"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9" y="225"/>
                  </a:moveTo>
                  <a:cubicBezTo>
                    <a:pt x="203" y="219"/>
                    <a:pt x="200" y="209"/>
                    <a:pt x="200" y="197"/>
                  </a:cubicBezTo>
                  <a:cubicBezTo>
                    <a:pt x="200" y="189"/>
                    <a:pt x="202" y="183"/>
                    <a:pt x="205" y="177"/>
                  </a:cubicBezTo>
                  <a:cubicBezTo>
                    <a:pt x="207" y="171"/>
                    <a:pt x="211" y="166"/>
                    <a:pt x="217" y="163"/>
                  </a:cubicBezTo>
                  <a:cubicBezTo>
                    <a:pt x="222" y="160"/>
                    <a:pt x="228" y="159"/>
                    <a:pt x="235" y="159"/>
                  </a:cubicBezTo>
                  <a:cubicBezTo>
                    <a:pt x="243" y="159"/>
                    <a:pt x="250" y="160"/>
                    <a:pt x="257" y="164"/>
                  </a:cubicBezTo>
                  <a:cubicBezTo>
                    <a:pt x="252" y="177"/>
                    <a:pt x="252" y="177"/>
                    <a:pt x="252" y="177"/>
                  </a:cubicBezTo>
                  <a:cubicBezTo>
                    <a:pt x="249" y="175"/>
                    <a:pt x="246" y="174"/>
                    <a:pt x="244" y="173"/>
                  </a:cubicBezTo>
                  <a:cubicBezTo>
                    <a:pt x="241" y="172"/>
                    <a:pt x="238" y="172"/>
                    <a:pt x="235" y="172"/>
                  </a:cubicBezTo>
                  <a:cubicBezTo>
                    <a:pt x="229" y="172"/>
                    <a:pt x="225" y="174"/>
                    <a:pt x="221" y="179"/>
                  </a:cubicBezTo>
                  <a:cubicBezTo>
                    <a:pt x="218" y="183"/>
                    <a:pt x="217" y="189"/>
                    <a:pt x="217" y="197"/>
                  </a:cubicBezTo>
                  <a:cubicBezTo>
                    <a:pt x="217" y="214"/>
                    <a:pt x="223" y="222"/>
                    <a:pt x="235" y="222"/>
                  </a:cubicBezTo>
                  <a:cubicBezTo>
                    <a:pt x="241" y="222"/>
                    <a:pt x="247" y="221"/>
                    <a:pt x="254" y="218"/>
                  </a:cubicBezTo>
                  <a:cubicBezTo>
                    <a:pt x="254" y="232"/>
                    <a:pt x="254" y="232"/>
                    <a:pt x="254" y="232"/>
                  </a:cubicBezTo>
                  <a:cubicBezTo>
                    <a:pt x="248" y="234"/>
                    <a:pt x="241" y="235"/>
                    <a:pt x="234" y="235"/>
                  </a:cubicBezTo>
                  <a:cubicBezTo>
                    <a:pt x="223" y="235"/>
                    <a:pt x="215" y="232"/>
                    <a:pt x="209" y="225"/>
                  </a:cubicBezTo>
                  <a:close/>
                  <a:moveTo>
                    <a:pt x="153" y="235"/>
                  </a:moveTo>
                  <a:cubicBezTo>
                    <a:pt x="164" y="235"/>
                    <a:pt x="173" y="232"/>
                    <a:pt x="179" y="225"/>
                  </a:cubicBezTo>
                  <a:cubicBezTo>
                    <a:pt x="185" y="219"/>
                    <a:pt x="188" y="209"/>
                    <a:pt x="188" y="197"/>
                  </a:cubicBezTo>
                  <a:cubicBezTo>
                    <a:pt x="188" y="185"/>
                    <a:pt x="185" y="175"/>
                    <a:pt x="179" y="168"/>
                  </a:cubicBezTo>
                  <a:cubicBezTo>
                    <a:pt x="173" y="162"/>
                    <a:pt x="164" y="159"/>
                    <a:pt x="153" y="159"/>
                  </a:cubicBezTo>
                  <a:cubicBezTo>
                    <a:pt x="141" y="159"/>
                    <a:pt x="132" y="162"/>
                    <a:pt x="126" y="168"/>
                  </a:cubicBezTo>
                  <a:cubicBezTo>
                    <a:pt x="120" y="175"/>
                    <a:pt x="117" y="184"/>
                    <a:pt x="117" y="197"/>
                  </a:cubicBezTo>
                  <a:cubicBezTo>
                    <a:pt x="117" y="209"/>
                    <a:pt x="120" y="219"/>
                    <a:pt x="126" y="225"/>
                  </a:cubicBezTo>
                  <a:cubicBezTo>
                    <a:pt x="132" y="232"/>
                    <a:pt x="141" y="235"/>
                    <a:pt x="153" y="235"/>
                  </a:cubicBezTo>
                  <a:close/>
                  <a:moveTo>
                    <a:pt x="138" y="178"/>
                  </a:moveTo>
                  <a:cubicBezTo>
                    <a:pt x="142" y="174"/>
                    <a:pt x="146" y="172"/>
                    <a:pt x="153" y="172"/>
                  </a:cubicBezTo>
                  <a:cubicBezTo>
                    <a:pt x="165" y="172"/>
                    <a:pt x="172" y="180"/>
                    <a:pt x="172" y="197"/>
                  </a:cubicBezTo>
                  <a:cubicBezTo>
                    <a:pt x="172" y="214"/>
                    <a:pt x="165" y="222"/>
                    <a:pt x="153" y="222"/>
                  </a:cubicBezTo>
                  <a:cubicBezTo>
                    <a:pt x="146" y="222"/>
                    <a:pt x="142" y="220"/>
                    <a:pt x="138" y="216"/>
                  </a:cubicBezTo>
                  <a:cubicBezTo>
                    <a:pt x="135" y="212"/>
                    <a:pt x="134" y="205"/>
                    <a:pt x="134" y="197"/>
                  </a:cubicBezTo>
                  <a:cubicBezTo>
                    <a:pt x="134" y="189"/>
                    <a:pt x="135" y="182"/>
                    <a:pt x="138" y="178"/>
                  </a:cubicBezTo>
                  <a:close/>
                  <a:moveTo>
                    <a:pt x="94" y="225"/>
                  </a:moveTo>
                  <a:cubicBezTo>
                    <a:pt x="101" y="218"/>
                    <a:pt x="105" y="209"/>
                    <a:pt x="105" y="196"/>
                  </a:cubicBezTo>
                  <a:cubicBezTo>
                    <a:pt x="105" y="185"/>
                    <a:pt x="102" y="176"/>
                    <a:pt x="95" y="169"/>
                  </a:cubicBezTo>
                  <a:cubicBezTo>
                    <a:pt x="88" y="163"/>
                    <a:pt x="79" y="160"/>
                    <a:pt x="66" y="160"/>
                  </a:cubicBezTo>
                  <a:cubicBezTo>
                    <a:pt x="43" y="160"/>
                    <a:pt x="43" y="160"/>
                    <a:pt x="43" y="160"/>
                  </a:cubicBezTo>
                  <a:cubicBezTo>
                    <a:pt x="43" y="234"/>
                    <a:pt x="43" y="234"/>
                    <a:pt x="43" y="234"/>
                  </a:cubicBezTo>
                  <a:cubicBezTo>
                    <a:pt x="64" y="234"/>
                    <a:pt x="64" y="234"/>
                    <a:pt x="64" y="234"/>
                  </a:cubicBezTo>
                  <a:cubicBezTo>
                    <a:pt x="77" y="234"/>
                    <a:pt x="87" y="231"/>
                    <a:pt x="94" y="225"/>
                  </a:cubicBezTo>
                  <a:close/>
                  <a:moveTo>
                    <a:pt x="59" y="173"/>
                  </a:moveTo>
                  <a:cubicBezTo>
                    <a:pt x="67" y="173"/>
                    <a:pt x="67" y="173"/>
                    <a:pt x="67" y="173"/>
                  </a:cubicBezTo>
                  <a:cubicBezTo>
                    <a:pt x="81" y="173"/>
                    <a:pt x="88" y="181"/>
                    <a:pt x="88" y="197"/>
                  </a:cubicBezTo>
                  <a:cubicBezTo>
                    <a:pt x="88" y="213"/>
                    <a:pt x="81" y="221"/>
                    <a:pt x="66" y="221"/>
                  </a:cubicBezTo>
                  <a:cubicBezTo>
                    <a:pt x="59" y="221"/>
                    <a:pt x="59" y="221"/>
                    <a:pt x="59" y="221"/>
                  </a:cubicBezTo>
                  <a:lnTo>
                    <a:pt x="59" y="1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49" name="TextBox 848"/>
          <p:cNvSpPr txBox="1"/>
          <p:nvPr/>
        </p:nvSpPr>
        <p:spPr>
          <a:xfrm>
            <a:off x="1234604" y="2987858"/>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uffering 1</a:t>
            </a:r>
          </a:p>
        </p:txBody>
      </p:sp>
      <p:sp>
        <p:nvSpPr>
          <p:cNvPr id="850" name="TextBox 849"/>
          <p:cNvSpPr txBox="1"/>
          <p:nvPr/>
        </p:nvSpPr>
        <p:spPr>
          <a:xfrm>
            <a:off x="2062808" y="298785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uffering 21</a:t>
            </a:r>
          </a:p>
        </p:txBody>
      </p:sp>
      <p:sp>
        <p:nvSpPr>
          <p:cNvPr id="851" name="Freeform 696"/>
          <p:cNvSpPr>
            <a:spLocks noChangeAspect="1" noEditPoints="1"/>
          </p:cNvSpPr>
          <p:nvPr/>
        </p:nvSpPr>
        <p:spPr bwMode="auto">
          <a:xfrm>
            <a:off x="1279667" y="253017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1 w 512"/>
              <a:gd name="T11" fmla="*/ 195 h 512"/>
              <a:gd name="T12" fmla="*/ 355 w 512"/>
              <a:gd name="T13" fmla="*/ 141 h 512"/>
              <a:gd name="T14" fmla="*/ 370 w 512"/>
              <a:gd name="T15" fmla="*/ 141 h 512"/>
              <a:gd name="T16" fmla="*/ 370 w 512"/>
              <a:gd name="T17" fmla="*/ 157 h 512"/>
              <a:gd name="T18" fmla="*/ 317 w 512"/>
              <a:gd name="T19" fmla="*/ 210 h 512"/>
              <a:gd name="T20" fmla="*/ 309 w 512"/>
              <a:gd name="T21" fmla="*/ 213 h 512"/>
              <a:gd name="T22" fmla="*/ 301 w 512"/>
              <a:gd name="T23" fmla="*/ 210 h 512"/>
              <a:gd name="T24" fmla="*/ 301 w 512"/>
              <a:gd name="T25" fmla="*/ 195 h 512"/>
              <a:gd name="T26" fmla="*/ 96 w 512"/>
              <a:gd name="T27" fmla="*/ 256 h 512"/>
              <a:gd name="T28" fmla="*/ 106 w 512"/>
              <a:gd name="T29" fmla="*/ 245 h 512"/>
              <a:gd name="T30" fmla="*/ 181 w 512"/>
              <a:gd name="T31" fmla="*/ 245 h 512"/>
              <a:gd name="T32" fmla="*/ 192 w 512"/>
              <a:gd name="T33" fmla="*/ 256 h 512"/>
              <a:gd name="T34" fmla="*/ 181 w 512"/>
              <a:gd name="T35" fmla="*/ 266 h 512"/>
              <a:gd name="T36" fmla="*/ 106 w 512"/>
              <a:gd name="T37" fmla="*/ 266 h 512"/>
              <a:gd name="T38" fmla="*/ 96 w 512"/>
              <a:gd name="T39" fmla="*/ 256 h 512"/>
              <a:gd name="T40" fmla="*/ 210 w 512"/>
              <a:gd name="T41" fmla="*/ 317 h 512"/>
              <a:gd name="T42" fmla="*/ 157 w 512"/>
              <a:gd name="T43" fmla="*/ 370 h 512"/>
              <a:gd name="T44" fmla="*/ 149 w 512"/>
              <a:gd name="T45" fmla="*/ 373 h 512"/>
              <a:gd name="T46" fmla="*/ 141 w 512"/>
              <a:gd name="T47" fmla="*/ 370 h 512"/>
              <a:gd name="T48" fmla="*/ 141 w 512"/>
              <a:gd name="T49" fmla="*/ 355 h 512"/>
              <a:gd name="T50" fmla="*/ 195 w 512"/>
              <a:gd name="T51" fmla="*/ 301 h 512"/>
              <a:gd name="T52" fmla="*/ 210 w 512"/>
              <a:gd name="T53" fmla="*/ 301 h 512"/>
              <a:gd name="T54" fmla="*/ 210 w 512"/>
              <a:gd name="T55" fmla="*/ 317 h 512"/>
              <a:gd name="T56" fmla="*/ 266 w 512"/>
              <a:gd name="T57" fmla="*/ 405 h 512"/>
              <a:gd name="T58" fmla="*/ 256 w 512"/>
              <a:gd name="T59" fmla="*/ 416 h 512"/>
              <a:gd name="T60" fmla="*/ 245 w 512"/>
              <a:gd name="T61" fmla="*/ 405 h 512"/>
              <a:gd name="T62" fmla="*/ 245 w 512"/>
              <a:gd name="T63" fmla="*/ 330 h 512"/>
              <a:gd name="T64" fmla="*/ 256 w 512"/>
              <a:gd name="T65" fmla="*/ 320 h 512"/>
              <a:gd name="T66" fmla="*/ 266 w 512"/>
              <a:gd name="T67" fmla="*/ 330 h 512"/>
              <a:gd name="T68" fmla="*/ 266 w 512"/>
              <a:gd name="T69" fmla="*/ 405 h 512"/>
              <a:gd name="T70" fmla="*/ 266 w 512"/>
              <a:gd name="T71" fmla="*/ 181 h 512"/>
              <a:gd name="T72" fmla="*/ 256 w 512"/>
              <a:gd name="T73" fmla="*/ 192 h 512"/>
              <a:gd name="T74" fmla="*/ 245 w 512"/>
              <a:gd name="T75" fmla="*/ 181 h 512"/>
              <a:gd name="T76" fmla="*/ 245 w 512"/>
              <a:gd name="T77" fmla="*/ 106 h 512"/>
              <a:gd name="T78" fmla="*/ 256 w 512"/>
              <a:gd name="T79" fmla="*/ 96 h 512"/>
              <a:gd name="T80" fmla="*/ 266 w 512"/>
              <a:gd name="T81" fmla="*/ 106 h 512"/>
              <a:gd name="T82" fmla="*/ 266 w 512"/>
              <a:gd name="T83" fmla="*/ 181 h 512"/>
              <a:gd name="T84" fmla="*/ 370 w 512"/>
              <a:gd name="T85" fmla="*/ 370 h 512"/>
              <a:gd name="T86" fmla="*/ 362 w 512"/>
              <a:gd name="T87" fmla="*/ 373 h 512"/>
              <a:gd name="T88" fmla="*/ 355 w 512"/>
              <a:gd name="T89" fmla="*/ 370 h 512"/>
              <a:gd name="T90" fmla="*/ 301 w 512"/>
              <a:gd name="T91" fmla="*/ 317 h 512"/>
              <a:gd name="T92" fmla="*/ 301 w 512"/>
              <a:gd name="T93" fmla="*/ 301 h 512"/>
              <a:gd name="T94" fmla="*/ 317 w 512"/>
              <a:gd name="T95" fmla="*/ 301 h 512"/>
              <a:gd name="T96" fmla="*/ 370 w 512"/>
              <a:gd name="T97" fmla="*/ 355 h 512"/>
              <a:gd name="T98" fmla="*/ 370 w 512"/>
              <a:gd name="T99" fmla="*/ 370 h 512"/>
              <a:gd name="T100" fmla="*/ 405 w 512"/>
              <a:gd name="T101" fmla="*/ 266 h 512"/>
              <a:gd name="T102" fmla="*/ 330 w 512"/>
              <a:gd name="T103" fmla="*/ 266 h 512"/>
              <a:gd name="T104" fmla="*/ 320 w 512"/>
              <a:gd name="T105" fmla="*/ 256 h 512"/>
              <a:gd name="T106" fmla="*/ 330 w 512"/>
              <a:gd name="T107" fmla="*/ 245 h 512"/>
              <a:gd name="T108" fmla="*/ 405 w 512"/>
              <a:gd name="T109" fmla="*/ 245 h 512"/>
              <a:gd name="T110" fmla="*/ 416 w 512"/>
              <a:gd name="T111" fmla="*/ 256 h 512"/>
              <a:gd name="T112" fmla="*/ 405 w 512"/>
              <a:gd name="T11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195"/>
                </a:moveTo>
                <a:cubicBezTo>
                  <a:pt x="355" y="141"/>
                  <a:pt x="355" y="141"/>
                  <a:pt x="355" y="141"/>
                </a:cubicBezTo>
                <a:cubicBezTo>
                  <a:pt x="359" y="137"/>
                  <a:pt x="366" y="137"/>
                  <a:pt x="370" y="141"/>
                </a:cubicBezTo>
                <a:cubicBezTo>
                  <a:pt x="374" y="146"/>
                  <a:pt x="374" y="152"/>
                  <a:pt x="370" y="157"/>
                </a:cubicBezTo>
                <a:cubicBezTo>
                  <a:pt x="317" y="210"/>
                  <a:pt x="317" y="210"/>
                  <a:pt x="317" y="210"/>
                </a:cubicBezTo>
                <a:cubicBezTo>
                  <a:pt x="314" y="212"/>
                  <a:pt x="312" y="213"/>
                  <a:pt x="309" y="213"/>
                </a:cubicBezTo>
                <a:cubicBezTo>
                  <a:pt x="306" y="213"/>
                  <a:pt x="304" y="212"/>
                  <a:pt x="301" y="210"/>
                </a:cubicBezTo>
                <a:cubicBezTo>
                  <a:pt x="297" y="206"/>
                  <a:pt x="297" y="199"/>
                  <a:pt x="301" y="195"/>
                </a:cubicBezTo>
                <a:close/>
                <a:moveTo>
                  <a:pt x="96" y="256"/>
                </a:moveTo>
                <a:cubicBezTo>
                  <a:pt x="96" y="250"/>
                  <a:pt x="100" y="245"/>
                  <a:pt x="106" y="245"/>
                </a:cubicBezTo>
                <a:cubicBezTo>
                  <a:pt x="181" y="245"/>
                  <a:pt x="181" y="245"/>
                  <a:pt x="181" y="245"/>
                </a:cubicBezTo>
                <a:cubicBezTo>
                  <a:pt x="187" y="245"/>
                  <a:pt x="192" y="250"/>
                  <a:pt x="192" y="256"/>
                </a:cubicBezTo>
                <a:cubicBezTo>
                  <a:pt x="192" y="262"/>
                  <a:pt x="187" y="266"/>
                  <a:pt x="181" y="266"/>
                </a:cubicBezTo>
                <a:cubicBezTo>
                  <a:pt x="106" y="266"/>
                  <a:pt x="106" y="266"/>
                  <a:pt x="106" y="266"/>
                </a:cubicBezTo>
                <a:cubicBezTo>
                  <a:pt x="100" y="266"/>
                  <a:pt x="96" y="262"/>
                  <a:pt x="96" y="256"/>
                </a:cubicBezTo>
                <a:close/>
                <a:moveTo>
                  <a:pt x="210" y="31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5" y="301"/>
                  <a:pt x="195" y="301"/>
                  <a:pt x="195" y="301"/>
                </a:cubicBezTo>
                <a:cubicBezTo>
                  <a:pt x="199" y="297"/>
                  <a:pt x="206" y="297"/>
                  <a:pt x="210" y="301"/>
                </a:cubicBezTo>
                <a:cubicBezTo>
                  <a:pt x="214" y="306"/>
                  <a:pt x="214" y="312"/>
                  <a:pt x="210" y="317"/>
                </a:cubicBezTo>
                <a:close/>
                <a:moveTo>
                  <a:pt x="266" y="405"/>
                </a:moveTo>
                <a:cubicBezTo>
                  <a:pt x="266" y="411"/>
                  <a:pt x="262" y="416"/>
                  <a:pt x="256" y="416"/>
                </a:cubicBezTo>
                <a:cubicBezTo>
                  <a:pt x="250" y="416"/>
                  <a:pt x="245" y="411"/>
                  <a:pt x="245" y="405"/>
                </a:cubicBezTo>
                <a:cubicBezTo>
                  <a:pt x="245" y="330"/>
                  <a:pt x="245" y="330"/>
                  <a:pt x="245" y="330"/>
                </a:cubicBezTo>
                <a:cubicBezTo>
                  <a:pt x="245" y="324"/>
                  <a:pt x="250" y="320"/>
                  <a:pt x="256" y="320"/>
                </a:cubicBezTo>
                <a:cubicBezTo>
                  <a:pt x="262" y="320"/>
                  <a:pt x="266" y="324"/>
                  <a:pt x="266" y="330"/>
                </a:cubicBezTo>
                <a:lnTo>
                  <a:pt x="266" y="405"/>
                </a:lnTo>
                <a:close/>
                <a:moveTo>
                  <a:pt x="266" y="181"/>
                </a:moveTo>
                <a:cubicBezTo>
                  <a:pt x="266" y="187"/>
                  <a:pt x="262" y="192"/>
                  <a:pt x="256" y="192"/>
                </a:cubicBezTo>
                <a:cubicBezTo>
                  <a:pt x="250" y="192"/>
                  <a:pt x="245" y="187"/>
                  <a:pt x="245" y="181"/>
                </a:cubicBezTo>
                <a:cubicBezTo>
                  <a:pt x="245" y="106"/>
                  <a:pt x="245" y="106"/>
                  <a:pt x="245" y="106"/>
                </a:cubicBezTo>
                <a:cubicBezTo>
                  <a:pt x="245" y="100"/>
                  <a:pt x="250" y="96"/>
                  <a:pt x="256" y="96"/>
                </a:cubicBezTo>
                <a:cubicBezTo>
                  <a:pt x="262" y="96"/>
                  <a:pt x="266" y="100"/>
                  <a:pt x="266" y="106"/>
                </a:cubicBezTo>
                <a:lnTo>
                  <a:pt x="266" y="181"/>
                </a:lnTo>
                <a:close/>
                <a:moveTo>
                  <a:pt x="370" y="370"/>
                </a:moveTo>
                <a:cubicBezTo>
                  <a:pt x="368" y="372"/>
                  <a:pt x="365" y="373"/>
                  <a:pt x="362" y="373"/>
                </a:cubicBezTo>
                <a:cubicBezTo>
                  <a:pt x="360" y="373"/>
                  <a:pt x="357" y="372"/>
                  <a:pt x="355" y="370"/>
                </a:cubicBezTo>
                <a:cubicBezTo>
                  <a:pt x="301" y="317"/>
                  <a:pt x="301" y="317"/>
                  <a:pt x="301" y="317"/>
                </a:cubicBezTo>
                <a:cubicBezTo>
                  <a:pt x="297" y="312"/>
                  <a:pt x="297" y="306"/>
                  <a:pt x="301" y="301"/>
                </a:cubicBezTo>
                <a:cubicBezTo>
                  <a:pt x="306" y="297"/>
                  <a:pt x="312" y="297"/>
                  <a:pt x="317" y="301"/>
                </a:cubicBezTo>
                <a:cubicBezTo>
                  <a:pt x="370" y="355"/>
                  <a:pt x="370" y="355"/>
                  <a:pt x="370" y="355"/>
                </a:cubicBezTo>
                <a:cubicBezTo>
                  <a:pt x="374" y="359"/>
                  <a:pt x="374" y="366"/>
                  <a:pt x="370" y="370"/>
                </a:cubicBezTo>
                <a:close/>
                <a:moveTo>
                  <a:pt x="405" y="266"/>
                </a:moveTo>
                <a:cubicBezTo>
                  <a:pt x="330" y="266"/>
                  <a:pt x="330" y="266"/>
                  <a:pt x="330" y="266"/>
                </a:cubicBezTo>
                <a:cubicBezTo>
                  <a:pt x="324" y="266"/>
                  <a:pt x="320" y="262"/>
                  <a:pt x="320" y="256"/>
                </a:cubicBezTo>
                <a:cubicBezTo>
                  <a:pt x="320" y="250"/>
                  <a:pt x="324" y="245"/>
                  <a:pt x="330"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52" name="Group 699"/>
          <p:cNvGrpSpPr>
            <a:grpSpLocks noChangeAspect="1"/>
          </p:cNvGrpSpPr>
          <p:nvPr/>
        </p:nvGrpSpPr>
        <p:grpSpPr bwMode="auto">
          <a:xfrm>
            <a:off x="1698943" y="2530173"/>
            <a:ext cx="367982" cy="367982"/>
            <a:chOff x="4147" y="2931"/>
            <a:chExt cx="340" cy="340"/>
          </a:xfrm>
          <a:solidFill>
            <a:schemeClr val="accent2"/>
          </a:solidFill>
        </p:grpSpPr>
        <p:sp>
          <p:nvSpPr>
            <p:cNvPr id="853" name="Freeform 852"/>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4" name="Freeform 853"/>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5" name="Freeform 705"/>
          <p:cNvSpPr>
            <a:spLocks noChangeAspect="1" noEditPoints="1"/>
          </p:cNvSpPr>
          <p:nvPr/>
        </p:nvSpPr>
        <p:spPr bwMode="auto">
          <a:xfrm>
            <a:off x="2118219" y="253017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56" name="Group 708"/>
          <p:cNvGrpSpPr>
            <a:grpSpLocks noChangeAspect="1"/>
          </p:cNvGrpSpPr>
          <p:nvPr/>
        </p:nvGrpSpPr>
        <p:grpSpPr bwMode="auto">
          <a:xfrm>
            <a:off x="2537495" y="2530173"/>
            <a:ext cx="367982" cy="367982"/>
            <a:chOff x="4601" y="3177"/>
            <a:chExt cx="340" cy="340"/>
          </a:xfrm>
          <a:solidFill>
            <a:schemeClr val="accent2"/>
          </a:solidFill>
        </p:grpSpPr>
        <p:sp>
          <p:nvSpPr>
            <p:cNvPr id="857" name="Freeform 709"/>
            <p:cNvSpPr>
              <a:spLocks noEditPoints="1"/>
            </p:cNvSpPr>
            <p:nvPr/>
          </p:nvSpPr>
          <p:spPr bwMode="auto">
            <a:xfrm>
              <a:off x="4601"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8" name="Freeform 710"/>
            <p:cNvSpPr>
              <a:spLocks noEditPoints="1"/>
            </p:cNvSpPr>
            <p:nvPr/>
          </p:nvSpPr>
          <p:spPr bwMode="auto">
            <a:xfrm>
              <a:off x="4679" y="3255"/>
              <a:ext cx="184" cy="184"/>
            </a:xfrm>
            <a:custGeom>
              <a:avLst/>
              <a:gdLst>
                <a:gd name="T0" fmla="*/ 277 w 277"/>
                <a:gd name="T1" fmla="*/ 139 h 277"/>
                <a:gd name="T2" fmla="*/ 139 w 277"/>
                <a:gd name="T3" fmla="*/ 277 h 277"/>
                <a:gd name="T4" fmla="*/ 0 w 277"/>
                <a:gd name="T5" fmla="*/ 139 h 277"/>
                <a:gd name="T6" fmla="*/ 11 w 277"/>
                <a:gd name="T7" fmla="*/ 128 h 277"/>
                <a:gd name="T8" fmla="*/ 21 w 277"/>
                <a:gd name="T9" fmla="*/ 139 h 277"/>
                <a:gd name="T10" fmla="*/ 139 w 277"/>
                <a:gd name="T11" fmla="*/ 256 h 277"/>
                <a:gd name="T12" fmla="*/ 256 w 277"/>
                <a:gd name="T13" fmla="*/ 139 h 277"/>
                <a:gd name="T14" fmla="*/ 139 w 277"/>
                <a:gd name="T15" fmla="*/ 21 h 277"/>
                <a:gd name="T16" fmla="*/ 128 w 277"/>
                <a:gd name="T17" fmla="*/ 11 h 277"/>
                <a:gd name="T18" fmla="*/ 139 w 277"/>
                <a:gd name="T19" fmla="*/ 0 h 277"/>
                <a:gd name="T20" fmla="*/ 277 w 277"/>
                <a:gd name="T21" fmla="*/ 139 h 277"/>
                <a:gd name="T22" fmla="*/ 7 w 277"/>
                <a:gd name="T23" fmla="*/ 114 h 277"/>
                <a:gd name="T24" fmla="*/ 15 w 277"/>
                <a:gd name="T25" fmla="*/ 117 h 277"/>
                <a:gd name="T26" fmla="*/ 19 w 277"/>
                <a:gd name="T27" fmla="*/ 116 h 277"/>
                <a:gd name="T28" fmla="*/ 22 w 277"/>
                <a:gd name="T29" fmla="*/ 114 h 277"/>
                <a:gd name="T30" fmla="*/ 25 w 277"/>
                <a:gd name="T31" fmla="*/ 111 h 277"/>
                <a:gd name="T32" fmla="*/ 25 w 277"/>
                <a:gd name="T33" fmla="*/ 107 h 277"/>
                <a:gd name="T34" fmla="*/ 22 w 277"/>
                <a:gd name="T35" fmla="*/ 99 h 277"/>
                <a:gd name="T36" fmla="*/ 7 w 277"/>
                <a:gd name="T37" fmla="*/ 99 h 277"/>
                <a:gd name="T38" fmla="*/ 5 w 277"/>
                <a:gd name="T39" fmla="*/ 103 h 277"/>
                <a:gd name="T40" fmla="*/ 4 w 277"/>
                <a:gd name="T41" fmla="*/ 107 h 277"/>
                <a:gd name="T42" fmla="*/ 5 w 277"/>
                <a:gd name="T43" fmla="*/ 111 h 277"/>
                <a:gd name="T44" fmla="*/ 7 w 277"/>
                <a:gd name="T45" fmla="*/ 114 h 277"/>
                <a:gd name="T46" fmla="*/ 75 w 277"/>
                <a:gd name="T47" fmla="*/ 38 h 277"/>
                <a:gd name="T48" fmla="*/ 80 w 277"/>
                <a:gd name="T49" fmla="*/ 37 h 277"/>
                <a:gd name="T50" fmla="*/ 84 w 277"/>
                <a:gd name="T51" fmla="*/ 22 h 277"/>
                <a:gd name="T52" fmla="*/ 70 w 277"/>
                <a:gd name="T53" fmla="*/ 18 h 277"/>
                <a:gd name="T54" fmla="*/ 66 w 277"/>
                <a:gd name="T55" fmla="*/ 33 h 277"/>
                <a:gd name="T56" fmla="*/ 75 w 277"/>
                <a:gd name="T57" fmla="*/ 38 h 277"/>
                <a:gd name="T58" fmla="*/ 22 w 277"/>
                <a:gd name="T59" fmla="*/ 84 h 277"/>
                <a:gd name="T60" fmla="*/ 28 w 277"/>
                <a:gd name="T61" fmla="*/ 86 h 277"/>
                <a:gd name="T62" fmla="*/ 37 w 277"/>
                <a:gd name="T63" fmla="*/ 80 h 277"/>
                <a:gd name="T64" fmla="*/ 33 w 277"/>
                <a:gd name="T65" fmla="*/ 66 h 277"/>
                <a:gd name="T66" fmla="*/ 18 w 277"/>
                <a:gd name="T67" fmla="*/ 70 h 277"/>
                <a:gd name="T68" fmla="*/ 22 w 277"/>
                <a:gd name="T69" fmla="*/ 84 h 277"/>
                <a:gd name="T70" fmla="*/ 48 w 277"/>
                <a:gd name="T71" fmla="*/ 59 h 277"/>
                <a:gd name="T72" fmla="*/ 56 w 277"/>
                <a:gd name="T73" fmla="*/ 56 h 277"/>
                <a:gd name="T74" fmla="*/ 56 w 277"/>
                <a:gd name="T75" fmla="*/ 41 h 277"/>
                <a:gd name="T76" fmla="*/ 41 w 277"/>
                <a:gd name="T77" fmla="*/ 41 h 277"/>
                <a:gd name="T78" fmla="*/ 41 w 277"/>
                <a:gd name="T79" fmla="*/ 56 h 277"/>
                <a:gd name="T80" fmla="*/ 48 w 277"/>
                <a:gd name="T81" fmla="*/ 59 h 277"/>
                <a:gd name="T82" fmla="*/ 107 w 277"/>
                <a:gd name="T83" fmla="*/ 25 h 277"/>
                <a:gd name="T84" fmla="*/ 114 w 277"/>
                <a:gd name="T85" fmla="*/ 22 h 277"/>
                <a:gd name="T86" fmla="*/ 117 w 277"/>
                <a:gd name="T87" fmla="*/ 15 h 277"/>
                <a:gd name="T88" fmla="*/ 116 w 277"/>
                <a:gd name="T89" fmla="*/ 11 h 277"/>
                <a:gd name="T90" fmla="*/ 114 w 277"/>
                <a:gd name="T91" fmla="*/ 7 h 277"/>
                <a:gd name="T92" fmla="*/ 111 w 277"/>
                <a:gd name="T93" fmla="*/ 5 h 277"/>
                <a:gd name="T94" fmla="*/ 99 w 277"/>
                <a:gd name="T95" fmla="*/ 7 h 277"/>
                <a:gd name="T96" fmla="*/ 97 w 277"/>
                <a:gd name="T97" fmla="*/ 11 h 277"/>
                <a:gd name="T98" fmla="*/ 96 w 277"/>
                <a:gd name="T99" fmla="*/ 15 h 277"/>
                <a:gd name="T100" fmla="*/ 99 w 277"/>
                <a:gd name="T101" fmla="*/ 22 h 277"/>
                <a:gd name="T102" fmla="*/ 107 w 277"/>
                <a:gd name="T103"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77">
                  <a:moveTo>
                    <a:pt x="277" y="139"/>
                  </a:moveTo>
                  <a:cubicBezTo>
                    <a:pt x="277" y="215"/>
                    <a:pt x="215" y="277"/>
                    <a:pt x="139" y="277"/>
                  </a:cubicBezTo>
                  <a:cubicBezTo>
                    <a:pt x="62" y="277"/>
                    <a:pt x="0" y="215"/>
                    <a:pt x="0" y="139"/>
                  </a:cubicBezTo>
                  <a:cubicBezTo>
                    <a:pt x="0" y="133"/>
                    <a:pt x="5" y="128"/>
                    <a:pt x="11" y="128"/>
                  </a:cubicBezTo>
                  <a:cubicBezTo>
                    <a:pt x="17" y="128"/>
                    <a:pt x="21" y="133"/>
                    <a:pt x="21" y="139"/>
                  </a:cubicBezTo>
                  <a:cubicBezTo>
                    <a:pt x="21" y="203"/>
                    <a:pt x="74" y="256"/>
                    <a:pt x="139" y="256"/>
                  </a:cubicBezTo>
                  <a:cubicBezTo>
                    <a:pt x="203" y="256"/>
                    <a:pt x="256" y="203"/>
                    <a:pt x="256" y="139"/>
                  </a:cubicBezTo>
                  <a:cubicBezTo>
                    <a:pt x="256" y="74"/>
                    <a:pt x="203" y="21"/>
                    <a:pt x="139" y="21"/>
                  </a:cubicBezTo>
                  <a:cubicBezTo>
                    <a:pt x="133" y="21"/>
                    <a:pt x="128" y="17"/>
                    <a:pt x="128" y="11"/>
                  </a:cubicBezTo>
                  <a:cubicBezTo>
                    <a:pt x="128" y="5"/>
                    <a:pt x="133" y="0"/>
                    <a:pt x="139" y="0"/>
                  </a:cubicBezTo>
                  <a:cubicBezTo>
                    <a:pt x="215" y="0"/>
                    <a:pt x="277" y="62"/>
                    <a:pt x="277" y="139"/>
                  </a:cubicBezTo>
                  <a:close/>
                  <a:moveTo>
                    <a:pt x="7" y="114"/>
                  </a:moveTo>
                  <a:cubicBezTo>
                    <a:pt x="9" y="116"/>
                    <a:pt x="12" y="117"/>
                    <a:pt x="15" y="117"/>
                  </a:cubicBezTo>
                  <a:cubicBezTo>
                    <a:pt x="16" y="117"/>
                    <a:pt x="17" y="117"/>
                    <a:pt x="19" y="116"/>
                  </a:cubicBezTo>
                  <a:cubicBezTo>
                    <a:pt x="20" y="116"/>
                    <a:pt x="21" y="115"/>
                    <a:pt x="22" y="114"/>
                  </a:cubicBezTo>
                  <a:cubicBezTo>
                    <a:pt x="23" y="113"/>
                    <a:pt x="24" y="112"/>
                    <a:pt x="25" y="111"/>
                  </a:cubicBezTo>
                  <a:cubicBezTo>
                    <a:pt x="25" y="109"/>
                    <a:pt x="25" y="108"/>
                    <a:pt x="25" y="107"/>
                  </a:cubicBezTo>
                  <a:cubicBezTo>
                    <a:pt x="25" y="104"/>
                    <a:pt x="24" y="101"/>
                    <a:pt x="22" y="99"/>
                  </a:cubicBezTo>
                  <a:cubicBezTo>
                    <a:pt x="18" y="95"/>
                    <a:pt x="11" y="95"/>
                    <a:pt x="7" y="99"/>
                  </a:cubicBezTo>
                  <a:cubicBezTo>
                    <a:pt x="6" y="100"/>
                    <a:pt x="5" y="101"/>
                    <a:pt x="5" y="103"/>
                  </a:cubicBezTo>
                  <a:cubicBezTo>
                    <a:pt x="4" y="104"/>
                    <a:pt x="4" y="105"/>
                    <a:pt x="4" y="107"/>
                  </a:cubicBezTo>
                  <a:cubicBezTo>
                    <a:pt x="4" y="108"/>
                    <a:pt x="4" y="109"/>
                    <a:pt x="5" y="111"/>
                  </a:cubicBezTo>
                  <a:cubicBezTo>
                    <a:pt x="5" y="112"/>
                    <a:pt x="6" y="113"/>
                    <a:pt x="7" y="114"/>
                  </a:cubicBezTo>
                  <a:close/>
                  <a:moveTo>
                    <a:pt x="75" y="38"/>
                  </a:moveTo>
                  <a:cubicBezTo>
                    <a:pt x="77" y="38"/>
                    <a:pt x="79" y="38"/>
                    <a:pt x="80" y="37"/>
                  </a:cubicBezTo>
                  <a:cubicBezTo>
                    <a:pt x="86" y="34"/>
                    <a:pt x="87" y="27"/>
                    <a:pt x="84" y="22"/>
                  </a:cubicBezTo>
                  <a:cubicBezTo>
                    <a:pt x="81" y="17"/>
                    <a:pt x="75" y="15"/>
                    <a:pt x="70" y="18"/>
                  </a:cubicBezTo>
                  <a:cubicBezTo>
                    <a:pt x="65" y="21"/>
                    <a:pt x="63" y="28"/>
                    <a:pt x="66" y="33"/>
                  </a:cubicBezTo>
                  <a:cubicBezTo>
                    <a:pt x="68" y="36"/>
                    <a:pt x="71" y="38"/>
                    <a:pt x="75" y="38"/>
                  </a:cubicBezTo>
                  <a:close/>
                  <a:moveTo>
                    <a:pt x="22" y="84"/>
                  </a:moveTo>
                  <a:cubicBezTo>
                    <a:pt x="24" y="85"/>
                    <a:pt x="26" y="86"/>
                    <a:pt x="28" y="86"/>
                  </a:cubicBezTo>
                  <a:cubicBezTo>
                    <a:pt x="31" y="86"/>
                    <a:pt x="35" y="84"/>
                    <a:pt x="37" y="80"/>
                  </a:cubicBezTo>
                  <a:cubicBezTo>
                    <a:pt x="40" y="75"/>
                    <a:pt x="38" y="69"/>
                    <a:pt x="33" y="66"/>
                  </a:cubicBezTo>
                  <a:cubicBezTo>
                    <a:pt x="28" y="63"/>
                    <a:pt x="21" y="65"/>
                    <a:pt x="18" y="70"/>
                  </a:cubicBezTo>
                  <a:cubicBezTo>
                    <a:pt x="15" y="75"/>
                    <a:pt x="17" y="81"/>
                    <a:pt x="22" y="84"/>
                  </a:cubicBezTo>
                  <a:close/>
                  <a:moveTo>
                    <a:pt x="48" y="59"/>
                  </a:moveTo>
                  <a:cubicBezTo>
                    <a:pt x="51" y="59"/>
                    <a:pt x="54" y="58"/>
                    <a:pt x="56" y="56"/>
                  </a:cubicBezTo>
                  <a:cubicBezTo>
                    <a:pt x="60" y="52"/>
                    <a:pt x="60" y="45"/>
                    <a:pt x="56" y="41"/>
                  </a:cubicBezTo>
                  <a:cubicBezTo>
                    <a:pt x="52" y="36"/>
                    <a:pt x="45" y="36"/>
                    <a:pt x="41" y="41"/>
                  </a:cubicBezTo>
                  <a:cubicBezTo>
                    <a:pt x="36" y="45"/>
                    <a:pt x="36" y="52"/>
                    <a:pt x="41" y="56"/>
                  </a:cubicBezTo>
                  <a:cubicBezTo>
                    <a:pt x="43" y="58"/>
                    <a:pt x="45" y="59"/>
                    <a:pt x="48" y="59"/>
                  </a:cubicBezTo>
                  <a:close/>
                  <a:moveTo>
                    <a:pt x="107" y="25"/>
                  </a:moveTo>
                  <a:cubicBezTo>
                    <a:pt x="110" y="25"/>
                    <a:pt x="112" y="24"/>
                    <a:pt x="114" y="22"/>
                  </a:cubicBezTo>
                  <a:cubicBezTo>
                    <a:pt x="116" y="20"/>
                    <a:pt x="117" y="18"/>
                    <a:pt x="117" y="15"/>
                  </a:cubicBezTo>
                  <a:cubicBezTo>
                    <a:pt x="117" y="13"/>
                    <a:pt x="117" y="12"/>
                    <a:pt x="116" y="11"/>
                  </a:cubicBezTo>
                  <a:cubicBezTo>
                    <a:pt x="116" y="9"/>
                    <a:pt x="115" y="8"/>
                    <a:pt x="114" y="7"/>
                  </a:cubicBezTo>
                  <a:cubicBezTo>
                    <a:pt x="113" y="6"/>
                    <a:pt x="112" y="5"/>
                    <a:pt x="111" y="5"/>
                  </a:cubicBezTo>
                  <a:cubicBezTo>
                    <a:pt x="107" y="3"/>
                    <a:pt x="102" y="4"/>
                    <a:pt x="99" y="7"/>
                  </a:cubicBezTo>
                  <a:cubicBezTo>
                    <a:pt x="98" y="8"/>
                    <a:pt x="97" y="9"/>
                    <a:pt x="97" y="11"/>
                  </a:cubicBezTo>
                  <a:cubicBezTo>
                    <a:pt x="96" y="12"/>
                    <a:pt x="96" y="13"/>
                    <a:pt x="96" y="15"/>
                  </a:cubicBezTo>
                  <a:cubicBezTo>
                    <a:pt x="96" y="18"/>
                    <a:pt x="97" y="20"/>
                    <a:pt x="99" y="22"/>
                  </a:cubicBezTo>
                  <a:cubicBezTo>
                    <a:pt x="101" y="24"/>
                    <a:pt x="104" y="25"/>
                    <a:pt x="107"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9" name="TextBox 858"/>
          <p:cNvSpPr txBox="1"/>
          <p:nvPr/>
        </p:nvSpPr>
        <p:spPr>
          <a:xfrm>
            <a:off x="5438324" y="6243501"/>
            <a:ext cx="830792" cy="153888"/>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Hashtag</a:t>
            </a:r>
            <a:endParaRPr lang="en-US" sz="1000" dirty="0">
              <a:solidFill>
                <a:srgbClr val="313131"/>
              </a:solidFill>
            </a:endParaRPr>
          </a:p>
        </p:txBody>
      </p:sp>
      <p:sp>
        <p:nvSpPr>
          <p:cNvPr id="860" name="Freeform 198"/>
          <p:cNvSpPr>
            <a:spLocks noChangeAspect="1" noEditPoints="1"/>
          </p:cNvSpPr>
          <p:nvPr/>
        </p:nvSpPr>
        <p:spPr bwMode="auto">
          <a:xfrm>
            <a:off x="5452669" y="5843297"/>
            <a:ext cx="367041" cy="368121"/>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61" name="Group 201"/>
          <p:cNvGrpSpPr>
            <a:grpSpLocks noChangeAspect="1"/>
          </p:cNvGrpSpPr>
          <p:nvPr/>
        </p:nvGrpSpPr>
        <p:grpSpPr bwMode="auto">
          <a:xfrm>
            <a:off x="5871121" y="5843297"/>
            <a:ext cx="367041" cy="367041"/>
            <a:chOff x="1152" y="749"/>
            <a:chExt cx="340" cy="340"/>
          </a:xfrm>
          <a:solidFill>
            <a:schemeClr val="accent3"/>
          </a:solidFill>
        </p:grpSpPr>
        <p:sp>
          <p:nvSpPr>
            <p:cNvPr id="862" name="Freeform 202"/>
            <p:cNvSpPr>
              <a:spLocks noEditPoints="1"/>
            </p:cNvSpPr>
            <p:nvPr/>
          </p:nvSpPr>
          <p:spPr bwMode="auto">
            <a:xfrm>
              <a:off x="1152" y="7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Freeform 203"/>
            <p:cNvSpPr>
              <a:spLocks noEditPoints="1"/>
            </p:cNvSpPr>
            <p:nvPr/>
          </p:nvSpPr>
          <p:spPr bwMode="auto">
            <a:xfrm>
              <a:off x="1219" y="821"/>
              <a:ext cx="205" cy="195"/>
            </a:xfrm>
            <a:custGeom>
              <a:avLst/>
              <a:gdLst>
                <a:gd name="T0" fmla="*/ 299 w 309"/>
                <a:gd name="T1" fmla="*/ 77 h 294"/>
                <a:gd name="T2" fmla="*/ 235 w 309"/>
                <a:gd name="T3" fmla="*/ 77 h 294"/>
                <a:gd name="T4" fmla="*/ 244 w 309"/>
                <a:gd name="T5" fmla="*/ 13 h 294"/>
                <a:gd name="T6" fmla="*/ 234 w 309"/>
                <a:gd name="T7" fmla="*/ 1 h 294"/>
                <a:gd name="T8" fmla="*/ 222 w 309"/>
                <a:gd name="T9" fmla="*/ 10 h 294"/>
                <a:gd name="T10" fmla="*/ 214 w 309"/>
                <a:gd name="T11" fmla="*/ 77 h 294"/>
                <a:gd name="T12" fmla="*/ 114 w 309"/>
                <a:gd name="T13" fmla="*/ 77 h 294"/>
                <a:gd name="T14" fmla="*/ 123 w 309"/>
                <a:gd name="T15" fmla="*/ 13 h 294"/>
                <a:gd name="T16" fmla="*/ 114 w 309"/>
                <a:gd name="T17" fmla="*/ 1 h 294"/>
                <a:gd name="T18" fmla="*/ 102 w 309"/>
                <a:gd name="T19" fmla="*/ 10 h 294"/>
                <a:gd name="T20" fmla="*/ 93 w 309"/>
                <a:gd name="T21" fmla="*/ 77 h 294"/>
                <a:gd name="T22" fmla="*/ 27 w 309"/>
                <a:gd name="T23" fmla="*/ 77 h 294"/>
                <a:gd name="T24" fmla="*/ 16 w 309"/>
                <a:gd name="T25" fmla="*/ 87 h 294"/>
                <a:gd name="T26" fmla="*/ 27 w 309"/>
                <a:gd name="T27" fmla="*/ 98 h 294"/>
                <a:gd name="T28" fmla="*/ 90 w 309"/>
                <a:gd name="T29" fmla="*/ 98 h 294"/>
                <a:gd name="T30" fmla="*/ 77 w 309"/>
                <a:gd name="T31" fmla="*/ 197 h 294"/>
                <a:gd name="T32" fmla="*/ 11 w 309"/>
                <a:gd name="T33" fmla="*/ 197 h 294"/>
                <a:gd name="T34" fmla="*/ 0 w 309"/>
                <a:gd name="T35" fmla="*/ 208 h 294"/>
                <a:gd name="T36" fmla="*/ 11 w 309"/>
                <a:gd name="T37" fmla="*/ 219 h 294"/>
                <a:gd name="T38" fmla="*/ 74 w 309"/>
                <a:gd name="T39" fmla="*/ 219 h 294"/>
                <a:gd name="T40" fmla="*/ 66 w 309"/>
                <a:gd name="T41" fmla="*/ 282 h 294"/>
                <a:gd name="T42" fmla="*/ 75 w 309"/>
                <a:gd name="T43" fmla="*/ 294 h 294"/>
                <a:gd name="T44" fmla="*/ 76 w 309"/>
                <a:gd name="T45" fmla="*/ 294 h 294"/>
                <a:gd name="T46" fmla="*/ 87 w 309"/>
                <a:gd name="T47" fmla="*/ 285 h 294"/>
                <a:gd name="T48" fmla="*/ 96 w 309"/>
                <a:gd name="T49" fmla="*/ 219 h 294"/>
                <a:gd name="T50" fmla="*/ 195 w 309"/>
                <a:gd name="T51" fmla="*/ 219 h 294"/>
                <a:gd name="T52" fmla="*/ 187 w 309"/>
                <a:gd name="T53" fmla="*/ 282 h 294"/>
                <a:gd name="T54" fmla="*/ 196 w 309"/>
                <a:gd name="T55" fmla="*/ 294 h 294"/>
                <a:gd name="T56" fmla="*/ 197 w 309"/>
                <a:gd name="T57" fmla="*/ 294 h 294"/>
                <a:gd name="T58" fmla="*/ 208 w 309"/>
                <a:gd name="T59" fmla="*/ 285 h 294"/>
                <a:gd name="T60" fmla="*/ 217 w 309"/>
                <a:gd name="T61" fmla="*/ 219 h 294"/>
                <a:gd name="T62" fmla="*/ 283 w 309"/>
                <a:gd name="T63" fmla="*/ 219 h 294"/>
                <a:gd name="T64" fmla="*/ 293 w 309"/>
                <a:gd name="T65" fmla="*/ 208 h 294"/>
                <a:gd name="T66" fmla="*/ 283 w 309"/>
                <a:gd name="T67" fmla="*/ 197 h 294"/>
                <a:gd name="T68" fmla="*/ 219 w 309"/>
                <a:gd name="T69" fmla="*/ 197 h 294"/>
                <a:gd name="T70" fmla="*/ 232 w 309"/>
                <a:gd name="T71" fmla="*/ 98 h 294"/>
                <a:gd name="T72" fmla="*/ 299 w 309"/>
                <a:gd name="T73" fmla="*/ 98 h 294"/>
                <a:gd name="T74" fmla="*/ 309 w 309"/>
                <a:gd name="T75" fmla="*/ 87 h 294"/>
                <a:gd name="T76" fmla="*/ 299 w 309"/>
                <a:gd name="T77" fmla="*/ 77 h 294"/>
                <a:gd name="T78" fmla="*/ 198 w 309"/>
                <a:gd name="T79" fmla="*/ 197 h 294"/>
                <a:gd name="T80" fmla="*/ 98 w 309"/>
                <a:gd name="T81" fmla="*/ 197 h 294"/>
                <a:gd name="T82" fmla="*/ 112 w 309"/>
                <a:gd name="T83" fmla="*/ 98 h 294"/>
                <a:gd name="T84" fmla="*/ 211 w 309"/>
                <a:gd name="T85" fmla="*/ 98 h 294"/>
                <a:gd name="T86" fmla="*/ 198 w 309"/>
                <a:gd name="T87" fmla="*/ 19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9" h="294">
                  <a:moveTo>
                    <a:pt x="299" y="77"/>
                  </a:moveTo>
                  <a:cubicBezTo>
                    <a:pt x="235" y="77"/>
                    <a:pt x="235" y="77"/>
                    <a:pt x="235" y="77"/>
                  </a:cubicBezTo>
                  <a:cubicBezTo>
                    <a:pt x="244" y="13"/>
                    <a:pt x="244" y="13"/>
                    <a:pt x="244" y="13"/>
                  </a:cubicBezTo>
                  <a:cubicBezTo>
                    <a:pt x="244" y="7"/>
                    <a:pt x="240" y="2"/>
                    <a:pt x="234" y="1"/>
                  </a:cubicBezTo>
                  <a:cubicBezTo>
                    <a:pt x="229" y="0"/>
                    <a:pt x="223" y="4"/>
                    <a:pt x="222" y="10"/>
                  </a:cubicBezTo>
                  <a:cubicBezTo>
                    <a:pt x="214" y="77"/>
                    <a:pt x="214" y="77"/>
                    <a:pt x="214" y="77"/>
                  </a:cubicBezTo>
                  <a:cubicBezTo>
                    <a:pt x="114" y="77"/>
                    <a:pt x="114" y="77"/>
                    <a:pt x="114" y="77"/>
                  </a:cubicBezTo>
                  <a:cubicBezTo>
                    <a:pt x="123" y="13"/>
                    <a:pt x="123" y="13"/>
                    <a:pt x="123" y="13"/>
                  </a:cubicBezTo>
                  <a:cubicBezTo>
                    <a:pt x="123" y="7"/>
                    <a:pt x="119" y="2"/>
                    <a:pt x="114" y="1"/>
                  </a:cubicBezTo>
                  <a:cubicBezTo>
                    <a:pt x="108" y="0"/>
                    <a:pt x="102" y="4"/>
                    <a:pt x="102" y="10"/>
                  </a:cubicBezTo>
                  <a:cubicBezTo>
                    <a:pt x="93" y="77"/>
                    <a:pt x="93" y="77"/>
                    <a:pt x="93" y="77"/>
                  </a:cubicBezTo>
                  <a:cubicBezTo>
                    <a:pt x="27" y="77"/>
                    <a:pt x="27" y="77"/>
                    <a:pt x="27" y="77"/>
                  </a:cubicBezTo>
                  <a:cubicBezTo>
                    <a:pt x="21" y="77"/>
                    <a:pt x="16" y="81"/>
                    <a:pt x="16" y="87"/>
                  </a:cubicBezTo>
                  <a:cubicBezTo>
                    <a:pt x="16" y="93"/>
                    <a:pt x="21" y="98"/>
                    <a:pt x="27" y="98"/>
                  </a:cubicBezTo>
                  <a:cubicBezTo>
                    <a:pt x="90" y="98"/>
                    <a:pt x="90" y="98"/>
                    <a:pt x="90" y="98"/>
                  </a:cubicBezTo>
                  <a:cubicBezTo>
                    <a:pt x="77" y="197"/>
                    <a:pt x="77" y="197"/>
                    <a:pt x="77" y="197"/>
                  </a:cubicBezTo>
                  <a:cubicBezTo>
                    <a:pt x="11" y="197"/>
                    <a:pt x="11" y="197"/>
                    <a:pt x="11" y="197"/>
                  </a:cubicBezTo>
                  <a:cubicBezTo>
                    <a:pt x="5" y="197"/>
                    <a:pt x="0" y="202"/>
                    <a:pt x="0" y="208"/>
                  </a:cubicBezTo>
                  <a:cubicBezTo>
                    <a:pt x="0" y="214"/>
                    <a:pt x="5" y="219"/>
                    <a:pt x="11" y="219"/>
                  </a:cubicBezTo>
                  <a:cubicBezTo>
                    <a:pt x="74" y="219"/>
                    <a:pt x="74" y="219"/>
                    <a:pt x="74" y="219"/>
                  </a:cubicBezTo>
                  <a:cubicBezTo>
                    <a:pt x="66" y="282"/>
                    <a:pt x="66" y="282"/>
                    <a:pt x="66" y="282"/>
                  </a:cubicBezTo>
                  <a:cubicBezTo>
                    <a:pt x="65" y="288"/>
                    <a:pt x="69" y="294"/>
                    <a:pt x="75" y="294"/>
                  </a:cubicBezTo>
                  <a:cubicBezTo>
                    <a:pt x="76" y="294"/>
                    <a:pt x="76" y="294"/>
                    <a:pt x="76" y="294"/>
                  </a:cubicBezTo>
                  <a:cubicBezTo>
                    <a:pt x="82" y="294"/>
                    <a:pt x="86" y="290"/>
                    <a:pt x="87" y="285"/>
                  </a:cubicBezTo>
                  <a:cubicBezTo>
                    <a:pt x="96" y="219"/>
                    <a:pt x="96" y="219"/>
                    <a:pt x="96" y="219"/>
                  </a:cubicBezTo>
                  <a:cubicBezTo>
                    <a:pt x="195" y="219"/>
                    <a:pt x="195" y="219"/>
                    <a:pt x="195" y="219"/>
                  </a:cubicBezTo>
                  <a:cubicBezTo>
                    <a:pt x="187" y="282"/>
                    <a:pt x="187" y="282"/>
                    <a:pt x="187" y="282"/>
                  </a:cubicBezTo>
                  <a:cubicBezTo>
                    <a:pt x="186" y="288"/>
                    <a:pt x="190" y="294"/>
                    <a:pt x="196" y="294"/>
                  </a:cubicBezTo>
                  <a:cubicBezTo>
                    <a:pt x="197" y="294"/>
                    <a:pt x="197" y="294"/>
                    <a:pt x="197" y="294"/>
                  </a:cubicBezTo>
                  <a:cubicBezTo>
                    <a:pt x="203" y="294"/>
                    <a:pt x="207" y="290"/>
                    <a:pt x="208" y="285"/>
                  </a:cubicBezTo>
                  <a:cubicBezTo>
                    <a:pt x="217" y="219"/>
                    <a:pt x="217" y="219"/>
                    <a:pt x="217" y="219"/>
                  </a:cubicBezTo>
                  <a:cubicBezTo>
                    <a:pt x="283" y="219"/>
                    <a:pt x="283" y="219"/>
                    <a:pt x="283" y="219"/>
                  </a:cubicBezTo>
                  <a:cubicBezTo>
                    <a:pt x="289" y="219"/>
                    <a:pt x="293" y="214"/>
                    <a:pt x="293" y="208"/>
                  </a:cubicBezTo>
                  <a:cubicBezTo>
                    <a:pt x="293" y="202"/>
                    <a:pt x="289" y="197"/>
                    <a:pt x="283" y="197"/>
                  </a:cubicBezTo>
                  <a:cubicBezTo>
                    <a:pt x="219" y="197"/>
                    <a:pt x="219" y="197"/>
                    <a:pt x="219" y="197"/>
                  </a:cubicBezTo>
                  <a:cubicBezTo>
                    <a:pt x="232" y="98"/>
                    <a:pt x="232" y="98"/>
                    <a:pt x="232" y="98"/>
                  </a:cubicBezTo>
                  <a:cubicBezTo>
                    <a:pt x="299" y="98"/>
                    <a:pt x="299" y="98"/>
                    <a:pt x="299" y="98"/>
                  </a:cubicBezTo>
                  <a:cubicBezTo>
                    <a:pt x="305" y="98"/>
                    <a:pt x="309" y="93"/>
                    <a:pt x="309" y="87"/>
                  </a:cubicBezTo>
                  <a:cubicBezTo>
                    <a:pt x="309" y="81"/>
                    <a:pt x="305" y="77"/>
                    <a:pt x="299" y="77"/>
                  </a:cubicBezTo>
                  <a:close/>
                  <a:moveTo>
                    <a:pt x="198" y="197"/>
                  </a:moveTo>
                  <a:cubicBezTo>
                    <a:pt x="98" y="197"/>
                    <a:pt x="98" y="197"/>
                    <a:pt x="98" y="197"/>
                  </a:cubicBezTo>
                  <a:cubicBezTo>
                    <a:pt x="112" y="98"/>
                    <a:pt x="112" y="98"/>
                    <a:pt x="112" y="98"/>
                  </a:cubicBezTo>
                  <a:cubicBezTo>
                    <a:pt x="211" y="98"/>
                    <a:pt x="211" y="98"/>
                    <a:pt x="211" y="98"/>
                  </a:cubicBezTo>
                  <a:lnTo>
                    <a:pt x="198" y="1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64" name="TextBox 863"/>
          <p:cNvSpPr txBox="1"/>
          <p:nvPr/>
        </p:nvSpPr>
        <p:spPr>
          <a:xfrm>
            <a:off x="6276975" y="624350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t>
            </a:r>
          </a:p>
        </p:txBody>
      </p:sp>
      <p:sp>
        <p:nvSpPr>
          <p:cNvPr id="865" name="Freeform 15"/>
          <p:cNvSpPr>
            <a:spLocks noChangeAspect="1" noEditPoints="1"/>
          </p:cNvSpPr>
          <p:nvPr/>
        </p:nvSpPr>
        <p:spPr bwMode="auto">
          <a:xfrm>
            <a:off x="6289573" y="5843297"/>
            <a:ext cx="368152" cy="368152"/>
          </a:xfrm>
          <a:custGeom>
            <a:avLst/>
            <a:gdLst>
              <a:gd name="T0" fmla="*/ 259 w 512"/>
              <a:gd name="T1" fmla="*/ 192 h 512"/>
              <a:gd name="T2" fmla="*/ 300 w 512"/>
              <a:gd name="T3" fmla="*/ 205 h 512"/>
              <a:gd name="T4" fmla="*/ 290 w 512"/>
              <a:gd name="T5" fmla="*/ 265 h 512"/>
              <a:gd name="T6" fmla="*/ 222 w 512"/>
              <a:gd name="T7" fmla="*/ 317 h 512"/>
              <a:gd name="T8" fmla="*/ 199 w 512"/>
              <a:gd name="T9" fmla="*/ 291 h 512"/>
              <a:gd name="T10" fmla="*/ 218 w 512"/>
              <a:gd name="T11" fmla="*/ 211 h 512"/>
              <a:gd name="T12" fmla="*/ 259 w 512"/>
              <a:gd name="T13" fmla="*/ 192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416 w 512"/>
              <a:gd name="T25" fmla="*/ 256 h 512"/>
              <a:gd name="T26" fmla="*/ 256 w 512"/>
              <a:gd name="T27" fmla="*/ 96 h 512"/>
              <a:gd name="T28" fmla="*/ 96 w 512"/>
              <a:gd name="T29" fmla="*/ 256 h 512"/>
              <a:gd name="T30" fmla="*/ 256 w 512"/>
              <a:gd name="T31" fmla="*/ 416 h 512"/>
              <a:gd name="T32" fmla="*/ 328 w 512"/>
              <a:gd name="T33" fmla="*/ 398 h 512"/>
              <a:gd name="T34" fmla="*/ 333 w 512"/>
              <a:gd name="T35" fmla="*/ 384 h 512"/>
              <a:gd name="T36" fmla="*/ 319 w 512"/>
              <a:gd name="T37" fmla="*/ 379 h 512"/>
              <a:gd name="T38" fmla="*/ 256 w 512"/>
              <a:gd name="T39" fmla="*/ 394 h 512"/>
              <a:gd name="T40" fmla="*/ 117 w 512"/>
              <a:gd name="T41" fmla="*/ 256 h 512"/>
              <a:gd name="T42" fmla="*/ 256 w 512"/>
              <a:gd name="T43" fmla="*/ 117 h 512"/>
              <a:gd name="T44" fmla="*/ 394 w 512"/>
              <a:gd name="T45" fmla="*/ 256 h 512"/>
              <a:gd name="T46" fmla="*/ 384 w 512"/>
              <a:gd name="T47" fmla="*/ 307 h 512"/>
              <a:gd name="T48" fmla="*/ 338 w 512"/>
              <a:gd name="T49" fmla="*/ 338 h 512"/>
              <a:gd name="T50" fmla="*/ 309 w 512"/>
              <a:gd name="T51" fmla="*/ 286 h 512"/>
              <a:gd name="T52" fmla="*/ 323 w 512"/>
              <a:gd name="T53" fmla="*/ 201 h 512"/>
              <a:gd name="T54" fmla="*/ 318 w 512"/>
              <a:gd name="T55" fmla="*/ 190 h 512"/>
              <a:gd name="T56" fmla="*/ 202 w 512"/>
              <a:gd name="T57" fmla="*/ 197 h 512"/>
              <a:gd name="T58" fmla="*/ 179 w 512"/>
              <a:gd name="T59" fmla="*/ 297 h 512"/>
              <a:gd name="T60" fmla="*/ 216 w 512"/>
              <a:gd name="T61" fmla="*/ 337 h 512"/>
              <a:gd name="T62" fmla="*/ 288 w 512"/>
              <a:gd name="T63" fmla="*/ 305 h 512"/>
              <a:gd name="T64" fmla="*/ 332 w 512"/>
              <a:gd name="T65" fmla="*/ 359 h 512"/>
              <a:gd name="T66" fmla="*/ 404 w 512"/>
              <a:gd name="T67" fmla="*/ 316 h 512"/>
              <a:gd name="T68" fmla="*/ 416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9" y="192"/>
                </a:moveTo>
                <a:cubicBezTo>
                  <a:pt x="275" y="192"/>
                  <a:pt x="291" y="199"/>
                  <a:pt x="300" y="205"/>
                </a:cubicBezTo>
                <a:cubicBezTo>
                  <a:pt x="290" y="265"/>
                  <a:pt x="290" y="265"/>
                  <a:pt x="290" y="265"/>
                </a:cubicBezTo>
                <a:cubicBezTo>
                  <a:pt x="280" y="283"/>
                  <a:pt x="249" y="325"/>
                  <a:pt x="222" y="317"/>
                </a:cubicBezTo>
                <a:cubicBezTo>
                  <a:pt x="208" y="313"/>
                  <a:pt x="202" y="300"/>
                  <a:pt x="199" y="291"/>
                </a:cubicBezTo>
                <a:cubicBezTo>
                  <a:pt x="192" y="265"/>
                  <a:pt x="200" y="232"/>
                  <a:pt x="218" y="211"/>
                </a:cubicBezTo>
                <a:cubicBezTo>
                  <a:pt x="231" y="197"/>
                  <a:pt x="245" y="192"/>
                  <a:pt x="259"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8"/>
                  <a:pt x="344" y="96"/>
                  <a:pt x="256" y="96"/>
                </a:cubicBezTo>
                <a:cubicBezTo>
                  <a:pt x="168" y="96"/>
                  <a:pt x="96" y="168"/>
                  <a:pt x="96" y="256"/>
                </a:cubicBezTo>
                <a:cubicBezTo>
                  <a:pt x="96" y="344"/>
                  <a:pt x="168" y="416"/>
                  <a:pt x="256" y="416"/>
                </a:cubicBezTo>
                <a:cubicBezTo>
                  <a:pt x="281" y="416"/>
                  <a:pt x="306" y="410"/>
                  <a:pt x="328" y="398"/>
                </a:cubicBezTo>
                <a:cubicBezTo>
                  <a:pt x="333" y="395"/>
                  <a:pt x="336" y="389"/>
                  <a:pt x="333" y="384"/>
                </a:cubicBezTo>
                <a:cubicBezTo>
                  <a:pt x="330" y="379"/>
                  <a:pt x="324" y="376"/>
                  <a:pt x="319" y="379"/>
                </a:cubicBezTo>
                <a:cubicBezTo>
                  <a:pt x="299" y="389"/>
                  <a:pt x="278" y="394"/>
                  <a:pt x="256" y="394"/>
                </a:cubicBezTo>
                <a:cubicBezTo>
                  <a:pt x="179" y="394"/>
                  <a:pt x="117" y="332"/>
                  <a:pt x="117" y="256"/>
                </a:cubicBezTo>
                <a:cubicBezTo>
                  <a:pt x="117" y="179"/>
                  <a:pt x="179" y="117"/>
                  <a:pt x="256" y="117"/>
                </a:cubicBezTo>
                <a:cubicBezTo>
                  <a:pt x="332" y="117"/>
                  <a:pt x="394" y="179"/>
                  <a:pt x="394" y="256"/>
                </a:cubicBezTo>
                <a:cubicBezTo>
                  <a:pt x="394" y="274"/>
                  <a:pt x="391" y="291"/>
                  <a:pt x="384" y="307"/>
                </a:cubicBezTo>
                <a:cubicBezTo>
                  <a:pt x="384" y="308"/>
                  <a:pt x="365" y="346"/>
                  <a:pt x="338" y="338"/>
                </a:cubicBezTo>
                <a:cubicBezTo>
                  <a:pt x="303" y="329"/>
                  <a:pt x="308" y="287"/>
                  <a:pt x="309" y="286"/>
                </a:cubicBezTo>
                <a:cubicBezTo>
                  <a:pt x="323" y="201"/>
                  <a:pt x="323" y="201"/>
                  <a:pt x="323" y="201"/>
                </a:cubicBezTo>
                <a:cubicBezTo>
                  <a:pt x="323" y="197"/>
                  <a:pt x="322" y="193"/>
                  <a:pt x="318" y="190"/>
                </a:cubicBezTo>
                <a:cubicBezTo>
                  <a:pt x="284" y="168"/>
                  <a:pt x="236" y="158"/>
                  <a:pt x="202" y="197"/>
                </a:cubicBezTo>
                <a:cubicBezTo>
                  <a:pt x="179" y="223"/>
                  <a:pt x="169" y="264"/>
                  <a:pt x="179" y="297"/>
                </a:cubicBezTo>
                <a:cubicBezTo>
                  <a:pt x="185" y="318"/>
                  <a:pt x="198" y="332"/>
                  <a:pt x="216" y="337"/>
                </a:cubicBezTo>
                <a:cubicBezTo>
                  <a:pt x="245" y="345"/>
                  <a:pt x="270" y="325"/>
                  <a:pt x="288" y="305"/>
                </a:cubicBezTo>
                <a:cubicBezTo>
                  <a:pt x="291" y="326"/>
                  <a:pt x="302" y="350"/>
                  <a:pt x="332" y="359"/>
                </a:cubicBezTo>
                <a:cubicBezTo>
                  <a:pt x="376" y="371"/>
                  <a:pt x="402" y="319"/>
                  <a:pt x="404" y="316"/>
                </a:cubicBezTo>
                <a:cubicBezTo>
                  <a:pt x="412" y="297"/>
                  <a:pt x="416" y="276"/>
                  <a:pt x="416" y="25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66" name="Group 22"/>
          <p:cNvGrpSpPr>
            <a:grpSpLocks noChangeAspect="1"/>
          </p:cNvGrpSpPr>
          <p:nvPr/>
        </p:nvGrpSpPr>
        <p:grpSpPr bwMode="auto">
          <a:xfrm>
            <a:off x="6709139" y="5843297"/>
            <a:ext cx="368051" cy="368152"/>
            <a:chOff x="299" y="531"/>
            <a:chExt cx="3635" cy="3636"/>
          </a:xfrm>
          <a:solidFill>
            <a:schemeClr val="accent1"/>
          </a:solidFill>
        </p:grpSpPr>
        <p:sp>
          <p:nvSpPr>
            <p:cNvPr id="867" name="Freeform 23"/>
            <p:cNvSpPr>
              <a:spLocks noEditPoints="1"/>
            </p:cNvSpPr>
            <p:nvPr/>
          </p:nvSpPr>
          <p:spPr bwMode="auto">
            <a:xfrm>
              <a:off x="299" y="531"/>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8" name="Freeform 24"/>
            <p:cNvSpPr>
              <a:spLocks noEditPoints="1"/>
            </p:cNvSpPr>
            <p:nvPr/>
          </p:nvSpPr>
          <p:spPr bwMode="auto">
            <a:xfrm>
              <a:off x="980" y="1213"/>
              <a:ext cx="2272" cy="2272"/>
            </a:xfrm>
            <a:custGeom>
              <a:avLst/>
              <a:gdLst>
                <a:gd name="T0" fmla="*/ 160 w 320"/>
                <a:gd name="T1" fmla="*/ 320 h 320"/>
                <a:gd name="T2" fmla="*/ 0 w 320"/>
                <a:gd name="T3" fmla="*/ 160 h 320"/>
                <a:gd name="T4" fmla="*/ 160 w 320"/>
                <a:gd name="T5" fmla="*/ 0 h 320"/>
                <a:gd name="T6" fmla="*/ 320 w 320"/>
                <a:gd name="T7" fmla="*/ 160 h 320"/>
                <a:gd name="T8" fmla="*/ 308 w 320"/>
                <a:gd name="T9" fmla="*/ 220 h 320"/>
                <a:gd name="T10" fmla="*/ 236 w 320"/>
                <a:gd name="T11" fmla="*/ 263 h 320"/>
                <a:gd name="T12" fmla="*/ 192 w 320"/>
                <a:gd name="T13" fmla="*/ 209 h 320"/>
                <a:gd name="T14" fmla="*/ 120 w 320"/>
                <a:gd name="T15" fmla="*/ 241 h 320"/>
                <a:gd name="T16" fmla="*/ 83 w 320"/>
                <a:gd name="T17" fmla="*/ 201 h 320"/>
                <a:gd name="T18" fmla="*/ 106 w 320"/>
                <a:gd name="T19" fmla="*/ 101 h 320"/>
                <a:gd name="T20" fmla="*/ 222 w 320"/>
                <a:gd name="T21" fmla="*/ 94 h 320"/>
                <a:gd name="T22" fmla="*/ 227 w 320"/>
                <a:gd name="T23" fmla="*/ 105 h 320"/>
                <a:gd name="T24" fmla="*/ 213 w 320"/>
                <a:gd name="T25" fmla="*/ 190 h 320"/>
                <a:gd name="T26" fmla="*/ 242 w 320"/>
                <a:gd name="T27" fmla="*/ 242 h 320"/>
                <a:gd name="T28" fmla="*/ 288 w 320"/>
                <a:gd name="T29" fmla="*/ 211 h 320"/>
                <a:gd name="T30" fmla="*/ 298 w 320"/>
                <a:gd name="T31" fmla="*/ 160 h 320"/>
                <a:gd name="T32" fmla="*/ 160 w 320"/>
                <a:gd name="T33" fmla="*/ 21 h 320"/>
                <a:gd name="T34" fmla="*/ 21 w 320"/>
                <a:gd name="T35" fmla="*/ 160 h 320"/>
                <a:gd name="T36" fmla="*/ 160 w 320"/>
                <a:gd name="T37" fmla="*/ 298 h 320"/>
                <a:gd name="T38" fmla="*/ 223 w 320"/>
                <a:gd name="T39" fmla="*/ 283 h 320"/>
                <a:gd name="T40" fmla="*/ 237 w 320"/>
                <a:gd name="T41" fmla="*/ 288 h 320"/>
                <a:gd name="T42" fmla="*/ 232 w 320"/>
                <a:gd name="T43" fmla="*/ 302 h 320"/>
                <a:gd name="T44" fmla="*/ 160 w 320"/>
                <a:gd name="T45" fmla="*/ 320 h 320"/>
                <a:gd name="T46" fmla="*/ 163 w 320"/>
                <a:gd name="T47" fmla="*/ 96 h 320"/>
                <a:gd name="T48" fmla="*/ 122 w 320"/>
                <a:gd name="T49" fmla="*/ 115 h 320"/>
                <a:gd name="T50" fmla="*/ 103 w 320"/>
                <a:gd name="T51" fmla="*/ 195 h 320"/>
                <a:gd name="T52" fmla="*/ 126 w 320"/>
                <a:gd name="T53" fmla="*/ 221 h 320"/>
                <a:gd name="T54" fmla="*/ 194 w 320"/>
                <a:gd name="T55" fmla="*/ 169 h 320"/>
                <a:gd name="T56" fmla="*/ 204 w 320"/>
                <a:gd name="T57" fmla="*/ 109 h 320"/>
                <a:gd name="T58" fmla="*/ 163 w 320"/>
                <a:gd name="T59"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160" y="320"/>
                  </a:moveTo>
                  <a:cubicBezTo>
                    <a:pt x="72" y="320"/>
                    <a:pt x="0" y="248"/>
                    <a:pt x="0" y="160"/>
                  </a:cubicBezTo>
                  <a:cubicBezTo>
                    <a:pt x="0" y="72"/>
                    <a:pt x="72" y="0"/>
                    <a:pt x="160" y="0"/>
                  </a:cubicBezTo>
                  <a:cubicBezTo>
                    <a:pt x="248" y="0"/>
                    <a:pt x="320" y="72"/>
                    <a:pt x="320" y="160"/>
                  </a:cubicBezTo>
                  <a:cubicBezTo>
                    <a:pt x="320" y="180"/>
                    <a:pt x="316" y="201"/>
                    <a:pt x="308" y="220"/>
                  </a:cubicBezTo>
                  <a:cubicBezTo>
                    <a:pt x="306" y="223"/>
                    <a:pt x="280" y="275"/>
                    <a:pt x="236" y="263"/>
                  </a:cubicBezTo>
                  <a:cubicBezTo>
                    <a:pt x="206" y="254"/>
                    <a:pt x="195" y="230"/>
                    <a:pt x="192" y="209"/>
                  </a:cubicBezTo>
                  <a:cubicBezTo>
                    <a:pt x="174" y="229"/>
                    <a:pt x="149" y="249"/>
                    <a:pt x="120" y="241"/>
                  </a:cubicBezTo>
                  <a:cubicBezTo>
                    <a:pt x="102" y="236"/>
                    <a:pt x="89" y="222"/>
                    <a:pt x="83" y="201"/>
                  </a:cubicBezTo>
                  <a:cubicBezTo>
                    <a:pt x="73" y="168"/>
                    <a:pt x="83" y="127"/>
                    <a:pt x="106" y="101"/>
                  </a:cubicBezTo>
                  <a:cubicBezTo>
                    <a:pt x="140" y="62"/>
                    <a:pt x="188" y="72"/>
                    <a:pt x="222" y="94"/>
                  </a:cubicBezTo>
                  <a:cubicBezTo>
                    <a:pt x="226" y="97"/>
                    <a:pt x="227" y="101"/>
                    <a:pt x="227" y="105"/>
                  </a:cubicBezTo>
                  <a:cubicBezTo>
                    <a:pt x="213" y="190"/>
                    <a:pt x="213" y="190"/>
                    <a:pt x="213" y="190"/>
                  </a:cubicBezTo>
                  <a:cubicBezTo>
                    <a:pt x="212" y="191"/>
                    <a:pt x="207" y="233"/>
                    <a:pt x="242" y="242"/>
                  </a:cubicBezTo>
                  <a:cubicBezTo>
                    <a:pt x="269" y="250"/>
                    <a:pt x="288" y="212"/>
                    <a:pt x="288" y="211"/>
                  </a:cubicBezTo>
                  <a:cubicBezTo>
                    <a:pt x="295" y="195"/>
                    <a:pt x="298" y="178"/>
                    <a:pt x="298" y="160"/>
                  </a:cubicBezTo>
                  <a:cubicBezTo>
                    <a:pt x="298" y="83"/>
                    <a:pt x="236" y="21"/>
                    <a:pt x="160" y="21"/>
                  </a:cubicBezTo>
                  <a:cubicBezTo>
                    <a:pt x="83" y="21"/>
                    <a:pt x="21" y="83"/>
                    <a:pt x="21" y="160"/>
                  </a:cubicBezTo>
                  <a:cubicBezTo>
                    <a:pt x="21" y="236"/>
                    <a:pt x="83" y="298"/>
                    <a:pt x="160" y="298"/>
                  </a:cubicBezTo>
                  <a:cubicBezTo>
                    <a:pt x="182" y="298"/>
                    <a:pt x="203" y="293"/>
                    <a:pt x="223" y="283"/>
                  </a:cubicBezTo>
                  <a:cubicBezTo>
                    <a:pt x="228" y="280"/>
                    <a:pt x="234" y="283"/>
                    <a:pt x="237" y="288"/>
                  </a:cubicBezTo>
                  <a:cubicBezTo>
                    <a:pt x="240" y="293"/>
                    <a:pt x="237" y="299"/>
                    <a:pt x="232" y="302"/>
                  </a:cubicBezTo>
                  <a:cubicBezTo>
                    <a:pt x="210" y="314"/>
                    <a:pt x="185" y="320"/>
                    <a:pt x="160" y="320"/>
                  </a:cubicBezTo>
                  <a:close/>
                  <a:moveTo>
                    <a:pt x="163" y="96"/>
                  </a:moveTo>
                  <a:cubicBezTo>
                    <a:pt x="149" y="96"/>
                    <a:pt x="135" y="101"/>
                    <a:pt x="122" y="115"/>
                  </a:cubicBezTo>
                  <a:cubicBezTo>
                    <a:pt x="104" y="136"/>
                    <a:pt x="96" y="169"/>
                    <a:pt x="103" y="195"/>
                  </a:cubicBezTo>
                  <a:cubicBezTo>
                    <a:pt x="106" y="204"/>
                    <a:pt x="112" y="217"/>
                    <a:pt x="126" y="221"/>
                  </a:cubicBezTo>
                  <a:cubicBezTo>
                    <a:pt x="153" y="229"/>
                    <a:pt x="184" y="187"/>
                    <a:pt x="194" y="169"/>
                  </a:cubicBezTo>
                  <a:cubicBezTo>
                    <a:pt x="204" y="109"/>
                    <a:pt x="204" y="109"/>
                    <a:pt x="204" y="109"/>
                  </a:cubicBezTo>
                  <a:cubicBezTo>
                    <a:pt x="195" y="103"/>
                    <a:pt x="179" y="96"/>
                    <a:pt x="163"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69" name="TextBox 868"/>
          <p:cNvSpPr txBox="1"/>
          <p:nvPr/>
        </p:nvSpPr>
        <p:spPr>
          <a:xfrm>
            <a:off x="7965745" y="4611024"/>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edit</a:t>
            </a:r>
          </a:p>
        </p:txBody>
      </p:sp>
      <p:sp>
        <p:nvSpPr>
          <p:cNvPr id="870" name="Freeform 680"/>
          <p:cNvSpPr>
            <a:spLocks noChangeAspect="1" noEditPoints="1"/>
          </p:cNvSpPr>
          <p:nvPr/>
        </p:nvSpPr>
        <p:spPr bwMode="auto">
          <a:xfrm>
            <a:off x="7975032" y="4183829"/>
            <a:ext cx="367632" cy="367631"/>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71" name="Group 683"/>
          <p:cNvGrpSpPr>
            <a:grpSpLocks noChangeAspect="1"/>
          </p:cNvGrpSpPr>
          <p:nvPr/>
        </p:nvGrpSpPr>
        <p:grpSpPr bwMode="auto">
          <a:xfrm>
            <a:off x="8394486" y="4183829"/>
            <a:ext cx="367631" cy="367631"/>
            <a:chOff x="377" y="2771"/>
            <a:chExt cx="340" cy="340"/>
          </a:xfrm>
          <a:solidFill>
            <a:schemeClr val="accent2"/>
          </a:solidFill>
        </p:grpSpPr>
        <p:sp>
          <p:nvSpPr>
            <p:cNvPr id="872" name="Freeform 684"/>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3" name="Freeform 685"/>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62189092"/>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874" name="TextBox 873"/>
          <p:cNvSpPr txBox="1"/>
          <p:nvPr/>
        </p:nvSpPr>
        <p:spPr>
          <a:xfrm>
            <a:off x="382058" y="21124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arch</a:t>
            </a:r>
          </a:p>
        </p:txBody>
      </p:sp>
      <p:sp>
        <p:nvSpPr>
          <p:cNvPr id="875" name="TextBox 874"/>
          <p:cNvSpPr txBox="1"/>
          <p:nvPr/>
        </p:nvSpPr>
        <p:spPr>
          <a:xfrm>
            <a:off x="1223433" y="211244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Zoom in</a:t>
            </a:r>
          </a:p>
        </p:txBody>
      </p:sp>
      <p:sp>
        <p:nvSpPr>
          <p:cNvPr id="876" name="TextBox 875"/>
          <p:cNvSpPr txBox="1"/>
          <p:nvPr/>
        </p:nvSpPr>
        <p:spPr>
          <a:xfrm>
            <a:off x="2061633" y="21092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Zoom out</a:t>
            </a:r>
          </a:p>
        </p:txBody>
      </p:sp>
      <p:sp>
        <p:nvSpPr>
          <p:cNvPr id="877" name="TextBox 876"/>
          <p:cNvSpPr txBox="1"/>
          <p:nvPr/>
        </p:nvSpPr>
        <p:spPr>
          <a:xfrm>
            <a:off x="2903008" y="2109272"/>
            <a:ext cx="830792" cy="307777"/>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Settins</a:t>
            </a:r>
            <a:r>
              <a:rPr lang="en-US" sz="1000" dirty="0">
                <a:solidFill>
                  <a:srgbClr val="313131"/>
                </a:solidFill>
              </a:rPr>
              <a:t> (Cog)</a:t>
            </a:r>
          </a:p>
        </p:txBody>
      </p:sp>
      <p:grpSp>
        <p:nvGrpSpPr>
          <p:cNvPr id="878" name="Group 892"/>
          <p:cNvGrpSpPr>
            <a:grpSpLocks noChangeAspect="1"/>
          </p:cNvGrpSpPr>
          <p:nvPr/>
        </p:nvGrpSpPr>
        <p:grpSpPr bwMode="auto">
          <a:xfrm>
            <a:off x="827268" y="1687513"/>
            <a:ext cx="369021" cy="370106"/>
            <a:chOff x="4270" y="3457"/>
            <a:chExt cx="340" cy="341"/>
          </a:xfrm>
          <a:solidFill>
            <a:schemeClr val="accent4"/>
          </a:solidFill>
        </p:grpSpPr>
        <p:sp>
          <p:nvSpPr>
            <p:cNvPr id="879" name="Freeform 893"/>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Freeform 894"/>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1" name="Group 897"/>
          <p:cNvGrpSpPr>
            <a:grpSpLocks noChangeAspect="1"/>
          </p:cNvGrpSpPr>
          <p:nvPr/>
        </p:nvGrpSpPr>
        <p:grpSpPr bwMode="auto">
          <a:xfrm>
            <a:off x="406400" y="1688598"/>
            <a:ext cx="369021" cy="369021"/>
            <a:chOff x="3891" y="3455"/>
            <a:chExt cx="340" cy="340"/>
          </a:xfrm>
          <a:solidFill>
            <a:schemeClr val="accent4"/>
          </a:solidFill>
        </p:grpSpPr>
        <p:sp>
          <p:nvSpPr>
            <p:cNvPr id="882" name="Freeform 898"/>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Oval 899"/>
            <p:cNvSpPr>
              <a:spLocks noChangeArrowheads="1"/>
            </p:cNvSpPr>
            <p:nvPr/>
          </p:nvSpPr>
          <p:spPr bwMode="auto">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4" name="Group 925"/>
          <p:cNvGrpSpPr>
            <a:grpSpLocks noChangeAspect="1"/>
          </p:cNvGrpSpPr>
          <p:nvPr/>
        </p:nvGrpSpPr>
        <p:grpSpPr bwMode="auto">
          <a:xfrm>
            <a:off x="1670746" y="1700561"/>
            <a:ext cx="378373" cy="356628"/>
            <a:chOff x="1152" y="3440"/>
            <a:chExt cx="348" cy="328"/>
          </a:xfrm>
          <a:solidFill>
            <a:schemeClr val="accent4"/>
          </a:solidFill>
        </p:grpSpPr>
        <p:sp>
          <p:nvSpPr>
            <p:cNvPr id="885" name="Freeform 926"/>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Freeform 927"/>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Freeform 928"/>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8" name="Freeform 932"/>
          <p:cNvSpPr>
            <a:spLocks noChangeAspect="1" noEditPoints="1"/>
          </p:cNvSpPr>
          <p:nvPr/>
        </p:nvSpPr>
        <p:spPr bwMode="auto">
          <a:xfrm>
            <a:off x="1248136" y="1687513"/>
            <a:ext cx="370763"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213 w 512"/>
              <a:gd name="T13" fmla="*/ 213 h 512"/>
              <a:gd name="T14" fmla="*/ 213 w 512"/>
              <a:gd name="T15" fmla="*/ 245 h 512"/>
              <a:gd name="T16" fmla="*/ 202 w 512"/>
              <a:gd name="T17" fmla="*/ 256 h 512"/>
              <a:gd name="T18" fmla="*/ 192 w 512"/>
              <a:gd name="T19" fmla="*/ 245 h 512"/>
              <a:gd name="T20" fmla="*/ 192 w 512"/>
              <a:gd name="T21" fmla="*/ 213 h 512"/>
              <a:gd name="T22" fmla="*/ 160 w 512"/>
              <a:gd name="T23" fmla="*/ 213 h 512"/>
              <a:gd name="T24" fmla="*/ 149 w 512"/>
              <a:gd name="T25" fmla="*/ 202 h 512"/>
              <a:gd name="T26" fmla="*/ 160 w 512"/>
              <a:gd name="T27" fmla="*/ 192 h 512"/>
              <a:gd name="T28" fmla="*/ 192 w 512"/>
              <a:gd name="T29" fmla="*/ 192 h 512"/>
              <a:gd name="T30" fmla="*/ 192 w 512"/>
              <a:gd name="T31" fmla="*/ 160 h 512"/>
              <a:gd name="T32" fmla="*/ 202 w 512"/>
              <a:gd name="T33" fmla="*/ 149 h 512"/>
              <a:gd name="T34" fmla="*/ 213 w 512"/>
              <a:gd name="T35" fmla="*/ 160 h 512"/>
              <a:gd name="T36" fmla="*/ 213 w 512"/>
              <a:gd name="T37" fmla="*/ 192 h 512"/>
              <a:gd name="T38" fmla="*/ 245 w 512"/>
              <a:gd name="T39" fmla="*/ 192 h 512"/>
              <a:gd name="T40" fmla="*/ 256 w 512"/>
              <a:gd name="T41" fmla="*/ 202 h 512"/>
              <a:gd name="T42" fmla="*/ 245 w 512"/>
              <a:gd name="T43" fmla="*/ 213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81 w 512"/>
              <a:gd name="T55" fmla="*/ 381 h 512"/>
              <a:gd name="T56" fmla="*/ 373 w 512"/>
              <a:gd name="T57" fmla="*/ 384 h 512"/>
              <a:gd name="T58" fmla="*/ 365 w 512"/>
              <a:gd name="T59" fmla="*/ 381 h 512"/>
              <a:gd name="T60" fmla="*/ 270 w 512"/>
              <a:gd name="T61" fmla="*/ 285 h 512"/>
              <a:gd name="T62" fmla="*/ 202 w 512"/>
              <a:gd name="T63" fmla="*/ 309 h 512"/>
              <a:gd name="T64" fmla="*/ 96 w 512"/>
              <a:gd name="T65" fmla="*/ 202 h 512"/>
              <a:gd name="T66" fmla="*/ 202 w 512"/>
              <a:gd name="T67" fmla="*/ 96 h 512"/>
              <a:gd name="T68" fmla="*/ 309 w 512"/>
              <a:gd name="T69" fmla="*/ 202 h 512"/>
              <a:gd name="T70" fmla="*/ 285 w 512"/>
              <a:gd name="T71" fmla="*/ 270 h 512"/>
              <a:gd name="T72" fmla="*/ 381 w 512"/>
              <a:gd name="T73" fmla="*/ 365 h 512"/>
              <a:gd name="T74" fmla="*/ 381 w 512"/>
              <a:gd name="T7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213" y="213"/>
                  <a:pt x="213" y="213"/>
                  <a:pt x="213" y="213"/>
                </a:cubicBezTo>
                <a:cubicBezTo>
                  <a:pt x="213" y="245"/>
                  <a:pt x="213" y="245"/>
                  <a:pt x="213" y="245"/>
                </a:cubicBezTo>
                <a:cubicBezTo>
                  <a:pt x="213" y="251"/>
                  <a:pt x="208" y="256"/>
                  <a:pt x="202" y="256"/>
                </a:cubicBezTo>
                <a:cubicBezTo>
                  <a:pt x="196" y="256"/>
                  <a:pt x="192" y="251"/>
                  <a:pt x="192" y="245"/>
                </a:cubicBezTo>
                <a:cubicBezTo>
                  <a:pt x="192" y="213"/>
                  <a:pt x="192" y="213"/>
                  <a:pt x="192" y="213"/>
                </a:cubicBezTo>
                <a:cubicBezTo>
                  <a:pt x="160" y="213"/>
                  <a:pt x="160" y="213"/>
                  <a:pt x="160" y="213"/>
                </a:cubicBezTo>
                <a:cubicBezTo>
                  <a:pt x="154" y="213"/>
                  <a:pt x="149" y="208"/>
                  <a:pt x="149" y="202"/>
                </a:cubicBezTo>
                <a:cubicBezTo>
                  <a:pt x="149" y="196"/>
                  <a:pt x="154" y="192"/>
                  <a:pt x="160" y="192"/>
                </a:cubicBezTo>
                <a:cubicBezTo>
                  <a:pt x="192" y="192"/>
                  <a:pt x="192" y="192"/>
                  <a:pt x="192" y="192"/>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89" name="Group 915"/>
          <p:cNvGrpSpPr>
            <a:grpSpLocks noChangeAspect="1"/>
          </p:cNvGrpSpPr>
          <p:nvPr/>
        </p:nvGrpSpPr>
        <p:grpSpPr bwMode="auto">
          <a:xfrm>
            <a:off x="2522489" y="1687513"/>
            <a:ext cx="369676" cy="369676"/>
            <a:chOff x="1926" y="3440"/>
            <a:chExt cx="340" cy="340"/>
          </a:xfrm>
          <a:solidFill>
            <a:schemeClr val="accent4"/>
          </a:solidFill>
        </p:grpSpPr>
        <p:sp>
          <p:nvSpPr>
            <p:cNvPr id="890" name="Freeform 916"/>
            <p:cNvSpPr>
              <a:spLocks noEditPoints="1"/>
            </p:cNvSpPr>
            <p:nvPr/>
          </p:nvSpPr>
          <p:spPr bwMode="auto">
            <a:xfrm>
              <a:off x="1990"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Freeform 917"/>
            <p:cNvSpPr>
              <a:spLocks/>
            </p:cNvSpPr>
            <p:nvPr/>
          </p:nvSpPr>
          <p:spPr bwMode="auto">
            <a:xfrm>
              <a:off x="2025" y="3567"/>
              <a:ext cx="71" cy="14"/>
            </a:xfrm>
            <a:custGeom>
              <a:avLst/>
              <a:gdLst>
                <a:gd name="T0" fmla="*/ 96 w 107"/>
                <a:gd name="T1" fmla="*/ 0 h 21"/>
                <a:gd name="T2" fmla="*/ 11 w 107"/>
                <a:gd name="T3" fmla="*/ 0 h 21"/>
                <a:gd name="T4" fmla="*/ 0 w 107"/>
                <a:gd name="T5" fmla="*/ 10 h 21"/>
                <a:gd name="T6" fmla="*/ 11 w 107"/>
                <a:gd name="T7" fmla="*/ 21 h 21"/>
                <a:gd name="T8" fmla="*/ 96 w 107"/>
                <a:gd name="T9" fmla="*/ 21 h 21"/>
                <a:gd name="T10" fmla="*/ 107 w 107"/>
                <a:gd name="T11" fmla="*/ 10 h 21"/>
                <a:gd name="T12" fmla="*/ 96 w 10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07" h="21">
                  <a:moveTo>
                    <a:pt x="96" y="0"/>
                  </a:moveTo>
                  <a:cubicBezTo>
                    <a:pt x="11" y="0"/>
                    <a:pt x="11" y="0"/>
                    <a:pt x="11" y="0"/>
                  </a:cubicBezTo>
                  <a:cubicBezTo>
                    <a:pt x="5" y="0"/>
                    <a:pt x="0" y="4"/>
                    <a:pt x="0" y="10"/>
                  </a:cubicBezTo>
                  <a:cubicBezTo>
                    <a:pt x="0" y="16"/>
                    <a:pt x="5" y="21"/>
                    <a:pt x="11" y="21"/>
                  </a:cubicBezTo>
                  <a:cubicBezTo>
                    <a:pt x="96" y="21"/>
                    <a:pt x="96" y="21"/>
                    <a:pt x="96" y="21"/>
                  </a:cubicBezTo>
                  <a:cubicBezTo>
                    <a:pt x="102" y="21"/>
                    <a:pt x="107" y="16"/>
                    <a:pt x="107" y="10"/>
                  </a:cubicBezTo>
                  <a:cubicBezTo>
                    <a:pt x="107" y="4"/>
                    <a:pt x="102" y="0"/>
                    <a:pt x="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Freeform 918"/>
            <p:cNvSpPr>
              <a:spLocks noEditPoints="1"/>
            </p:cNvSpPr>
            <p:nvPr/>
          </p:nvSpPr>
          <p:spPr bwMode="auto">
            <a:xfrm>
              <a:off x="1926" y="34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3" name="Freeform 922"/>
          <p:cNvSpPr>
            <a:spLocks noChangeAspect="1" noEditPoints="1"/>
          </p:cNvSpPr>
          <p:nvPr/>
        </p:nvSpPr>
        <p:spPr bwMode="auto">
          <a:xfrm>
            <a:off x="2100966" y="1687513"/>
            <a:ext cx="369676"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94" name="Freeform 26"/>
          <p:cNvSpPr>
            <a:spLocks noChangeAspect="1" noEditPoints="1"/>
          </p:cNvSpPr>
          <p:nvPr/>
        </p:nvSpPr>
        <p:spPr bwMode="auto">
          <a:xfrm>
            <a:off x="2944012" y="168751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95" name="Group 29"/>
          <p:cNvGrpSpPr>
            <a:grpSpLocks noChangeAspect="1"/>
          </p:cNvGrpSpPr>
          <p:nvPr/>
        </p:nvGrpSpPr>
        <p:grpSpPr bwMode="auto">
          <a:xfrm>
            <a:off x="3363490" y="1687513"/>
            <a:ext cx="367631" cy="367631"/>
            <a:chOff x="2899" y="653"/>
            <a:chExt cx="340" cy="340"/>
          </a:xfrm>
          <a:solidFill>
            <a:schemeClr val="accent1"/>
          </a:solidFill>
        </p:grpSpPr>
        <p:sp>
          <p:nvSpPr>
            <p:cNvPr id="896"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4" name="TextBox 373"/>
          <p:cNvSpPr txBox="1"/>
          <p:nvPr/>
        </p:nvSpPr>
        <p:spPr>
          <a:xfrm>
            <a:off x="3750733" y="210403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rop</a:t>
            </a:r>
          </a:p>
        </p:txBody>
      </p:sp>
      <p:sp>
        <p:nvSpPr>
          <p:cNvPr id="375" name="TextBox 374"/>
          <p:cNvSpPr txBox="1"/>
          <p:nvPr/>
        </p:nvSpPr>
        <p:spPr>
          <a:xfrm>
            <a:off x="4588933" y="210086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xternal link</a:t>
            </a:r>
          </a:p>
        </p:txBody>
      </p:sp>
      <p:sp>
        <p:nvSpPr>
          <p:cNvPr id="376" name="TextBox 375"/>
          <p:cNvSpPr txBox="1"/>
          <p:nvPr/>
        </p:nvSpPr>
        <p:spPr>
          <a:xfrm>
            <a:off x="5430308" y="2100864"/>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ursor</a:t>
            </a:r>
          </a:p>
        </p:txBody>
      </p:sp>
      <p:sp>
        <p:nvSpPr>
          <p:cNvPr id="377" name="Freeform 537"/>
          <p:cNvSpPr>
            <a:spLocks noChangeAspect="1" noEditPoints="1"/>
          </p:cNvSpPr>
          <p:nvPr/>
        </p:nvSpPr>
        <p:spPr bwMode="auto">
          <a:xfrm>
            <a:off x="4621924" y="16875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8" name="Group 540"/>
          <p:cNvGrpSpPr>
            <a:grpSpLocks noChangeAspect="1"/>
          </p:cNvGrpSpPr>
          <p:nvPr/>
        </p:nvGrpSpPr>
        <p:grpSpPr bwMode="auto">
          <a:xfrm>
            <a:off x="5041402" y="1690758"/>
            <a:ext cx="367631" cy="367631"/>
            <a:chOff x="4969" y="2016"/>
            <a:chExt cx="340" cy="340"/>
          </a:xfrm>
          <a:solidFill>
            <a:schemeClr val="accent6"/>
          </a:solidFill>
        </p:grpSpPr>
        <p:sp>
          <p:nvSpPr>
            <p:cNvPr id="379" name="Freeform 541"/>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542"/>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543"/>
            <p:cNvSpPr>
              <a:spLocks noEditPoints="1"/>
            </p:cNvSpPr>
            <p:nvPr/>
          </p:nvSpPr>
          <p:spPr bwMode="auto">
            <a:xfrm>
              <a:off x="4969"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2" name="Freeform 123"/>
          <p:cNvSpPr>
            <a:spLocks noChangeAspect="1" noEditPoints="1"/>
          </p:cNvSpPr>
          <p:nvPr/>
        </p:nvSpPr>
        <p:spPr bwMode="auto">
          <a:xfrm>
            <a:off x="3782968" y="1690217"/>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149 h 512"/>
              <a:gd name="T12" fmla="*/ 352 w 512"/>
              <a:gd name="T13" fmla="*/ 149 h 512"/>
              <a:gd name="T14" fmla="*/ 362 w 512"/>
              <a:gd name="T15" fmla="*/ 160 h 512"/>
              <a:gd name="T16" fmla="*/ 362 w 512"/>
              <a:gd name="T17" fmla="*/ 309 h 512"/>
              <a:gd name="T18" fmla="*/ 352 w 512"/>
              <a:gd name="T19" fmla="*/ 320 h 512"/>
              <a:gd name="T20" fmla="*/ 341 w 512"/>
              <a:gd name="T21" fmla="*/ 309 h 512"/>
              <a:gd name="T22" fmla="*/ 341 w 512"/>
              <a:gd name="T23" fmla="*/ 170 h 512"/>
              <a:gd name="T24" fmla="*/ 202 w 512"/>
              <a:gd name="T25" fmla="*/ 170 h 512"/>
              <a:gd name="T26" fmla="*/ 192 w 512"/>
              <a:gd name="T27" fmla="*/ 160 h 512"/>
              <a:gd name="T28" fmla="*/ 202 w 512"/>
              <a:gd name="T29" fmla="*/ 149 h 512"/>
              <a:gd name="T30" fmla="*/ 405 w 512"/>
              <a:gd name="T31" fmla="*/ 362 h 512"/>
              <a:gd name="T32" fmla="*/ 362 w 512"/>
              <a:gd name="T33" fmla="*/ 362 h 512"/>
              <a:gd name="T34" fmla="*/ 362 w 512"/>
              <a:gd name="T35" fmla="*/ 405 h 512"/>
              <a:gd name="T36" fmla="*/ 352 w 512"/>
              <a:gd name="T37" fmla="*/ 416 h 512"/>
              <a:gd name="T38" fmla="*/ 341 w 512"/>
              <a:gd name="T39" fmla="*/ 405 h 512"/>
              <a:gd name="T40" fmla="*/ 341 w 512"/>
              <a:gd name="T41" fmla="*/ 362 h 512"/>
              <a:gd name="T42" fmla="*/ 160 w 512"/>
              <a:gd name="T43" fmla="*/ 362 h 512"/>
              <a:gd name="T44" fmla="*/ 149 w 512"/>
              <a:gd name="T45" fmla="*/ 352 h 512"/>
              <a:gd name="T46" fmla="*/ 149 w 512"/>
              <a:gd name="T47" fmla="*/ 170 h 512"/>
              <a:gd name="T48" fmla="*/ 106 w 512"/>
              <a:gd name="T49" fmla="*/ 170 h 512"/>
              <a:gd name="T50" fmla="*/ 96 w 512"/>
              <a:gd name="T51" fmla="*/ 160 h 512"/>
              <a:gd name="T52" fmla="*/ 106 w 512"/>
              <a:gd name="T53" fmla="*/ 149 h 512"/>
              <a:gd name="T54" fmla="*/ 149 w 512"/>
              <a:gd name="T55" fmla="*/ 149 h 512"/>
              <a:gd name="T56" fmla="*/ 149 w 512"/>
              <a:gd name="T57" fmla="*/ 106 h 512"/>
              <a:gd name="T58" fmla="*/ 160 w 512"/>
              <a:gd name="T59" fmla="*/ 96 h 512"/>
              <a:gd name="T60" fmla="*/ 170 w 512"/>
              <a:gd name="T61" fmla="*/ 106 h 512"/>
              <a:gd name="T62" fmla="*/ 170 w 512"/>
              <a:gd name="T63" fmla="*/ 341 h 512"/>
              <a:gd name="T64" fmla="*/ 405 w 512"/>
              <a:gd name="T65" fmla="*/ 341 h 512"/>
              <a:gd name="T66" fmla="*/ 416 w 512"/>
              <a:gd name="T67" fmla="*/ 352 h 512"/>
              <a:gd name="T68" fmla="*/ 405 w 512"/>
              <a:gd name="T6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49"/>
                </a:moveTo>
                <a:cubicBezTo>
                  <a:pt x="352" y="149"/>
                  <a:pt x="352" y="149"/>
                  <a:pt x="352" y="149"/>
                </a:cubicBezTo>
                <a:cubicBezTo>
                  <a:pt x="358" y="149"/>
                  <a:pt x="362" y="154"/>
                  <a:pt x="362" y="160"/>
                </a:cubicBezTo>
                <a:cubicBezTo>
                  <a:pt x="362" y="309"/>
                  <a:pt x="362" y="309"/>
                  <a:pt x="362" y="309"/>
                </a:cubicBezTo>
                <a:cubicBezTo>
                  <a:pt x="362" y="315"/>
                  <a:pt x="358" y="320"/>
                  <a:pt x="352" y="320"/>
                </a:cubicBezTo>
                <a:cubicBezTo>
                  <a:pt x="346" y="320"/>
                  <a:pt x="341" y="315"/>
                  <a:pt x="341" y="309"/>
                </a:cubicBezTo>
                <a:cubicBezTo>
                  <a:pt x="341" y="170"/>
                  <a:pt x="341" y="170"/>
                  <a:pt x="341" y="170"/>
                </a:cubicBezTo>
                <a:cubicBezTo>
                  <a:pt x="202" y="170"/>
                  <a:pt x="202" y="170"/>
                  <a:pt x="202" y="170"/>
                </a:cubicBezTo>
                <a:cubicBezTo>
                  <a:pt x="196" y="170"/>
                  <a:pt x="192" y="166"/>
                  <a:pt x="192" y="160"/>
                </a:cubicBezTo>
                <a:cubicBezTo>
                  <a:pt x="192" y="154"/>
                  <a:pt x="196" y="149"/>
                  <a:pt x="202" y="149"/>
                </a:cubicBezTo>
                <a:close/>
                <a:moveTo>
                  <a:pt x="405" y="362"/>
                </a:moveTo>
                <a:cubicBezTo>
                  <a:pt x="362" y="362"/>
                  <a:pt x="362" y="362"/>
                  <a:pt x="362" y="362"/>
                </a:cubicBezTo>
                <a:cubicBezTo>
                  <a:pt x="362" y="405"/>
                  <a:pt x="362" y="405"/>
                  <a:pt x="362" y="405"/>
                </a:cubicBezTo>
                <a:cubicBezTo>
                  <a:pt x="362" y="411"/>
                  <a:pt x="358" y="416"/>
                  <a:pt x="352" y="416"/>
                </a:cubicBezTo>
                <a:cubicBezTo>
                  <a:pt x="346" y="416"/>
                  <a:pt x="341" y="411"/>
                  <a:pt x="341" y="405"/>
                </a:cubicBezTo>
                <a:cubicBezTo>
                  <a:pt x="341" y="362"/>
                  <a:pt x="341" y="362"/>
                  <a:pt x="341" y="362"/>
                </a:cubicBezTo>
                <a:cubicBezTo>
                  <a:pt x="160" y="362"/>
                  <a:pt x="160" y="362"/>
                  <a:pt x="160" y="362"/>
                </a:cubicBezTo>
                <a:cubicBezTo>
                  <a:pt x="154" y="362"/>
                  <a:pt x="149" y="358"/>
                  <a:pt x="149" y="352"/>
                </a:cubicBezTo>
                <a:cubicBezTo>
                  <a:pt x="149" y="170"/>
                  <a:pt x="149" y="170"/>
                  <a:pt x="149" y="170"/>
                </a:cubicBezTo>
                <a:cubicBezTo>
                  <a:pt x="106" y="170"/>
                  <a:pt x="106" y="170"/>
                  <a:pt x="106" y="170"/>
                </a:cubicBezTo>
                <a:cubicBezTo>
                  <a:pt x="100" y="170"/>
                  <a:pt x="96" y="166"/>
                  <a:pt x="96" y="160"/>
                </a:cubicBezTo>
                <a:cubicBezTo>
                  <a:pt x="96" y="154"/>
                  <a:pt x="100" y="149"/>
                  <a:pt x="106" y="149"/>
                </a:cubicBezTo>
                <a:cubicBezTo>
                  <a:pt x="149" y="149"/>
                  <a:pt x="149" y="149"/>
                  <a:pt x="149" y="149"/>
                </a:cubicBezTo>
                <a:cubicBezTo>
                  <a:pt x="149" y="106"/>
                  <a:pt x="149" y="106"/>
                  <a:pt x="149" y="106"/>
                </a:cubicBezTo>
                <a:cubicBezTo>
                  <a:pt x="149" y="100"/>
                  <a:pt x="154" y="96"/>
                  <a:pt x="160" y="96"/>
                </a:cubicBezTo>
                <a:cubicBezTo>
                  <a:pt x="166" y="96"/>
                  <a:pt x="170" y="100"/>
                  <a:pt x="170" y="106"/>
                </a:cubicBezTo>
                <a:cubicBezTo>
                  <a:pt x="170" y="341"/>
                  <a:pt x="170" y="341"/>
                  <a:pt x="170" y="341"/>
                </a:cubicBezTo>
                <a:cubicBezTo>
                  <a:pt x="405" y="341"/>
                  <a:pt x="405" y="341"/>
                  <a:pt x="405" y="341"/>
                </a:cubicBezTo>
                <a:cubicBezTo>
                  <a:pt x="411" y="341"/>
                  <a:pt x="416" y="346"/>
                  <a:pt x="416" y="352"/>
                </a:cubicBezTo>
                <a:cubicBezTo>
                  <a:pt x="416" y="358"/>
                  <a:pt x="411" y="362"/>
                  <a:pt x="405" y="362"/>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3" name="Group 126"/>
          <p:cNvGrpSpPr>
            <a:grpSpLocks noChangeAspect="1"/>
          </p:cNvGrpSpPr>
          <p:nvPr/>
        </p:nvGrpSpPr>
        <p:grpSpPr bwMode="auto">
          <a:xfrm>
            <a:off x="4202446" y="1690217"/>
            <a:ext cx="367631" cy="367631"/>
            <a:chOff x="3018" y="929"/>
            <a:chExt cx="340" cy="340"/>
          </a:xfrm>
          <a:solidFill>
            <a:schemeClr val="accent2"/>
          </a:solidFill>
        </p:grpSpPr>
        <p:sp>
          <p:nvSpPr>
            <p:cNvPr id="384" name="Freeform 127"/>
            <p:cNvSpPr>
              <a:spLocks noEditPoints="1"/>
            </p:cNvSpPr>
            <p:nvPr/>
          </p:nvSpPr>
          <p:spPr bwMode="auto">
            <a:xfrm>
              <a:off x="3018" y="9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128"/>
            <p:cNvSpPr>
              <a:spLocks noEditPoints="1"/>
            </p:cNvSpPr>
            <p:nvPr/>
          </p:nvSpPr>
          <p:spPr bwMode="auto">
            <a:xfrm>
              <a:off x="3082" y="993"/>
              <a:ext cx="212" cy="212"/>
            </a:xfrm>
            <a:custGeom>
              <a:avLst/>
              <a:gdLst>
                <a:gd name="T0" fmla="*/ 96 w 320"/>
                <a:gd name="T1" fmla="*/ 64 h 320"/>
                <a:gd name="T2" fmla="*/ 106 w 320"/>
                <a:gd name="T3" fmla="*/ 53 h 320"/>
                <a:gd name="T4" fmla="*/ 256 w 320"/>
                <a:gd name="T5" fmla="*/ 53 h 320"/>
                <a:gd name="T6" fmla="*/ 266 w 320"/>
                <a:gd name="T7" fmla="*/ 64 h 320"/>
                <a:gd name="T8" fmla="*/ 266 w 320"/>
                <a:gd name="T9" fmla="*/ 213 h 320"/>
                <a:gd name="T10" fmla="*/ 256 w 320"/>
                <a:gd name="T11" fmla="*/ 224 h 320"/>
                <a:gd name="T12" fmla="*/ 245 w 320"/>
                <a:gd name="T13" fmla="*/ 213 h 320"/>
                <a:gd name="T14" fmla="*/ 245 w 320"/>
                <a:gd name="T15" fmla="*/ 74 h 320"/>
                <a:gd name="T16" fmla="*/ 106 w 320"/>
                <a:gd name="T17" fmla="*/ 74 h 320"/>
                <a:gd name="T18" fmla="*/ 96 w 320"/>
                <a:gd name="T19" fmla="*/ 64 h 320"/>
                <a:gd name="T20" fmla="*/ 309 w 320"/>
                <a:gd name="T21" fmla="*/ 245 h 320"/>
                <a:gd name="T22" fmla="*/ 74 w 320"/>
                <a:gd name="T23" fmla="*/ 245 h 320"/>
                <a:gd name="T24" fmla="*/ 74 w 320"/>
                <a:gd name="T25" fmla="*/ 10 h 320"/>
                <a:gd name="T26" fmla="*/ 64 w 320"/>
                <a:gd name="T27" fmla="*/ 0 h 320"/>
                <a:gd name="T28" fmla="*/ 53 w 320"/>
                <a:gd name="T29" fmla="*/ 10 h 320"/>
                <a:gd name="T30" fmla="*/ 53 w 320"/>
                <a:gd name="T31" fmla="*/ 53 h 320"/>
                <a:gd name="T32" fmla="*/ 10 w 320"/>
                <a:gd name="T33" fmla="*/ 53 h 320"/>
                <a:gd name="T34" fmla="*/ 0 w 320"/>
                <a:gd name="T35" fmla="*/ 64 h 320"/>
                <a:gd name="T36" fmla="*/ 10 w 320"/>
                <a:gd name="T37" fmla="*/ 74 h 320"/>
                <a:gd name="T38" fmla="*/ 53 w 320"/>
                <a:gd name="T39" fmla="*/ 74 h 320"/>
                <a:gd name="T40" fmla="*/ 53 w 320"/>
                <a:gd name="T41" fmla="*/ 256 h 320"/>
                <a:gd name="T42" fmla="*/ 64 w 320"/>
                <a:gd name="T43" fmla="*/ 266 h 320"/>
                <a:gd name="T44" fmla="*/ 245 w 320"/>
                <a:gd name="T45" fmla="*/ 266 h 320"/>
                <a:gd name="T46" fmla="*/ 245 w 320"/>
                <a:gd name="T47" fmla="*/ 309 h 320"/>
                <a:gd name="T48" fmla="*/ 256 w 320"/>
                <a:gd name="T49" fmla="*/ 320 h 320"/>
                <a:gd name="T50" fmla="*/ 266 w 320"/>
                <a:gd name="T51" fmla="*/ 309 h 320"/>
                <a:gd name="T52" fmla="*/ 266 w 320"/>
                <a:gd name="T53" fmla="*/ 266 h 320"/>
                <a:gd name="T54" fmla="*/ 309 w 320"/>
                <a:gd name="T55" fmla="*/ 266 h 320"/>
                <a:gd name="T56" fmla="*/ 320 w 320"/>
                <a:gd name="T57" fmla="*/ 256 h 320"/>
                <a:gd name="T58" fmla="*/ 309 w 320"/>
                <a:gd name="T59"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96" y="64"/>
                  </a:moveTo>
                  <a:cubicBezTo>
                    <a:pt x="96" y="58"/>
                    <a:pt x="100" y="53"/>
                    <a:pt x="106" y="53"/>
                  </a:cubicBezTo>
                  <a:cubicBezTo>
                    <a:pt x="256" y="53"/>
                    <a:pt x="256" y="53"/>
                    <a:pt x="256" y="53"/>
                  </a:cubicBezTo>
                  <a:cubicBezTo>
                    <a:pt x="262" y="53"/>
                    <a:pt x="266" y="58"/>
                    <a:pt x="266" y="64"/>
                  </a:cubicBezTo>
                  <a:cubicBezTo>
                    <a:pt x="266" y="213"/>
                    <a:pt x="266" y="213"/>
                    <a:pt x="266" y="213"/>
                  </a:cubicBezTo>
                  <a:cubicBezTo>
                    <a:pt x="266" y="219"/>
                    <a:pt x="262" y="224"/>
                    <a:pt x="256" y="224"/>
                  </a:cubicBezTo>
                  <a:cubicBezTo>
                    <a:pt x="250" y="224"/>
                    <a:pt x="245" y="219"/>
                    <a:pt x="245" y="213"/>
                  </a:cubicBezTo>
                  <a:cubicBezTo>
                    <a:pt x="245" y="74"/>
                    <a:pt x="245" y="74"/>
                    <a:pt x="245" y="74"/>
                  </a:cubicBezTo>
                  <a:cubicBezTo>
                    <a:pt x="106" y="74"/>
                    <a:pt x="106" y="74"/>
                    <a:pt x="106" y="74"/>
                  </a:cubicBezTo>
                  <a:cubicBezTo>
                    <a:pt x="100" y="74"/>
                    <a:pt x="96" y="70"/>
                    <a:pt x="96" y="64"/>
                  </a:cubicBezTo>
                  <a:close/>
                  <a:moveTo>
                    <a:pt x="309" y="245"/>
                  </a:moveTo>
                  <a:cubicBezTo>
                    <a:pt x="74" y="245"/>
                    <a:pt x="74" y="245"/>
                    <a:pt x="74" y="245"/>
                  </a:cubicBezTo>
                  <a:cubicBezTo>
                    <a:pt x="74" y="10"/>
                    <a:pt x="74" y="10"/>
                    <a:pt x="74" y="10"/>
                  </a:cubicBezTo>
                  <a:cubicBezTo>
                    <a:pt x="74" y="4"/>
                    <a:pt x="70" y="0"/>
                    <a:pt x="64" y="0"/>
                  </a:cubicBezTo>
                  <a:cubicBezTo>
                    <a:pt x="58" y="0"/>
                    <a:pt x="53" y="4"/>
                    <a:pt x="53" y="10"/>
                  </a:cubicBezTo>
                  <a:cubicBezTo>
                    <a:pt x="53" y="53"/>
                    <a:pt x="53" y="53"/>
                    <a:pt x="53" y="53"/>
                  </a:cubicBezTo>
                  <a:cubicBezTo>
                    <a:pt x="10" y="53"/>
                    <a:pt x="10" y="53"/>
                    <a:pt x="10" y="53"/>
                  </a:cubicBezTo>
                  <a:cubicBezTo>
                    <a:pt x="4" y="53"/>
                    <a:pt x="0" y="58"/>
                    <a:pt x="0" y="64"/>
                  </a:cubicBezTo>
                  <a:cubicBezTo>
                    <a:pt x="0" y="70"/>
                    <a:pt x="4" y="74"/>
                    <a:pt x="10" y="74"/>
                  </a:cubicBezTo>
                  <a:cubicBezTo>
                    <a:pt x="53" y="74"/>
                    <a:pt x="53" y="74"/>
                    <a:pt x="53" y="74"/>
                  </a:cubicBezTo>
                  <a:cubicBezTo>
                    <a:pt x="53" y="256"/>
                    <a:pt x="53" y="256"/>
                    <a:pt x="53" y="256"/>
                  </a:cubicBezTo>
                  <a:cubicBezTo>
                    <a:pt x="53" y="262"/>
                    <a:pt x="58" y="266"/>
                    <a:pt x="64" y="266"/>
                  </a:cubicBezTo>
                  <a:cubicBezTo>
                    <a:pt x="245" y="266"/>
                    <a:pt x="245" y="266"/>
                    <a:pt x="245" y="266"/>
                  </a:cubicBezTo>
                  <a:cubicBezTo>
                    <a:pt x="245" y="309"/>
                    <a:pt x="245" y="309"/>
                    <a:pt x="245" y="309"/>
                  </a:cubicBezTo>
                  <a:cubicBezTo>
                    <a:pt x="245" y="315"/>
                    <a:pt x="250" y="320"/>
                    <a:pt x="256" y="320"/>
                  </a:cubicBezTo>
                  <a:cubicBezTo>
                    <a:pt x="262" y="320"/>
                    <a:pt x="266" y="315"/>
                    <a:pt x="266" y="309"/>
                  </a:cubicBezTo>
                  <a:cubicBezTo>
                    <a:pt x="266" y="266"/>
                    <a:pt x="266" y="266"/>
                    <a:pt x="266" y="266"/>
                  </a:cubicBezTo>
                  <a:cubicBezTo>
                    <a:pt x="309" y="266"/>
                    <a:pt x="309" y="266"/>
                    <a:pt x="309" y="266"/>
                  </a:cubicBezTo>
                  <a:cubicBezTo>
                    <a:pt x="315" y="266"/>
                    <a:pt x="320" y="262"/>
                    <a:pt x="320" y="256"/>
                  </a:cubicBezTo>
                  <a:cubicBezTo>
                    <a:pt x="320" y="250"/>
                    <a:pt x="315" y="245"/>
                    <a:pt x="309"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86" name="Freeform 150"/>
          <p:cNvSpPr>
            <a:spLocks noChangeAspect="1" noEditPoints="1"/>
          </p:cNvSpPr>
          <p:nvPr/>
        </p:nvSpPr>
        <p:spPr bwMode="auto">
          <a:xfrm>
            <a:off x="5460880" y="1690217"/>
            <a:ext cx="367631" cy="367631"/>
          </a:xfrm>
          <a:custGeom>
            <a:avLst/>
            <a:gdLst>
              <a:gd name="T0" fmla="*/ 203 w 512"/>
              <a:gd name="T1" fmla="*/ 137 h 512"/>
              <a:gd name="T2" fmla="*/ 364 w 512"/>
              <a:gd name="T3" fmla="*/ 297 h 512"/>
              <a:gd name="T4" fmla="*/ 297 w 512"/>
              <a:gd name="T5" fmla="*/ 299 h 512"/>
              <a:gd name="T6" fmla="*/ 289 w 512"/>
              <a:gd name="T7" fmla="*/ 304 h 512"/>
              <a:gd name="T8" fmla="*/ 288 w 512"/>
              <a:gd name="T9" fmla="*/ 314 h 512"/>
              <a:gd name="T10" fmla="*/ 316 w 512"/>
              <a:gd name="T11" fmla="*/ 383 h 512"/>
              <a:gd name="T12" fmla="*/ 297 w 512"/>
              <a:gd name="T13" fmla="*/ 391 h 512"/>
              <a:gd name="T14" fmla="*/ 268 w 512"/>
              <a:gd name="T15" fmla="*/ 322 h 512"/>
              <a:gd name="T16" fmla="*/ 260 w 512"/>
              <a:gd name="T17" fmla="*/ 316 h 512"/>
              <a:gd name="T18" fmla="*/ 258 w 512"/>
              <a:gd name="T19" fmla="*/ 316 h 512"/>
              <a:gd name="T20" fmla="*/ 251 w 512"/>
              <a:gd name="T21" fmla="*/ 318 h 512"/>
              <a:gd name="T22" fmla="*/ 202 w 512"/>
              <a:gd name="T23" fmla="*/ 364 h 512"/>
              <a:gd name="T24" fmla="*/ 203 w 512"/>
              <a:gd name="T25" fmla="*/ 137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6 w 512"/>
              <a:gd name="T37" fmla="*/ 299 h 512"/>
              <a:gd name="T38" fmla="*/ 199 w 512"/>
              <a:gd name="T39" fmla="*/ 104 h 512"/>
              <a:gd name="T40" fmla="*/ 188 w 512"/>
              <a:gd name="T41" fmla="*/ 101 h 512"/>
              <a:gd name="T42" fmla="*/ 181 w 512"/>
              <a:gd name="T43" fmla="*/ 111 h 512"/>
              <a:gd name="T44" fmla="*/ 181 w 512"/>
              <a:gd name="T45" fmla="*/ 388 h 512"/>
              <a:gd name="T46" fmla="*/ 187 w 512"/>
              <a:gd name="T47" fmla="*/ 398 h 512"/>
              <a:gd name="T48" fmla="*/ 199 w 512"/>
              <a:gd name="T49" fmla="*/ 396 h 512"/>
              <a:gd name="T50" fmla="*/ 254 w 512"/>
              <a:gd name="T51" fmla="*/ 345 h 512"/>
              <a:gd name="T52" fmla="*/ 281 w 512"/>
              <a:gd name="T53" fmla="*/ 409 h 512"/>
              <a:gd name="T54" fmla="*/ 291 w 512"/>
              <a:gd name="T55" fmla="*/ 416 h 512"/>
              <a:gd name="T56" fmla="*/ 295 w 512"/>
              <a:gd name="T57" fmla="*/ 415 h 512"/>
              <a:gd name="T58" fmla="*/ 334 w 512"/>
              <a:gd name="T59" fmla="*/ 398 h 512"/>
              <a:gd name="T60" fmla="*/ 340 w 512"/>
              <a:gd name="T61" fmla="*/ 393 h 512"/>
              <a:gd name="T62" fmla="*/ 340 w 512"/>
              <a:gd name="T63" fmla="*/ 385 h 512"/>
              <a:gd name="T64" fmla="*/ 313 w 512"/>
              <a:gd name="T65" fmla="*/ 320 h 512"/>
              <a:gd name="T66" fmla="*/ 389 w 512"/>
              <a:gd name="T67" fmla="*/ 317 h 512"/>
              <a:gd name="T68" fmla="*/ 399 w 512"/>
              <a:gd name="T69" fmla="*/ 311 h 512"/>
              <a:gd name="T70" fmla="*/ 396 w 512"/>
              <a:gd name="T71" fmla="*/ 2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3" y="137"/>
                </a:moveTo>
                <a:cubicBezTo>
                  <a:pt x="364" y="297"/>
                  <a:pt x="364" y="297"/>
                  <a:pt x="364" y="297"/>
                </a:cubicBezTo>
                <a:cubicBezTo>
                  <a:pt x="297" y="299"/>
                  <a:pt x="297" y="299"/>
                  <a:pt x="297" y="299"/>
                </a:cubicBezTo>
                <a:cubicBezTo>
                  <a:pt x="294" y="299"/>
                  <a:pt x="291" y="301"/>
                  <a:pt x="289" y="304"/>
                </a:cubicBezTo>
                <a:cubicBezTo>
                  <a:pt x="287" y="307"/>
                  <a:pt x="286" y="311"/>
                  <a:pt x="288" y="314"/>
                </a:cubicBezTo>
                <a:cubicBezTo>
                  <a:pt x="316" y="383"/>
                  <a:pt x="316" y="383"/>
                  <a:pt x="316" y="383"/>
                </a:cubicBezTo>
                <a:cubicBezTo>
                  <a:pt x="297" y="391"/>
                  <a:pt x="297" y="391"/>
                  <a:pt x="297" y="391"/>
                </a:cubicBezTo>
                <a:cubicBezTo>
                  <a:pt x="268" y="322"/>
                  <a:pt x="268" y="322"/>
                  <a:pt x="268" y="322"/>
                </a:cubicBezTo>
                <a:cubicBezTo>
                  <a:pt x="267" y="319"/>
                  <a:pt x="264" y="317"/>
                  <a:pt x="260" y="316"/>
                </a:cubicBezTo>
                <a:cubicBezTo>
                  <a:pt x="260" y="316"/>
                  <a:pt x="259" y="316"/>
                  <a:pt x="258" y="316"/>
                </a:cubicBezTo>
                <a:cubicBezTo>
                  <a:pt x="256" y="316"/>
                  <a:pt x="253" y="317"/>
                  <a:pt x="251" y="318"/>
                </a:cubicBezTo>
                <a:cubicBezTo>
                  <a:pt x="202" y="364"/>
                  <a:pt x="202" y="364"/>
                  <a:pt x="202" y="364"/>
                </a:cubicBezTo>
                <a:lnTo>
                  <a:pt x="203" y="13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6" y="299"/>
                </a:moveTo>
                <a:cubicBezTo>
                  <a:pt x="199" y="104"/>
                  <a:pt x="199" y="104"/>
                  <a:pt x="199" y="104"/>
                </a:cubicBezTo>
                <a:cubicBezTo>
                  <a:pt x="196" y="101"/>
                  <a:pt x="192" y="100"/>
                  <a:pt x="188" y="101"/>
                </a:cubicBezTo>
                <a:cubicBezTo>
                  <a:pt x="184" y="103"/>
                  <a:pt x="181" y="107"/>
                  <a:pt x="181" y="111"/>
                </a:cubicBezTo>
                <a:cubicBezTo>
                  <a:pt x="181" y="388"/>
                  <a:pt x="181" y="388"/>
                  <a:pt x="181" y="388"/>
                </a:cubicBezTo>
                <a:cubicBezTo>
                  <a:pt x="181" y="393"/>
                  <a:pt x="184" y="397"/>
                  <a:pt x="187" y="398"/>
                </a:cubicBezTo>
                <a:cubicBezTo>
                  <a:pt x="191" y="400"/>
                  <a:pt x="196" y="399"/>
                  <a:pt x="199" y="396"/>
                </a:cubicBezTo>
                <a:cubicBezTo>
                  <a:pt x="254" y="345"/>
                  <a:pt x="254" y="345"/>
                  <a:pt x="254" y="345"/>
                </a:cubicBezTo>
                <a:cubicBezTo>
                  <a:pt x="281" y="409"/>
                  <a:pt x="281" y="409"/>
                  <a:pt x="281" y="409"/>
                </a:cubicBezTo>
                <a:cubicBezTo>
                  <a:pt x="283" y="413"/>
                  <a:pt x="287" y="416"/>
                  <a:pt x="291" y="416"/>
                </a:cubicBezTo>
                <a:cubicBezTo>
                  <a:pt x="292" y="416"/>
                  <a:pt x="294" y="415"/>
                  <a:pt x="295" y="415"/>
                </a:cubicBezTo>
                <a:cubicBezTo>
                  <a:pt x="334" y="398"/>
                  <a:pt x="334" y="398"/>
                  <a:pt x="334" y="398"/>
                </a:cubicBezTo>
                <a:cubicBezTo>
                  <a:pt x="337" y="397"/>
                  <a:pt x="339" y="395"/>
                  <a:pt x="340" y="393"/>
                </a:cubicBezTo>
                <a:cubicBezTo>
                  <a:pt x="341" y="390"/>
                  <a:pt x="341" y="387"/>
                  <a:pt x="340" y="385"/>
                </a:cubicBezTo>
                <a:cubicBezTo>
                  <a:pt x="313" y="320"/>
                  <a:pt x="313" y="320"/>
                  <a:pt x="313" y="320"/>
                </a:cubicBezTo>
                <a:cubicBezTo>
                  <a:pt x="389" y="317"/>
                  <a:pt x="389" y="317"/>
                  <a:pt x="389" y="317"/>
                </a:cubicBezTo>
                <a:cubicBezTo>
                  <a:pt x="393" y="317"/>
                  <a:pt x="397" y="315"/>
                  <a:pt x="399" y="311"/>
                </a:cubicBezTo>
                <a:cubicBezTo>
                  <a:pt x="400" y="307"/>
                  <a:pt x="399" y="302"/>
                  <a:pt x="396" y="29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7" name="Group 153"/>
          <p:cNvGrpSpPr>
            <a:grpSpLocks noChangeAspect="1"/>
          </p:cNvGrpSpPr>
          <p:nvPr/>
        </p:nvGrpSpPr>
        <p:grpSpPr bwMode="auto">
          <a:xfrm>
            <a:off x="5880358" y="1690325"/>
            <a:ext cx="368712" cy="367631"/>
            <a:chOff x="3641" y="1708"/>
            <a:chExt cx="341" cy="340"/>
          </a:xfrm>
          <a:solidFill>
            <a:schemeClr val="accent2"/>
          </a:solidFill>
        </p:grpSpPr>
        <p:sp>
          <p:nvSpPr>
            <p:cNvPr id="388" name="Freeform 154"/>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155"/>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 name="TextBox 44"/>
          <p:cNvSpPr txBox="1"/>
          <p:nvPr/>
        </p:nvSpPr>
        <p:spPr>
          <a:xfrm>
            <a:off x="385134" y="294370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ckup complete</a:t>
            </a:r>
          </a:p>
        </p:txBody>
      </p:sp>
      <p:sp>
        <p:nvSpPr>
          <p:cNvPr id="46" name="TextBox 45"/>
          <p:cNvSpPr txBox="1"/>
          <p:nvPr/>
        </p:nvSpPr>
        <p:spPr>
          <a:xfrm>
            <a:off x="1218172" y="294444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ackup</a:t>
            </a:r>
          </a:p>
        </p:txBody>
      </p:sp>
      <p:sp>
        <p:nvSpPr>
          <p:cNvPr id="47" name="TextBox 46"/>
          <p:cNvSpPr txBox="1"/>
          <p:nvPr/>
        </p:nvSpPr>
        <p:spPr>
          <a:xfrm>
            <a:off x="2066027" y="29444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wnload</a:t>
            </a:r>
          </a:p>
        </p:txBody>
      </p:sp>
      <p:sp>
        <p:nvSpPr>
          <p:cNvPr id="48" name="Freeform 338"/>
          <p:cNvSpPr>
            <a:spLocks noChangeAspect="1" noEditPoints="1"/>
          </p:cNvSpPr>
          <p:nvPr/>
        </p:nvSpPr>
        <p:spPr bwMode="auto">
          <a:xfrm>
            <a:off x="406400" y="2521640"/>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9" name="Group 48"/>
          <p:cNvGrpSpPr>
            <a:grpSpLocks noChangeAspect="1"/>
          </p:cNvGrpSpPr>
          <p:nvPr/>
        </p:nvGrpSpPr>
        <p:grpSpPr bwMode="auto">
          <a:xfrm>
            <a:off x="825865" y="2521640"/>
            <a:ext cx="369064" cy="367982"/>
            <a:chOff x="3100" y="2384"/>
            <a:chExt cx="341" cy="340"/>
          </a:xfrm>
          <a:solidFill>
            <a:schemeClr val="accent4"/>
          </a:solidFill>
        </p:grpSpPr>
        <p:sp>
          <p:nvSpPr>
            <p:cNvPr id="50"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Freeform 51"/>
          <p:cNvSpPr>
            <a:spLocks noChangeAspect="1" noEditPoints="1"/>
          </p:cNvSpPr>
          <p:nvPr/>
        </p:nvSpPr>
        <p:spPr bwMode="auto">
          <a:xfrm>
            <a:off x="1246412" y="2521640"/>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351"/>
          <p:cNvSpPr>
            <a:spLocks noChangeAspect="1" noEditPoints="1"/>
          </p:cNvSpPr>
          <p:nvPr/>
        </p:nvSpPr>
        <p:spPr bwMode="auto">
          <a:xfrm>
            <a:off x="1665877" y="2521640"/>
            <a:ext cx="367982" cy="367982"/>
          </a:xfrm>
          <a:custGeom>
            <a:avLst/>
            <a:gdLst>
              <a:gd name="T0" fmla="*/ 128 w 512"/>
              <a:gd name="T1" fmla="*/ 331 h 512"/>
              <a:gd name="T2" fmla="*/ 152 w 512"/>
              <a:gd name="T3" fmla="*/ 331 h 512"/>
              <a:gd name="T4" fmla="*/ 128 w 512"/>
              <a:gd name="T5" fmla="*/ 256 h 512"/>
              <a:gd name="T6" fmla="*/ 256 w 512"/>
              <a:gd name="T7" fmla="*/ 128 h 512"/>
              <a:gd name="T8" fmla="*/ 384 w 512"/>
              <a:gd name="T9" fmla="*/ 256 h 512"/>
              <a:gd name="T10" fmla="*/ 256 w 512"/>
              <a:gd name="T11" fmla="*/ 384 h 512"/>
              <a:gd name="T12" fmla="*/ 245 w 512"/>
              <a:gd name="T13" fmla="*/ 373 h 512"/>
              <a:gd name="T14" fmla="*/ 256 w 512"/>
              <a:gd name="T15" fmla="*/ 363 h 512"/>
              <a:gd name="T16" fmla="*/ 362 w 512"/>
              <a:gd name="T17" fmla="*/ 256 h 512"/>
              <a:gd name="T18" fmla="*/ 256 w 512"/>
              <a:gd name="T19" fmla="*/ 149 h 512"/>
              <a:gd name="T20" fmla="*/ 149 w 512"/>
              <a:gd name="T21" fmla="*/ 256 h 512"/>
              <a:gd name="T22" fmla="*/ 170 w 512"/>
              <a:gd name="T23" fmla="*/ 320 h 512"/>
              <a:gd name="T24" fmla="*/ 170 w 512"/>
              <a:gd name="T25" fmla="*/ 288 h 512"/>
              <a:gd name="T26" fmla="*/ 180 w 512"/>
              <a:gd name="T27" fmla="*/ 277 h 512"/>
              <a:gd name="T28" fmla="*/ 191 w 512"/>
              <a:gd name="T29" fmla="*/ 288 h 512"/>
              <a:gd name="T30" fmla="*/ 191 w 512"/>
              <a:gd name="T31" fmla="*/ 341 h 512"/>
              <a:gd name="T32" fmla="*/ 181 w 512"/>
              <a:gd name="T33" fmla="*/ 353 h 512"/>
              <a:gd name="T34" fmla="*/ 128 w 512"/>
              <a:gd name="T35" fmla="*/ 353 h 512"/>
              <a:gd name="T36" fmla="*/ 117 w 512"/>
              <a:gd name="T37" fmla="*/ 342 h 512"/>
              <a:gd name="T38" fmla="*/ 128 w 512"/>
              <a:gd name="T39" fmla="*/ 331 h 512"/>
              <a:gd name="T40" fmla="*/ 280 w 512"/>
              <a:gd name="T41" fmla="*/ 227 h 512"/>
              <a:gd name="T42" fmla="*/ 256 w 512"/>
              <a:gd name="T43" fmla="*/ 252 h 512"/>
              <a:gd name="T44" fmla="*/ 213 w 512"/>
              <a:gd name="T45" fmla="*/ 208 h 512"/>
              <a:gd name="T46" fmla="*/ 197 w 512"/>
              <a:gd name="T47" fmla="*/ 208 h 512"/>
              <a:gd name="T48" fmla="*/ 197 w 512"/>
              <a:gd name="T49" fmla="*/ 224 h 512"/>
              <a:gd name="T50" fmla="*/ 248 w 512"/>
              <a:gd name="T51" fmla="*/ 274 h 512"/>
              <a:gd name="T52" fmla="*/ 256 w 512"/>
              <a:gd name="T53" fmla="*/ 277 h 512"/>
              <a:gd name="T54" fmla="*/ 263 w 512"/>
              <a:gd name="T55" fmla="*/ 274 h 512"/>
              <a:gd name="T56" fmla="*/ 295 w 512"/>
              <a:gd name="T57" fmla="*/ 242 h 512"/>
              <a:gd name="T58" fmla="*/ 295 w 512"/>
              <a:gd name="T59" fmla="*/ 227 h 512"/>
              <a:gd name="T60" fmla="*/ 280 w 512"/>
              <a:gd name="T61" fmla="*/ 227 h 512"/>
              <a:gd name="T62" fmla="*/ 256 w 512"/>
              <a:gd name="T63" fmla="*/ 21 h 512"/>
              <a:gd name="T64" fmla="*/ 490 w 512"/>
              <a:gd name="T65" fmla="*/ 256 h 512"/>
              <a:gd name="T66" fmla="*/ 256 w 512"/>
              <a:gd name="T67" fmla="*/ 491 h 512"/>
              <a:gd name="T68" fmla="*/ 21 w 512"/>
              <a:gd name="T69" fmla="*/ 256 h 512"/>
              <a:gd name="T70" fmla="*/ 256 w 512"/>
              <a:gd name="T71" fmla="*/ 21 h 512"/>
              <a:gd name="T72" fmla="*/ 256 w 512"/>
              <a:gd name="T73" fmla="*/ 0 h 512"/>
              <a:gd name="T74" fmla="*/ 0 w 512"/>
              <a:gd name="T75" fmla="*/ 256 h 512"/>
              <a:gd name="T76" fmla="*/ 256 w 512"/>
              <a:gd name="T77" fmla="*/ 512 h 512"/>
              <a:gd name="T78" fmla="*/ 512 w 512"/>
              <a:gd name="T79" fmla="*/ 256 h 512"/>
              <a:gd name="T80" fmla="*/ 256 w 512"/>
              <a:gd name="T8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28" y="331"/>
                </a:moveTo>
                <a:cubicBezTo>
                  <a:pt x="152" y="331"/>
                  <a:pt x="152" y="331"/>
                  <a:pt x="152" y="331"/>
                </a:cubicBezTo>
                <a:cubicBezTo>
                  <a:pt x="136" y="310"/>
                  <a:pt x="128" y="283"/>
                  <a:pt x="128" y="256"/>
                </a:cubicBezTo>
                <a:cubicBezTo>
                  <a:pt x="128" y="186"/>
                  <a:pt x="185" y="128"/>
                  <a:pt x="256" y="128"/>
                </a:cubicBezTo>
                <a:cubicBezTo>
                  <a:pt x="326" y="128"/>
                  <a:pt x="384" y="186"/>
                  <a:pt x="384" y="256"/>
                </a:cubicBezTo>
                <a:cubicBezTo>
                  <a:pt x="384" y="327"/>
                  <a:pt x="326" y="384"/>
                  <a:pt x="256" y="384"/>
                </a:cubicBez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lose/>
                <a:moveTo>
                  <a:pt x="280" y="227"/>
                </a:moveTo>
                <a:cubicBezTo>
                  <a:pt x="256" y="252"/>
                  <a:pt x="256" y="252"/>
                  <a:pt x="256" y="252"/>
                </a:cubicBezTo>
                <a:cubicBezTo>
                  <a:pt x="213" y="208"/>
                  <a:pt x="213" y="208"/>
                  <a:pt x="213" y="208"/>
                </a:cubicBezTo>
                <a:cubicBezTo>
                  <a:pt x="208" y="204"/>
                  <a:pt x="202" y="204"/>
                  <a:pt x="197" y="208"/>
                </a:cubicBezTo>
                <a:cubicBezTo>
                  <a:pt x="193" y="213"/>
                  <a:pt x="193" y="219"/>
                  <a:pt x="197" y="224"/>
                </a:cubicBezTo>
                <a:cubicBezTo>
                  <a:pt x="248" y="274"/>
                  <a:pt x="248" y="274"/>
                  <a:pt x="248" y="274"/>
                </a:cubicBezTo>
                <a:cubicBezTo>
                  <a:pt x="250" y="276"/>
                  <a:pt x="253" y="277"/>
                  <a:pt x="256" y="277"/>
                </a:cubicBezTo>
                <a:cubicBezTo>
                  <a:pt x="258" y="277"/>
                  <a:pt x="261" y="276"/>
                  <a:pt x="263" y="274"/>
                </a:cubicBezTo>
                <a:cubicBezTo>
                  <a:pt x="295" y="242"/>
                  <a:pt x="295" y="242"/>
                  <a:pt x="295" y="242"/>
                </a:cubicBezTo>
                <a:cubicBezTo>
                  <a:pt x="299" y="238"/>
                  <a:pt x="299" y="231"/>
                  <a:pt x="295" y="227"/>
                </a:cubicBezTo>
                <a:cubicBezTo>
                  <a:pt x="291" y="223"/>
                  <a:pt x="284" y="223"/>
                  <a:pt x="280" y="227"/>
                </a:cubicBezTo>
                <a:close/>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54" name="Group 412"/>
          <p:cNvGrpSpPr>
            <a:grpSpLocks noChangeAspect="1"/>
          </p:cNvGrpSpPr>
          <p:nvPr/>
        </p:nvGrpSpPr>
        <p:grpSpPr bwMode="auto">
          <a:xfrm>
            <a:off x="2085342" y="2521640"/>
            <a:ext cx="367631" cy="367631"/>
            <a:chOff x="2297" y="1592"/>
            <a:chExt cx="340" cy="340"/>
          </a:xfrm>
          <a:solidFill>
            <a:schemeClr val="accent5"/>
          </a:solidFill>
        </p:grpSpPr>
        <p:sp>
          <p:nvSpPr>
            <p:cNvPr id="55" name="Freeform 54"/>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5"/>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417"/>
          <p:cNvGrpSpPr>
            <a:grpSpLocks noChangeAspect="1"/>
          </p:cNvGrpSpPr>
          <p:nvPr/>
        </p:nvGrpSpPr>
        <p:grpSpPr bwMode="auto">
          <a:xfrm>
            <a:off x="2504456" y="2521640"/>
            <a:ext cx="367631" cy="368712"/>
            <a:chOff x="2725" y="1609"/>
            <a:chExt cx="340" cy="341"/>
          </a:xfrm>
          <a:solidFill>
            <a:schemeClr val="accent5"/>
          </a:solidFill>
        </p:grpSpPr>
        <p:sp>
          <p:nvSpPr>
            <p:cNvPr id="58"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TextBox 59"/>
          <p:cNvSpPr txBox="1"/>
          <p:nvPr/>
        </p:nvSpPr>
        <p:spPr>
          <a:xfrm>
            <a:off x="2910707" y="29619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fresh</a:t>
            </a:r>
          </a:p>
        </p:txBody>
      </p:sp>
      <p:grpSp>
        <p:nvGrpSpPr>
          <p:cNvPr id="61" name="Group 577"/>
          <p:cNvGrpSpPr>
            <a:grpSpLocks noChangeAspect="1"/>
          </p:cNvGrpSpPr>
          <p:nvPr/>
        </p:nvGrpSpPr>
        <p:grpSpPr bwMode="auto">
          <a:xfrm>
            <a:off x="3344074" y="2521640"/>
            <a:ext cx="369021" cy="369021"/>
            <a:chOff x="7356" y="2314"/>
            <a:chExt cx="340" cy="340"/>
          </a:xfrm>
          <a:solidFill>
            <a:schemeClr val="accent1"/>
          </a:solidFill>
        </p:grpSpPr>
        <p:sp>
          <p:nvSpPr>
            <p:cNvPr id="62"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Freeform 583"/>
          <p:cNvSpPr>
            <a:spLocks noChangeAspect="1" noEditPoints="1"/>
          </p:cNvSpPr>
          <p:nvPr/>
        </p:nvSpPr>
        <p:spPr bwMode="auto">
          <a:xfrm>
            <a:off x="2923570" y="252164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TextBox 64"/>
          <p:cNvSpPr txBox="1"/>
          <p:nvPr/>
        </p:nvSpPr>
        <p:spPr>
          <a:xfrm>
            <a:off x="6261100" y="21092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uffle</a:t>
            </a:r>
          </a:p>
        </p:txBody>
      </p:sp>
      <p:grpSp>
        <p:nvGrpSpPr>
          <p:cNvPr id="66" name="Group 977"/>
          <p:cNvGrpSpPr>
            <a:grpSpLocks noChangeAspect="1"/>
          </p:cNvGrpSpPr>
          <p:nvPr/>
        </p:nvGrpSpPr>
        <p:grpSpPr bwMode="auto">
          <a:xfrm>
            <a:off x="6722871" y="1687513"/>
            <a:ext cx="369021" cy="370106"/>
            <a:chOff x="5095" y="4001"/>
            <a:chExt cx="340" cy="341"/>
          </a:xfrm>
          <a:solidFill>
            <a:schemeClr val="accent5"/>
          </a:solidFill>
        </p:grpSpPr>
        <p:sp>
          <p:nvSpPr>
            <p:cNvPr id="67"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Freeform 983"/>
          <p:cNvSpPr>
            <a:spLocks noChangeAspect="1" noEditPoints="1"/>
          </p:cNvSpPr>
          <p:nvPr/>
        </p:nvSpPr>
        <p:spPr bwMode="auto">
          <a:xfrm>
            <a:off x="6300917" y="1688598"/>
            <a:ext cx="370106" cy="369021"/>
          </a:xfrm>
          <a:custGeom>
            <a:avLst/>
            <a:gdLst>
              <a:gd name="T0" fmla="*/ 0 w 512"/>
              <a:gd name="T1" fmla="*/ 256 h 512"/>
              <a:gd name="T2" fmla="*/ 512 w 512"/>
              <a:gd name="T3" fmla="*/ 256 h 512"/>
              <a:gd name="T4" fmla="*/ 352 w 512"/>
              <a:gd name="T5" fmla="*/ 192 h 512"/>
              <a:gd name="T6" fmla="*/ 275 w 512"/>
              <a:gd name="T7" fmla="*/ 251 h 512"/>
              <a:gd name="T8" fmla="*/ 275 w 512"/>
              <a:gd name="T9" fmla="*/ 262 h 512"/>
              <a:gd name="T10" fmla="*/ 352 w 512"/>
              <a:gd name="T11" fmla="*/ 320 h 512"/>
              <a:gd name="T12" fmla="*/ 355 w 512"/>
              <a:gd name="T13" fmla="*/ 296 h 512"/>
              <a:gd name="T14" fmla="*/ 370 w 512"/>
              <a:gd name="T15" fmla="*/ 281 h 512"/>
              <a:gd name="T16" fmla="*/ 415 w 512"/>
              <a:gd name="T17" fmla="*/ 327 h 512"/>
              <a:gd name="T18" fmla="*/ 413 w 512"/>
              <a:gd name="T19" fmla="*/ 339 h 512"/>
              <a:gd name="T20" fmla="*/ 363 w 512"/>
              <a:gd name="T21" fmla="*/ 384 h 512"/>
              <a:gd name="T22" fmla="*/ 355 w 512"/>
              <a:gd name="T23" fmla="*/ 366 h 512"/>
              <a:gd name="T24" fmla="*/ 352 w 512"/>
              <a:gd name="T25" fmla="*/ 342 h 512"/>
              <a:gd name="T26" fmla="*/ 259 w 512"/>
              <a:gd name="T27" fmla="*/ 276 h 512"/>
              <a:gd name="T28" fmla="*/ 253 w 512"/>
              <a:gd name="T29" fmla="*/ 276 h 512"/>
              <a:gd name="T30" fmla="*/ 160 w 512"/>
              <a:gd name="T31" fmla="*/ 342 h 512"/>
              <a:gd name="T32" fmla="*/ 96 w 512"/>
              <a:gd name="T33" fmla="*/ 331 h 512"/>
              <a:gd name="T34" fmla="*/ 160 w 512"/>
              <a:gd name="T35" fmla="*/ 320 h 512"/>
              <a:gd name="T36" fmla="*/ 237 w 512"/>
              <a:gd name="T37" fmla="*/ 261 h 512"/>
              <a:gd name="T38" fmla="*/ 237 w 512"/>
              <a:gd name="T39" fmla="*/ 251 h 512"/>
              <a:gd name="T40" fmla="*/ 160 w 512"/>
              <a:gd name="T41" fmla="*/ 192 h 512"/>
              <a:gd name="T42" fmla="*/ 96 w 512"/>
              <a:gd name="T43" fmla="*/ 182 h 512"/>
              <a:gd name="T44" fmla="*/ 160 w 512"/>
              <a:gd name="T45" fmla="*/ 171 h 512"/>
              <a:gd name="T46" fmla="*/ 253 w 512"/>
              <a:gd name="T47" fmla="*/ 237 h 512"/>
              <a:gd name="T48" fmla="*/ 259 w 512"/>
              <a:gd name="T49" fmla="*/ 237 h 512"/>
              <a:gd name="T50" fmla="*/ 352 w 512"/>
              <a:gd name="T51" fmla="*/ 171 h 512"/>
              <a:gd name="T52" fmla="*/ 355 w 512"/>
              <a:gd name="T53" fmla="*/ 147 h 512"/>
              <a:gd name="T54" fmla="*/ 370 w 512"/>
              <a:gd name="T55" fmla="*/ 131 h 512"/>
              <a:gd name="T56" fmla="*/ 415 w 512"/>
              <a:gd name="T57" fmla="*/ 178 h 512"/>
              <a:gd name="T58" fmla="*/ 413 w 512"/>
              <a:gd name="T59" fmla="*/ 189 h 512"/>
              <a:gd name="T60" fmla="*/ 363 w 512"/>
              <a:gd name="T61" fmla="*/ 235 h 512"/>
              <a:gd name="T62" fmla="*/ 355 w 512"/>
              <a:gd name="T63" fmla="*/ 217 h 512"/>
              <a:gd name="T64" fmla="*/ 352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192"/>
                </a:moveTo>
                <a:cubicBezTo>
                  <a:pt x="321" y="192"/>
                  <a:pt x="303" y="216"/>
                  <a:pt x="287" y="237"/>
                </a:cubicBezTo>
                <a:cubicBezTo>
                  <a:pt x="282" y="242"/>
                  <a:pt x="278" y="247"/>
                  <a:pt x="275" y="251"/>
                </a:cubicBezTo>
                <a:cubicBezTo>
                  <a:pt x="270" y="256"/>
                  <a:pt x="270" y="256"/>
                  <a:pt x="270" y="256"/>
                </a:cubicBezTo>
                <a:cubicBezTo>
                  <a:pt x="275" y="262"/>
                  <a:pt x="275" y="262"/>
                  <a:pt x="275" y="262"/>
                </a:cubicBezTo>
                <a:cubicBezTo>
                  <a:pt x="278" y="266"/>
                  <a:pt x="282" y="271"/>
                  <a:pt x="287" y="276"/>
                </a:cubicBezTo>
                <a:cubicBezTo>
                  <a:pt x="303" y="297"/>
                  <a:pt x="321" y="320"/>
                  <a:pt x="352" y="320"/>
                </a:cubicBezTo>
                <a:cubicBezTo>
                  <a:pt x="380" y="320"/>
                  <a:pt x="380" y="320"/>
                  <a:pt x="380" y="320"/>
                </a:cubicBezTo>
                <a:cubicBezTo>
                  <a:pt x="355" y="296"/>
                  <a:pt x="355" y="296"/>
                  <a:pt x="355" y="296"/>
                </a:cubicBezTo>
                <a:cubicBezTo>
                  <a:pt x="351" y="292"/>
                  <a:pt x="351" y="285"/>
                  <a:pt x="355" y="281"/>
                </a:cubicBezTo>
                <a:cubicBezTo>
                  <a:pt x="359" y="277"/>
                  <a:pt x="366" y="277"/>
                  <a:pt x="370" y="281"/>
                </a:cubicBezTo>
                <a:cubicBezTo>
                  <a:pt x="413" y="323"/>
                  <a:pt x="413" y="323"/>
                  <a:pt x="413" y="323"/>
                </a:cubicBezTo>
                <a:cubicBezTo>
                  <a:pt x="414" y="324"/>
                  <a:pt x="415" y="326"/>
                  <a:pt x="415" y="327"/>
                </a:cubicBezTo>
                <a:cubicBezTo>
                  <a:pt x="416" y="330"/>
                  <a:pt x="416" y="332"/>
                  <a:pt x="415" y="335"/>
                </a:cubicBezTo>
                <a:cubicBezTo>
                  <a:pt x="415" y="336"/>
                  <a:pt x="414" y="338"/>
                  <a:pt x="413" y="339"/>
                </a:cubicBezTo>
                <a:cubicBezTo>
                  <a:pt x="370" y="381"/>
                  <a:pt x="370" y="381"/>
                  <a:pt x="370" y="381"/>
                </a:cubicBezTo>
                <a:cubicBezTo>
                  <a:pt x="368" y="383"/>
                  <a:pt x="365" y="384"/>
                  <a:pt x="363" y="384"/>
                </a:cubicBezTo>
                <a:cubicBezTo>
                  <a:pt x="360" y="384"/>
                  <a:pt x="357" y="383"/>
                  <a:pt x="355" y="381"/>
                </a:cubicBezTo>
                <a:cubicBezTo>
                  <a:pt x="351" y="377"/>
                  <a:pt x="351" y="370"/>
                  <a:pt x="355" y="366"/>
                </a:cubicBezTo>
                <a:cubicBezTo>
                  <a:pt x="380" y="342"/>
                  <a:pt x="380" y="342"/>
                  <a:pt x="380" y="342"/>
                </a:cubicBezTo>
                <a:cubicBezTo>
                  <a:pt x="352" y="342"/>
                  <a:pt x="352" y="342"/>
                  <a:pt x="352" y="342"/>
                </a:cubicBezTo>
                <a:cubicBezTo>
                  <a:pt x="311" y="342"/>
                  <a:pt x="287" y="311"/>
                  <a:pt x="270" y="289"/>
                </a:cubicBezTo>
                <a:cubicBezTo>
                  <a:pt x="266" y="284"/>
                  <a:pt x="262" y="280"/>
                  <a:pt x="259" y="276"/>
                </a:cubicBezTo>
                <a:cubicBezTo>
                  <a:pt x="256" y="273"/>
                  <a:pt x="256" y="273"/>
                  <a:pt x="256" y="273"/>
                </a:cubicBezTo>
                <a:cubicBezTo>
                  <a:pt x="253" y="276"/>
                  <a:pt x="253" y="276"/>
                  <a:pt x="253" y="276"/>
                </a:cubicBezTo>
                <a:cubicBezTo>
                  <a:pt x="250" y="280"/>
                  <a:pt x="246" y="284"/>
                  <a:pt x="242" y="289"/>
                </a:cubicBezTo>
                <a:cubicBezTo>
                  <a:pt x="225" y="311"/>
                  <a:pt x="201" y="342"/>
                  <a:pt x="160" y="342"/>
                </a:cubicBezTo>
                <a:cubicBezTo>
                  <a:pt x="107" y="342"/>
                  <a:pt x="107" y="342"/>
                  <a:pt x="107" y="342"/>
                </a:cubicBezTo>
                <a:cubicBezTo>
                  <a:pt x="101" y="342"/>
                  <a:pt x="96" y="337"/>
                  <a:pt x="96" y="331"/>
                </a:cubicBezTo>
                <a:cubicBezTo>
                  <a:pt x="96" y="325"/>
                  <a:pt x="101" y="320"/>
                  <a:pt x="107" y="320"/>
                </a:cubicBezTo>
                <a:cubicBezTo>
                  <a:pt x="160" y="320"/>
                  <a:pt x="160" y="320"/>
                  <a:pt x="160" y="320"/>
                </a:cubicBezTo>
                <a:cubicBezTo>
                  <a:pt x="191" y="320"/>
                  <a:pt x="209" y="297"/>
                  <a:pt x="225" y="276"/>
                </a:cubicBezTo>
                <a:cubicBezTo>
                  <a:pt x="230" y="271"/>
                  <a:pt x="234" y="266"/>
                  <a:pt x="237" y="261"/>
                </a:cubicBezTo>
                <a:cubicBezTo>
                  <a:pt x="242" y="256"/>
                  <a:pt x="242" y="256"/>
                  <a:pt x="242" y="256"/>
                </a:cubicBezTo>
                <a:cubicBezTo>
                  <a:pt x="237" y="251"/>
                  <a:pt x="237" y="251"/>
                  <a:pt x="237" y="251"/>
                </a:cubicBezTo>
                <a:cubicBezTo>
                  <a:pt x="234" y="247"/>
                  <a:pt x="230" y="242"/>
                  <a:pt x="225" y="237"/>
                </a:cubicBezTo>
                <a:cubicBezTo>
                  <a:pt x="209" y="216"/>
                  <a:pt x="191" y="192"/>
                  <a:pt x="160" y="192"/>
                </a:cubicBezTo>
                <a:cubicBezTo>
                  <a:pt x="107" y="192"/>
                  <a:pt x="107" y="192"/>
                  <a:pt x="107" y="192"/>
                </a:cubicBezTo>
                <a:cubicBezTo>
                  <a:pt x="101" y="192"/>
                  <a:pt x="96" y="188"/>
                  <a:pt x="96" y="182"/>
                </a:cubicBezTo>
                <a:cubicBezTo>
                  <a:pt x="96" y="176"/>
                  <a:pt x="101" y="171"/>
                  <a:pt x="107" y="171"/>
                </a:cubicBezTo>
                <a:cubicBezTo>
                  <a:pt x="160" y="171"/>
                  <a:pt x="160" y="171"/>
                  <a:pt x="160" y="171"/>
                </a:cubicBezTo>
                <a:cubicBezTo>
                  <a:pt x="201" y="171"/>
                  <a:pt x="225" y="201"/>
                  <a:pt x="242" y="223"/>
                </a:cubicBezTo>
                <a:cubicBezTo>
                  <a:pt x="246" y="228"/>
                  <a:pt x="250" y="233"/>
                  <a:pt x="253" y="237"/>
                </a:cubicBezTo>
                <a:cubicBezTo>
                  <a:pt x="256" y="240"/>
                  <a:pt x="256" y="240"/>
                  <a:pt x="256" y="240"/>
                </a:cubicBezTo>
                <a:cubicBezTo>
                  <a:pt x="259" y="237"/>
                  <a:pt x="259" y="237"/>
                  <a:pt x="259" y="237"/>
                </a:cubicBezTo>
                <a:cubicBezTo>
                  <a:pt x="262" y="233"/>
                  <a:pt x="266" y="228"/>
                  <a:pt x="270" y="223"/>
                </a:cubicBezTo>
                <a:cubicBezTo>
                  <a:pt x="287" y="201"/>
                  <a:pt x="311" y="171"/>
                  <a:pt x="352" y="171"/>
                </a:cubicBezTo>
                <a:cubicBezTo>
                  <a:pt x="380" y="171"/>
                  <a:pt x="380" y="171"/>
                  <a:pt x="380" y="171"/>
                </a:cubicBezTo>
                <a:cubicBezTo>
                  <a:pt x="355" y="147"/>
                  <a:pt x="355" y="147"/>
                  <a:pt x="355" y="147"/>
                </a:cubicBezTo>
                <a:cubicBezTo>
                  <a:pt x="351" y="142"/>
                  <a:pt x="351" y="136"/>
                  <a:pt x="355" y="131"/>
                </a:cubicBezTo>
                <a:cubicBezTo>
                  <a:pt x="359" y="127"/>
                  <a:pt x="366" y="127"/>
                  <a:pt x="370" y="131"/>
                </a:cubicBezTo>
                <a:cubicBezTo>
                  <a:pt x="413" y="174"/>
                  <a:pt x="413" y="174"/>
                  <a:pt x="413" y="174"/>
                </a:cubicBezTo>
                <a:cubicBezTo>
                  <a:pt x="414" y="175"/>
                  <a:pt x="415" y="176"/>
                  <a:pt x="415" y="178"/>
                </a:cubicBezTo>
                <a:cubicBezTo>
                  <a:pt x="416" y="180"/>
                  <a:pt x="416" y="183"/>
                  <a:pt x="415" y="186"/>
                </a:cubicBezTo>
                <a:cubicBezTo>
                  <a:pt x="415" y="187"/>
                  <a:pt x="414" y="188"/>
                  <a:pt x="413" y="189"/>
                </a:cubicBezTo>
                <a:cubicBezTo>
                  <a:pt x="370" y="232"/>
                  <a:pt x="370" y="232"/>
                  <a:pt x="370" y="232"/>
                </a:cubicBezTo>
                <a:cubicBezTo>
                  <a:pt x="368" y="234"/>
                  <a:pt x="365" y="235"/>
                  <a:pt x="363" y="235"/>
                </a:cubicBezTo>
                <a:cubicBezTo>
                  <a:pt x="360" y="235"/>
                  <a:pt x="357" y="234"/>
                  <a:pt x="355" y="232"/>
                </a:cubicBezTo>
                <a:cubicBezTo>
                  <a:pt x="351" y="228"/>
                  <a:pt x="351" y="221"/>
                  <a:pt x="355" y="217"/>
                </a:cubicBezTo>
                <a:cubicBezTo>
                  <a:pt x="380" y="192"/>
                  <a:pt x="380" y="192"/>
                  <a:pt x="380" y="192"/>
                </a:cubicBezTo>
                <a:lnTo>
                  <a:pt x="352" y="19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TextBox 79"/>
          <p:cNvSpPr txBox="1"/>
          <p:nvPr/>
        </p:nvSpPr>
        <p:spPr>
          <a:xfrm>
            <a:off x="4600067" y="297887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le code</a:t>
            </a:r>
          </a:p>
        </p:txBody>
      </p:sp>
      <p:sp>
        <p:nvSpPr>
          <p:cNvPr id="81" name="TextBox 80"/>
          <p:cNvSpPr txBox="1"/>
          <p:nvPr/>
        </p:nvSpPr>
        <p:spPr>
          <a:xfrm>
            <a:off x="3755387" y="29619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aker</a:t>
            </a:r>
          </a:p>
        </p:txBody>
      </p:sp>
      <p:sp>
        <p:nvSpPr>
          <p:cNvPr id="72" name="TextBox 71"/>
          <p:cNvSpPr txBox="1"/>
          <p:nvPr/>
        </p:nvSpPr>
        <p:spPr>
          <a:xfrm>
            <a:off x="5444745" y="295241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log</a:t>
            </a:r>
          </a:p>
        </p:txBody>
      </p:sp>
      <p:sp>
        <p:nvSpPr>
          <p:cNvPr id="73" name="Freeform 552"/>
          <p:cNvSpPr>
            <a:spLocks noChangeAspect="1" noEditPoints="1"/>
          </p:cNvSpPr>
          <p:nvPr/>
        </p:nvSpPr>
        <p:spPr bwMode="auto">
          <a:xfrm>
            <a:off x="5461621" y="2521640"/>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73 h 512"/>
              <a:gd name="T12" fmla="*/ 138 w 512"/>
              <a:gd name="T13" fmla="*/ 320 h 512"/>
              <a:gd name="T14" fmla="*/ 138 w 512"/>
              <a:gd name="T15" fmla="*/ 213 h 512"/>
              <a:gd name="T16" fmla="*/ 149 w 512"/>
              <a:gd name="T17" fmla="*/ 202 h 512"/>
              <a:gd name="T18" fmla="*/ 160 w 512"/>
              <a:gd name="T19" fmla="*/ 213 h 512"/>
              <a:gd name="T20" fmla="*/ 160 w 512"/>
              <a:gd name="T21" fmla="*/ 320 h 512"/>
              <a:gd name="T22" fmla="*/ 192 w 512"/>
              <a:gd name="T23" fmla="*/ 352 h 512"/>
              <a:gd name="T24" fmla="*/ 224 w 512"/>
              <a:gd name="T25" fmla="*/ 320 h 512"/>
              <a:gd name="T26" fmla="*/ 192 w 512"/>
              <a:gd name="T27" fmla="*/ 288 h 512"/>
              <a:gd name="T28" fmla="*/ 181 w 512"/>
              <a:gd name="T29" fmla="*/ 277 h 512"/>
              <a:gd name="T30" fmla="*/ 192 w 512"/>
              <a:gd name="T31" fmla="*/ 266 h 512"/>
              <a:gd name="T32" fmla="*/ 245 w 512"/>
              <a:gd name="T33" fmla="*/ 320 h 512"/>
              <a:gd name="T34" fmla="*/ 192 w 512"/>
              <a:gd name="T35" fmla="*/ 373 h 512"/>
              <a:gd name="T36" fmla="*/ 298 w 512"/>
              <a:gd name="T37" fmla="*/ 330 h 512"/>
              <a:gd name="T38" fmla="*/ 288 w 512"/>
              <a:gd name="T39" fmla="*/ 320 h 512"/>
              <a:gd name="T40" fmla="*/ 192 w 512"/>
              <a:gd name="T41" fmla="*/ 224 h 512"/>
              <a:gd name="T42" fmla="*/ 181 w 512"/>
              <a:gd name="T43" fmla="*/ 213 h 512"/>
              <a:gd name="T44" fmla="*/ 192 w 512"/>
              <a:gd name="T45" fmla="*/ 202 h 512"/>
              <a:gd name="T46" fmla="*/ 309 w 512"/>
              <a:gd name="T47" fmla="*/ 320 h 512"/>
              <a:gd name="T48" fmla="*/ 298 w 512"/>
              <a:gd name="T49" fmla="*/ 330 h 512"/>
              <a:gd name="T50" fmla="*/ 373 w 512"/>
              <a:gd name="T51" fmla="*/ 330 h 512"/>
              <a:gd name="T52" fmla="*/ 362 w 512"/>
              <a:gd name="T53" fmla="*/ 320 h 512"/>
              <a:gd name="T54" fmla="*/ 192 w 512"/>
              <a:gd name="T55" fmla="*/ 149 h 512"/>
              <a:gd name="T56" fmla="*/ 181 w 512"/>
              <a:gd name="T57" fmla="*/ 138 h 512"/>
              <a:gd name="T58" fmla="*/ 192 w 512"/>
              <a:gd name="T59" fmla="*/ 128 h 512"/>
              <a:gd name="T60" fmla="*/ 384 w 512"/>
              <a:gd name="T61" fmla="*/ 320 h 512"/>
              <a:gd name="T62" fmla="*/ 373 w 512"/>
              <a:gd name="T6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73"/>
                </a:moveTo>
                <a:cubicBezTo>
                  <a:pt x="162" y="373"/>
                  <a:pt x="138" y="349"/>
                  <a:pt x="138" y="320"/>
                </a:cubicBezTo>
                <a:cubicBezTo>
                  <a:pt x="138" y="213"/>
                  <a:pt x="138" y="213"/>
                  <a:pt x="138" y="213"/>
                </a:cubicBezTo>
                <a:cubicBezTo>
                  <a:pt x="138" y="207"/>
                  <a:pt x="143" y="202"/>
                  <a:pt x="149" y="202"/>
                </a:cubicBezTo>
                <a:cubicBezTo>
                  <a:pt x="155" y="202"/>
                  <a:pt x="160" y="207"/>
                  <a:pt x="160" y="213"/>
                </a:cubicBezTo>
                <a:cubicBezTo>
                  <a:pt x="160" y="320"/>
                  <a:pt x="160" y="320"/>
                  <a:pt x="160" y="320"/>
                </a:cubicBezTo>
                <a:cubicBezTo>
                  <a:pt x="160" y="337"/>
                  <a:pt x="174" y="352"/>
                  <a:pt x="192" y="352"/>
                </a:cubicBezTo>
                <a:cubicBezTo>
                  <a:pt x="209" y="352"/>
                  <a:pt x="224" y="337"/>
                  <a:pt x="224" y="320"/>
                </a:cubicBezTo>
                <a:cubicBezTo>
                  <a:pt x="224" y="302"/>
                  <a:pt x="209" y="288"/>
                  <a:pt x="192" y="288"/>
                </a:cubicBezTo>
                <a:cubicBezTo>
                  <a:pt x="186" y="288"/>
                  <a:pt x="181" y="283"/>
                  <a:pt x="181" y="277"/>
                </a:cubicBezTo>
                <a:cubicBezTo>
                  <a:pt x="181" y="271"/>
                  <a:pt x="186" y="266"/>
                  <a:pt x="192" y="266"/>
                </a:cubicBezTo>
                <a:cubicBezTo>
                  <a:pt x="221" y="266"/>
                  <a:pt x="245" y="290"/>
                  <a:pt x="245" y="320"/>
                </a:cubicBezTo>
                <a:cubicBezTo>
                  <a:pt x="245" y="349"/>
                  <a:pt x="221" y="373"/>
                  <a:pt x="192" y="373"/>
                </a:cubicBezTo>
                <a:close/>
                <a:moveTo>
                  <a:pt x="298" y="330"/>
                </a:moveTo>
                <a:cubicBezTo>
                  <a:pt x="292" y="330"/>
                  <a:pt x="288" y="326"/>
                  <a:pt x="288" y="320"/>
                </a:cubicBezTo>
                <a:cubicBezTo>
                  <a:pt x="288" y="267"/>
                  <a:pt x="245" y="224"/>
                  <a:pt x="192" y="224"/>
                </a:cubicBezTo>
                <a:cubicBezTo>
                  <a:pt x="186" y="224"/>
                  <a:pt x="181" y="219"/>
                  <a:pt x="181" y="213"/>
                </a:cubicBezTo>
                <a:cubicBezTo>
                  <a:pt x="181" y="207"/>
                  <a:pt x="186" y="202"/>
                  <a:pt x="192" y="202"/>
                </a:cubicBezTo>
                <a:cubicBezTo>
                  <a:pt x="256" y="202"/>
                  <a:pt x="309" y="255"/>
                  <a:pt x="309" y="320"/>
                </a:cubicBezTo>
                <a:cubicBezTo>
                  <a:pt x="309" y="326"/>
                  <a:pt x="304" y="330"/>
                  <a:pt x="298" y="330"/>
                </a:cubicBezTo>
                <a:close/>
                <a:moveTo>
                  <a:pt x="373" y="330"/>
                </a:moveTo>
                <a:cubicBezTo>
                  <a:pt x="367" y="330"/>
                  <a:pt x="362" y="326"/>
                  <a:pt x="362" y="320"/>
                </a:cubicBezTo>
                <a:cubicBezTo>
                  <a:pt x="362" y="226"/>
                  <a:pt x="286" y="149"/>
                  <a:pt x="192" y="149"/>
                </a:cubicBezTo>
                <a:cubicBezTo>
                  <a:pt x="186" y="149"/>
                  <a:pt x="181" y="144"/>
                  <a:pt x="181" y="138"/>
                </a:cubicBezTo>
                <a:cubicBezTo>
                  <a:pt x="181" y="132"/>
                  <a:pt x="186" y="128"/>
                  <a:pt x="192" y="128"/>
                </a:cubicBezTo>
                <a:cubicBezTo>
                  <a:pt x="298" y="128"/>
                  <a:pt x="384" y="214"/>
                  <a:pt x="384" y="320"/>
                </a:cubicBezTo>
                <a:cubicBezTo>
                  <a:pt x="384" y="326"/>
                  <a:pt x="379" y="330"/>
                  <a:pt x="373" y="33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74" name="Group 555"/>
          <p:cNvGrpSpPr>
            <a:grpSpLocks noChangeAspect="1"/>
          </p:cNvGrpSpPr>
          <p:nvPr/>
        </p:nvGrpSpPr>
        <p:grpSpPr bwMode="auto">
          <a:xfrm>
            <a:off x="5881088" y="2521640"/>
            <a:ext cx="367982" cy="367982"/>
            <a:chOff x="4144" y="3013"/>
            <a:chExt cx="340" cy="340"/>
          </a:xfrm>
          <a:solidFill>
            <a:schemeClr val="accent6"/>
          </a:solidFill>
        </p:grpSpPr>
        <p:sp>
          <p:nvSpPr>
            <p:cNvPr id="75"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 name="Group 15"/>
          <p:cNvGrpSpPr>
            <a:grpSpLocks noChangeAspect="1"/>
          </p:cNvGrpSpPr>
          <p:nvPr/>
        </p:nvGrpSpPr>
        <p:grpSpPr>
          <a:xfrm>
            <a:off x="5037273" y="2521640"/>
            <a:ext cx="372865" cy="370800"/>
            <a:chOff x="5157788" y="2657475"/>
            <a:chExt cx="3159125" cy="3141663"/>
          </a:xfrm>
          <a:solidFill>
            <a:schemeClr val="accent2"/>
          </a:solidFill>
        </p:grpSpPr>
        <p:sp>
          <p:nvSpPr>
            <p:cNvPr id="11" name="Freeform 9"/>
            <p:cNvSpPr>
              <a:spLocks noEditPoints="1"/>
            </p:cNvSpPr>
            <p:nvPr/>
          </p:nvSpPr>
          <p:spPr bwMode="auto">
            <a:xfrm>
              <a:off x="6013451" y="3246438"/>
              <a:ext cx="1447800" cy="1963738"/>
            </a:xfrm>
            <a:custGeom>
              <a:avLst/>
              <a:gdLst>
                <a:gd name="T0" fmla="*/ 175 w 176"/>
                <a:gd name="T1" fmla="*/ 61 h 240"/>
                <a:gd name="T2" fmla="*/ 173 w 176"/>
                <a:gd name="T3" fmla="*/ 58 h 240"/>
                <a:gd name="T4" fmla="*/ 117 w 176"/>
                <a:gd name="T5" fmla="*/ 2 h 240"/>
                <a:gd name="T6" fmla="*/ 117 w 176"/>
                <a:gd name="T7" fmla="*/ 2 h 240"/>
                <a:gd name="T8" fmla="*/ 117 w 176"/>
                <a:gd name="T9" fmla="*/ 2 h 240"/>
                <a:gd name="T10" fmla="*/ 117 w 176"/>
                <a:gd name="T11" fmla="*/ 2 h 240"/>
                <a:gd name="T12" fmla="*/ 112 w 176"/>
                <a:gd name="T13" fmla="*/ 0 h 240"/>
                <a:gd name="T14" fmla="*/ 8 w 176"/>
                <a:gd name="T15" fmla="*/ 0 h 240"/>
                <a:gd name="T16" fmla="*/ 0 w 176"/>
                <a:gd name="T17" fmla="*/ 8 h 240"/>
                <a:gd name="T18" fmla="*/ 0 w 176"/>
                <a:gd name="T19" fmla="*/ 232 h 240"/>
                <a:gd name="T20" fmla="*/ 8 w 176"/>
                <a:gd name="T21" fmla="*/ 240 h 240"/>
                <a:gd name="T22" fmla="*/ 168 w 176"/>
                <a:gd name="T23" fmla="*/ 240 h 240"/>
                <a:gd name="T24" fmla="*/ 176 w 176"/>
                <a:gd name="T25" fmla="*/ 232 h 240"/>
                <a:gd name="T26" fmla="*/ 176 w 176"/>
                <a:gd name="T27" fmla="*/ 64 h 240"/>
                <a:gd name="T28" fmla="*/ 176 w 176"/>
                <a:gd name="T29" fmla="*/ 64 h 240"/>
                <a:gd name="T30" fmla="*/ 175 w 176"/>
                <a:gd name="T31" fmla="*/ 61 h 240"/>
                <a:gd name="T32" fmla="*/ 120 w 176"/>
                <a:gd name="T33" fmla="*/ 27 h 240"/>
                <a:gd name="T34" fmla="*/ 148 w 176"/>
                <a:gd name="T35" fmla="*/ 56 h 240"/>
                <a:gd name="T36" fmla="*/ 120 w 176"/>
                <a:gd name="T37" fmla="*/ 56 h 240"/>
                <a:gd name="T38" fmla="*/ 120 w 176"/>
                <a:gd name="T39" fmla="*/ 27 h 240"/>
                <a:gd name="T40" fmla="*/ 160 w 176"/>
                <a:gd name="T41" fmla="*/ 224 h 240"/>
                <a:gd name="T42" fmla="*/ 16 w 176"/>
                <a:gd name="T43" fmla="*/ 224 h 240"/>
                <a:gd name="T44" fmla="*/ 16 w 176"/>
                <a:gd name="T45" fmla="*/ 16 h 240"/>
                <a:gd name="T46" fmla="*/ 104 w 176"/>
                <a:gd name="T47" fmla="*/ 16 h 240"/>
                <a:gd name="T48" fmla="*/ 104 w 176"/>
                <a:gd name="T49" fmla="*/ 64 h 240"/>
                <a:gd name="T50" fmla="*/ 112 w 176"/>
                <a:gd name="T51" fmla="*/ 72 h 240"/>
                <a:gd name="T52" fmla="*/ 160 w 176"/>
                <a:gd name="T53" fmla="*/ 72 h 240"/>
                <a:gd name="T54" fmla="*/ 160 w 176"/>
                <a:gd name="T55"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240">
                  <a:moveTo>
                    <a:pt x="175" y="61"/>
                  </a:moveTo>
                  <a:cubicBezTo>
                    <a:pt x="175" y="60"/>
                    <a:pt x="174" y="59"/>
                    <a:pt x="173" y="58"/>
                  </a:cubicBezTo>
                  <a:cubicBezTo>
                    <a:pt x="117" y="2"/>
                    <a:pt x="117" y="2"/>
                    <a:pt x="117" y="2"/>
                  </a:cubicBezTo>
                  <a:cubicBezTo>
                    <a:pt x="117" y="2"/>
                    <a:pt x="117" y="2"/>
                    <a:pt x="117" y="2"/>
                  </a:cubicBezTo>
                  <a:cubicBezTo>
                    <a:pt x="117" y="2"/>
                    <a:pt x="117" y="2"/>
                    <a:pt x="117" y="2"/>
                  </a:cubicBezTo>
                  <a:cubicBezTo>
                    <a:pt x="117" y="2"/>
                    <a:pt x="117" y="2"/>
                    <a:pt x="117" y="2"/>
                  </a:cubicBezTo>
                  <a:cubicBezTo>
                    <a:pt x="116" y="0"/>
                    <a:pt x="114" y="0"/>
                    <a:pt x="112" y="0"/>
                  </a:cubicBezTo>
                  <a:cubicBezTo>
                    <a:pt x="8" y="0"/>
                    <a:pt x="8" y="0"/>
                    <a:pt x="8" y="0"/>
                  </a:cubicBezTo>
                  <a:cubicBezTo>
                    <a:pt x="3" y="0"/>
                    <a:pt x="0" y="3"/>
                    <a:pt x="0" y="8"/>
                  </a:cubicBezTo>
                  <a:cubicBezTo>
                    <a:pt x="0" y="232"/>
                    <a:pt x="0" y="232"/>
                    <a:pt x="0" y="232"/>
                  </a:cubicBezTo>
                  <a:cubicBezTo>
                    <a:pt x="0" y="236"/>
                    <a:pt x="3" y="240"/>
                    <a:pt x="8" y="240"/>
                  </a:cubicBezTo>
                  <a:cubicBezTo>
                    <a:pt x="168" y="240"/>
                    <a:pt x="168" y="240"/>
                    <a:pt x="168" y="240"/>
                  </a:cubicBezTo>
                  <a:cubicBezTo>
                    <a:pt x="172" y="240"/>
                    <a:pt x="176" y="236"/>
                    <a:pt x="176" y="232"/>
                  </a:cubicBezTo>
                  <a:cubicBezTo>
                    <a:pt x="176" y="64"/>
                    <a:pt x="176" y="64"/>
                    <a:pt x="176" y="64"/>
                  </a:cubicBezTo>
                  <a:cubicBezTo>
                    <a:pt x="176" y="64"/>
                    <a:pt x="176" y="64"/>
                    <a:pt x="176" y="64"/>
                  </a:cubicBezTo>
                  <a:cubicBezTo>
                    <a:pt x="176" y="63"/>
                    <a:pt x="175" y="62"/>
                    <a:pt x="175" y="61"/>
                  </a:cubicBezTo>
                  <a:close/>
                  <a:moveTo>
                    <a:pt x="120" y="27"/>
                  </a:moveTo>
                  <a:cubicBezTo>
                    <a:pt x="148" y="56"/>
                    <a:pt x="148" y="56"/>
                    <a:pt x="148" y="56"/>
                  </a:cubicBezTo>
                  <a:cubicBezTo>
                    <a:pt x="120" y="56"/>
                    <a:pt x="120" y="56"/>
                    <a:pt x="120" y="56"/>
                  </a:cubicBezTo>
                  <a:lnTo>
                    <a:pt x="120" y="27"/>
                  </a:lnTo>
                  <a:close/>
                  <a:moveTo>
                    <a:pt x="160" y="224"/>
                  </a:moveTo>
                  <a:cubicBezTo>
                    <a:pt x="16" y="224"/>
                    <a:pt x="16" y="224"/>
                    <a:pt x="16" y="224"/>
                  </a:cubicBezTo>
                  <a:cubicBezTo>
                    <a:pt x="16" y="16"/>
                    <a:pt x="16" y="16"/>
                    <a:pt x="16" y="16"/>
                  </a:cubicBezTo>
                  <a:cubicBezTo>
                    <a:pt x="104" y="16"/>
                    <a:pt x="104" y="16"/>
                    <a:pt x="104" y="16"/>
                  </a:cubicBezTo>
                  <a:cubicBezTo>
                    <a:pt x="104" y="64"/>
                    <a:pt x="104" y="64"/>
                    <a:pt x="104" y="64"/>
                  </a:cubicBezTo>
                  <a:cubicBezTo>
                    <a:pt x="104" y="68"/>
                    <a:pt x="107" y="72"/>
                    <a:pt x="112" y="72"/>
                  </a:cubicBezTo>
                  <a:cubicBezTo>
                    <a:pt x="160" y="72"/>
                    <a:pt x="160" y="72"/>
                    <a:pt x="160" y="72"/>
                  </a:cubicBezTo>
                  <a:lnTo>
                    <a:pt x="1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6465888" y="4024313"/>
              <a:ext cx="542925" cy="727075"/>
            </a:xfrm>
            <a:custGeom>
              <a:avLst/>
              <a:gdLst>
                <a:gd name="T0" fmla="*/ 2 w 66"/>
                <a:gd name="T1" fmla="*/ 76 h 89"/>
                <a:gd name="T2" fmla="*/ 4 w 66"/>
                <a:gd name="T3" fmla="*/ 87 h 89"/>
                <a:gd name="T4" fmla="*/ 9 w 66"/>
                <a:gd name="T5" fmla="*/ 89 h 89"/>
                <a:gd name="T6" fmla="*/ 15 w 66"/>
                <a:gd name="T7" fmla="*/ 85 h 89"/>
                <a:gd name="T8" fmla="*/ 63 w 66"/>
                <a:gd name="T9" fmla="*/ 13 h 89"/>
                <a:gd name="T10" fmla="*/ 61 w 66"/>
                <a:gd name="T11" fmla="*/ 2 h 89"/>
                <a:gd name="T12" fmla="*/ 50 w 66"/>
                <a:gd name="T13" fmla="*/ 4 h 89"/>
                <a:gd name="T14" fmla="*/ 2 w 66"/>
                <a:gd name="T15" fmla="*/ 76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9">
                  <a:moveTo>
                    <a:pt x="2" y="76"/>
                  </a:moveTo>
                  <a:cubicBezTo>
                    <a:pt x="0" y="80"/>
                    <a:pt x="1" y="85"/>
                    <a:pt x="4" y="87"/>
                  </a:cubicBezTo>
                  <a:cubicBezTo>
                    <a:pt x="6" y="88"/>
                    <a:pt x="7" y="89"/>
                    <a:pt x="9" y="89"/>
                  </a:cubicBezTo>
                  <a:cubicBezTo>
                    <a:pt x="11" y="89"/>
                    <a:pt x="14" y="87"/>
                    <a:pt x="15" y="85"/>
                  </a:cubicBezTo>
                  <a:cubicBezTo>
                    <a:pt x="63" y="13"/>
                    <a:pt x="63" y="13"/>
                    <a:pt x="63" y="13"/>
                  </a:cubicBezTo>
                  <a:cubicBezTo>
                    <a:pt x="66" y="9"/>
                    <a:pt x="65" y="4"/>
                    <a:pt x="61" y="2"/>
                  </a:cubicBezTo>
                  <a:cubicBezTo>
                    <a:pt x="57" y="0"/>
                    <a:pt x="52" y="1"/>
                    <a:pt x="50" y="4"/>
                  </a:cubicBezTo>
                  <a:lnTo>
                    <a:pt x="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6276976" y="3957638"/>
              <a:ext cx="336550" cy="401638"/>
            </a:xfrm>
            <a:custGeom>
              <a:avLst/>
              <a:gdLst>
                <a:gd name="T0" fmla="*/ 32 w 41"/>
                <a:gd name="T1" fmla="*/ 49 h 49"/>
                <a:gd name="T2" fmla="*/ 38 w 41"/>
                <a:gd name="T3" fmla="*/ 45 h 49"/>
                <a:gd name="T4" fmla="*/ 36 w 41"/>
                <a:gd name="T5" fmla="*/ 34 h 49"/>
                <a:gd name="T6" fmla="*/ 22 w 41"/>
                <a:gd name="T7" fmla="*/ 25 h 49"/>
                <a:gd name="T8" fmla="*/ 36 w 41"/>
                <a:gd name="T9" fmla="*/ 15 h 49"/>
                <a:gd name="T10" fmla="*/ 38 w 41"/>
                <a:gd name="T11" fmla="*/ 4 h 49"/>
                <a:gd name="T12" fmla="*/ 27 w 41"/>
                <a:gd name="T13" fmla="*/ 2 h 49"/>
                <a:gd name="T14" fmla="*/ 3 w 41"/>
                <a:gd name="T15" fmla="*/ 18 h 49"/>
                <a:gd name="T16" fmla="*/ 0 w 41"/>
                <a:gd name="T17" fmla="*/ 25 h 49"/>
                <a:gd name="T18" fmla="*/ 3 w 41"/>
                <a:gd name="T19" fmla="*/ 31 h 49"/>
                <a:gd name="T20" fmla="*/ 27 w 41"/>
                <a:gd name="T21" fmla="*/ 47 h 49"/>
                <a:gd name="T22" fmla="*/ 32 w 4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32" y="49"/>
                  </a:moveTo>
                  <a:cubicBezTo>
                    <a:pt x="34" y="49"/>
                    <a:pt x="37" y="47"/>
                    <a:pt x="38" y="45"/>
                  </a:cubicBezTo>
                  <a:cubicBezTo>
                    <a:pt x="41" y="41"/>
                    <a:pt x="40" y="36"/>
                    <a:pt x="36" y="34"/>
                  </a:cubicBezTo>
                  <a:cubicBezTo>
                    <a:pt x="22" y="25"/>
                    <a:pt x="22" y="25"/>
                    <a:pt x="22" y="25"/>
                  </a:cubicBezTo>
                  <a:cubicBezTo>
                    <a:pt x="36" y="15"/>
                    <a:pt x="36" y="15"/>
                    <a:pt x="36" y="15"/>
                  </a:cubicBezTo>
                  <a:cubicBezTo>
                    <a:pt x="40" y="13"/>
                    <a:pt x="41" y="8"/>
                    <a:pt x="38" y="4"/>
                  </a:cubicBezTo>
                  <a:cubicBezTo>
                    <a:pt x="36" y="1"/>
                    <a:pt x="31" y="0"/>
                    <a:pt x="27" y="2"/>
                  </a:cubicBezTo>
                  <a:cubicBezTo>
                    <a:pt x="3" y="18"/>
                    <a:pt x="3" y="18"/>
                    <a:pt x="3" y="18"/>
                  </a:cubicBezTo>
                  <a:cubicBezTo>
                    <a:pt x="1" y="19"/>
                    <a:pt x="0" y="22"/>
                    <a:pt x="0" y="25"/>
                  </a:cubicBezTo>
                  <a:cubicBezTo>
                    <a:pt x="0" y="27"/>
                    <a:pt x="1" y="30"/>
                    <a:pt x="3" y="31"/>
                  </a:cubicBezTo>
                  <a:cubicBezTo>
                    <a:pt x="27" y="47"/>
                    <a:pt x="27" y="47"/>
                    <a:pt x="27" y="47"/>
                  </a:cubicBezTo>
                  <a:cubicBezTo>
                    <a:pt x="29" y="48"/>
                    <a:pt x="30"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6861176" y="4416425"/>
              <a:ext cx="336550" cy="401638"/>
            </a:xfrm>
            <a:custGeom>
              <a:avLst/>
              <a:gdLst>
                <a:gd name="T0" fmla="*/ 2 w 41"/>
                <a:gd name="T1" fmla="*/ 4 h 49"/>
                <a:gd name="T2" fmla="*/ 4 w 41"/>
                <a:gd name="T3" fmla="*/ 15 h 49"/>
                <a:gd name="T4" fmla="*/ 18 w 41"/>
                <a:gd name="T5" fmla="*/ 25 h 49"/>
                <a:gd name="T6" fmla="*/ 4 w 41"/>
                <a:gd name="T7" fmla="*/ 34 h 49"/>
                <a:gd name="T8" fmla="*/ 2 w 41"/>
                <a:gd name="T9" fmla="*/ 45 h 49"/>
                <a:gd name="T10" fmla="*/ 9 w 41"/>
                <a:gd name="T11" fmla="*/ 49 h 49"/>
                <a:gd name="T12" fmla="*/ 13 w 41"/>
                <a:gd name="T13" fmla="*/ 47 h 49"/>
                <a:gd name="T14" fmla="*/ 37 w 41"/>
                <a:gd name="T15" fmla="*/ 31 h 49"/>
                <a:gd name="T16" fmla="*/ 41 w 41"/>
                <a:gd name="T17" fmla="*/ 25 h 49"/>
                <a:gd name="T18" fmla="*/ 37 w 41"/>
                <a:gd name="T19" fmla="*/ 18 h 49"/>
                <a:gd name="T20" fmla="*/ 13 w 41"/>
                <a:gd name="T21" fmla="*/ 2 h 49"/>
                <a:gd name="T22" fmla="*/ 2 w 41"/>
                <a:gd name="T23"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2" y="4"/>
                  </a:moveTo>
                  <a:cubicBezTo>
                    <a:pt x="0" y="8"/>
                    <a:pt x="1" y="13"/>
                    <a:pt x="4" y="15"/>
                  </a:cubicBezTo>
                  <a:cubicBezTo>
                    <a:pt x="18" y="25"/>
                    <a:pt x="18" y="25"/>
                    <a:pt x="18" y="25"/>
                  </a:cubicBezTo>
                  <a:cubicBezTo>
                    <a:pt x="4" y="34"/>
                    <a:pt x="4" y="34"/>
                    <a:pt x="4" y="34"/>
                  </a:cubicBezTo>
                  <a:cubicBezTo>
                    <a:pt x="1" y="36"/>
                    <a:pt x="0" y="41"/>
                    <a:pt x="2" y="45"/>
                  </a:cubicBezTo>
                  <a:cubicBezTo>
                    <a:pt x="4" y="47"/>
                    <a:pt x="6" y="49"/>
                    <a:pt x="9" y="49"/>
                  </a:cubicBezTo>
                  <a:cubicBezTo>
                    <a:pt x="10" y="49"/>
                    <a:pt x="12" y="48"/>
                    <a:pt x="13" y="47"/>
                  </a:cubicBezTo>
                  <a:cubicBezTo>
                    <a:pt x="37" y="31"/>
                    <a:pt x="37" y="31"/>
                    <a:pt x="37" y="31"/>
                  </a:cubicBezTo>
                  <a:cubicBezTo>
                    <a:pt x="39" y="30"/>
                    <a:pt x="41" y="27"/>
                    <a:pt x="41" y="25"/>
                  </a:cubicBezTo>
                  <a:cubicBezTo>
                    <a:pt x="41" y="22"/>
                    <a:pt x="39" y="19"/>
                    <a:pt x="37" y="18"/>
                  </a:cubicBezTo>
                  <a:cubicBezTo>
                    <a:pt x="13" y="2"/>
                    <a:pt x="13" y="2"/>
                    <a:pt x="13" y="2"/>
                  </a:cubicBezTo>
                  <a:cubicBezTo>
                    <a:pt x="9" y="0"/>
                    <a:pt x="4"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5157788" y="2657475"/>
              <a:ext cx="3159125" cy="3141663"/>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a:grpSpLocks noChangeAspect="1"/>
          </p:cNvGrpSpPr>
          <p:nvPr/>
        </p:nvGrpSpPr>
        <p:grpSpPr>
          <a:xfrm>
            <a:off x="4613117" y="2521640"/>
            <a:ext cx="372673" cy="370800"/>
            <a:chOff x="3148013" y="3436938"/>
            <a:chExt cx="3159125" cy="3143250"/>
          </a:xfrm>
          <a:solidFill>
            <a:schemeClr val="accent2"/>
          </a:solidFill>
        </p:grpSpPr>
        <p:sp>
          <p:nvSpPr>
            <p:cNvPr id="26" name="Freeform 22"/>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3"/>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4"/>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2" name="Group 901"/>
          <p:cNvGrpSpPr>
            <a:grpSpLocks noChangeAspect="1"/>
          </p:cNvGrpSpPr>
          <p:nvPr/>
        </p:nvGrpSpPr>
        <p:grpSpPr>
          <a:xfrm>
            <a:off x="3764578" y="2521640"/>
            <a:ext cx="372647" cy="370800"/>
            <a:chOff x="4870450" y="3725863"/>
            <a:chExt cx="1281113" cy="1274762"/>
          </a:xfrm>
          <a:solidFill>
            <a:schemeClr val="accent2"/>
          </a:solidFill>
        </p:grpSpPr>
        <p:sp>
          <p:nvSpPr>
            <p:cNvPr id="900" name="Freeform 28"/>
            <p:cNvSpPr>
              <a:spLocks noEditPoints="1"/>
            </p:cNvSpPr>
            <p:nvPr/>
          </p:nvSpPr>
          <p:spPr bwMode="auto">
            <a:xfrm>
              <a:off x="4870450" y="3725863"/>
              <a:ext cx="1281113" cy="1274762"/>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49 w 384"/>
                <a:gd name="T11" fmla="*/ 312 h 384"/>
                <a:gd name="T12" fmla="*/ 134 w 384"/>
                <a:gd name="T13" fmla="*/ 312 h 384"/>
                <a:gd name="T14" fmla="*/ 104 w 384"/>
                <a:gd name="T15" fmla="*/ 281 h 384"/>
                <a:gd name="T16" fmla="*/ 104 w 384"/>
                <a:gd name="T17" fmla="*/ 102 h 384"/>
                <a:gd name="T18" fmla="*/ 134 w 384"/>
                <a:gd name="T19" fmla="*/ 72 h 384"/>
                <a:gd name="T20" fmla="*/ 249 w 384"/>
                <a:gd name="T21" fmla="*/ 72 h 384"/>
                <a:gd name="T22" fmla="*/ 280 w 384"/>
                <a:gd name="T23" fmla="*/ 102 h 384"/>
                <a:gd name="T24" fmla="*/ 280 w 384"/>
                <a:gd name="T25" fmla="*/ 281 h 384"/>
                <a:gd name="T26" fmla="*/ 249 w 384"/>
                <a:gd name="T27" fmla="*/ 312 h 384"/>
                <a:gd name="T28" fmla="*/ 134 w 384"/>
                <a:gd name="T29" fmla="*/ 88 h 384"/>
                <a:gd name="T30" fmla="*/ 120 w 384"/>
                <a:gd name="T31" fmla="*/ 102 h 384"/>
                <a:gd name="T32" fmla="*/ 120 w 384"/>
                <a:gd name="T33" fmla="*/ 281 h 384"/>
                <a:gd name="T34" fmla="*/ 134 w 384"/>
                <a:gd name="T35" fmla="*/ 296 h 384"/>
                <a:gd name="T36" fmla="*/ 249 w 384"/>
                <a:gd name="T37" fmla="*/ 296 h 384"/>
                <a:gd name="T38" fmla="*/ 264 w 384"/>
                <a:gd name="T39" fmla="*/ 281 h 384"/>
                <a:gd name="T40" fmla="*/ 264 w 384"/>
                <a:gd name="T41" fmla="*/ 102 h 384"/>
                <a:gd name="T42" fmla="*/ 249 w 384"/>
                <a:gd name="T43" fmla="*/ 88 h 384"/>
                <a:gd name="T44" fmla="*/ 134 w 384"/>
                <a:gd name="T45" fmla="*/ 88 h 384"/>
                <a:gd name="T46" fmla="*/ 192 w 384"/>
                <a:gd name="T47" fmla="*/ 280 h 384"/>
                <a:gd name="T48" fmla="*/ 136 w 384"/>
                <a:gd name="T49" fmla="*/ 224 h 384"/>
                <a:gd name="T50" fmla="*/ 192 w 384"/>
                <a:gd name="T51" fmla="*/ 168 h 384"/>
                <a:gd name="T52" fmla="*/ 248 w 384"/>
                <a:gd name="T53" fmla="*/ 224 h 384"/>
                <a:gd name="T54" fmla="*/ 192 w 384"/>
                <a:gd name="T55" fmla="*/ 280 h 384"/>
                <a:gd name="T56" fmla="*/ 192 w 384"/>
                <a:gd name="T57" fmla="*/ 184 h 384"/>
                <a:gd name="T58" fmla="*/ 152 w 384"/>
                <a:gd name="T59" fmla="*/ 224 h 384"/>
                <a:gd name="T60" fmla="*/ 192 w 384"/>
                <a:gd name="T61" fmla="*/ 264 h 384"/>
                <a:gd name="T62" fmla="*/ 232 w 384"/>
                <a:gd name="T63" fmla="*/ 224 h 384"/>
                <a:gd name="T64" fmla="*/ 192 w 384"/>
                <a:gd name="T65" fmla="*/ 184 h 384"/>
                <a:gd name="T66" fmla="*/ 192 w 384"/>
                <a:gd name="T67" fmla="*/ 152 h 384"/>
                <a:gd name="T68" fmla="*/ 168 w 384"/>
                <a:gd name="T69" fmla="*/ 128 h 384"/>
                <a:gd name="T70" fmla="*/ 192 w 384"/>
                <a:gd name="T71" fmla="*/ 104 h 384"/>
                <a:gd name="T72" fmla="*/ 216 w 384"/>
                <a:gd name="T73" fmla="*/ 128 h 384"/>
                <a:gd name="T74" fmla="*/ 192 w 384"/>
                <a:gd name="T75" fmla="*/ 152 h 384"/>
                <a:gd name="T76" fmla="*/ 192 w 384"/>
                <a:gd name="T77" fmla="*/ 120 h 384"/>
                <a:gd name="T78" fmla="*/ 184 w 384"/>
                <a:gd name="T79" fmla="*/ 128 h 384"/>
                <a:gd name="T80" fmla="*/ 192 w 384"/>
                <a:gd name="T81" fmla="*/ 136 h 384"/>
                <a:gd name="T82" fmla="*/ 200 w 384"/>
                <a:gd name="T83" fmla="*/ 128 h 384"/>
                <a:gd name="T84" fmla="*/ 192 w 384"/>
                <a:gd name="T85" fmla="*/ 120 h 384"/>
                <a:gd name="T86" fmla="*/ 200 w 384"/>
                <a:gd name="T87" fmla="*/ 224 h 384"/>
                <a:gd name="T88" fmla="*/ 192 w 384"/>
                <a:gd name="T89" fmla="*/ 216 h 384"/>
                <a:gd name="T90" fmla="*/ 192 w 384"/>
                <a:gd name="T91" fmla="*/ 216 h 384"/>
                <a:gd name="T92" fmla="*/ 184 w 384"/>
                <a:gd name="T93" fmla="*/ 224 h 384"/>
                <a:gd name="T94" fmla="*/ 192 w 384"/>
                <a:gd name="T95" fmla="*/ 232 h 384"/>
                <a:gd name="T96" fmla="*/ 200 w 384"/>
                <a:gd name="T9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29"/>
            <p:cNvSpPr>
              <a:spLocks/>
            </p:cNvSpPr>
            <p:nvPr/>
          </p:nvSpPr>
          <p:spPr bwMode="auto">
            <a:xfrm>
              <a:off x="5484813" y="4443413"/>
              <a:ext cx="52388" cy="52387"/>
            </a:xfrm>
            <a:custGeom>
              <a:avLst/>
              <a:gdLst>
                <a:gd name="T0" fmla="*/ 16 w 16"/>
                <a:gd name="T1" fmla="*/ 8 h 16"/>
                <a:gd name="T2" fmla="*/ 8 w 16"/>
                <a:gd name="T3" fmla="*/ 0 h 16"/>
                <a:gd name="T4" fmla="*/ 8 w 16"/>
                <a:gd name="T5" fmla="*/ 0 h 16"/>
                <a:gd name="T6" fmla="*/ 0 w 16"/>
                <a:gd name="T7" fmla="*/ 8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cubicBezTo>
                    <a:pt x="16" y="3"/>
                    <a:pt x="12" y="0"/>
                    <a:pt x="8" y="0"/>
                  </a:cubicBezTo>
                  <a:cubicBezTo>
                    <a:pt x="8" y="0"/>
                    <a:pt x="8" y="0"/>
                    <a:pt x="8" y="0"/>
                  </a:cubicBezTo>
                  <a:cubicBezTo>
                    <a:pt x="3" y="0"/>
                    <a:pt x="0" y="3"/>
                    <a:pt x="0" y="8"/>
                  </a:cubicBezTo>
                  <a:cubicBezTo>
                    <a:pt x="0" y="12"/>
                    <a:pt x="3" y="16"/>
                    <a:pt x="8" y="16"/>
                  </a:cubicBezTo>
                  <a:cubicBezTo>
                    <a:pt x="12" y="16"/>
                    <a:pt x="16" y="12"/>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6" name="Freeform 33"/>
          <p:cNvSpPr>
            <a:spLocks noChangeAspect="1" noEditPoints="1"/>
          </p:cNvSpPr>
          <p:nvPr/>
        </p:nvSpPr>
        <p:spPr bwMode="auto">
          <a:xfrm>
            <a:off x="4188708" y="2521640"/>
            <a:ext cx="372926" cy="370800"/>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 name="T20" fmla="*/ 249 w 384"/>
              <a:gd name="T21" fmla="*/ 312 h 384"/>
              <a:gd name="T22" fmla="*/ 134 w 384"/>
              <a:gd name="T23" fmla="*/ 312 h 384"/>
              <a:gd name="T24" fmla="*/ 104 w 384"/>
              <a:gd name="T25" fmla="*/ 281 h 384"/>
              <a:gd name="T26" fmla="*/ 104 w 384"/>
              <a:gd name="T27" fmla="*/ 102 h 384"/>
              <a:gd name="T28" fmla="*/ 134 w 384"/>
              <a:gd name="T29" fmla="*/ 72 h 384"/>
              <a:gd name="T30" fmla="*/ 249 w 384"/>
              <a:gd name="T31" fmla="*/ 72 h 384"/>
              <a:gd name="T32" fmla="*/ 280 w 384"/>
              <a:gd name="T33" fmla="*/ 102 h 384"/>
              <a:gd name="T34" fmla="*/ 280 w 384"/>
              <a:gd name="T35" fmla="*/ 281 h 384"/>
              <a:gd name="T36" fmla="*/ 249 w 384"/>
              <a:gd name="T37" fmla="*/ 312 h 384"/>
              <a:gd name="T38" fmla="*/ 134 w 384"/>
              <a:gd name="T39" fmla="*/ 88 h 384"/>
              <a:gd name="T40" fmla="*/ 120 w 384"/>
              <a:gd name="T41" fmla="*/ 102 h 384"/>
              <a:gd name="T42" fmla="*/ 120 w 384"/>
              <a:gd name="T43" fmla="*/ 281 h 384"/>
              <a:gd name="T44" fmla="*/ 134 w 384"/>
              <a:gd name="T45" fmla="*/ 296 h 384"/>
              <a:gd name="T46" fmla="*/ 249 w 384"/>
              <a:gd name="T47" fmla="*/ 296 h 384"/>
              <a:gd name="T48" fmla="*/ 264 w 384"/>
              <a:gd name="T49" fmla="*/ 281 h 384"/>
              <a:gd name="T50" fmla="*/ 264 w 384"/>
              <a:gd name="T51" fmla="*/ 102 h 384"/>
              <a:gd name="T52" fmla="*/ 249 w 384"/>
              <a:gd name="T53" fmla="*/ 88 h 384"/>
              <a:gd name="T54" fmla="*/ 134 w 384"/>
              <a:gd name="T55" fmla="*/ 88 h 384"/>
              <a:gd name="T56" fmla="*/ 192 w 384"/>
              <a:gd name="T57" fmla="*/ 280 h 384"/>
              <a:gd name="T58" fmla="*/ 136 w 384"/>
              <a:gd name="T59" fmla="*/ 224 h 384"/>
              <a:gd name="T60" fmla="*/ 192 w 384"/>
              <a:gd name="T61" fmla="*/ 168 h 384"/>
              <a:gd name="T62" fmla="*/ 248 w 384"/>
              <a:gd name="T63" fmla="*/ 224 h 384"/>
              <a:gd name="T64" fmla="*/ 192 w 384"/>
              <a:gd name="T65" fmla="*/ 280 h 384"/>
              <a:gd name="T66" fmla="*/ 192 w 384"/>
              <a:gd name="T67" fmla="*/ 184 h 384"/>
              <a:gd name="T68" fmla="*/ 152 w 384"/>
              <a:gd name="T69" fmla="*/ 224 h 384"/>
              <a:gd name="T70" fmla="*/ 192 w 384"/>
              <a:gd name="T71" fmla="*/ 264 h 384"/>
              <a:gd name="T72" fmla="*/ 232 w 384"/>
              <a:gd name="T73" fmla="*/ 224 h 384"/>
              <a:gd name="T74" fmla="*/ 192 w 384"/>
              <a:gd name="T75" fmla="*/ 184 h 384"/>
              <a:gd name="T76" fmla="*/ 192 w 384"/>
              <a:gd name="T77" fmla="*/ 152 h 384"/>
              <a:gd name="T78" fmla="*/ 168 w 384"/>
              <a:gd name="T79" fmla="*/ 128 h 384"/>
              <a:gd name="T80" fmla="*/ 192 w 384"/>
              <a:gd name="T81" fmla="*/ 104 h 384"/>
              <a:gd name="T82" fmla="*/ 216 w 384"/>
              <a:gd name="T83" fmla="*/ 128 h 384"/>
              <a:gd name="T84" fmla="*/ 192 w 384"/>
              <a:gd name="T85" fmla="*/ 152 h 384"/>
              <a:gd name="T86" fmla="*/ 192 w 384"/>
              <a:gd name="T87" fmla="*/ 120 h 384"/>
              <a:gd name="T88" fmla="*/ 184 w 384"/>
              <a:gd name="T89" fmla="*/ 128 h 384"/>
              <a:gd name="T90" fmla="*/ 192 w 384"/>
              <a:gd name="T91" fmla="*/ 136 h 384"/>
              <a:gd name="T92" fmla="*/ 200 w 384"/>
              <a:gd name="T93" fmla="*/ 128 h 384"/>
              <a:gd name="T94" fmla="*/ 192 w 384"/>
              <a:gd name="T95" fmla="*/ 120 h 384"/>
              <a:gd name="T96" fmla="*/ 200 w 384"/>
              <a:gd name="T97" fmla="*/ 224 h 384"/>
              <a:gd name="T98" fmla="*/ 192 w 384"/>
              <a:gd name="T99" fmla="*/ 216 h 384"/>
              <a:gd name="T100" fmla="*/ 192 w 384"/>
              <a:gd name="T101" fmla="*/ 216 h 384"/>
              <a:gd name="T102" fmla="*/ 184 w 384"/>
              <a:gd name="T103" fmla="*/ 224 h 384"/>
              <a:gd name="T104" fmla="*/ 192 w 384"/>
              <a:gd name="T105" fmla="*/ 232 h 384"/>
              <a:gd name="T106" fmla="*/ 200 w 384"/>
              <a:gd name="T10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17344099"/>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Public Sector/Office</a:t>
            </a:r>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6276975" y="2101035"/>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oman, man, man</a:t>
            </a:r>
          </a:p>
        </p:txBody>
      </p:sp>
      <p:sp>
        <p:nvSpPr>
          <p:cNvPr id="423" name="TextBox 422"/>
          <p:cNvSpPr txBox="1"/>
          <p:nvPr/>
        </p:nvSpPr>
        <p:spPr>
          <a:xfrm>
            <a:off x="3735528" y="210103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n, woman</a:t>
            </a:r>
          </a:p>
        </p:txBody>
      </p:sp>
      <p:sp>
        <p:nvSpPr>
          <p:cNvPr id="424" name="TextBox 423"/>
          <p:cNvSpPr txBox="1"/>
          <p:nvPr/>
        </p:nvSpPr>
        <p:spPr>
          <a:xfrm>
            <a:off x="1206783" y="21010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oman</a:t>
            </a:r>
          </a:p>
        </p:txBody>
      </p:sp>
      <p:sp>
        <p:nvSpPr>
          <p:cNvPr id="425" name="TextBox 424"/>
          <p:cNvSpPr txBox="1"/>
          <p:nvPr/>
        </p:nvSpPr>
        <p:spPr>
          <a:xfrm>
            <a:off x="5427708" y="2101035"/>
            <a:ext cx="83714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oman, woman, man</a:t>
            </a:r>
          </a:p>
        </p:txBody>
      </p:sp>
      <p:sp>
        <p:nvSpPr>
          <p:cNvPr id="426" name="TextBox 425"/>
          <p:cNvSpPr txBox="1"/>
          <p:nvPr/>
        </p:nvSpPr>
        <p:spPr>
          <a:xfrm>
            <a:off x="363868"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ie</a:t>
            </a:r>
          </a:p>
        </p:txBody>
      </p:sp>
      <p:sp>
        <p:nvSpPr>
          <p:cNvPr id="427" name="TextBox 426"/>
          <p:cNvSpPr txBox="1"/>
          <p:nvPr/>
        </p:nvSpPr>
        <p:spPr>
          <a:xfrm>
            <a:off x="2892613" y="21010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emale</a:t>
            </a:r>
          </a:p>
        </p:txBody>
      </p:sp>
      <p:sp>
        <p:nvSpPr>
          <p:cNvPr id="428" name="TextBox 427"/>
          <p:cNvSpPr txBox="1"/>
          <p:nvPr/>
        </p:nvSpPr>
        <p:spPr>
          <a:xfrm>
            <a:off x="1207237"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Users</a:t>
            </a:r>
          </a:p>
        </p:txBody>
      </p:sp>
      <p:sp>
        <p:nvSpPr>
          <p:cNvPr id="429" name="TextBox 428"/>
          <p:cNvSpPr txBox="1"/>
          <p:nvPr/>
        </p:nvSpPr>
        <p:spPr>
          <a:xfrm>
            <a:off x="2904798" y="464656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Quote marks</a:t>
            </a:r>
          </a:p>
        </p:txBody>
      </p:sp>
      <p:sp>
        <p:nvSpPr>
          <p:cNvPr id="430" name="TextBox 429"/>
          <p:cNvSpPr txBox="1"/>
          <p:nvPr/>
        </p:nvSpPr>
        <p:spPr>
          <a:xfrm>
            <a:off x="2046163" y="464656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eeting</a:t>
            </a:r>
          </a:p>
        </p:txBody>
      </p:sp>
      <p:sp>
        <p:nvSpPr>
          <p:cNvPr id="431" name="TextBox 430"/>
          <p:cNvSpPr txBox="1"/>
          <p:nvPr/>
        </p:nvSpPr>
        <p:spPr>
          <a:xfrm>
            <a:off x="1187528" y="464656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cales</a:t>
            </a:r>
          </a:p>
        </p:txBody>
      </p:sp>
      <p:sp>
        <p:nvSpPr>
          <p:cNvPr id="472" name="TextBox 471"/>
          <p:cNvSpPr txBox="1"/>
          <p:nvPr/>
        </p:nvSpPr>
        <p:spPr>
          <a:xfrm>
            <a:off x="353235" y="300244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Like</a:t>
            </a:r>
          </a:p>
        </p:txBody>
      </p:sp>
      <p:sp>
        <p:nvSpPr>
          <p:cNvPr id="473" name="TextBox 472"/>
          <p:cNvSpPr txBox="1"/>
          <p:nvPr/>
        </p:nvSpPr>
        <p:spPr>
          <a:xfrm>
            <a:off x="2050606" y="3777935"/>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lder</a:t>
            </a:r>
          </a:p>
        </p:txBody>
      </p:sp>
      <p:sp>
        <p:nvSpPr>
          <p:cNvPr id="474" name="TextBox 473"/>
          <p:cNvSpPr txBox="1"/>
          <p:nvPr/>
        </p:nvSpPr>
        <p:spPr>
          <a:xfrm>
            <a:off x="363868" y="21010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n</a:t>
            </a:r>
          </a:p>
        </p:txBody>
      </p:sp>
      <p:sp>
        <p:nvSpPr>
          <p:cNvPr id="476" name="TextBox 475"/>
          <p:cNvSpPr txBox="1"/>
          <p:nvPr/>
        </p:nvSpPr>
        <p:spPr>
          <a:xfrm>
            <a:off x="2874410" y="300244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ech bubble</a:t>
            </a:r>
          </a:p>
        </p:txBody>
      </p:sp>
      <p:sp>
        <p:nvSpPr>
          <p:cNvPr id="477" name="TextBox 476"/>
          <p:cNvSpPr txBox="1"/>
          <p:nvPr/>
        </p:nvSpPr>
        <p:spPr>
          <a:xfrm>
            <a:off x="2049698" y="21010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le</a:t>
            </a:r>
          </a:p>
        </p:txBody>
      </p:sp>
      <p:sp>
        <p:nvSpPr>
          <p:cNvPr id="478" name="TextBox 477"/>
          <p:cNvSpPr txBox="1"/>
          <p:nvPr/>
        </p:nvSpPr>
        <p:spPr>
          <a:xfrm>
            <a:off x="3722563" y="30024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rg chart</a:t>
            </a:r>
          </a:p>
        </p:txBody>
      </p:sp>
      <p:sp>
        <p:nvSpPr>
          <p:cNvPr id="479" name="TextBox 478"/>
          <p:cNvSpPr txBox="1"/>
          <p:nvPr/>
        </p:nvSpPr>
        <p:spPr>
          <a:xfrm>
            <a:off x="5418869" y="30024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lip chart</a:t>
            </a:r>
          </a:p>
        </p:txBody>
      </p:sp>
      <p:sp>
        <p:nvSpPr>
          <p:cNvPr id="480" name="TextBox 479"/>
          <p:cNvSpPr txBox="1"/>
          <p:nvPr/>
        </p:nvSpPr>
        <p:spPr>
          <a:xfrm>
            <a:off x="1189746" y="30024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slike</a:t>
            </a:r>
          </a:p>
        </p:txBody>
      </p:sp>
      <p:sp>
        <p:nvSpPr>
          <p:cNvPr id="481" name="TextBox 480"/>
          <p:cNvSpPr txBox="1"/>
          <p:nvPr/>
        </p:nvSpPr>
        <p:spPr>
          <a:xfrm>
            <a:off x="4570716" y="30024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ye</a:t>
            </a:r>
          </a:p>
        </p:txBody>
      </p:sp>
      <p:sp>
        <p:nvSpPr>
          <p:cNvPr id="522" name="TextBox 521"/>
          <p:cNvSpPr txBox="1"/>
          <p:nvPr/>
        </p:nvSpPr>
        <p:spPr>
          <a:xfrm>
            <a:off x="6267022" y="300244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avel</a:t>
            </a:r>
          </a:p>
        </p:txBody>
      </p:sp>
      <p:sp>
        <p:nvSpPr>
          <p:cNvPr id="523" name="TextBox 522"/>
          <p:cNvSpPr txBox="1"/>
          <p:nvPr/>
        </p:nvSpPr>
        <p:spPr>
          <a:xfrm>
            <a:off x="7103533" y="3002441"/>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rchive box</a:t>
            </a:r>
          </a:p>
        </p:txBody>
      </p:sp>
      <p:sp>
        <p:nvSpPr>
          <p:cNvPr id="526" name="TextBox 525"/>
          <p:cNvSpPr txBox="1"/>
          <p:nvPr/>
        </p:nvSpPr>
        <p:spPr>
          <a:xfrm>
            <a:off x="3740519"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a:t>
            </a:r>
          </a:p>
        </p:txBody>
      </p:sp>
      <p:sp>
        <p:nvSpPr>
          <p:cNvPr id="527" name="TextBox 526"/>
          <p:cNvSpPr txBox="1"/>
          <p:nvPr/>
        </p:nvSpPr>
        <p:spPr>
          <a:xfrm>
            <a:off x="2897150"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pen folder</a:t>
            </a:r>
          </a:p>
        </p:txBody>
      </p:sp>
      <p:sp>
        <p:nvSpPr>
          <p:cNvPr id="529" name="TextBox 528"/>
          <p:cNvSpPr txBox="1"/>
          <p:nvPr/>
        </p:nvSpPr>
        <p:spPr>
          <a:xfrm>
            <a:off x="6270625"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esenting</a:t>
            </a:r>
          </a:p>
        </p:txBody>
      </p:sp>
      <p:sp>
        <p:nvSpPr>
          <p:cNvPr id="530" name="TextBox 529"/>
          <p:cNvSpPr txBox="1"/>
          <p:nvPr/>
        </p:nvSpPr>
        <p:spPr>
          <a:xfrm>
            <a:off x="5427257"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w tie</a:t>
            </a:r>
          </a:p>
        </p:txBody>
      </p:sp>
      <p:sp>
        <p:nvSpPr>
          <p:cNvPr id="531" name="TextBox 530"/>
          <p:cNvSpPr txBox="1"/>
          <p:nvPr/>
        </p:nvSpPr>
        <p:spPr>
          <a:xfrm>
            <a:off x="4583888" y="377793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odium</a:t>
            </a:r>
          </a:p>
        </p:txBody>
      </p:sp>
      <p:sp>
        <p:nvSpPr>
          <p:cNvPr id="622" name="TextBox 621"/>
          <p:cNvSpPr txBox="1"/>
          <p:nvPr/>
        </p:nvSpPr>
        <p:spPr>
          <a:xfrm>
            <a:off x="340535" y="4646566"/>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tchel</a:t>
            </a:r>
          </a:p>
        </p:txBody>
      </p:sp>
      <p:sp>
        <p:nvSpPr>
          <p:cNvPr id="623" name="TextBox 622"/>
          <p:cNvSpPr txBox="1"/>
          <p:nvPr/>
        </p:nvSpPr>
        <p:spPr>
          <a:xfrm>
            <a:off x="4581618" y="2101035"/>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n, man, woman</a:t>
            </a:r>
          </a:p>
        </p:txBody>
      </p:sp>
      <p:grpSp>
        <p:nvGrpSpPr>
          <p:cNvPr id="256" name="Group 795"/>
          <p:cNvGrpSpPr>
            <a:grpSpLocks noChangeAspect="1"/>
          </p:cNvGrpSpPr>
          <p:nvPr/>
        </p:nvGrpSpPr>
        <p:grpSpPr bwMode="auto">
          <a:xfrm>
            <a:off x="5855056" y="1701457"/>
            <a:ext cx="369676" cy="369676"/>
            <a:chOff x="7361" y="3009"/>
            <a:chExt cx="340" cy="340"/>
          </a:xfrm>
          <a:solidFill>
            <a:schemeClr val="accent6"/>
          </a:solidFill>
        </p:grpSpPr>
        <p:sp>
          <p:nvSpPr>
            <p:cNvPr id="257"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806"/>
          <p:cNvSpPr>
            <a:spLocks noChangeAspect="1" noEditPoints="1"/>
          </p:cNvSpPr>
          <p:nvPr/>
        </p:nvSpPr>
        <p:spPr bwMode="auto">
          <a:xfrm>
            <a:off x="5434714" y="1701457"/>
            <a:ext cx="369676" cy="369676"/>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809"/>
          <p:cNvGrpSpPr>
            <a:grpSpLocks noChangeAspect="1"/>
          </p:cNvGrpSpPr>
          <p:nvPr/>
        </p:nvGrpSpPr>
        <p:grpSpPr bwMode="auto">
          <a:xfrm>
            <a:off x="3325554" y="1701457"/>
            <a:ext cx="369676" cy="369676"/>
            <a:chOff x="6589" y="3004"/>
            <a:chExt cx="340" cy="340"/>
          </a:xfrm>
          <a:solidFill>
            <a:schemeClr val="accent1"/>
          </a:solidFill>
        </p:grpSpPr>
        <p:sp>
          <p:nvSpPr>
            <p:cNvPr id="266" name="Freeform 810"/>
            <p:cNvSpPr>
              <a:spLocks noEditPoints="1"/>
            </p:cNvSpPr>
            <p:nvPr/>
          </p:nvSpPr>
          <p:spPr bwMode="auto">
            <a:xfrm>
              <a:off x="6589" y="30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811"/>
            <p:cNvSpPr>
              <a:spLocks noEditPoints="1"/>
            </p:cNvSpPr>
            <p:nvPr/>
          </p:nvSpPr>
          <p:spPr bwMode="auto">
            <a:xfrm>
              <a:off x="6666" y="3067"/>
              <a:ext cx="185" cy="186"/>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815"/>
          <p:cNvSpPr>
            <a:spLocks noChangeAspect="1" noEditPoints="1"/>
          </p:cNvSpPr>
          <p:nvPr/>
        </p:nvSpPr>
        <p:spPr bwMode="auto">
          <a:xfrm>
            <a:off x="2905212" y="1701457"/>
            <a:ext cx="369676" cy="369676"/>
          </a:xfrm>
          <a:custGeom>
            <a:avLst/>
            <a:gdLst>
              <a:gd name="T0" fmla="*/ 244 w 512"/>
              <a:gd name="T1" fmla="*/ 118 h 512"/>
              <a:gd name="T2" fmla="*/ 209 w 512"/>
              <a:gd name="T3" fmla="*/ 135 h 512"/>
              <a:gd name="T4" fmla="*/ 180 w 512"/>
              <a:gd name="T5" fmla="*/ 221 h 512"/>
              <a:gd name="T6" fmla="*/ 209 w 512"/>
              <a:gd name="T7" fmla="*/ 298 h 512"/>
              <a:gd name="T8" fmla="*/ 180 w 512"/>
              <a:gd name="T9" fmla="*/ 222 h 512"/>
              <a:gd name="T10" fmla="*/ 279 w 512"/>
              <a:gd name="T11" fmla="*/ 120 h 512"/>
              <a:gd name="T12" fmla="*/ 315 w 512"/>
              <a:gd name="T13" fmla="*/ 168 h 512"/>
              <a:gd name="T14" fmla="*/ 279 w 512"/>
              <a:gd name="T15" fmla="*/ 120 h 512"/>
              <a:gd name="T16" fmla="*/ 331 w 512"/>
              <a:gd name="T17" fmla="*/ 222 h 512"/>
              <a:gd name="T18" fmla="*/ 302 w 512"/>
              <a:gd name="T19" fmla="*/ 298 h 512"/>
              <a:gd name="T20" fmla="*/ 332 w 512"/>
              <a:gd name="T21" fmla="*/ 220 h 512"/>
              <a:gd name="T22" fmla="*/ 256 w 512"/>
              <a:gd name="T23" fmla="*/ 512 h 512"/>
              <a:gd name="T24" fmla="*/ 256 w 512"/>
              <a:gd name="T25" fmla="*/ 0 h 512"/>
              <a:gd name="T26" fmla="*/ 389 w 512"/>
              <a:gd name="T27" fmla="*/ 353 h 512"/>
              <a:gd name="T28" fmla="*/ 319 w 512"/>
              <a:gd name="T29" fmla="*/ 338 h 512"/>
              <a:gd name="T30" fmla="*/ 373 w 512"/>
              <a:gd name="T31" fmla="*/ 320 h 512"/>
              <a:gd name="T32" fmla="*/ 380 w 512"/>
              <a:gd name="T33" fmla="*/ 301 h 512"/>
              <a:gd name="T34" fmla="*/ 326 w 512"/>
              <a:gd name="T35" fmla="*/ 123 h 512"/>
              <a:gd name="T36" fmla="*/ 256 w 512"/>
              <a:gd name="T37" fmla="*/ 96 h 512"/>
              <a:gd name="T38" fmla="*/ 254 w 512"/>
              <a:gd name="T39" fmla="*/ 96 h 512"/>
              <a:gd name="T40" fmla="*/ 186 w 512"/>
              <a:gd name="T41" fmla="*/ 123 h 512"/>
              <a:gd name="T42" fmla="*/ 131 w 512"/>
              <a:gd name="T43" fmla="*/ 301 h 512"/>
              <a:gd name="T44" fmla="*/ 138 w 512"/>
              <a:gd name="T45" fmla="*/ 320 h 512"/>
              <a:gd name="T46" fmla="*/ 193 w 512"/>
              <a:gd name="T47" fmla="*/ 338 h 512"/>
              <a:gd name="T48" fmla="*/ 123 w 512"/>
              <a:gd name="T49" fmla="*/ 353 h 512"/>
              <a:gd name="T50" fmla="*/ 133 w 512"/>
              <a:gd name="T51" fmla="*/ 372 h 512"/>
              <a:gd name="T52" fmla="*/ 202 w 512"/>
              <a:gd name="T53" fmla="*/ 357 h 512"/>
              <a:gd name="T54" fmla="*/ 227 w 512"/>
              <a:gd name="T55" fmla="*/ 278 h 512"/>
              <a:gd name="T56" fmla="*/ 196 w 512"/>
              <a:gd name="T57" fmla="*/ 190 h 512"/>
              <a:gd name="T58" fmla="*/ 315 w 512"/>
              <a:gd name="T59" fmla="*/ 190 h 512"/>
              <a:gd name="T60" fmla="*/ 284 w 512"/>
              <a:gd name="T61" fmla="*/ 278 h 512"/>
              <a:gd name="T62" fmla="*/ 309 w 512"/>
              <a:gd name="T63" fmla="*/ 357 h 512"/>
              <a:gd name="T64" fmla="*/ 378 w 512"/>
              <a:gd name="T65" fmla="*/ 372 h 512"/>
              <a:gd name="T66" fmla="*/ 393 w 512"/>
              <a:gd name="T6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30" y="121"/>
                </a:moveTo>
                <a:cubicBezTo>
                  <a:pt x="235" y="120"/>
                  <a:pt x="240" y="119"/>
                  <a:pt x="244" y="118"/>
                </a:cubicBezTo>
                <a:cubicBezTo>
                  <a:pt x="239" y="143"/>
                  <a:pt x="220" y="162"/>
                  <a:pt x="196" y="168"/>
                </a:cubicBezTo>
                <a:cubicBezTo>
                  <a:pt x="198" y="155"/>
                  <a:pt x="202" y="144"/>
                  <a:pt x="209" y="135"/>
                </a:cubicBezTo>
                <a:cubicBezTo>
                  <a:pt x="215" y="128"/>
                  <a:pt x="223" y="124"/>
                  <a:pt x="230" y="121"/>
                </a:cubicBezTo>
                <a:close/>
                <a:moveTo>
                  <a:pt x="180" y="221"/>
                </a:moveTo>
                <a:cubicBezTo>
                  <a:pt x="176" y="259"/>
                  <a:pt x="167" y="283"/>
                  <a:pt x="159" y="298"/>
                </a:cubicBezTo>
                <a:cubicBezTo>
                  <a:pt x="209" y="298"/>
                  <a:pt x="209" y="298"/>
                  <a:pt x="209" y="298"/>
                </a:cubicBezTo>
                <a:cubicBezTo>
                  <a:pt x="210" y="294"/>
                  <a:pt x="210" y="291"/>
                  <a:pt x="209" y="289"/>
                </a:cubicBezTo>
                <a:cubicBezTo>
                  <a:pt x="197" y="272"/>
                  <a:pt x="185" y="245"/>
                  <a:pt x="180" y="222"/>
                </a:cubicBezTo>
                <a:cubicBezTo>
                  <a:pt x="180" y="221"/>
                  <a:pt x="180" y="221"/>
                  <a:pt x="180" y="221"/>
                </a:cubicBezTo>
                <a:close/>
                <a:moveTo>
                  <a:pt x="279" y="120"/>
                </a:moveTo>
                <a:cubicBezTo>
                  <a:pt x="275" y="119"/>
                  <a:pt x="271" y="118"/>
                  <a:pt x="267" y="118"/>
                </a:cubicBezTo>
                <a:cubicBezTo>
                  <a:pt x="272" y="143"/>
                  <a:pt x="291" y="162"/>
                  <a:pt x="315" y="168"/>
                </a:cubicBezTo>
                <a:cubicBezTo>
                  <a:pt x="313" y="155"/>
                  <a:pt x="309" y="144"/>
                  <a:pt x="302" y="135"/>
                </a:cubicBezTo>
                <a:cubicBezTo>
                  <a:pt x="295" y="128"/>
                  <a:pt x="287" y="123"/>
                  <a:pt x="279" y="120"/>
                </a:cubicBezTo>
                <a:close/>
                <a:moveTo>
                  <a:pt x="332" y="220"/>
                </a:moveTo>
                <a:cubicBezTo>
                  <a:pt x="331" y="220"/>
                  <a:pt x="331" y="221"/>
                  <a:pt x="331" y="222"/>
                </a:cubicBezTo>
                <a:cubicBezTo>
                  <a:pt x="326" y="245"/>
                  <a:pt x="314" y="272"/>
                  <a:pt x="302" y="290"/>
                </a:cubicBezTo>
                <a:cubicBezTo>
                  <a:pt x="301" y="291"/>
                  <a:pt x="301" y="295"/>
                  <a:pt x="302" y="298"/>
                </a:cubicBezTo>
                <a:cubicBezTo>
                  <a:pt x="353" y="298"/>
                  <a:pt x="353" y="298"/>
                  <a:pt x="353" y="298"/>
                </a:cubicBezTo>
                <a:cubicBezTo>
                  <a:pt x="344" y="283"/>
                  <a:pt x="335" y="258"/>
                  <a:pt x="332" y="2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14" y="335"/>
                  <a:pt x="310" y="328"/>
                  <a:pt x="307" y="320"/>
                </a:cubicBezTo>
                <a:cubicBezTo>
                  <a:pt x="373" y="320"/>
                  <a:pt x="373" y="320"/>
                  <a:pt x="373" y="320"/>
                </a:cubicBezTo>
                <a:cubicBezTo>
                  <a:pt x="377" y="320"/>
                  <a:pt x="381" y="317"/>
                  <a:pt x="383" y="313"/>
                </a:cubicBezTo>
                <a:cubicBezTo>
                  <a:pt x="385" y="309"/>
                  <a:pt x="383" y="304"/>
                  <a:pt x="380" y="301"/>
                </a:cubicBezTo>
                <a:cubicBezTo>
                  <a:pt x="380" y="301"/>
                  <a:pt x="352" y="272"/>
                  <a:pt x="352" y="192"/>
                </a:cubicBezTo>
                <a:cubicBezTo>
                  <a:pt x="352" y="163"/>
                  <a:pt x="343" y="139"/>
                  <a:pt x="326" y="123"/>
                </a:cubicBezTo>
                <a:cubicBezTo>
                  <a:pt x="313" y="110"/>
                  <a:pt x="298" y="104"/>
                  <a:pt x="286" y="100"/>
                </a:cubicBezTo>
                <a:cubicBezTo>
                  <a:pt x="270" y="95"/>
                  <a:pt x="257" y="96"/>
                  <a:pt x="256" y="96"/>
                </a:cubicBezTo>
                <a:cubicBezTo>
                  <a:pt x="256" y="96"/>
                  <a:pt x="256" y="96"/>
                  <a:pt x="256" y="96"/>
                </a:cubicBezTo>
                <a:cubicBezTo>
                  <a:pt x="255" y="96"/>
                  <a:pt x="255" y="96"/>
                  <a:pt x="254" y="96"/>
                </a:cubicBezTo>
                <a:cubicBezTo>
                  <a:pt x="252" y="96"/>
                  <a:pt x="238" y="95"/>
                  <a:pt x="222" y="101"/>
                </a:cubicBezTo>
                <a:cubicBezTo>
                  <a:pt x="210" y="105"/>
                  <a:pt x="197" y="111"/>
                  <a:pt x="186" y="123"/>
                </a:cubicBezTo>
                <a:cubicBezTo>
                  <a:pt x="168" y="139"/>
                  <a:pt x="160" y="163"/>
                  <a:pt x="160" y="192"/>
                </a:cubicBezTo>
                <a:cubicBezTo>
                  <a:pt x="160" y="272"/>
                  <a:pt x="131" y="301"/>
                  <a:pt x="131" y="301"/>
                </a:cubicBezTo>
                <a:cubicBezTo>
                  <a:pt x="128" y="304"/>
                  <a:pt x="127" y="309"/>
                  <a:pt x="128" y="313"/>
                </a:cubicBezTo>
                <a:cubicBezTo>
                  <a:pt x="130" y="317"/>
                  <a:pt x="134" y="320"/>
                  <a:pt x="138" y="320"/>
                </a:cubicBezTo>
                <a:cubicBezTo>
                  <a:pt x="204" y="320"/>
                  <a:pt x="204" y="320"/>
                  <a:pt x="204" y="320"/>
                </a:cubicBezTo>
                <a:cubicBezTo>
                  <a:pt x="201" y="328"/>
                  <a:pt x="197" y="335"/>
                  <a:pt x="193" y="338"/>
                </a:cubicBezTo>
                <a:cubicBezTo>
                  <a:pt x="188" y="340"/>
                  <a:pt x="178" y="341"/>
                  <a:pt x="169" y="342"/>
                </a:cubicBezTo>
                <a:cubicBezTo>
                  <a:pt x="153" y="344"/>
                  <a:pt x="136" y="345"/>
                  <a:pt x="123" y="353"/>
                </a:cubicBezTo>
                <a:cubicBezTo>
                  <a:pt x="118" y="356"/>
                  <a:pt x="116" y="362"/>
                  <a:pt x="119"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2"/>
                  <a:pt x="205" y="237"/>
                  <a:pt x="201" y="217"/>
                </a:cubicBezTo>
                <a:cubicBezTo>
                  <a:pt x="198" y="207"/>
                  <a:pt x="197" y="198"/>
                  <a:pt x="196" y="190"/>
                </a:cubicBezTo>
                <a:cubicBezTo>
                  <a:pt x="222" y="186"/>
                  <a:pt x="243" y="170"/>
                  <a:pt x="256" y="148"/>
                </a:cubicBezTo>
                <a:cubicBezTo>
                  <a:pt x="268" y="169"/>
                  <a:pt x="289" y="185"/>
                  <a:pt x="315" y="190"/>
                </a:cubicBezTo>
                <a:cubicBezTo>
                  <a:pt x="314" y="198"/>
                  <a:pt x="313" y="207"/>
                  <a:pt x="310" y="217"/>
                </a:cubicBezTo>
                <a:cubicBezTo>
                  <a:pt x="306" y="237"/>
                  <a:pt x="295" y="262"/>
                  <a:pt x="284" y="278"/>
                </a:cubicBezTo>
                <a:cubicBezTo>
                  <a:pt x="278" y="288"/>
                  <a:pt x="281" y="305"/>
                  <a:pt x="283" y="315"/>
                </a:cubicBezTo>
                <a:cubicBezTo>
                  <a:pt x="286" y="325"/>
                  <a:pt x="293" y="348"/>
                  <a:pt x="309" y="357"/>
                </a:cubicBezTo>
                <a:cubicBezTo>
                  <a:pt x="317" y="361"/>
                  <a:pt x="328" y="362"/>
                  <a:pt x="340" y="363"/>
                </a:cubicBezTo>
                <a:cubicBezTo>
                  <a:pt x="353" y="365"/>
                  <a:pt x="368" y="366"/>
                  <a:pt x="378" y="372"/>
                </a:cubicBezTo>
                <a:cubicBezTo>
                  <a:pt x="380" y="373"/>
                  <a:pt x="382" y="373"/>
                  <a:pt x="383" y="373"/>
                </a:cubicBezTo>
                <a:cubicBezTo>
                  <a:pt x="387" y="373"/>
                  <a:pt x="391" y="371"/>
                  <a:pt x="393" y="368"/>
                </a:cubicBezTo>
                <a:cubicBezTo>
                  <a:pt x="395" y="362"/>
                  <a:pt x="394" y="356"/>
                  <a:pt x="389" y="35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818"/>
          <p:cNvGrpSpPr>
            <a:grpSpLocks noChangeAspect="1"/>
          </p:cNvGrpSpPr>
          <p:nvPr/>
        </p:nvGrpSpPr>
        <p:grpSpPr bwMode="auto">
          <a:xfrm>
            <a:off x="1649456" y="1701457"/>
            <a:ext cx="369676" cy="369676"/>
            <a:chOff x="5841" y="3004"/>
            <a:chExt cx="340" cy="340"/>
          </a:xfrm>
          <a:solidFill>
            <a:schemeClr val="accent3"/>
          </a:solidFill>
        </p:grpSpPr>
        <p:sp>
          <p:nvSpPr>
            <p:cNvPr id="270"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3" name="Freeform 825"/>
          <p:cNvSpPr>
            <a:spLocks noChangeAspect="1" noEditPoints="1"/>
          </p:cNvSpPr>
          <p:nvPr/>
        </p:nvSpPr>
        <p:spPr bwMode="auto">
          <a:xfrm>
            <a:off x="1229114" y="1701457"/>
            <a:ext cx="369676" cy="369676"/>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3 w 512"/>
              <a:gd name="T11" fmla="*/ 202 h 512"/>
              <a:gd name="T12" fmla="*/ 227 w 512"/>
              <a:gd name="T13" fmla="*/ 309 h 512"/>
              <a:gd name="T14" fmla="*/ 285 w 512"/>
              <a:gd name="T15" fmla="*/ 309 h 512"/>
              <a:gd name="T16" fmla="*/ 258 w 512"/>
              <a:gd name="T17" fmla="*/ 202 h 512"/>
              <a:gd name="T18" fmla="*/ 253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309 w 512"/>
              <a:gd name="T41" fmla="*/ 317 h 512"/>
              <a:gd name="T42" fmla="*/ 277 w 512"/>
              <a:gd name="T43" fmla="*/ 189 h 512"/>
              <a:gd name="T44" fmla="*/ 266 w 512"/>
              <a:gd name="T45" fmla="*/ 181 h 512"/>
              <a:gd name="T46" fmla="*/ 245 w 512"/>
              <a:gd name="T47" fmla="*/ 181 h 512"/>
              <a:gd name="T48" fmla="*/ 235 w 512"/>
              <a:gd name="T49" fmla="*/ 189 h 512"/>
              <a:gd name="T50" fmla="*/ 203 w 512"/>
              <a:gd name="T51" fmla="*/ 317 h 512"/>
              <a:gd name="T52" fmla="*/ 205 w 512"/>
              <a:gd name="T53" fmla="*/ 326 h 512"/>
              <a:gd name="T54" fmla="*/ 213 w 512"/>
              <a:gd name="T55" fmla="*/ 330 h 512"/>
              <a:gd name="T56" fmla="*/ 224 w 512"/>
              <a:gd name="T57" fmla="*/ 330 h 512"/>
              <a:gd name="T58" fmla="*/ 224 w 512"/>
              <a:gd name="T59" fmla="*/ 405 h 512"/>
              <a:gd name="T60" fmla="*/ 234 w 512"/>
              <a:gd name="T61" fmla="*/ 416 h 512"/>
              <a:gd name="T62" fmla="*/ 245 w 512"/>
              <a:gd name="T63" fmla="*/ 405 h 512"/>
              <a:gd name="T64" fmla="*/ 245 w 512"/>
              <a:gd name="T65" fmla="*/ 330 h 512"/>
              <a:gd name="T66" fmla="*/ 266 w 512"/>
              <a:gd name="T67" fmla="*/ 330 h 512"/>
              <a:gd name="T68" fmla="*/ 266 w 512"/>
              <a:gd name="T69" fmla="*/ 405 h 512"/>
              <a:gd name="T70" fmla="*/ 277 w 512"/>
              <a:gd name="T71" fmla="*/ 416 h 512"/>
              <a:gd name="T72" fmla="*/ 288 w 512"/>
              <a:gd name="T73" fmla="*/ 405 h 512"/>
              <a:gd name="T74" fmla="*/ 288 w 512"/>
              <a:gd name="T75" fmla="*/ 330 h 512"/>
              <a:gd name="T76" fmla="*/ 298 w 512"/>
              <a:gd name="T77" fmla="*/ 330 h 512"/>
              <a:gd name="T78" fmla="*/ 307 w 512"/>
              <a:gd name="T79" fmla="*/ 326 h 512"/>
              <a:gd name="T80" fmla="*/ 309 w 512"/>
              <a:gd name="T81"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3" y="202"/>
                </a:moveTo>
                <a:cubicBezTo>
                  <a:pt x="227" y="309"/>
                  <a:pt x="227" y="309"/>
                  <a:pt x="227" y="309"/>
                </a:cubicBezTo>
                <a:cubicBezTo>
                  <a:pt x="285" y="309"/>
                  <a:pt x="285" y="309"/>
                  <a:pt x="285" y="309"/>
                </a:cubicBezTo>
                <a:cubicBezTo>
                  <a:pt x="258" y="202"/>
                  <a:pt x="258" y="202"/>
                  <a:pt x="258" y="202"/>
                </a:cubicBezTo>
                <a:lnTo>
                  <a:pt x="25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09" y="317"/>
                </a:moveTo>
                <a:cubicBezTo>
                  <a:pt x="277" y="189"/>
                  <a:pt x="277" y="189"/>
                  <a:pt x="277" y="189"/>
                </a:cubicBezTo>
                <a:cubicBezTo>
                  <a:pt x="275" y="184"/>
                  <a:pt x="271" y="181"/>
                  <a:pt x="266" y="181"/>
                </a:cubicBezTo>
                <a:cubicBezTo>
                  <a:pt x="245" y="181"/>
                  <a:pt x="245" y="181"/>
                  <a:pt x="245" y="181"/>
                </a:cubicBezTo>
                <a:cubicBezTo>
                  <a:pt x="240" y="181"/>
                  <a:pt x="236" y="184"/>
                  <a:pt x="235" y="189"/>
                </a:cubicBezTo>
                <a:cubicBezTo>
                  <a:pt x="203" y="317"/>
                  <a:pt x="203" y="317"/>
                  <a:pt x="203" y="317"/>
                </a:cubicBezTo>
                <a:cubicBezTo>
                  <a:pt x="202" y="320"/>
                  <a:pt x="203" y="324"/>
                  <a:pt x="205" y="326"/>
                </a:cubicBezTo>
                <a:cubicBezTo>
                  <a:pt x="207" y="329"/>
                  <a:pt x="210" y="330"/>
                  <a:pt x="213" y="330"/>
                </a:cubicBezTo>
                <a:cubicBezTo>
                  <a:pt x="224" y="330"/>
                  <a:pt x="224" y="330"/>
                  <a:pt x="224" y="330"/>
                </a:cubicBezTo>
                <a:cubicBezTo>
                  <a:pt x="224" y="405"/>
                  <a:pt x="224" y="405"/>
                  <a:pt x="224" y="405"/>
                </a:cubicBezTo>
                <a:cubicBezTo>
                  <a:pt x="224" y="411"/>
                  <a:pt x="228" y="416"/>
                  <a:pt x="234" y="416"/>
                </a:cubicBezTo>
                <a:cubicBezTo>
                  <a:pt x="240" y="416"/>
                  <a:pt x="245" y="411"/>
                  <a:pt x="245" y="405"/>
                </a:cubicBezTo>
                <a:cubicBezTo>
                  <a:pt x="245" y="330"/>
                  <a:pt x="245" y="330"/>
                  <a:pt x="245" y="330"/>
                </a:cubicBezTo>
                <a:cubicBezTo>
                  <a:pt x="266" y="330"/>
                  <a:pt x="266" y="330"/>
                  <a:pt x="266" y="330"/>
                </a:cubicBezTo>
                <a:cubicBezTo>
                  <a:pt x="266" y="405"/>
                  <a:pt x="266" y="405"/>
                  <a:pt x="266" y="405"/>
                </a:cubicBezTo>
                <a:cubicBezTo>
                  <a:pt x="266" y="411"/>
                  <a:pt x="271" y="416"/>
                  <a:pt x="277" y="416"/>
                </a:cubicBezTo>
                <a:cubicBezTo>
                  <a:pt x="283" y="416"/>
                  <a:pt x="288" y="411"/>
                  <a:pt x="288" y="405"/>
                </a:cubicBezTo>
                <a:cubicBezTo>
                  <a:pt x="288" y="330"/>
                  <a:pt x="288" y="330"/>
                  <a:pt x="288" y="330"/>
                </a:cubicBezTo>
                <a:cubicBezTo>
                  <a:pt x="298" y="330"/>
                  <a:pt x="298" y="330"/>
                  <a:pt x="298" y="330"/>
                </a:cubicBezTo>
                <a:cubicBezTo>
                  <a:pt x="302" y="330"/>
                  <a:pt x="305" y="329"/>
                  <a:pt x="307" y="326"/>
                </a:cubicBezTo>
                <a:cubicBezTo>
                  <a:pt x="309" y="324"/>
                  <a:pt x="309" y="320"/>
                  <a:pt x="309" y="31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4" name="Group 828"/>
          <p:cNvGrpSpPr>
            <a:grpSpLocks noChangeAspect="1"/>
          </p:cNvGrpSpPr>
          <p:nvPr/>
        </p:nvGrpSpPr>
        <p:grpSpPr bwMode="auto">
          <a:xfrm>
            <a:off x="4159704" y="1701457"/>
            <a:ext cx="370763" cy="369676"/>
            <a:chOff x="5042" y="3019"/>
            <a:chExt cx="341" cy="340"/>
          </a:xfrm>
          <a:solidFill>
            <a:schemeClr val="accent3"/>
          </a:solidFill>
        </p:grpSpPr>
        <p:sp>
          <p:nvSpPr>
            <p:cNvPr id="275"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0" name="Group 836"/>
          <p:cNvGrpSpPr>
            <a:grpSpLocks noChangeAspect="1"/>
          </p:cNvGrpSpPr>
          <p:nvPr/>
        </p:nvGrpSpPr>
        <p:grpSpPr bwMode="auto">
          <a:xfrm>
            <a:off x="3745896" y="1701457"/>
            <a:ext cx="369676" cy="369676"/>
            <a:chOff x="4676" y="3030"/>
            <a:chExt cx="340" cy="340"/>
          </a:xfrm>
          <a:solidFill>
            <a:schemeClr val="accent3"/>
          </a:solidFill>
        </p:grpSpPr>
        <p:sp>
          <p:nvSpPr>
            <p:cNvPr id="281" name="Oval 837"/>
            <p:cNvSpPr>
              <a:spLocks noChangeArrowheads="1"/>
            </p:cNvSpPr>
            <p:nvPr/>
          </p:nvSpPr>
          <p:spPr bwMode="auto">
            <a:xfrm>
              <a:off x="4888" y="31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Oval 838"/>
            <p:cNvSpPr>
              <a:spLocks noChangeArrowheads="1"/>
            </p:cNvSpPr>
            <p:nvPr/>
          </p:nvSpPr>
          <p:spPr bwMode="auto">
            <a:xfrm>
              <a:off x="4789" y="31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839"/>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Freeform 840"/>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Rectangle 841"/>
            <p:cNvSpPr>
              <a:spLocks noChangeArrowheads="1"/>
            </p:cNvSpPr>
            <p:nvPr/>
          </p:nvSpPr>
          <p:spPr bwMode="auto">
            <a:xfrm>
              <a:off x="4775" y="3164"/>
              <a:ext cx="42" cy="5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6" name="Group 844"/>
          <p:cNvGrpSpPr>
            <a:grpSpLocks noChangeAspect="1"/>
          </p:cNvGrpSpPr>
          <p:nvPr/>
        </p:nvGrpSpPr>
        <p:grpSpPr bwMode="auto">
          <a:xfrm>
            <a:off x="6695741" y="1701457"/>
            <a:ext cx="369676" cy="369676"/>
            <a:chOff x="4301" y="3046"/>
            <a:chExt cx="340" cy="340"/>
          </a:xfrm>
          <a:solidFill>
            <a:schemeClr val="accent3"/>
          </a:solidFill>
        </p:grpSpPr>
        <p:sp>
          <p:nvSpPr>
            <p:cNvPr id="287"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4" name="Group 854"/>
          <p:cNvGrpSpPr>
            <a:grpSpLocks noChangeAspect="1"/>
          </p:cNvGrpSpPr>
          <p:nvPr/>
        </p:nvGrpSpPr>
        <p:grpSpPr bwMode="auto">
          <a:xfrm>
            <a:off x="6275398" y="1701457"/>
            <a:ext cx="369676" cy="369676"/>
            <a:chOff x="3903" y="3039"/>
            <a:chExt cx="340" cy="340"/>
          </a:xfrm>
          <a:solidFill>
            <a:schemeClr val="accent3"/>
          </a:solidFill>
        </p:grpSpPr>
        <p:sp>
          <p:nvSpPr>
            <p:cNvPr id="295" name="Oval 855"/>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Rectangle 856"/>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Oval 858"/>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Oval 859"/>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Rectangle 860"/>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2" name="Group 583"/>
          <p:cNvGrpSpPr>
            <a:grpSpLocks noChangeAspect="1"/>
          </p:cNvGrpSpPr>
          <p:nvPr/>
        </p:nvGrpSpPr>
        <p:grpSpPr bwMode="auto">
          <a:xfrm>
            <a:off x="814572" y="3356176"/>
            <a:ext cx="370763" cy="369676"/>
            <a:chOff x="1138" y="1953"/>
            <a:chExt cx="341" cy="340"/>
          </a:xfrm>
          <a:solidFill>
            <a:schemeClr val="accent6"/>
          </a:solidFill>
        </p:grpSpPr>
        <p:sp>
          <p:nvSpPr>
            <p:cNvPr id="303" name="Freeform 584"/>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585"/>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589"/>
          <p:cNvSpPr>
            <a:spLocks noChangeAspect="1" noEditPoints="1"/>
          </p:cNvSpPr>
          <p:nvPr/>
        </p:nvSpPr>
        <p:spPr bwMode="auto">
          <a:xfrm>
            <a:off x="393700" y="3356176"/>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6" name="Group 749"/>
          <p:cNvGrpSpPr>
            <a:grpSpLocks noChangeAspect="1"/>
          </p:cNvGrpSpPr>
          <p:nvPr/>
        </p:nvGrpSpPr>
        <p:grpSpPr bwMode="auto">
          <a:xfrm>
            <a:off x="1655229" y="3356176"/>
            <a:ext cx="369676" cy="369676"/>
            <a:chOff x="3520" y="2686"/>
            <a:chExt cx="340" cy="340"/>
          </a:xfrm>
          <a:solidFill>
            <a:schemeClr val="accent2"/>
          </a:solidFill>
        </p:grpSpPr>
        <p:sp>
          <p:nvSpPr>
            <p:cNvPr id="307"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0" name="Freeform 756"/>
          <p:cNvSpPr>
            <a:spLocks noChangeAspect="1" noEditPoints="1"/>
          </p:cNvSpPr>
          <p:nvPr/>
        </p:nvSpPr>
        <p:spPr bwMode="auto">
          <a:xfrm>
            <a:off x="1235444" y="3356176"/>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1" name="Group 934"/>
          <p:cNvGrpSpPr>
            <a:grpSpLocks noChangeAspect="1"/>
          </p:cNvGrpSpPr>
          <p:nvPr/>
        </p:nvGrpSpPr>
        <p:grpSpPr bwMode="auto">
          <a:xfrm>
            <a:off x="1648590" y="4189167"/>
            <a:ext cx="369021" cy="369021"/>
            <a:chOff x="1155" y="3472"/>
            <a:chExt cx="340" cy="340"/>
          </a:xfrm>
          <a:solidFill>
            <a:schemeClr val="accent4"/>
          </a:solidFill>
        </p:grpSpPr>
        <p:sp>
          <p:nvSpPr>
            <p:cNvPr id="312" name="Freeform 935"/>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936"/>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4" name="Freeform 940"/>
          <p:cNvSpPr>
            <a:spLocks noChangeAspect="1" noEditPoints="1"/>
          </p:cNvSpPr>
          <p:nvPr/>
        </p:nvSpPr>
        <p:spPr bwMode="auto">
          <a:xfrm>
            <a:off x="1230655" y="4189167"/>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5" name="Freeform 813"/>
          <p:cNvSpPr>
            <a:spLocks noChangeAspect="1" noEditPoints="1"/>
          </p:cNvSpPr>
          <p:nvPr/>
        </p:nvSpPr>
        <p:spPr bwMode="auto">
          <a:xfrm>
            <a:off x="2066525" y="4189167"/>
            <a:ext cx="367041" cy="367041"/>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6" name="Group 816"/>
          <p:cNvGrpSpPr>
            <a:grpSpLocks noChangeAspect="1"/>
          </p:cNvGrpSpPr>
          <p:nvPr/>
        </p:nvGrpSpPr>
        <p:grpSpPr bwMode="auto">
          <a:xfrm>
            <a:off x="2482480" y="4189167"/>
            <a:ext cx="367041" cy="367041"/>
            <a:chOff x="4518" y="3391"/>
            <a:chExt cx="340" cy="340"/>
          </a:xfrm>
          <a:solidFill>
            <a:schemeClr val="accent3"/>
          </a:solidFill>
        </p:grpSpPr>
        <p:sp>
          <p:nvSpPr>
            <p:cNvPr id="317" name="Freeform 817"/>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818"/>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9" name="Group 656"/>
          <p:cNvGrpSpPr>
            <a:grpSpLocks noChangeAspect="1"/>
          </p:cNvGrpSpPr>
          <p:nvPr/>
        </p:nvGrpSpPr>
        <p:grpSpPr bwMode="auto">
          <a:xfrm>
            <a:off x="3316370" y="4189167"/>
            <a:ext cx="369021" cy="370106"/>
            <a:chOff x="389" y="2339"/>
            <a:chExt cx="340" cy="341"/>
          </a:xfrm>
          <a:solidFill>
            <a:schemeClr val="accent1"/>
          </a:solidFill>
        </p:grpSpPr>
        <p:sp>
          <p:nvSpPr>
            <p:cNvPr id="320"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659"/>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3" name="Freeform 663"/>
          <p:cNvSpPr>
            <a:spLocks noChangeAspect="1" noEditPoints="1"/>
          </p:cNvSpPr>
          <p:nvPr/>
        </p:nvSpPr>
        <p:spPr bwMode="auto">
          <a:xfrm>
            <a:off x="2898435" y="4189167"/>
            <a:ext cx="369021" cy="3690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4" name="Freeform 575"/>
          <p:cNvSpPr>
            <a:spLocks noChangeAspect="1" noEditPoints="1"/>
          </p:cNvSpPr>
          <p:nvPr/>
        </p:nvSpPr>
        <p:spPr bwMode="auto">
          <a:xfrm>
            <a:off x="393700" y="2523199"/>
            <a:ext cx="36812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5" name="Group 578"/>
          <p:cNvGrpSpPr>
            <a:grpSpLocks noChangeAspect="1"/>
          </p:cNvGrpSpPr>
          <p:nvPr/>
        </p:nvGrpSpPr>
        <p:grpSpPr bwMode="auto">
          <a:xfrm>
            <a:off x="811959" y="2523199"/>
            <a:ext cx="367041" cy="367041"/>
            <a:chOff x="1932" y="2478"/>
            <a:chExt cx="340" cy="340"/>
          </a:xfrm>
          <a:solidFill>
            <a:schemeClr val="accent1"/>
          </a:solidFill>
        </p:grpSpPr>
        <p:sp>
          <p:nvSpPr>
            <p:cNvPr id="326" name="Freeform 579"/>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580"/>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8" name="Freeform 893"/>
          <p:cNvSpPr>
            <a:spLocks noChangeAspect="1" noEditPoints="1"/>
          </p:cNvSpPr>
          <p:nvPr/>
        </p:nvSpPr>
        <p:spPr bwMode="auto">
          <a:xfrm>
            <a:off x="2075014" y="33561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192 w 512"/>
              <a:gd name="T23" fmla="*/ 138 h 512"/>
              <a:gd name="T24" fmla="*/ 201 w 512"/>
              <a:gd name="T25" fmla="*/ 143 h 512"/>
              <a:gd name="T26" fmla="*/ 219 w 512"/>
              <a:gd name="T27" fmla="*/ 170 h 512"/>
              <a:gd name="T28" fmla="*/ 405 w 512"/>
              <a:gd name="T29" fmla="*/ 170 h 512"/>
              <a:gd name="T30" fmla="*/ 416 w 512"/>
              <a:gd name="T31" fmla="*/ 181 h 512"/>
              <a:gd name="T32" fmla="*/ 416 w 512"/>
              <a:gd name="T33" fmla="*/ 362 h 512"/>
              <a:gd name="T34" fmla="*/ 213 w 512"/>
              <a:gd name="T35" fmla="*/ 192 h 512"/>
              <a:gd name="T36" fmla="*/ 394 w 512"/>
              <a:gd name="T37" fmla="*/ 192 h 512"/>
              <a:gd name="T38" fmla="*/ 394 w 512"/>
              <a:gd name="T39" fmla="*/ 352 h 512"/>
              <a:gd name="T40" fmla="*/ 117 w 512"/>
              <a:gd name="T41" fmla="*/ 352 h 512"/>
              <a:gd name="T42" fmla="*/ 117 w 512"/>
              <a:gd name="T43" fmla="*/ 160 h 512"/>
              <a:gd name="T44" fmla="*/ 186 w 512"/>
              <a:gd name="T45" fmla="*/ 160 h 512"/>
              <a:gd name="T46" fmla="*/ 204 w 512"/>
              <a:gd name="T47" fmla="*/ 187 h 512"/>
              <a:gd name="T48" fmla="*/ 213 w 512"/>
              <a:gd name="T4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192" y="138"/>
                  <a:pt x="192" y="138"/>
                  <a:pt x="192" y="138"/>
                </a:cubicBezTo>
                <a:cubicBezTo>
                  <a:pt x="195" y="138"/>
                  <a:pt x="199" y="140"/>
                  <a:pt x="201" y="143"/>
                </a:cubicBezTo>
                <a:cubicBezTo>
                  <a:pt x="219" y="170"/>
                  <a:pt x="219" y="170"/>
                  <a:pt x="219" y="170"/>
                </a:cubicBezTo>
                <a:cubicBezTo>
                  <a:pt x="405" y="170"/>
                  <a:pt x="405" y="170"/>
                  <a:pt x="405" y="170"/>
                </a:cubicBezTo>
                <a:cubicBezTo>
                  <a:pt x="411" y="170"/>
                  <a:pt x="416" y="175"/>
                  <a:pt x="416" y="181"/>
                </a:cubicBezTo>
                <a:lnTo>
                  <a:pt x="416" y="362"/>
                </a:lnTo>
                <a:close/>
                <a:moveTo>
                  <a:pt x="213" y="192"/>
                </a:moveTo>
                <a:cubicBezTo>
                  <a:pt x="394" y="192"/>
                  <a:pt x="394" y="192"/>
                  <a:pt x="394" y="192"/>
                </a:cubicBezTo>
                <a:cubicBezTo>
                  <a:pt x="394" y="352"/>
                  <a:pt x="394" y="352"/>
                  <a:pt x="394" y="352"/>
                </a:cubicBezTo>
                <a:cubicBezTo>
                  <a:pt x="117" y="352"/>
                  <a:pt x="117" y="352"/>
                  <a:pt x="117" y="352"/>
                </a:cubicBezTo>
                <a:cubicBezTo>
                  <a:pt x="117" y="160"/>
                  <a:pt x="117" y="160"/>
                  <a:pt x="117" y="160"/>
                </a:cubicBezTo>
                <a:cubicBezTo>
                  <a:pt x="186" y="160"/>
                  <a:pt x="186" y="160"/>
                  <a:pt x="186" y="160"/>
                </a:cubicBezTo>
                <a:cubicBezTo>
                  <a:pt x="204" y="187"/>
                  <a:pt x="204" y="187"/>
                  <a:pt x="204" y="187"/>
                </a:cubicBezTo>
                <a:cubicBezTo>
                  <a:pt x="206" y="190"/>
                  <a:pt x="209" y="192"/>
                  <a:pt x="213" y="192"/>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9" name="Group 908"/>
          <p:cNvGrpSpPr>
            <a:grpSpLocks noChangeAspect="1"/>
          </p:cNvGrpSpPr>
          <p:nvPr/>
        </p:nvGrpSpPr>
        <p:grpSpPr bwMode="auto">
          <a:xfrm>
            <a:off x="2492754" y="3356176"/>
            <a:ext cx="367631" cy="367631"/>
            <a:chOff x="1142" y="3585"/>
            <a:chExt cx="340" cy="340"/>
          </a:xfrm>
          <a:solidFill>
            <a:schemeClr val="accent4"/>
          </a:solidFill>
        </p:grpSpPr>
        <p:sp>
          <p:nvSpPr>
            <p:cNvPr id="330" name="Freeform 909"/>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910"/>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2" name="Freeform 737"/>
          <p:cNvSpPr>
            <a:spLocks noChangeAspect="1" noEditPoints="1"/>
          </p:cNvSpPr>
          <p:nvPr/>
        </p:nvSpPr>
        <p:spPr bwMode="auto">
          <a:xfrm>
            <a:off x="393700" y="1701457"/>
            <a:ext cx="367041" cy="368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3" name="Group 740"/>
          <p:cNvGrpSpPr>
            <a:grpSpLocks noChangeAspect="1"/>
          </p:cNvGrpSpPr>
          <p:nvPr/>
        </p:nvGrpSpPr>
        <p:grpSpPr bwMode="auto">
          <a:xfrm>
            <a:off x="811407" y="1701457"/>
            <a:ext cx="367041" cy="367041"/>
            <a:chOff x="5857" y="3295"/>
            <a:chExt cx="340" cy="340"/>
          </a:xfrm>
          <a:solidFill>
            <a:schemeClr val="accent2"/>
          </a:solidFill>
        </p:grpSpPr>
        <p:sp>
          <p:nvSpPr>
            <p:cNvPr id="334" name="Freeform 741"/>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742"/>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743"/>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7" name="Freeform 747"/>
          <p:cNvSpPr>
            <a:spLocks noChangeAspect="1" noEditPoints="1"/>
          </p:cNvSpPr>
          <p:nvPr/>
        </p:nvSpPr>
        <p:spPr bwMode="auto">
          <a:xfrm>
            <a:off x="2069798" y="1701457"/>
            <a:ext cx="367041" cy="367041"/>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8" name="Group 750"/>
          <p:cNvGrpSpPr>
            <a:grpSpLocks noChangeAspect="1"/>
          </p:cNvGrpSpPr>
          <p:nvPr/>
        </p:nvGrpSpPr>
        <p:grpSpPr bwMode="auto">
          <a:xfrm>
            <a:off x="2487505" y="1701457"/>
            <a:ext cx="367041" cy="367041"/>
            <a:chOff x="6961" y="3142"/>
            <a:chExt cx="340" cy="340"/>
          </a:xfrm>
          <a:solidFill>
            <a:schemeClr val="accent2"/>
          </a:solidFill>
        </p:grpSpPr>
        <p:sp>
          <p:nvSpPr>
            <p:cNvPr id="339" name="Freeform 751"/>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Freeform 752"/>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8" name="Group 235"/>
          <p:cNvGrpSpPr>
            <a:grpSpLocks noChangeAspect="1"/>
          </p:cNvGrpSpPr>
          <p:nvPr/>
        </p:nvGrpSpPr>
        <p:grpSpPr bwMode="auto">
          <a:xfrm>
            <a:off x="3320731" y="2523199"/>
            <a:ext cx="369676" cy="369676"/>
            <a:chOff x="4264" y="792"/>
            <a:chExt cx="340" cy="340"/>
          </a:xfrm>
          <a:solidFill>
            <a:schemeClr val="accent3"/>
          </a:solidFill>
        </p:grpSpPr>
        <p:sp>
          <p:nvSpPr>
            <p:cNvPr id="349" name="Freeform 236"/>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 name="Freeform 237"/>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Freeform 238"/>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2" name="Freeform 242"/>
          <p:cNvSpPr>
            <a:spLocks noChangeAspect="1" noEditPoints="1"/>
          </p:cNvSpPr>
          <p:nvPr/>
        </p:nvSpPr>
        <p:spPr bwMode="auto">
          <a:xfrm>
            <a:off x="2900917" y="2523199"/>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3" name="Freeform 109"/>
          <p:cNvSpPr>
            <a:spLocks noChangeAspect="1" noEditPoints="1"/>
          </p:cNvSpPr>
          <p:nvPr/>
        </p:nvSpPr>
        <p:spPr bwMode="auto">
          <a:xfrm>
            <a:off x="3740545" y="2523199"/>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4" name="Group 112"/>
          <p:cNvGrpSpPr>
            <a:grpSpLocks noChangeAspect="1"/>
          </p:cNvGrpSpPr>
          <p:nvPr/>
        </p:nvGrpSpPr>
        <p:grpSpPr bwMode="auto">
          <a:xfrm>
            <a:off x="4159704" y="2523199"/>
            <a:ext cx="369021" cy="369021"/>
            <a:chOff x="1157" y="393"/>
            <a:chExt cx="340" cy="340"/>
          </a:xfrm>
          <a:solidFill>
            <a:schemeClr val="accent2"/>
          </a:solidFill>
        </p:grpSpPr>
        <p:sp>
          <p:nvSpPr>
            <p:cNvPr id="355"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7" name="Freeform 547"/>
          <p:cNvSpPr>
            <a:spLocks noChangeAspect="1" noEditPoints="1"/>
          </p:cNvSpPr>
          <p:nvPr/>
        </p:nvSpPr>
        <p:spPr bwMode="auto">
          <a:xfrm>
            <a:off x="4578863" y="2523199"/>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8" name="Group 550"/>
          <p:cNvGrpSpPr>
            <a:grpSpLocks noChangeAspect="1"/>
          </p:cNvGrpSpPr>
          <p:nvPr/>
        </p:nvGrpSpPr>
        <p:grpSpPr bwMode="auto">
          <a:xfrm>
            <a:off x="4996632" y="2523199"/>
            <a:ext cx="367631" cy="367631"/>
            <a:chOff x="5799" y="1983"/>
            <a:chExt cx="340" cy="340"/>
          </a:xfrm>
          <a:solidFill>
            <a:schemeClr val="accent6"/>
          </a:solidFill>
        </p:grpSpPr>
        <p:sp>
          <p:nvSpPr>
            <p:cNvPr id="359" name="Freeform 551"/>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552"/>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553"/>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2" name="Freeform 286"/>
          <p:cNvSpPr>
            <a:spLocks noChangeAspect="1" noEditPoints="1"/>
          </p:cNvSpPr>
          <p:nvPr/>
        </p:nvSpPr>
        <p:spPr bwMode="auto">
          <a:xfrm>
            <a:off x="1229138" y="2523199"/>
            <a:ext cx="367632" cy="367631"/>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3" name="Group 289"/>
          <p:cNvGrpSpPr>
            <a:grpSpLocks noChangeAspect="1"/>
          </p:cNvGrpSpPr>
          <p:nvPr/>
        </p:nvGrpSpPr>
        <p:grpSpPr bwMode="auto">
          <a:xfrm>
            <a:off x="1646908" y="2523199"/>
            <a:ext cx="367631" cy="367631"/>
            <a:chOff x="399" y="1137"/>
            <a:chExt cx="340" cy="340"/>
          </a:xfrm>
          <a:solidFill>
            <a:schemeClr val="accent4"/>
          </a:solidFill>
        </p:grpSpPr>
        <p:sp>
          <p:nvSpPr>
            <p:cNvPr id="364" name="Freeform 290"/>
            <p:cNvSpPr>
              <a:spLocks noEditPoints="1"/>
            </p:cNvSpPr>
            <p:nvPr/>
          </p:nvSpPr>
          <p:spPr bwMode="auto">
            <a:xfrm>
              <a:off x="459" y="1229"/>
              <a:ext cx="202" cy="184"/>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Freeform 291"/>
            <p:cNvSpPr>
              <a:spLocks noEditPoints="1"/>
            </p:cNvSpPr>
            <p:nvPr/>
          </p:nvSpPr>
          <p:spPr bwMode="auto">
            <a:xfrm>
              <a:off x="39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6" name="Freeform 867"/>
          <p:cNvSpPr>
            <a:spLocks noChangeAspect="1" noEditPoints="1"/>
          </p:cNvSpPr>
          <p:nvPr/>
        </p:nvSpPr>
        <p:spPr bwMode="auto">
          <a:xfrm>
            <a:off x="5414401" y="2523199"/>
            <a:ext cx="368713" cy="368713"/>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67" name="Group 870"/>
          <p:cNvGrpSpPr>
            <a:grpSpLocks noChangeAspect="1"/>
          </p:cNvGrpSpPr>
          <p:nvPr/>
        </p:nvGrpSpPr>
        <p:grpSpPr bwMode="auto">
          <a:xfrm>
            <a:off x="5833252" y="2523199"/>
            <a:ext cx="368713" cy="367631"/>
            <a:chOff x="6610" y="3178"/>
            <a:chExt cx="341" cy="340"/>
          </a:xfrm>
          <a:solidFill>
            <a:schemeClr val="accent3"/>
          </a:solidFill>
        </p:grpSpPr>
        <p:sp>
          <p:nvSpPr>
            <p:cNvPr id="368" name="Freeform 871"/>
            <p:cNvSpPr>
              <a:spLocks noEditPoints="1"/>
            </p:cNvSpPr>
            <p:nvPr/>
          </p:nvSpPr>
          <p:spPr bwMode="auto">
            <a:xfrm>
              <a:off x="6610" y="31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872"/>
            <p:cNvSpPr>
              <a:spLocks noEditPoints="1"/>
            </p:cNvSpPr>
            <p:nvPr/>
          </p:nvSpPr>
          <p:spPr bwMode="auto">
            <a:xfrm>
              <a:off x="6688" y="3248"/>
              <a:ext cx="184" cy="20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0" name="Freeform 976"/>
          <p:cNvSpPr>
            <a:spLocks noChangeAspect="1" noEditPoints="1"/>
          </p:cNvSpPr>
          <p:nvPr/>
        </p:nvSpPr>
        <p:spPr bwMode="auto">
          <a:xfrm>
            <a:off x="6252103" y="2523199"/>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1" name="Group 979"/>
          <p:cNvGrpSpPr>
            <a:grpSpLocks noChangeAspect="1"/>
          </p:cNvGrpSpPr>
          <p:nvPr/>
        </p:nvGrpSpPr>
        <p:grpSpPr bwMode="auto">
          <a:xfrm>
            <a:off x="6669873" y="2523199"/>
            <a:ext cx="367631" cy="368712"/>
            <a:chOff x="2032" y="4237"/>
            <a:chExt cx="340" cy="341"/>
          </a:xfrm>
          <a:solidFill>
            <a:schemeClr val="accent5"/>
          </a:solidFill>
        </p:grpSpPr>
        <p:sp>
          <p:nvSpPr>
            <p:cNvPr id="372"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5" name="Freeform 73"/>
          <p:cNvSpPr>
            <a:spLocks noChangeAspect="1" noEditPoints="1"/>
          </p:cNvSpPr>
          <p:nvPr/>
        </p:nvSpPr>
        <p:spPr bwMode="auto">
          <a:xfrm>
            <a:off x="7087642" y="2523199"/>
            <a:ext cx="368254" cy="368152"/>
          </a:xfrm>
          <a:custGeom>
            <a:avLst/>
            <a:gdLst>
              <a:gd name="T0" fmla="*/ 138 w 512"/>
              <a:gd name="T1" fmla="*/ 373 h 512"/>
              <a:gd name="T2" fmla="*/ 373 w 512"/>
              <a:gd name="T3" fmla="*/ 373 h 512"/>
              <a:gd name="T4" fmla="*/ 373 w 512"/>
              <a:gd name="T5" fmla="*/ 202 h 512"/>
              <a:gd name="T6" fmla="*/ 138 w 512"/>
              <a:gd name="T7" fmla="*/ 202 h 512"/>
              <a:gd name="T8" fmla="*/ 138 w 512"/>
              <a:gd name="T9" fmla="*/ 373 h 512"/>
              <a:gd name="T10" fmla="*/ 224 w 512"/>
              <a:gd name="T11" fmla="*/ 234 h 512"/>
              <a:gd name="T12" fmla="*/ 288 w 512"/>
              <a:gd name="T13" fmla="*/ 234 h 512"/>
              <a:gd name="T14" fmla="*/ 298 w 512"/>
              <a:gd name="T15" fmla="*/ 245 h 512"/>
              <a:gd name="T16" fmla="*/ 288 w 512"/>
              <a:gd name="T17" fmla="*/ 256 h 512"/>
              <a:gd name="T18" fmla="*/ 224 w 512"/>
              <a:gd name="T19" fmla="*/ 256 h 512"/>
              <a:gd name="T20" fmla="*/ 213 w 512"/>
              <a:gd name="T21" fmla="*/ 245 h 512"/>
              <a:gd name="T22" fmla="*/ 224 w 512"/>
              <a:gd name="T23" fmla="*/ 234 h 512"/>
              <a:gd name="T24" fmla="*/ 117 w 512"/>
              <a:gd name="T25" fmla="*/ 160 h 512"/>
              <a:gd name="T26" fmla="*/ 394 w 512"/>
              <a:gd name="T27" fmla="*/ 160 h 512"/>
              <a:gd name="T28" fmla="*/ 394 w 512"/>
              <a:gd name="T29" fmla="*/ 181 h 512"/>
              <a:gd name="T30" fmla="*/ 117 w 512"/>
              <a:gd name="T31" fmla="*/ 181 h 512"/>
              <a:gd name="T32" fmla="*/ 117 w 512"/>
              <a:gd name="T33" fmla="*/ 160 h 512"/>
              <a:gd name="T34" fmla="*/ 256 w 512"/>
              <a:gd name="T35" fmla="*/ 0 h 512"/>
              <a:gd name="T36" fmla="*/ 0 w 512"/>
              <a:gd name="T37" fmla="*/ 256 h 512"/>
              <a:gd name="T38" fmla="*/ 256 w 512"/>
              <a:gd name="T39" fmla="*/ 512 h 512"/>
              <a:gd name="T40" fmla="*/ 512 w 512"/>
              <a:gd name="T41" fmla="*/ 256 h 512"/>
              <a:gd name="T42" fmla="*/ 256 w 512"/>
              <a:gd name="T43" fmla="*/ 0 h 512"/>
              <a:gd name="T44" fmla="*/ 416 w 512"/>
              <a:gd name="T45" fmla="*/ 192 h 512"/>
              <a:gd name="T46" fmla="*/ 405 w 512"/>
              <a:gd name="T47" fmla="*/ 202 h 512"/>
              <a:gd name="T48" fmla="*/ 394 w 512"/>
              <a:gd name="T49" fmla="*/ 202 h 512"/>
              <a:gd name="T50" fmla="*/ 394 w 512"/>
              <a:gd name="T51" fmla="*/ 384 h 512"/>
              <a:gd name="T52" fmla="*/ 384 w 512"/>
              <a:gd name="T53" fmla="*/ 394 h 512"/>
              <a:gd name="T54" fmla="*/ 128 w 512"/>
              <a:gd name="T55" fmla="*/ 394 h 512"/>
              <a:gd name="T56" fmla="*/ 117 w 512"/>
              <a:gd name="T57" fmla="*/ 384 h 512"/>
              <a:gd name="T58" fmla="*/ 117 w 512"/>
              <a:gd name="T59" fmla="*/ 202 h 512"/>
              <a:gd name="T60" fmla="*/ 106 w 512"/>
              <a:gd name="T61" fmla="*/ 202 h 512"/>
              <a:gd name="T62" fmla="*/ 96 w 512"/>
              <a:gd name="T63" fmla="*/ 192 h 512"/>
              <a:gd name="T64" fmla="*/ 96 w 512"/>
              <a:gd name="T65" fmla="*/ 149 h 512"/>
              <a:gd name="T66" fmla="*/ 106 w 512"/>
              <a:gd name="T67" fmla="*/ 138 h 512"/>
              <a:gd name="T68" fmla="*/ 405 w 512"/>
              <a:gd name="T69" fmla="*/ 138 h 512"/>
              <a:gd name="T70" fmla="*/ 416 w 512"/>
              <a:gd name="T71" fmla="*/ 149 h 512"/>
              <a:gd name="T72" fmla="*/ 416 w 512"/>
              <a:gd name="T7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38" y="373"/>
                </a:moveTo>
                <a:cubicBezTo>
                  <a:pt x="373" y="373"/>
                  <a:pt x="373" y="373"/>
                  <a:pt x="373" y="373"/>
                </a:cubicBezTo>
                <a:cubicBezTo>
                  <a:pt x="373" y="202"/>
                  <a:pt x="373" y="202"/>
                  <a:pt x="373" y="202"/>
                </a:cubicBezTo>
                <a:cubicBezTo>
                  <a:pt x="138" y="202"/>
                  <a:pt x="138" y="202"/>
                  <a:pt x="138" y="202"/>
                </a:cubicBezTo>
                <a:lnTo>
                  <a:pt x="138" y="373"/>
                </a:lnTo>
                <a:close/>
                <a:moveTo>
                  <a:pt x="224" y="234"/>
                </a:moveTo>
                <a:cubicBezTo>
                  <a:pt x="288" y="234"/>
                  <a:pt x="288" y="234"/>
                  <a:pt x="288" y="234"/>
                </a:cubicBezTo>
                <a:cubicBezTo>
                  <a:pt x="294" y="234"/>
                  <a:pt x="298" y="239"/>
                  <a:pt x="298" y="245"/>
                </a:cubicBezTo>
                <a:cubicBezTo>
                  <a:pt x="298" y="251"/>
                  <a:pt x="294" y="256"/>
                  <a:pt x="288" y="256"/>
                </a:cubicBezTo>
                <a:cubicBezTo>
                  <a:pt x="224" y="256"/>
                  <a:pt x="224" y="256"/>
                  <a:pt x="224" y="256"/>
                </a:cubicBezTo>
                <a:cubicBezTo>
                  <a:pt x="218" y="256"/>
                  <a:pt x="213" y="251"/>
                  <a:pt x="213" y="245"/>
                </a:cubicBezTo>
                <a:cubicBezTo>
                  <a:pt x="213" y="239"/>
                  <a:pt x="218" y="234"/>
                  <a:pt x="224" y="234"/>
                </a:cubicBez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192"/>
                </a:moveTo>
                <a:cubicBezTo>
                  <a:pt x="416" y="198"/>
                  <a:pt x="411" y="202"/>
                  <a:pt x="405" y="202"/>
                </a:cubicBezTo>
                <a:cubicBezTo>
                  <a:pt x="394" y="202"/>
                  <a:pt x="394" y="202"/>
                  <a:pt x="394" y="202"/>
                </a:cubicBezTo>
                <a:cubicBezTo>
                  <a:pt x="394" y="384"/>
                  <a:pt x="394" y="384"/>
                  <a:pt x="394" y="384"/>
                </a:cubicBezTo>
                <a:cubicBezTo>
                  <a:pt x="394" y="390"/>
                  <a:pt x="390" y="394"/>
                  <a:pt x="384" y="394"/>
                </a:cubicBezTo>
                <a:cubicBezTo>
                  <a:pt x="128" y="394"/>
                  <a:pt x="128" y="394"/>
                  <a:pt x="128" y="394"/>
                </a:cubicBezTo>
                <a:cubicBezTo>
                  <a:pt x="122" y="394"/>
                  <a:pt x="117" y="390"/>
                  <a:pt x="117" y="384"/>
                </a:cubicBezTo>
                <a:cubicBezTo>
                  <a:pt x="117" y="202"/>
                  <a:pt x="117" y="202"/>
                  <a:pt x="117" y="202"/>
                </a:cubicBezTo>
                <a:cubicBezTo>
                  <a:pt x="106" y="202"/>
                  <a:pt x="106" y="202"/>
                  <a:pt x="106" y="202"/>
                </a:cubicBezTo>
                <a:cubicBezTo>
                  <a:pt x="100" y="202"/>
                  <a:pt x="96" y="198"/>
                  <a:pt x="96" y="19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19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76" name="Group 76"/>
          <p:cNvGrpSpPr>
            <a:grpSpLocks noChangeAspect="1"/>
          </p:cNvGrpSpPr>
          <p:nvPr/>
        </p:nvGrpSpPr>
        <p:grpSpPr bwMode="auto">
          <a:xfrm>
            <a:off x="7506030" y="2523199"/>
            <a:ext cx="368152" cy="368152"/>
            <a:chOff x="2306" y="626"/>
            <a:chExt cx="3635" cy="3635"/>
          </a:xfrm>
          <a:solidFill>
            <a:schemeClr val="accent1"/>
          </a:solidFill>
        </p:grpSpPr>
        <p:sp>
          <p:nvSpPr>
            <p:cNvPr id="377" name="Freeform 77"/>
            <p:cNvSpPr>
              <a:spLocks noEditPoints="1"/>
            </p:cNvSpPr>
            <p:nvPr/>
          </p:nvSpPr>
          <p:spPr bwMode="auto">
            <a:xfrm>
              <a:off x="2306"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Freeform 78"/>
            <p:cNvSpPr>
              <a:spLocks noEditPoints="1"/>
            </p:cNvSpPr>
            <p:nvPr/>
          </p:nvSpPr>
          <p:spPr bwMode="auto">
            <a:xfrm>
              <a:off x="2987" y="1606"/>
              <a:ext cx="2272" cy="1817"/>
            </a:xfrm>
            <a:custGeom>
              <a:avLst/>
              <a:gdLst>
                <a:gd name="T0" fmla="*/ 309 w 320"/>
                <a:gd name="T1" fmla="*/ 0 h 256"/>
                <a:gd name="T2" fmla="*/ 10 w 320"/>
                <a:gd name="T3" fmla="*/ 0 h 256"/>
                <a:gd name="T4" fmla="*/ 0 w 320"/>
                <a:gd name="T5" fmla="*/ 11 h 256"/>
                <a:gd name="T6" fmla="*/ 0 w 320"/>
                <a:gd name="T7" fmla="*/ 54 h 256"/>
                <a:gd name="T8" fmla="*/ 10 w 320"/>
                <a:gd name="T9" fmla="*/ 64 h 256"/>
                <a:gd name="T10" fmla="*/ 21 w 320"/>
                <a:gd name="T11" fmla="*/ 64 h 256"/>
                <a:gd name="T12" fmla="*/ 21 w 320"/>
                <a:gd name="T13" fmla="*/ 246 h 256"/>
                <a:gd name="T14" fmla="*/ 32 w 320"/>
                <a:gd name="T15" fmla="*/ 256 h 256"/>
                <a:gd name="T16" fmla="*/ 288 w 320"/>
                <a:gd name="T17" fmla="*/ 256 h 256"/>
                <a:gd name="T18" fmla="*/ 298 w 320"/>
                <a:gd name="T19" fmla="*/ 246 h 256"/>
                <a:gd name="T20" fmla="*/ 298 w 320"/>
                <a:gd name="T21" fmla="*/ 64 h 256"/>
                <a:gd name="T22" fmla="*/ 309 w 320"/>
                <a:gd name="T23" fmla="*/ 64 h 256"/>
                <a:gd name="T24" fmla="*/ 320 w 320"/>
                <a:gd name="T25" fmla="*/ 54 h 256"/>
                <a:gd name="T26" fmla="*/ 320 w 320"/>
                <a:gd name="T27" fmla="*/ 11 h 256"/>
                <a:gd name="T28" fmla="*/ 309 w 320"/>
                <a:gd name="T29" fmla="*/ 0 h 256"/>
                <a:gd name="T30" fmla="*/ 277 w 320"/>
                <a:gd name="T31" fmla="*/ 235 h 256"/>
                <a:gd name="T32" fmla="*/ 42 w 320"/>
                <a:gd name="T33" fmla="*/ 235 h 256"/>
                <a:gd name="T34" fmla="*/ 42 w 320"/>
                <a:gd name="T35" fmla="*/ 64 h 256"/>
                <a:gd name="T36" fmla="*/ 277 w 320"/>
                <a:gd name="T37" fmla="*/ 64 h 256"/>
                <a:gd name="T38" fmla="*/ 277 w 320"/>
                <a:gd name="T39" fmla="*/ 235 h 256"/>
                <a:gd name="T40" fmla="*/ 298 w 320"/>
                <a:gd name="T41" fmla="*/ 43 h 256"/>
                <a:gd name="T42" fmla="*/ 21 w 320"/>
                <a:gd name="T43" fmla="*/ 43 h 256"/>
                <a:gd name="T44" fmla="*/ 21 w 320"/>
                <a:gd name="T45" fmla="*/ 22 h 256"/>
                <a:gd name="T46" fmla="*/ 298 w 320"/>
                <a:gd name="T47" fmla="*/ 22 h 256"/>
                <a:gd name="T48" fmla="*/ 298 w 320"/>
                <a:gd name="T49" fmla="*/ 43 h 256"/>
                <a:gd name="T50" fmla="*/ 117 w 320"/>
                <a:gd name="T51" fmla="*/ 107 h 256"/>
                <a:gd name="T52" fmla="*/ 128 w 320"/>
                <a:gd name="T53" fmla="*/ 96 h 256"/>
                <a:gd name="T54" fmla="*/ 192 w 320"/>
                <a:gd name="T55" fmla="*/ 96 h 256"/>
                <a:gd name="T56" fmla="*/ 202 w 320"/>
                <a:gd name="T57" fmla="*/ 107 h 256"/>
                <a:gd name="T58" fmla="*/ 192 w 320"/>
                <a:gd name="T59" fmla="*/ 118 h 256"/>
                <a:gd name="T60" fmla="*/ 128 w 320"/>
                <a:gd name="T61" fmla="*/ 118 h 256"/>
                <a:gd name="T62" fmla="*/ 117 w 320"/>
                <a:gd name="T63" fmla="*/ 10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256">
                  <a:moveTo>
                    <a:pt x="309" y="0"/>
                  </a:moveTo>
                  <a:cubicBezTo>
                    <a:pt x="10" y="0"/>
                    <a:pt x="10" y="0"/>
                    <a:pt x="10" y="0"/>
                  </a:cubicBezTo>
                  <a:cubicBezTo>
                    <a:pt x="4" y="0"/>
                    <a:pt x="0" y="5"/>
                    <a:pt x="0" y="11"/>
                  </a:cubicBezTo>
                  <a:cubicBezTo>
                    <a:pt x="0" y="54"/>
                    <a:pt x="0" y="54"/>
                    <a:pt x="0" y="54"/>
                  </a:cubicBezTo>
                  <a:cubicBezTo>
                    <a:pt x="0" y="60"/>
                    <a:pt x="4" y="64"/>
                    <a:pt x="10" y="64"/>
                  </a:cubicBezTo>
                  <a:cubicBezTo>
                    <a:pt x="21" y="64"/>
                    <a:pt x="21" y="64"/>
                    <a:pt x="21" y="64"/>
                  </a:cubicBezTo>
                  <a:cubicBezTo>
                    <a:pt x="21" y="246"/>
                    <a:pt x="21" y="246"/>
                    <a:pt x="21" y="246"/>
                  </a:cubicBezTo>
                  <a:cubicBezTo>
                    <a:pt x="21" y="252"/>
                    <a:pt x="26" y="256"/>
                    <a:pt x="32" y="256"/>
                  </a:cubicBezTo>
                  <a:cubicBezTo>
                    <a:pt x="288" y="256"/>
                    <a:pt x="288" y="256"/>
                    <a:pt x="288" y="256"/>
                  </a:cubicBezTo>
                  <a:cubicBezTo>
                    <a:pt x="294" y="256"/>
                    <a:pt x="298" y="252"/>
                    <a:pt x="298" y="246"/>
                  </a:cubicBezTo>
                  <a:cubicBezTo>
                    <a:pt x="298" y="64"/>
                    <a:pt x="298" y="64"/>
                    <a:pt x="298" y="64"/>
                  </a:cubicBezTo>
                  <a:cubicBezTo>
                    <a:pt x="309" y="64"/>
                    <a:pt x="309" y="64"/>
                    <a:pt x="309" y="64"/>
                  </a:cubicBezTo>
                  <a:cubicBezTo>
                    <a:pt x="315" y="64"/>
                    <a:pt x="320" y="60"/>
                    <a:pt x="320" y="54"/>
                  </a:cubicBezTo>
                  <a:cubicBezTo>
                    <a:pt x="320" y="11"/>
                    <a:pt x="320" y="11"/>
                    <a:pt x="320" y="11"/>
                  </a:cubicBezTo>
                  <a:cubicBezTo>
                    <a:pt x="320" y="5"/>
                    <a:pt x="315" y="0"/>
                    <a:pt x="309" y="0"/>
                  </a:cubicBezTo>
                  <a:close/>
                  <a:moveTo>
                    <a:pt x="277" y="235"/>
                  </a:moveTo>
                  <a:cubicBezTo>
                    <a:pt x="42" y="235"/>
                    <a:pt x="42" y="235"/>
                    <a:pt x="42" y="235"/>
                  </a:cubicBezTo>
                  <a:cubicBezTo>
                    <a:pt x="42" y="64"/>
                    <a:pt x="42" y="64"/>
                    <a:pt x="42" y="64"/>
                  </a:cubicBezTo>
                  <a:cubicBezTo>
                    <a:pt x="277" y="64"/>
                    <a:pt x="277" y="64"/>
                    <a:pt x="277" y="64"/>
                  </a:cubicBezTo>
                  <a:lnTo>
                    <a:pt x="277" y="235"/>
                  </a:lnTo>
                  <a:close/>
                  <a:moveTo>
                    <a:pt x="298" y="43"/>
                  </a:moveTo>
                  <a:cubicBezTo>
                    <a:pt x="21" y="43"/>
                    <a:pt x="21" y="43"/>
                    <a:pt x="21" y="43"/>
                  </a:cubicBezTo>
                  <a:cubicBezTo>
                    <a:pt x="21" y="22"/>
                    <a:pt x="21" y="22"/>
                    <a:pt x="21" y="22"/>
                  </a:cubicBezTo>
                  <a:cubicBezTo>
                    <a:pt x="298" y="22"/>
                    <a:pt x="298" y="22"/>
                    <a:pt x="298" y="22"/>
                  </a:cubicBezTo>
                  <a:lnTo>
                    <a:pt x="298" y="43"/>
                  </a:lnTo>
                  <a:close/>
                  <a:moveTo>
                    <a:pt x="117" y="107"/>
                  </a:moveTo>
                  <a:cubicBezTo>
                    <a:pt x="117" y="101"/>
                    <a:pt x="122" y="96"/>
                    <a:pt x="128" y="96"/>
                  </a:cubicBezTo>
                  <a:cubicBezTo>
                    <a:pt x="192" y="96"/>
                    <a:pt x="192" y="96"/>
                    <a:pt x="192" y="96"/>
                  </a:cubicBezTo>
                  <a:cubicBezTo>
                    <a:pt x="198" y="96"/>
                    <a:pt x="202" y="101"/>
                    <a:pt x="202" y="107"/>
                  </a:cubicBezTo>
                  <a:cubicBezTo>
                    <a:pt x="202" y="113"/>
                    <a:pt x="198" y="118"/>
                    <a:pt x="192" y="118"/>
                  </a:cubicBezTo>
                  <a:cubicBezTo>
                    <a:pt x="128" y="118"/>
                    <a:pt x="128" y="118"/>
                    <a:pt x="128" y="118"/>
                  </a:cubicBezTo>
                  <a:cubicBezTo>
                    <a:pt x="122" y="118"/>
                    <a:pt x="117" y="113"/>
                    <a:pt x="117"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9" name="Freeform 61"/>
          <p:cNvSpPr>
            <a:spLocks noChangeAspect="1" noEditPoints="1"/>
          </p:cNvSpPr>
          <p:nvPr/>
        </p:nvSpPr>
        <p:spPr bwMode="auto">
          <a:xfrm>
            <a:off x="2910494" y="3356176"/>
            <a:ext cx="369021" cy="370106"/>
          </a:xfrm>
          <a:custGeom>
            <a:avLst/>
            <a:gdLst>
              <a:gd name="T0" fmla="*/ 150 w 512"/>
              <a:gd name="T1" fmla="*/ 209 h 512"/>
              <a:gd name="T2" fmla="*/ 117 w 512"/>
              <a:gd name="T3" fmla="*/ 301 h 512"/>
              <a:gd name="T4" fmla="*/ 117 w 512"/>
              <a:gd name="T5" fmla="*/ 160 h 512"/>
              <a:gd name="T6" fmla="*/ 166 w 512"/>
              <a:gd name="T7" fmla="*/ 160 h 512"/>
              <a:gd name="T8" fmla="*/ 184 w 512"/>
              <a:gd name="T9" fmla="*/ 178 h 512"/>
              <a:gd name="T10" fmla="*/ 192 w 512"/>
              <a:gd name="T11" fmla="*/ 181 h 512"/>
              <a:gd name="T12" fmla="*/ 352 w 512"/>
              <a:gd name="T13" fmla="*/ 181 h 512"/>
              <a:gd name="T14" fmla="*/ 352 w 512"/>
              <a:gd name="T15" fmla="*/ 202 h 512"/>
              <a:gd name="T16" fmla="*/ 160 w 512"/>
              <a:gd name="T17" fmla="*/ 202 h 512"/>
              <a:gd name="T18" fmla="*/ 150 w 512"/>
              <a:gd name="T19" fmla="*/ 209 h 512"/>
              <a:gd name="T20" fmla="*/ 121 w 512"/>
              <a:gd name="T21" fmla="*/ 352 h 512"/>
              <a:gd name="T22" fmla="*/ 354 w 512"/>
              <a:gd name="T23" fmla="*/ 352 h 512"/>
              <a:gd name="T24" fmla="*/ 391 w 512"/>
              <a:gd name="T25" fmla="*/ 224 h 512"/>
              <a:gd name="T26" fmla="*/ 167 w 512"/>
              <a:gd name="T27" fmla="*/ 224 h 512"/>
              <a:gd name="T28" fmla="*/ 121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4 w 512"/>
              <a:gd name="T41" fmla="*/ 207 h 512"/>
              <a:gd name="T42" fmla="*/ 405 w 512"/>
              <a:gd name="T43" fmla="*/ 202 h 512"/>
              <a:gd name="T44" fmla="*/ 373 w 512"/>
              <a:gd name="T45" fmla="*/ 202 h 512"/>
              <a:gd name="T46" fmla="*/ 373 w 512"/>
              <a:gd name="T47" fmla="*/ 170 h 512"/>
              <a:gd name="T48" fmla="*/ 362 w 512"/>
              <a:gd name="T49" fmla="*/ 160 h 512"/>
              <a:gd name="T50" fmla="*/ 196 w 512"/>
              <a:gd name="T51" fmla="*/ 160 h 512"/>
              <a:gd name="T52" fmla="*/ 178 w 512"/>
              <a:gd name="T53" fmla="*/ 141 h 512"/>
              <a:gd name="T54" fmla="*/ 170 w 512"/>
              <a:gd name="T55" fmla="*/ 138 h 512"/>
              <a:gd name="T56" fmla="*/ 106 w 512"/>
              <a:gd name="T57" fmla="*/ 138 h 512"/>
              <a:gd name="T58" fmla="*/ 96 w 512"/>
              <a:gd name="T59" fmla="*/ 149 h 512"/>
              <a:gd name="T60" fmla="*/ 96 w 512"/>
              <a:gd name="T61" fmla="*/ 362 h 512"/>
              <a:gd name="T62" fmla="*/ 96 w 512"/>
              <a:gd name="T63" fmla="*/ 362 h 512"/>
              <a:gd name="T64" fmla="*/ 96 w 512"/>
              <a:gd name="T65" fmla="*/ 362 h 512"/>
              <a:gd name="T66" fmla="*/ 98 w 512"/>
              <a:gd name="T67" fmla="*/ 369 h 512"/>
              <a:gd name="T68" fmla="*/ 98 w 512"/>
              <a:gd name="T69" fmla="*/ 369 h 512"/>
              <a:gd name="T70" fmla="*/ 98 w 512"/>
              <a:gd name="T71" fmla="*/ 369 h 512"/>
              <a:gd name="T72" fmla="*/ 100 w 512"/>
              <a:gd name="T73" fmla="*/ 371 h 512"/>
              <a:gd name="T74" fmla="*/ 106 w 512"/>
              <a:gd name="T75" fmla="*/ 373 h 512"/>
              <a:gd name="T76" fmla="*/ 106 w 512"/>
              <a:gd name="T77" fmla="*/ 373 h 512"/>
              <a:gd name="T78" fmla="*/ 106 w 512"/>
              <a:gd name="T79" fmla="*/ 373 h 512"/>
              <a:gd name="T80" fmla="*/ 362 w 512"/>
              <a:gd name="T81" fmla="*/ 373 h 512"/>
              <a:gd name="T82" fmla="*/ 373 w 512"/>
              <a:gd name="T83" fmla="*/ 365 h 512"/>
              <a:gd name="T84" fmla="*/ 415 w 512"/>
              <a:gd name="T85" fmla="*/ 216 h 512"/>
              <a:gd name="T86" fmla="*/ 414 w 512"/>
              <a:gd name="T87" fmla="*/ 2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0" y="209"/>
                </a:moveTo>
                <a:cubicBezTo>
                  <a:pt x="117" y="301"/>
                  <a:pt x="117" y="301"/>
                  <a:pt x="117" y="301"/>
                </a:cubicBezTo>
                <a:cubicBezTo>
                  <a:pt x="117" y="160"/>
                  <a:pt x="117" y="160"/>
                  <a:pt x="117" y="160"/>
                </a:cubicBezTo>
                <a:cubicBezTo>
                  <a:pt x="166" y="160"/>
                  <a:pt x="166" y="160"/>
                  <a:pt x="166" y="160"/>
                </a:cubicBezTo>
                <a:cubicBezTo>
                  <a:pt x="184" y="178"/>
                  <a:pt x="184" y="178"/>
                  <a:pt x="184" y="178"/>
                </a:cubicBezTo>
                <a:cubicBezTo>
                  <a:pt x="186" y="180"/>
                  <a:pt x="189" y="181"/>
                  <a:pt x="192" y="181"/>
                </a:cubicBezTo>
                <a:cubicBezTo>
                  <a:pt x="352" y="181"/>
                  <a:pt x="352" y="181"/>
                  <a:pt x="352" y="181"/>
                </a:cubicBezTo>
                <a:cubicBezTo>
                  <a:pt x="352" y="202"/>
                  <a:pt x="352" y="202"/>
                  <a:pt x="352" y="202"/>
                </a:cubicBezTo>
                <a:cubicBezTo>
                  <a:pt x="160" y="202"/>
                  <a:pt x="160" y="202"/>
                  <a:pt x="160" y="202"/>
                </a:cubicBezTo>
                <a:cubicBezTo>
                  <a:pt x="155" y="202"/>
                  <a:pt x="151" y="205"/>
                  <a:pt x="150" y="209"/>
                </a:cubicBezTo>
                <a:close/>
                <a:moveTo>
                  <a:pt x="121" y="352"/>
                </a:moveTo>
                <a:cubicBezTo>
                  <a:pt x="354" y="352"/>
                  <a:pt x="354" y="352"/>
                  <a:pt x="354" y="352"/>
                </a:cubicBezTo>
                <a:cubicBezTo>
                  <a:pt x="391" y="224"/>
                  <a:pt x="391" y="224"/>
                  <a:pt x="391" y="224"/>
                </a:cubicBezTo>
                <a:cubicBezTo>
                  <a:pt x="167" y="224"/>
                  <a:pt x="167" y="224"/>
                  <a:pt x="167" y="224"/>
                </a:cubicBezTo>
                <a:lnTo>
                  <a:pt x="12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07"/>
                </a:moveTo>
                <a:cubicBezTo>
                  <a:pt x="412" y="204"/>
                  <a:pt x="408" y="202"/>
                  <a:pt x="405" y="202"/>
                </a:cubicBezTo>
                <a:cubicBezTo>
                  <a:pt x="373" y="202"/>
                  <a:pt x="373" y="202"/>
                  <a:pt x="373" y="202"/>
                </a:cubicBezTo>
                <a:cubicBezTo>
                  <a:pt x="373" y="170"/>
                  <a:pt x="373" y="170"/>
                  <a:pt x="373" y="170"/>
                </a:cubicBezTo>
                <a:cubicBezTo>
                  <a:pt x="373" y="164"/>
                  <a:pt x="368" y="160"/>
                  <a:pt x="362" y="160"/>
                </a:cubicBezTo>
                <a:cubicBezTo>
                  <a:pt x="196" y="160"/>
                  <a:pt x="196" y="160"/>
                  <a:pt x="196" y="160"/>
                </a:cubicBezTo>
                <a:cubicBezTo>
                  <a:pt x="178" y="141"/>
                  <a:pt x="178" y="141"/>
                  <a:pt x="178" y="141"/>
                </a:cubicBezTo>
                <a:cubicBezTo>
                  <a:pt x="176" y="139"/>
                  <a:pt x="173" y="138"/>
                  <a:pt x="170" y="138"/>
                </a:cubicBezTo>
                <a:cubicBezTo>
                  <a:pt x="106" y="138"/>
                  <a:pt x="106" y="138"/>
                  <a:pt x="106" y="138"/>
                </a:cubicBezTo>
                <a:cubicBezTo>
                  <a:pt x="100" y="138"/>
                  <a:pt x="96" y="143"/>
                  <a:pt x="96" y="149"/>
                </a:cubicBezTo>
                <a:cubicBezTo>
                  <a:pt x="96" y="362"/>
                  <a:pt x="96" y="362"/>
                  <a:pt x="96" y="362"/>
                </a:cubicBezTo>
                <a:cubicBezTo>
                  <a:pt x="96" y="362"/>
                  <a:pt x="96" y="362"/>
                  <a:pt x="96" y="362"/>
                </a:cubicBezTo>
                <a:cubicBezTo>
                  <a:pt x="96" y="362"/>
                  <a:pt x="96" y="362"/>
                  <a:pt x="96" y="362"/>
                </a:cubicBezTo>
                <a:cubicBezTo>
                  <a:pt x="96" y="365"/>
                  <a:pt x="97" y="367"/>
                  <a:pt x="98" y="369"/>
                </a:cubicBezTo>
                <a:cubicBezTo>
                  <a:pt x="98" y="369"/>
                  <a:pt x="98" y="369"/>
                  <a:pt x="98" y="369"/>
                </a:cubicBezTo>
                <a:cubicBezTo>
                  <a:pt x="98" y="369"/>
                  <a:pt x="98" y="369"/>
                  <a:pt x="98" y="369"/>
                </a:cubicBezTo>
                <a:cubicBezTo>
                  <a:pt x="99" y="370"/>
                  <a:pt x="100" y="370"/>
                  <a:pt x="100" y="371"/>
                </a:cubicBezTo>
                <a:cubicBezTo>
                  <a:pt x="102" y="372"/>
                  <a:pt x="104" y="373"/>
                  <a:pt x="106" y="373"/>
                </a:cubicBezTo>
                <a:cubicBezTo>
                  <a:pt x="106" y="373"/>
                  <a:pt x="106" y="373"/>
                  <a:pt x="106" y="373"/>
                </a:cubicBezTo>
                <a:cubicBezTo>
                  <a:pt x="106" y="373"/>
                  <a:pt x="106" y="373"/>
                  <a:pt x="106" y="373"/>
                </a:cubicBezTo>
                <a:cubicBezTo>
                  <a:pt x="362" y="373"/>
                  <a:pt x="362" y="373"/>
                  <a:pt x="362" y="373"/>
                </a:cubicBezTo>
                <a:cubicBezTo>
                  <a:pt x="367" y="373"/>
                  <a:pt x="371" y="370"/>
                  <a:pt x="373" y="365"/>
                </a:cubicBezTo>
                <a:cubicBezTo>
                  <a:pt x="415" y="216"/>
                  <a:pt x="415" y="216"/>
                  <a:pt x="415" y="216"/>
                </a:cubicBezTo>
                <a:cubicBezTo>
                  <a:pt x="416" y="213"/>
                  <a:pt x="416" y="209"/>
                  <a:pt x="414" y="20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80" name="Group 64"/>
          <p:cNvGrpSpPr>
            <a:grpSpLocks noChangeAspect="1"/>
          </p:cNvGrpSpPr>
          <p:nvPr/>
        </p:nvGrpSpPr>
        <p:grpSpPr bwMode="auto">
          <a:xfrm>
            <a:off x="3329624" y="3356176"/>
            <a:ext cx="369021" cy="369021"/>
            <a:chOff x="5009" y="6"/>
            <a:chExt cx="340" cy="340"/>
          </a:xfrm>
          <a:solidFill>
            <a:schemeClr val="accent1"/>
          </a:solidFill>
        </p:grpSpPr>
        <p:sp>
          <p:nvSpPr>
            <p:cNvPr id="381" name="Freeform 65"/>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Freeform 66"/>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87" name="Group 354"/>
          <p:cNvGrpSpPr>
            <a:grpSpLocks noChangeAspect="1"/>
          </p:cNvGrpSpPr>
          <p:nvPr/>
        </p:nvGrpSpPr>
        <p:grpSpPr bwMode="auto">
          <a:xfrm>
            <a:off x="3748754" y="3356176"/>
            <a:ext cx="367631" cy="367631"/>
            <a:chOff x="5414" y="1190"/>
            <a:chExt cx="340" cy="340"/>
          </a:xfrm>
          <a:solidFill>
            <a:schemeClr val="accent4"/>
          </a:solidFill>
        </p:grpSpPr>
        <p:sp>
          <p:nvSpPr>
            <p:cNvPr id="388" name="Freeform 355"/>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356"/>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Freeform 357"/>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1" name="Group 360"/>
          <p:cNvGrpSpPr>
            <a:grpSpLocks noChangeAspect="1"/>
          </p:cNvGrpSpPr>
          <p:nvPr/>
        </p:nvGrpSpPr>
        <p:grpSpPr bwMode="auto">
          <a:xfrm>
            <a:off x="4159704" y="3356176"/>
            <a:ext cx="367631" cy="367631"/>
            <a:chOff x="5799" y="1235"/>
            <a:chExt cx="340" cy="340"/>
          </a:xfrm>
          <a:solidFill>
            <a:schemeClr val="accent4"/>
          </a:solidFill>
        </p:grpSpPr>
        <p:sp>
          <p:nvSpPr>
            <p:cNvPr id="392" name="Freeform 361"/>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362"/>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8" name="Group 397"/>
          <p:cNvGrpSpPr>
            <a:grpSpLocks noChangeAspect="1"/>
          </p:cNvGrpSpPr>
          <p:nvPr/>
        </p:nvGrpSpPr>
        <p:grpSpPr bwMode="auto">
          <a:xfrm>
            <a:off x="5004019" y="3356176"/>
            <a:ext cx="369676" cy="369676"/>
            <a:chOff x="1153" y="770"/>
            <a:chExt cx="340" cy="340"/>
          </a:xfrm>
          <a:solidFill>
            <a:schemeClr val="accent3"/>
          </a:solidFill>
        </p:grpSpPr>
        <p:sp>
          <p:nvSpPr>
            <p:cNvPr id="399" name="Freeform 276"/>
            <p:cNvSpPr>
              <a:spLocks noEditPoints="1"/>
            </p:cNvSpPr>
            <p:nvPr/>
          </p:nvSpPr>
          <p:spPr bwMode="auto">
            <a:xfrm>
              <a:off x="1153"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Freeform 277"/>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Freeform 278"/>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02" name="Freeform 401"/>
          <p:cNvSpPr>
            <a:spLocks noChangeAspect="1" noEditPoints="1"/>
          </p:cNvSpPr>
          <p:nvPr/>
        </p:nvSpPr>
        <p:spPr bwMode="auto">
          <a:xfrm>
            <a:off x="4584234" y="3356176"/>
            <a:ext cx="369676" cy="369676"/>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03" name="Freeform 615"/>
          <p:cNvSpPr>
            <a:spLocks noChangeAspect="1" noEditPoints="1"/>
          </p:cNvSpPr>
          <p:nvPr/>
        </p:nvSpPr>
        <p:spPr bwMode="auto">
          <a:xfrm>
            <a:off x="5423804" y="3356176"/>
            <a:ext cx="367982" cy="367982"/>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4" name="Group 618"/>
          <p:cNvGrpSpPr>
            <a:grpSpLocks noChangeAspect="1"/>
          </p:cNvGrpSpPr>
          <p:nvPr/>
        </p:nvGrpSpPr>
        <p:grpSpPr bwMode="auto">
          <a:xfrm>
            <a:off x="5841895" y="3356176"/>
            <a:ext cx="367982" cy="367982"/>
            <a:chOff x="4794" y="2594"/>
            <a:chExt cx="340" cy="340"/>
          </a:xfrm>
          <a:solidFill>
            <a:schemeClr val="accent1"/>
          </a:solidFill>
        </p:grpSpPr>
        <p:sp>
          <p:nvSpPr>
            <p:cNvPr id="405" name="Freeform 619"/>
            <p:cNvSpPr>
              <a:spLocks noEditPoints="1"/>
            </p:cNvSpPr>
            <p:nvPr/>
          </p:nvSpPr>
          <p:spPr bwMode="auto">
            <a:xfrm>
              <a:off x="4794" y="25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Freeform 620"/>
            <p:cNvSpPr>
              <a:spLocks noEditPoints="1"/>
            </p:cNvSpPr>
            <p:nvPr/>
          </p:nvSpPr>
          <p:spPr bwMode="auto">
            <a:xfrm>
              <a:off x="4858" y="2714"/>
              <a:ext cx="212" cy="99"/>
            </a:xfrm>
            <a:custGeom>
              <a:avLst/>
              <a:gdLst>
                <a:gd name="T0" fmla="*/ 315 w 320"/>
                <a:gd name="T1" fmla="*/ 3 h 150"/>
                <a:gd name="T2" fmla="*/ 305 w 320"/>
                <a:gd name="T3" fmla="*/ 2 h 150"/>
                <a:gd name="T4" fmla="*/ 202 w 320"/>
                <a:gd name="T5" fmla="*/ 49 h 150"/>
                <a:gd name="T6" fmla="*/ 181 w 320"/>
                <a:gd name="T7" fmla="*/ 33 h 150"/>
                <a:gd name="T8" fmla="*/ 138 w 320"/>
                <a:gd name="T9" fmla="*/ 33 h 150"/>
                <a:gd name="T10" fmla="*/ 118 w 320"/>
                <a:gd name="T11" fmla="*/ 49 h 150"/>
                <a:gd name="T12" fmla="*/ 15 w 320"/>
                <a:gd name="T13" fmla="*/ 2 h 150"/>
                <a:gd name="T14" fmla="*/ 5 w 320"/>
                <a:gd name="T15" fmla="*/ 3 h 150"/>
                <a:gd name="T16" fmla="*/ 0 w 320"/>
                <a:gd name="T17" fmla="*/ 12 h 150"/>
                <a:gd name="T18" fmla="*/ 0 w 320"/>
                <a:gd name="T19" fmla="*/ 140 h 150"/>
                <a:gd name="T20" fmla="*/ 4 w 320"/>
                <a:gd name="T21" fmla="*/ 148 h 150"/>
                <a:gd name="T22" fmla="*/ 10 w 320"/>
                <a:gd name="T23" fmla="*/ 150 h 150"/>
                <a:gd name="T24" fmla="*/ 14 w 320"/>
                <a:gd name="T25" fmla="*/ 150 h 150"/>
                <a:gd name="T26" fmla="*/ 122 w 320"/>
                <a:gd name="T27" fmla="*/ 110 h 150"/>
                <a:gd name="T28" fmla="*/ 138 w 320"/>
                <a:gd name="T29" fmla="*/ 118 h 150"/>
                <a:gd name="T30" fmla="*/ 181 w 320"/>
                <a:gd name="T31" fmla="*/ 118 h 150"/>
                <a:gd name="T32" fmla="*/ 197 w 320"/>
                <a:gd name="T33" fmla="*/ 110 h 150"/>
                <a:gd name="T34" fmla="*/ 305 w 320"/>
                <a:gd name="T35" fmla="*/ 150 h 150"/>
                <a:gd name="T36" fmla="*/ 309 w 320"/>
                <a:gd name="T37" fmla="*/ 150 h 150"/>
                <a:gd name="T38" fmla="*/ 315 w 320"/>
                <a:gd name="T39" fmla="*/ 148 h 150"/>
                <a:gd name="T40" fmla="*/ 320 w 320"/>
                <a:gd name="T41" fmla="*/ 140 h 150"/>
                <a:gd name="T42" fmla="*/ 320 w 320"/>
                <a:gd name="T43" fmla="*/ 12 h 150"/>
                <a:gd name="T44" fmla="*/ 315 w 320"/>
                <a:gd name="T45" fmla="*/ 3 h 150"/>
                <a:gd name="T46" fmla="*/ 21 w 320"/>
                <a:gd name="T47" fmla="*/ 28 h 150"/>
                <a:gd name="T48" fmla="*/ 117 w 320"/>
                <a:gd name="T49" fmla="*/ 72 h 150"/>
                <a:gd name="T50" fmla="*/ 117 w 320"/>
                <a:gd name="T51" fmla="*/ 90 h 150"/>
                <a:gd name="T52" fmla="*/ 21 w 320"/>
                <a:gd name="T53" fmla="*/ 124 h 150"/>
                <a:gd name="T54" fmla="*/ 21 w 320"/>
                <a:gd name="T55" fmla="*/ 28 h 150"/>
                <a:gd name="T56" fmla="*/ 181 w 320"/>
                <a:gd name="T57" fmla="*/ 97 h 150"/>
                <a:gd name="T58" fmla="*/ 138 w 320"/>
                <a:gd name="T59" fmla="*/ 97 h 150"/>
                <a:gd name="T60" fmla="*/ 138 w 320"/>
                <a:gd name="T61" fmla="*/ 54 h 150"/>
                <a:gd name="T62" fmla="*/ 181 w 320"/>
                <a:gd name="T63" fmla="*/ 54 h 150"/>
                <a:gd name="T64" fmla="*/ 181 w 320"/>
                <a:gd name="T65" fmla="*/ 97 h 150"/>
                <a:gd name="T66" fmla="*/ 298 w 320"/>
                <a:gd name="T67" fmla="*/ 124 h 150"/>
                <a:gd name="T68" fmla="*/ 202 w 320"/>
                <a:gd name="T69" fmla="*/ 90 h 150"/>
                <a:gd name="T70" fmla="*/ 202 w 320"/>
                <a:gd name="T71" fmla="*/ 72 h 150"/>
                <a:gd name="T72" fmla="*/ 298 w 320"/>
                <a:gd name="T73" fmla="*/ 28 h 150"/>
                <a:gd name="T74" fmla="*/ 298 w 320"/>
                <a:gd name="T75"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150">
                  <a:moveTo>
                    <a:pt x="315" y="3"/>
                  </a:moveTo>
                  <a:cubicBezTo>
                    <a:pt x="312" y="1"/>
                    <a:pt x="308" y="0"/>
                    <a:pt x="305" y="2"/>
                  </a:cubicBezTo>
                  <a:cubicBezTo>
                    <a:pt x="202" y="49"/>
                    <a:pt x="202" y="49"/>
                    <a:pt x="202" y="49"/>
                  </a:cubicBezTo>
                  <a:cubicBezTo>
                    <a:pt x="199" y="40"/>
                    <a:pt x="191" y="33"/>
                    <a:pt x="181" y="33"/>
                  </a:cubicBezTo>
                  <a:cubicBezTo>
                    <a:pt x="138" y="33"/>
                    <a:pt x="138" y="33"/>
                    <a:pt x="138" y="33"/>
                  </a:cubicBezTo>
                  <a:cubicBezTo>
                    <a:pt x="128" y="33"/>
                    <a:pt x="120" y="40"/>
                    <a:pt x="118" y="49"/>
                  </a:cubicBezTo>
                  <a:cubicBezTo>
                    <a:pt x="15" y="2"/>
                    <a:pt x="15" y="2"/>
                    <a:pt x="15" y="2"/>
                  </a:cubicBezTo>
                  <a:cubicBezTo>
                    <a:pt x="11" y="0"/>
                    <a:pt x="8" y="1"/>
                    <a:pt x="5" y="3"/>
                  </a:cubicBezTo>
                  <a:cubicBezTo>
                    <a:pt x="2" y="5"/>
                    <a:pt x="0" y="8"/>
                    <a:pt x="0" y="12"/>
                  </a:cubicBezTo>
                  <a:cubicBezTo>
                    <a:pt x="0" y="140"/>
                    <a:pt x="0" y="140"/>
                    <a:pt x="0" y="140"/>
                  </a:cubicBezTo>
                  <a:cubicBezTo>
                    <a:pt x="0" y="143"/>
                    <a:pt x="1" y="146"/>
                    <a:pt x="4" y="148"/>
                  </a:cubicBezTo>
                  <a:cubicBezTo>
                    <a:pt x="6" y="150"/>
                    <a:pt x="8" y="150"/>
                    <a:pt x="10" y="150"/>
                  </a:cubicBezTo>
                  <a:cubicBezTo>
                    <a:pt x="12" y="150"/>
                    <a:pt x="13" y="150"/>
                    <a:pt x="14" y="150"/>
                  </a:cubicBezTo>
                  <a:cubicBezTo>
                    <a:pt x="122" y="110"/>
                    <a:pt x="122" y="110"/>
                    <a:pt x="122" y="110"/>
                  </a:cubicBezTo>
                  <a:cubicBezTo>
                    <a:pt x="126" y="115"/>
                    <a:pt x="132" y="118"/>
                    <a:pt x="138" y="118"/>
                  </a:cubicBezTo>
                  <a:cubicBezTo>
                    <a:pt x="181" y="118"/>
                    <a:pt x="181" y="118"/>
                    <a:pt x="181" y="118"/>
                  </a:cubicBezTo>
                  <a:cubicBezTo>
                    <a:pt x="188" y="118"/>
                    <a:pt x="194" y="115"/>
                    <a:pt x="197" y="110"/>
                  </a:cubicBezTo>
                  <a:cubicBezTo>
                    <a:pt x="305" y="150"/>
                    <a:pt x="305" y="150"/>
                    <a:pt x="305" y="150"/>
                  </a:cubicBezTo>
                  <a:cubicBezTo>
                    <a:pt x="307" y="150"/>
                    <a:pt x="308" y="150"/>
                    <a:pt x="309" y="150"/>
                  </a:cubicBezTo>
                  <a:cubicBezTo>
                    <a:pt x="311" y="150"/>
                    <a:pt x="313" y="150"/>
                    <a:pt x="315" y="148"/>
                  </a:cubicBezTo>
                  <a:cubicBezTo>
                    <a:pt x="318" y="146"/>
                    <a:pt x="320" y="143"/>
                    <a:pt x="320" y="140"/>
                  </a:cubicBezTo>
                  <a:cubicBezTo>
                    <a:pt x="320" y="12"/>
                    <a:pt x="320" y="12"/>
                    <a:pt x="320" y="12"/>
                  </a:cubicBezTo>
                  <a:cubicBezTo>
                    <a:pt x="320" y="8"/>
                    <a:pt x="318" y="5"/>
                    <a:pt x="315" y="3"/>
                  </a:cubicBezTo>
                  <a:close/>
                  <a:moveTo>
                    <a:pt x="21" y="28"/>
                  </a:moveTo>
                  <a:cubicBezTo>
                    <a:pt x="117" y="72"/>
                    <a:pt x="117" y="72"/>
                    <a:pt x="117" y="72"/>
                  </a:cubicBezTo>
                  <a:cubicBezTo>
                    <a:pt x="117" y="90"/>
                    <a:pt x="117" y="90"/>
                    <a:pt x="117" y="90"/>
                  </a:cubicBezTo>
                  <a:cubicBezTo>
                    <a:pt x="21" y="124"/>
                    <a:pt x="21" y="124"/>
                    <a:pt x="21" y="124"/>
                  </a:cubicBezTo>
                  <a:lnTo>
                    <a:pt x="21" y="28"/>
                  </a:lnTo>
                  <a:close/>
                  <a:moveTo>
                    <a:pt x="181" y="97"/>
                  </a:moveTo>
                  <a:cubicBezTo>
                    <a:pt x="138" y="97"/>
                    <a:pt x="138" y="97"/>
                    <a:pt x="138" y="97"/>
                  </a:cubicBezTo>
                  <a:cubicBezTo>
                    <a:pt x="138" y="54"/>
                    <a:pt x="138" y="54"/>
                    <a:pt x="138" y="54"/>
                  </a:cubicBezTo>
                  <a:cubicBezTo>
                    <a:pt x="181" y="54"/>
                    <a:pt x="181" y="54"/>
                    <a:pt x="181" y="54"/>
                  </a:cubicBezTo>
                  <a:lnTo>
                    <a:pt x="181" y="97"/>
                  </a:lnTo>
                  <a:close/>
                  <a:moveTo>
                    <a:pt x="298" y="124"/>
                  </a:moveTo>
                  <a:cubicBezTo>
                    <a:pt x="202" y="90"/>
                    <a:pt x="202" y="90"/>
                    <a:pt x="202" y="90"/>
                  </a:cubicBezTo>
                  <a:cubicBezTo>
                    <a:pt x="202" y="72"/>
                    <a:pt x="202" y="72"/>
                    <a:pt x="202" y="72"/>
                  </a:cubicBezTo>
                  <a:cubicBezTo>
                    <a:pt x="298" y="28"/>
                    <a:pt x="298" y="28"/>
                    <a:pt x="298" y="28"/>
                  </a:cubicBezTo>
                  <a:lnTo>
                    <a:pt x="298" y="1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7" name="Group 387"/>
          <p:cNvGrpSpPr>
            <a:grpSpLocks noChangeAspect="1"/>
          </p:cNvGrpSpPr>
          <p:nvPr/>
        </p:nvGrpSpPr>
        <p:grpSpPr bwMode="auto">
          <a:xfrm>
            <a:off x="6679109" y="3356176"/>
            <a:ext cx="369021" cy="369021"/>
            <a:chOff x="7355" y="1558"/>
            <a:chExt cx="340" cy="340"/>
          </a:xfrm>
          <a:solidFill>
            <a:schemeClr val="accent5"/>
          </a:solidFill>
        </p:grpSpPr>
        <p:sp>
          <p:nvSpPr>
            <p:cNvPr id="408" name="Freeform 388"/>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Freeform 389"/>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0" name="Freeform 393"/>
          <p:cNvSpPr>
            <a:spLocks noChangeAspect="1" noEditPoints="1"/>
          </p:cNvSpPr>
          <p:nvPr/>
        </p:nvSpPr>
        <p:spPr bwMode="auto">
          <a:xfrm>
            <a:off x="6259986" y="3356176"/>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1" name="Freeform 589"/>
          <p:cNvSpPr>
            <a:spLocks noChangeAspect="1" noEditPoints="1"/>
          </p:cNvSpPr>
          <p:nvPr/>
        </p:nvSpPr>
        <p:spPr bwMode="auto">
          <a:xfrm>
            <a:off x="2064677" y="2523199"/>
            <a:ext cx="367982" cy="36798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12" name="Group 592"/>
          <p:cNvGrpSpPr>
            <a:grpSpLocks noChangeAspect="1"/>
          </p:cNvGrpSpPr>
          <p:nvPr/>
        </p:nvGrpSpPr>
        <p:grpSpPr bwMode="auto">
          <a:xfrm>
            <a:off x="2482797" y="2523199"/>
            <a:ext cx="367982" cy="369064"/>
            <a:chOff x="2962" y="2760"/>
            <a:chExt cx="340" cy="341"/>
          </a:xfrm>
          <a:solidFill>
            <a:schemeClr val="accent1"/>
          </a:solidFill>
        </p:grpSpPr>
        <p:sp>
          <p:nvSpPr>
            <p:cNvPr id="413" name="Freeform 593"/>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4" name="Freeform 594"/>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5" name="TextBox 414"/>
          <p:cNvSpPr txBox="1"/>
          <p:nvPr/>
        </p:nvSpPr>
        <p:spPr>
          <a:xfrm>
            <a:off x="2037899" y="300244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ook open</a:t>
            </a:r>
          </a:p>
        </p:txBody>
      </p:sp>
      <p:grpSp>
        <p:nvGrpSpPr>
          <p:cNvPr id="416" name="Group 777"/>
          <p:cNvGrpSpPr>
            <a:grpSpLocks noChangeAspect="1"/>
          </p:cNvGrpSpPr>
          <p:nvPr/>
        </p:nvGrpSpPr>
        <p:grpSpPr bwMode="auto">
          <a:xfrm>
            <a:off x="811635" y="4189167"/>
            <a:ext cx="370106" cy="369021"/>
            <a:chOff x="5818" y="3070"/>
            <a:chExt cx="341" cy="340"/>
          </a:xfrm>
          <a:solidFill>
            <a:schemeClr val="accent3"/>
          </a:solidFill>
        </p:grpSpPr>
        <p:sp>
          <p:nvSpPr>
            <p:cNvPr id="417" name="Freeform 778"/>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Freeform 779"/>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9" name="Freeform 783"/>
          <p:cNvSpPr>
            <a:spLocks noChangeAspect="1" noEditPoints="1"/>
          </p:cNvSpPr>
          <p:nvPr/>
        </p:nvSpPr>
        <p:spPr bwMode="auto">
          <a:xfrm>
            <a:off x="393700" y="418916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97" name="TextBox 196"/>
          <p:cNvSpPr txBox="1"/>
          <p:nvPr/>
        </p:nvSpPr>
        <p:spPr>
          <a:xfrm>
            <a:off x="3763433" y="464656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aker</a:t>
            </a:r>
          </a:p>
        </p:txBody>
      </p:sp>
      <p:grpSp>
        <p:nvGrpSpPr>
          <p:cNvPr id="15" name="Group 14"/>
          <p:cNvGrpSpPr>
            <a:grpSpLocks noChangeAspect="1"/>
          </p:cNvGrpSpPr>
          <p:nvPr/>
        </p:nvGrpSpPr>
        <p:grpSpPr>
          <a:xfrm>
            <a:off x="4587667" y="1701457"/>
            <a:ext cx="372673" cy="370800"/>
            <a:chOff x="5672138" y="4513263"/>
            <a:chExt cx="1579562" cy="1571625"/>
          </a:xfrm>
          <a:solidFill>
            <a:schemeClr val="accent2"/>
          </a:solidFill>
        </p:grpSpPr>
        <p:sp>
          <p:nvSpPr>
            <p:cNvPr id="8"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a:grpSpLocks noChangeAspect="1"/>
          </p:cNvGrpSpPr>
          <p:nvPr/>
        </p:nvGrpSpPr>
        <p:grpSpPr>
          <a:xfrm>
            <a:off x="5011006" y="1701457"/>
            <a:ext cx="373042" cy="370800"/>
            <a:chOff x="6537910" y="4611206"/>
            <a:chExt cx="1849437" cy="1838325"/>
          </a:xfrm>
          <a:solidFill>
            <a:schemeClr val="accent2"/>
          </a:solidFill>
        </p:grpSpPr>
        <p:sp>
          <p:nvSpPr>
            <p:cNvPr id="19"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 name="Freeform 5"/>
          <p:cNvSpPr>
            <a:spLocks noChangeAspect="1" noEditPoints="1"/>
          </p:cNvSpPr>
          <p:nvPr/>
        </p:nvSpPr>
        <p:spPr bwMode="auto">
          <a:xfrm>
            <a:off x="3734305" y="4189167"/>
            <a:ext cx="376483" cy="37440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6" name="Group 205"/>
          <p:cNvGrpSpPr>
            <a:grpSpLocks noChangeAspect="1"/>
          </p:cNvGrpSpPr>
          <p:nvPr/>
        </p:nvGrpSpPr>
        <p:grpSpPr>
          <a:xfrm>
            <a:off x="4159704" y="4189167"/>
            <a:ext cx="372873" cy="370800"/>
            <a:chOff x="3441700" y="3584575"/>
            <a:chExt cx="2570163" cy="2555875"/>
          </a:xfrm>
          <a:solidFill>
            <a:schemeClr val="accent3"/>
          </a:solidFill>
        </p:grpSpPr>
        <p:sp>
          <p:nvSpPr>
            <p:cNvPr id="207" name="Freeform 17"/>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8"/>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2334539"/>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tail/food</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85134" y="212123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oon</a:t>
            </a:r>
          </a:p>
        </p:txBody>
      </p:sp>
      <p:sp>
        <p:nvSpPr>
          <p:cNvPr id="423" name="TextBox 422"/>
          <p:cNvSpPr txBox="1"/>
          <p:nvPr/>
        </p:nvSpPr>
        <p:spPr>
          <a:xfrm>
            <a:off x="1213585" y="212197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tew pot</a:t>
            </a:r>
          </a:p>
        </p:txBody>
      </p:sp>
      <p:sp>
        <p:nvSpPr>
          <p:cNvPr id="424" name="TextBox 423"/>
          <p:cNvSpPr txBox="1"/>
          <p:nvPr/>
        </p:nvSpPr>
        <p:spPr>
          <a:xfrm>
            <a:off x="2056853"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ine glass</a:t>
            </a:r>
          </a:p>
        </p:txBody>
      </p:sp>
      <p:sp>
        <p:nvSpPr>
          <p:cNvPr id="425" name="TextBox 424"/>
          <p:cNvSpPr txBox="1"/>
          <p:nvPr/>
        </p:nvSpPr>
        <p:spPr>
          <a:xfrm>
            <a:off x="3737039"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ffee</a:t>
            </a:r>
          </a:p>
        </p:txBody>
      </p:sp>
      <p:sp>
        <p:nvSpPr>
          <p:cNvPr id="426" name="TextBox 425"/>
          <p:cNvSpPr txBox="1"/>
          <p:nvPr/>
        </p:nvSpPr>
        <p:spPr>
          <a:xfrm>
            <a:off x="4577132"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utlery</a:t>
            </a:r>
          </a:p>
        </p:txBody>
      </p:sp>
      <p:sp>
        <p:nvSpPr>
          <p:cNvPr id="427" name="TextBox 426"/>
          <p:cNvSpPr txBox="1"/>
          <p:nvPr/>
        </p:nvSpPr>
        <p:spPr>
          <a:xfrm>
            <a:off x="2896946"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rtini glass</a:t>
            </a:r>
          </a:p>
        </p:txBody>
      </p:sp>
      <p:sp>
        <p:nvSpPr>
          <p:cNvPr id="428" name="TextBox 427"/>
          <p:cNvSpPr txBox="1"/>
          <p:nvPr/>
        </p:nvSpPr>
        <p:spPr>
          <a:xfrm>
            <a:off x="5417225"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pple</a:t>
            </a:r>
          </a:p>
        </p:txBody>
      </p:sp>
      <p:sp>
        <p:nvSpPr>
          <p:cNvPr id="429" name="TextBox 428"/>
          <p:cNvSpPr txBox="1"/>
          <p:nvPr/>
        </p:nvSpPr>
        <p:spPr>
          <a:xfrm>
            <a:off x="7937500" y="2116138"/>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rthday cake</a:t>
            </a:r>
          </a:p>
        </p:txBody>
      </p:sp>
      <p:sp>
        <p:nvSpPr>
          <p:cNvPr id="430" name="TextBox 429"/>
          <p:cNvSpPr txBox="1"/>
          <p:nvPr/>
        </p:nvSpPr>
        <p:spPr>
          <a:xfrm>
            <a:off x="7097411" y="211879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stle and mortar</a:t>
            </a:r>
          </a:p>
        </p:txBody>
      </p:sp>
      <p:sp>
        <p:nvSpPr>
          <p:cNvPr id="431" name="TextBox 430"/>
          <p:cNvSpPr txBox="1"/>
          <p:nvPr/>
        </p:nvSpPr>
        <p:spPr>
          <a:xfrm>
            <a:off x="625731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sh hook</a:t>
            </a:r>
          </a:p>
        </p:txBody>
      </p:sp>
      <p:sp>
        <p:nvSpPr>
          <p:cNvPr id="472" name="TextBox 471"/>
          <p:cNvSpPr txBox="1"/>
          <p:nvPr/>
        </p:nvSpPr>
        <p:spPr>
          <a:xfrm>
            <a:off x="385134" y="295422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 shirt</a:t>
            </a:r>
          </a:p>
        </p:txBody>
      </p:sp>
      <p:sp>
        <p:nvSpPr>
          <p:cNvPr id="473" name="TextBox 472"/>
          <p:cNvSpPr txBox="1"/>
          <p:nvPr/>
        </p:nvSpPr>
        <p:spPr>
          <a:xfrm>
            <a:off x="1215947" y="295422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lly</a:t>
            </a:r>
          </a:p>
        </p:txBody>
      </p:sp>
      <p:sp>
        <p:nvSpPr>
          <p:cNvPr id="474" name="TextBox 473"/>
          <p:cNvSpPr txBox="1"/>
          <p:nvPr/>
        </p:nvSpPr>
        <p:spPr>
          <a:xfrm>
            <a:off x="2061577"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eer</a:t>
            </a:r>
          </a:p>
        </p:txBody>
      </p:sp>
      <p:sp>
        <p:nvSpPr>
          <p:cNvPr id="475" name="TextBox 474"/>
          <p:cNvSpPr txBox="1"/>
          <p:nvPr/>
        </p:nvSpPr>
        <p:spPr>
          <a:xfrm>
            <a:off x="3746487"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ine bottle</a:t>
            </a:r>
          </a:p>
        </p:txBody>
      </p:sp>
      <p:sp>
        <p:nvSpPr>
          <p:cNvPr id="476" name="TextBox 475"/>
          <p:cNvSpPr txBox="1"/>
          <p:nvPr/>
        </p:nvSpPr>
        <p:spPr>
          <a:xfrm>
            <a:off x="4588942"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at hanger</a:t>
            </a:r>
          </a:p>
        </p:txBody>
      </p:sp>
      <p:sp>
        <p:nvSpPr>
          <p:cNvPr id="477" name="TextBox 476"/>
          <p:cNvSpPr txBox="1"/>
          <p:nvPr/>
        </p:nvSpPr>
        <p:spPr>
          <a:xfrm>
            <a:off x="2904032"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eer 2</a:t>
            </a:r>
          </a:p>
        </p:txBody>
      </p:sp>
      <p:sp>
        <p:nvSpPr>
          <p:cNvPr id="478" name="TextBox 477"/>
          <p:cNvSpPr txBox="1"/>
          <p:nvPr/>
        </p:nvSpPr>
        <p:spPr>
          <a:xfrm>
            <a:off x="5431397" y="295422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cktail glass</a:t>
            </a:r>
          </a:p>
        </p:txBody>
      </p:sp>
      <p:sp>
        <p:nvSpPr>
          <p:cNvPr id="479" name="TextBox 478"/>
          <p:cNvSpPr txBox="1"/>
          <p:nvPr/>
        </p:nvSpPr>
        <p:spPr>
          <a:xfrm>
            <a:off x="7958766"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Gift</a:t>
            </a:r>
          </a:p>
        </p:txBody>
      </p:sp>
      <p:sp>
        <p:nvSpPr>
          <p:cNvPr id="480" name="TextBox 479"/>
          <p:cNvSpPr txBox="1"/>
          <p:nvPr/>
        </p:nvSpPr>
        <p:spPr>
          <a:xfrm>
            <a:off x="7116307" y="295422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vel coffee cup</a:t>
            </a:r>
          </a:p>
        </p:txBody>
      </p:sp>
      <p:sp>
        <p:nvSpPr>
          <p:cNvPr id="481" name="TextBox 480"/>
          <p:cNvSpPr txBox="1"/>
          <p:nvPr/>
        </p:nvSpPr>
        <p:spPr>
          <a:xfrm>
            <a:off x="6273852" y="2954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olley</a:t>
            </a:r>
          </a:p>
        </p:txBody>
      </p:sp>
      <p:sp>
        <p:nvSpPr>
          <p:cNvPr id="522" name="TextBox 521"/>
          <p:cNvSpPr txBox="1"/>
          <p:nvPr/>
        </p:nvSpPr>
        <p:spPr>
          <a:xfrm>
            <a:off x="374501" y="383207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redit card</a:t>
            </a:r>
          </a:p>
        </p:txBody>
      </p:sp>
      <p:sp>
        <p:nvSpPr>
          <p:cNvPr id="523" name="TextBox 522"/>
          <p:cNvSpPr txBox="1"/>
          <p:nvPr/>
        </p:nvSpPr>
        <p:spPr>
          <a:xfrm>
            <a:off x="1205616" y="383207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st food</a:t>
            </a:r>
          </a:p>
        </p:txBody>
      </p:sp>
      <p:sp>
        <p:nvSpPr>
          <p:cNvPr id="524" name="TextBox 523"/>
          <p:cNvSpPr txBox="1"/>
          <p:nvPr/>
        </p:nvSpPr>
        <p:spPr>
          <a:xfrm>
            <a:off x="2051548" y="38320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rice tag</a:t>
            </a:r>
          </a:p>
        </p:txBody>
      </p:sp>
      <p:sp>
        <p:nvSpPr>
          <p:cNvPr id="525" name="TextBox 524"/>
          <p:cNvSpPr txBox="1"/>
          <p:nvPr/>
        </p:nvSpPr>
        <p:spPr>
          <a:xfrm>
            <a:off x="3737062" y="38320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ctor</a:t>
            </a:r>
          </a:p>
        </p:txBody>
      </p:sp>
      <p:sp>
        <p:nvSpPr>
          <p:cNvPr id="526" name="TextBox 525"/>
          <p:cNvSpPr txBox="1"/>
          <p:nvPr/>
        </p:nvSpPr>
        <p:spPr>
          <a:xfrm>
            <a:off x="4579819" y="383207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opping bag</a:t>
            </a:r>
          </a:p>
        </p:txBody>
      </p:sp>
      <p:sp>
        <p:nvSpPr>
          <p:cNvPr id="527" name="TextBox 526"/>
          <p:cNvSpPr txBox="1"/>
          <p:nvPr/>
        </p:nvSpPr>
        <p:spPr>
          <a:xfrm>
            <a:off x="2894305" y="38320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amond</a:t>
            </a:r>
          </a:p>
        </p:txBody>
      </p:sp>
      <p:sp>
        <p:nvSpPr>
          <p:cNvPr id="528" name="TextBox 527"/>
          <p:cNvSpPr txBox="1"/>
          <p:nvPr/>
        </p:nvSpPr>
        <p:spPr>
          <a:xfrm>
            <a:off x="5422576" y="383207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opping basket</a:t>
            </a:r>
          </a:p>
        </p:txBody>
      </p:sp>
      <p:grpSp>
        <p:nvGrpSpPr>
          <p:cNvPr id="256" name="Group 199"/>
          <p:cNvGrpSpPr>
            <a:grpSpLocks noChangeAspect="1"/>
          </p:cNvGrpSpPr>
          <p:nvPr/>
        </p:nvGrpSpPr>
        <p:grpSpPr bwMode="auto">
          <a:xfrm>
            <a:off x="827569" y="1697038"/>
            <a:ext cx="369676" cy="369676"/>
            <a:chOff x="7361" y="729"/>
            <a:chExt cx="340" cy="340"/>
          </a:xfrm>
          <a:solidFill>
            <a:schemeClr val="accent3"/>
          </a:solidFill>
        </p:grpSpPr>
        <p:sp>
          <p:nvSpPr>
            <p:cNvPr id="257" name="Freeform 200"/>
            <p:cNvSpPr>
              <a:spLocks noEditPoints="1"/>
            </p:cNvSpPr>
            <p:nvPr/>
          </p:nvSpPr>
          <p:spPr bwMode="auto">
            <a:xfrm>
              <a:off x="7361" y="7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201"/>
            <p:cNvSpPr>
              <a:spLocks noEditPoints="1"/>
            </p:cNvSpPr>
            <p:nvPr/>
          </p:nvSpPr>
          <p:spPr bwMode="auto">
            <a:xfrm>
              <a:off x="7494" y="793"/>
              <a:ext cx="74" cy="212"/>
            </a:xfrm>
            <a:custGeom>
              <a:avLst/>
              <a:gdLst>
                <a:gd name="T0" fmla="*/ 56 w 111"/>
                <a:gd name="T1" fmla="*/ 320 h 320"/>
                <a:gd name="T2" fmla="*/ 24 w 111"/>
                <a:gd name="T3" fmla="*/ 288 h 320"/>
                <a:gd name="T4" fmla="*/ 24 w 111"/>
                <a:gd name="T5" fmla="*/ 128 h 320"/>
                <a:gd name="T6" fmla="*/ 0 w 111"/>
                <a:gd name="T7" fmla="*/ 83 h 320"/>
                <a:gd name="T8" fmla="*/ 56 w 111"/>
                <a:gd name="T9" fmla="*/ 0 h 320"/>
                <a:gd name="T10" fmla="*/ 111 w 111"/>
                <a:gd name="T11" fmla="*/ 83 h 320"/>
                <a:gd name="T12" fmla="*/ 88 w 111"/>
                <a:gd name="T13" fmla="*/ 128 h 320"/>
                <a:gd name="T14" fmla="*/ 88 w 111"/>
                <a:gd name="T15" fmla="*/ 288 h 320"/>
                <a:gd name="T16" fmla="*/ 56 w 111"/>
                <a:gd name="T17" fmla="*/ 320 h 320"/>
                <a:gd name="T18" fmla="*/ 56 w 111"/>
                <a:gd name="T19" fmla="*/ 21 h 320"/>
                <a:gd name="T20" fmla="*/ 21 w 111"/>
                <a:gd name="T21" fmla="*/ 83 h 320"/>
                <a:gd name="T22" fmla="*/ 39 w 111"/>
                <a:gd name="T23" fmla="*/ 113 h 320"/>
                <a:gd name="T24" fmla="*/ 45 w 111"/>
                <a:gd name="T25" fmla="*/ 122 h 320"/>
                <a:gd name="T26" fmla="*/ 45 w 111"/>
                <a:gd name="T27" fmla="*/ 288 h 320"/>
                <a:gd name="T28" fmla="*/ 56 w 111"/>
                <a:gd name="T29" fmla="*/ 298 h 320"/>
                <a:gd name="T30" fmla="*/ 66 w 111"/>
                <a:gd name="T31" fmla="*/ 287 h 320"/>
                <a:gd name="T32" fmla="*/ 66 w 111"/>
                <a:gd name="T33" fmla="*/ 122 h 320"/>
                <a:gd name="T34" fmla="*/ 72 w 111"/>
                <a:gd name="T35" fmla="*/ 113 h 320"/>
                <a:gd name="T36" fmla="*/ 90 w 111"/>
                <a:gd name="T37" fmla="*/ 83 h 320"/>
                <a:gd name="T38" fmla="*/ 56 w 111"/>
                <a:gd name="T3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320">
                  <a:moveTo>
                    <a:pt x="56" y="320"/>
                  </a:moveTo>
                  <a:cubicBezTo>
                    <a:pt x="33" y="320"/>
                    <a:pt x="24" y="301"/>
                    <a:pt x="24" y="288"/>
                  </a:cubicBezTo>
                  <a:cubicBezTo>
                    <a:pt x="24" y="128"/>
                    <a:pt x="24" y="128"/>
                    <a:pt x="24" y="128"/>
                  </a:cubicBezTo>
                  <a:cubicBezTo>
                    <a:pt x="13" y="118"/>
                    <a:pt x="0" y="101"/>
                    <a:pt x="0" y="83"/>
                  </a:cubicBezTo>
                  <a:cubicBezTo>
                    <a:pt x="0" y="53"/>
                    <a:pt x="23" y="0"/>
                    <a:pt x="56" y="0"/>
                  </a:cubicBezTo>
                  <a:cubicBezTo>
                    <a:pt x="88" y="0"/>
                    <a:pt x="111" y="53"/>
                    <a:pt x="111" y="83"/>
                  </a:cubicBezTo>
                  <a:cubicBezTo>
                    <a:pt x="111" y="101"/>
                    <a:pt x="102" y="118"/>
                    <a:pt x="88" y="128"/>
                  </a:cubicBezTo>
                  <a:cubicBezTo>
                    <a:pt x="88" y="288"/>
                    <a:pt x="88" y="288"/>
                    <a:pt x="88" y="288"/>
                  </a:cubicBezTo>
                  <a:cubicBezTo>
                    <a:pt x="87" y="301"/>
                    <a:pt x="78" y="320"/>
                    <a:pt x="56" y="320"/>
                  </a:cubicBezTo>
                  <a:close/>
                  <a:moveTo>
                    <a:pt x="56" y="21"/>
                  </a:moveTo>
                  <a:cubicBezTo>
                    <a:pt x="40" y="21"/>
                    <a:pt x="21" y="59"/>
                    <a:pt x="21" y="83"/>
                  </a:cubicBezTo>
                  <a:cubicBezTo>
                    <a:pt x="21" y="95"/>
                    <a:pt x="28" y="107"/>
                    <a:pt x="39" y="113"/>
                  </a:cubicBezTo>
                  <a:cubicBezTo>
                    <a:pt x="43" y="115"/>
                    <a:pt x="45" y="118"/>
                    <a:pt x="45" y="122"/>
                  </a:cubicBezTo>
                  <a:cubicBezTo>
                    <a:pt x="45" y="288"/>
                    <a:pt x="45" y="288"/>
                    <a:pt x="45" y="288"/>
                  </a:cubicBezTo>
                  <a:cubicBezTo>
                    <a:pt x="45" y="291"/>
                    <a:pt x="47" y="298"/>
                    <a:pt x="56" y="298"/>
                  </a:cubicBezTo>
                  <a:cubicBezTo>
                    <a:pt x="64" y="298"/>
                    <a:pt x="66" y="291"/>
                    <a:pt x="66" y="287"/>
                  </a:cubicBezTo>
                  <a:cubicBezTo>
                    <a:pt x="66" y="122"/>
                    <a:pt x="66" y="122"/>
                    <a:pt x="66" y="122"/>
                  </a:cubicBezTo>
                  <a:cubicBezTo>
                    <a:pt x="66" y="118"/>
                    <a:pt x="68" y="115"/>
                    <a:pt x="72" y="113"/>
                  </a:cubicBezTo>
                  <a:cubicBezTo>
                    <a:pt x="83" y="107"/>
                    <a:pt x="90" y="95"/>
                    <a:pt x="90" y="83"/>
                  </a:cubicBezTo>
                  <a:cubicBezTo>
                    <a:pt x="90" y="59"/>
                    <a:pt x="71" y="21"/>
                    <a:pt x="56"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9" name="Freeform 205"/>
          <p:cNvSpPr>
            <a:spLocks noChangeAspect="1" noEditPoints="1"/>
          </p:cNvSpPr>
          <p:nvPr/>
        </p:nvSpPr>
        <p:spPr bwMode="auto">
          <a:xfrm>
            <a:off x="406400" y="1697038"/>
            <a:ext cx="369676" cy="369676"/>
          </a:xfrm>
          <a:custGeom>
            <a:avLst/>
            <a:gdLst>
              <a:gd name="T0" fmla="*/ 290 w 512"/>
              <a:gd name="T1" fmla="*/ 179 h 512"/>
              <a:gd name="T2" fmla="*/ 272 w 512"/>
              <a:gd name="T3" fmla="*/ 209 h 512"/>
              <a:gd name="T4" fmla="*/ 266 w 512"/>
              <a:gd name="T5" fmla="*/ 218 h 512"/>
              <a:gd name="T6" fmla="*/ 266 w 512"/>
              <a:gd name="T7" fmla="*/ 383 h 512"/>
              <a:gd name="T8" fmla="*/ 256 w 512"/>
              <a:gd name="T9" fmla="*/ 394 h 512"/>
              <a:gd name="T10" fmla="*/ 245 w 512"/>
              <a:gd name="T11" fmla="*/ 384 h 512"/>
              <a:gd name="T12" fmla="*/ 245 w 512"/>
              <a:gd name="T13" fmla="*/ 218 h 512"/>
              <a:gd name="T14" fmla="*/ 239 w 512"/>
              <a:gd name="T15" fmla="*/ 209 h 512"/>
              <a:gd name="T16" fmla="*/ 221 w 512"/>
              <a:gd name="T17" fmla="*/ 179 h 512"/>
              <a:gd name="T18" fmla="*/ 256 w 512"/>
              <a:gd name="T19" fmla="*/ 117 h 512"/>
              <a:gd name="T20" fmla="*/ 290 w 512"/>
              <a:gd name="T21" fmla="*/ 17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11 w 512"/>
              <a:gd name="T33" fmla="*/ 179 h 512"/>
              <a:gd name="T34" fmla="*/ 256 w 512"/>
              <a:gd name="T35" fmla="*/ 96 h 512"/>
              <a:gd name="T36" fmla="*/ 200 w 512"/>
              <a:gd name="T37" fmla="*/ 179 h 512"/>
              <a:gd name="T38" fmla="*/ 224 w 512"/>
              <a:gd name="T39" fmla="*/ 224 h 512"/>
              <a:gd name="T40" fmla="*/ 224 w 512"/>
              <a:gd name="T41" fmla="*/ 384 h 512"/>
              <a:gd name="T42" fmla="*/ 256 w 512"/>
              <a:gd name="T43" fmla="*/ 416 h 512"/>
              <a:gd name="T44" fmla="*/ 288 w 512"/>
              <a:gd name="T45" fmla="*/ 384 h 512"/>
              <a:gd name="T46" fmla="*/ 288 w 512"/>
              <a:gd name="T47" fmla="*/ 224 h 512"/>
              <a:gd name="T48" fmla="*/ 311 w 512"/>
              <a:gd name="T49" fmla="*/ 1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90" y="179"/>
                </a:moveTo>
                <a:cubicBezTo>
                  <a:pt x="290" y="191"/>
                  <a:pt x="283" y="203"/>
                  <a:pt x="272" y="209"/>
                </a:cubicBezTo>
                <a:cubicBezTo>
                  <a:pt x="268" y="211"/>
                  <a:pt x="266" y="214"/>
                  <a:pt x="266" y="218"/>
                </a:cubicBezTo>
                <a:cubicBezTo>
                  <a:pt x="266" y="383"/>
                  <a:pt x="266" y="383"/>
                  <a:pt x="266" y="383"/>
                </a:cubicBezTo>
                <a:cubicBezTo>
                  <a:pt x="266" y="387"/>
                  <a:pt x="264" y="394"/>
                  <a:pt x="256" y="394"/>
                </a:cubicBezTo>
                <a:cubicBezTo>
                  <a:pt x="247" y="394"/>
                  <a:pt x="245" y="387"/>
                  <a:pt x="245" y="384"/>
                </a:cubicBezTo>
                <a:cubicBezTo>
                  <a:pt x="245" y="218"/>
                  <a:pt x="245" y="218"/>
                  <a:pt x="245" y="218"/>
                </a:cubicBezTo>
                <a:cubicBezTo>
                  <a:pt x="245" y="214"/>
                  <a:pt x="243" y="211"/>
                  <a:pt x="239" y="209"/>
                </a:cubicBezTo>
                <a:cubicBezTo>
                  <a:pt x="228" y="203"/>
                  <a:pt x="221" y="191"/>
                  <a:pt x="221" y="179"/>
                </a:cubicBezTo>
                <a:cubicBezTo>
                  <a:pt x="221" y="155"/>
                  <a:pt x="240" y="117"/>
                  <a:pt x="256" y="117"/>
                </a:cubicBezTo>
                <a:cubicBezTo>
                  <a:pt x="271" y="117"/>
                  <a:pt x="290" y="155"/>
                  <a:pt x="290" y="17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11" y="179"/>
                </a:moveTo>
                <a:cubicBezTo>
                  <a:pt x="311" y="149"/>
                  <a:pt x="288" y="96"/>
                  <a:pt x="256" y="96"/>
                </a:cubicBezTo>
                <a:cubicBezTo>
                  <a:pt x="223" y="96"/>
                  <a:pt x="200" y="149"/>
                  <a:pt x="200" y="179"/>
                </a:cubicBezTo>
                <a:cubicBezTo>
                  <a:pt x="200" y="197"/>
                  <a:pt x="213" y="214"/>
                  <a:pt x="224" y="224"/>
                </a:cubicBezTo>
                <a:cubicBezTo>
                  <a:pt x="224" y="384"/>
                  <a:pt x="224" y="384"/>
                  <a:pt x="224" y="384"/>
                </a:cubicBezTo>
                <a:cubicBezTo>
                  <a:pt x="224" y="397"/>
                  <a:pt x="233" y="416"/>
                  <a:pt x="256" y="416"/>
                </a:cubicBezTo>
                <a:cubicBezTo>
                  <a:pt x="278" y="416"/>
                  <a:pt x="287" y="397"/>
                  <a:pt x="288" y="384"/>
                </a:cubicBezTo>
                <a:cubicBezTo>
                  <a:pt x="288" y="224"/>
                  <a:pt x="288" y="224"/>
                  <a:pt x="288" y="224"/>
                </a:cubicBezTo>
                <a:cubicBezTo>
                  <a:pt x="302" y="214"/>
                  <a:pt x="311" y="197"/>
                  <a:pt x="311" y="17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0" name="Freeform 344"/>
          <p:cNvSpPr>
            <a:spLocks noChangeAspect="1" noEditPoints="1"/>
          </p:cNvSpPr>
          <p:nvPr/>
        </p:nvSpPr>
        <p:spPr bwMode="auto">
          <a:xfrm>
            <a:off x="1669907" y="1697038"/>
            <a:ext cx="369676" cy="37076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84 w 512"/>
              <a:gd name="T11" fmla="*/ 266 h 512"/>
              <a:gd name="T12" fmla="*/ 394 w 512"/>
              <a:gd name="T13" fmla="*/ 234 h 512"/>
              <a:gd name="T14" fmla="*/ 362 w 512"/>
              <a:gd name="T15" fmla="*/ 181 h 512"/>
              <a:gd name="T16" fmla="*/ 272 w 512"/>
              <a:gd name="T17" fmla="*/ 175 h 512"/>
              <a:gd name="T18" fmla="*/ 256 w 512"/>
              <a:gd name="T19" fmla="*/ 170 h 512"/>
              <a:gd name="T20" fmla="*/ 240 w 512"/>
              <a:gd name="T21" fmla="*/ 175 h 512"/>
              <a:gd name="T22" fmla="*/ 149 w 512"/>
              <a:gd name="T23" fmla="*/ 181 h 512"/>
              <a:gd name="T24" fmla="*/ 117 w 512"/>
              <a:gd name="T25" fmla="*/ 234 h 512"/>
              <a:gd name="T26" fmla="*/ 128 w 512"/>
              <a:gd name="T27" fmla="*/ 266 h 512"/>
              <a:gd name="T28" fmla="*/ 96 w 512"/>
              <a:gd name="T29" fmla="*/ 277 h 512"/>
              <a:gd name="T30" fmla="*/ 128 w 512"/>
              <a:gd name="T31" fmla="*/ 288 h 512"/>
              <a:gd name="T32" fmla="*/ 179 w 512"/>
              <a:gd name="T33" fmla="*/ 416 h 512"/>
              <a:gd name="T34" fmla="*/ 384 w 512"/>
              <a:gd name="T35" fmla="*/ 367 h 512"/>
              <a:gd name="T36" fmla="*/ 405 w 512"/>
              <a:gd name="T37" fmla="*/ 288 h 512"/>
              <a:gd name="T38" fmla="*/ 405 w 512"/>
              <a:gd name="T39" fmla="*/ 266 h 512"/>
              <a:gd name="T40" fmla="*/ 149 w 512"/>
              <a:gd name="T41" fmla="*/ 202 h 512"/>
              <a:gd name="T42" fmla="*/ 373 w 512"/>
              <a:gd name="T43" fmla="*/ 213 h 512"/>
              <a:gd name="T44" fmla="*/ 138 w 512"/>
              <a:gd name="T45" fmla="*/ 224 h 512"/>
              <a:gd name="T46" fmla="*/ 362 w 512"/>
              <a:gd name="T47" fmla="*/ 367 h 512"/>
              <a:gd name="T48" fmla="*/ 179 w 512"/>
              <a:gd name="T49" fmla="*/ 394 h 512"/>
              <a:gd name="T50" fmla="*/ 149 w 512"/>
              <a:gd name="T51" fmla="*/ 245 h 512"/>
              <a:gd name="T52" fmla="*/ 362 w 512"/>
              <a:gd name="T53" fmla="*/ 367 h 512"/>
              <a:gd name="T54" fmla="*/ 248 w 512"/>
              <a:gd name="T55" fmla="*/ 115 h 512"/>
              <a:gd name="T56" fmla="*/ 262 w 512"/>
              <a:gd name="T57" fmla="*/ 96 h 512"/>
              <a:gd name="T58" fmla="*/ 264 w 512"/>
              <a:gd name="T59" fmla="*/ 129 h 512"/>
              <a:gd name="T60" fmla="*/ 249 w 512"/>
              <a:gd name="T61" fmla="*/ 149 h 512"/>
              <a:gd name="T62" fmla="*/ 279 w 512"/>
              <a:gd name="T63" fmla="*/ 149 h 512"/>
              <a:gd name="T64" fmla="*/ 297 w 512"/>
              <a:gd name="T65" fmla="*/ 106 h 512"/>
              <a:gd name="T66" fmla="*/ 318 w 512"/>
              <a:gd name="T67" fmla="*/ 106 h 512"/>
              <a:gd name="T68" fmla="*/ 300 w 512"/>
              <a:gd name="T69" fmla="*/ 149 h 512"/>
              <a:gd name="T70" fmla="*/ 279 w 512"/>
              <a:gd name="T71" fmla="*/ 149 h 512"/>
              <a:gd name="T72" fmla="*/ 205 w 512"/>
              <a:gd name="T73" fmla="*/ 121 h 512"/>
              <a:gd name="T74" fmla="*/ 222 w 512"/>
              <a:gd name="T75" fmla="*/ 96 h 512"/>
              <a:gd name="T76" fmla="*/ 221 w 512"/>
              <a:gd name="T77" fmla="*/ 135 h 512"/>
              <a:gd name="T78" fmla="*/ 204 w 512"/>
              <a:gd name="T7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ubicBezTo>
                  <a:pt x="416" y="271"/>
                  <a:pt x="411" y="266"/>
                  <a:pt x="405" y="266"/>
                </a:cubicBezTo>
                <a:close/>
                <a:moveTo>
                  <a:pt x="138" y="213"/>
                </a:moveTo>
                <a:cubicBezTo>
                  <a:pt x="138" y="207"/>
                  <a:pt x="143" y="202"/>
                  <a:pt x="149" y="202"/>
                </a:cubicBezTo>
                <a:cubicBezTo>
                  <a:pt x="362" y="202"/>
                  <a:pt x="362" y="202"/>
                  <a:pt x="362" y="202"/>
                </a:cubicBezTo>
                <a:cubicBezTo>
                  <a:pt x="368" y="202"/>
                  <a:pt x="373" y="207"/>
                  <a:pt x="373" y="213"/>
                </a:cubicBezTo>
                <a:cubicBezTo>
                  <a:pt x="373" y="224"/>
                  <a:pt x="373" y="224"/>
                  <a:pt x="373" y="224"/>
                </a:cubicBezTo>
                <a:cubicBezTo>
                  <a:pt x="138" y="224"/>
                  <a:pt x="138" y="224"/>
                  <a:pt x="138" y="224"/>
                </a:cubicBezTo>
                <a:lnTo>
                  <a:pt x="138" y="213"/>
                </a:lnTo>
                <a:close/>
                <a:moveTo>
                  <a:pt x="362" y="367"/>
                </a:moveTo>
                <a:cubicBezTo>
                  <a:pt x="362" y="382"/>
                  <a:pt x="349" y="394"/>
                  <a:pt x="332" y="394"/>
                </a:cubicBezTo>
                <a:cubicBezTo>
                  <a:pt x="179" y="394"/>
                  <a:pt x="179" y="394"/>
                  <a:pt x="179" y="394"/>
                </a:cubicBezTo>
                <a:cubicBezTo>
                  <a:pt x="163" y="394"/>
                  <a:pt x="149" y="382"/>
                  <a:pt x="149" y="367"/>
                </a:cubicBezTo>
                <a:cubicBezTo>
                  <a:pt x="149" y="245"/>
                  <a:pt x="149" y="245"/>
                  <a:pt x="149" y="245"/>
                </a:cubicBezTo>
                <a:cubicBezTo>
                  <a:pt x="362" y="245"/>
                  <a:pt x="362" y="245"/>
                  <a:pt x="362" y="245"/>
                </a:cubicBezTo>
                <a:lnTo>
                  <a:pt x="362" y="367"/>
                </a:lnTo>
                <a:close/>
                <a:moveTo>
                  <a:pt x="238" y="138"/>
                </a:moveTo>
                <a:cubicBezTo>
                  <a:pt x="238" y="126"/>
                  <a:pt x="244" y="120"/>
                  <a:pt x="248" y="115"/>
                </a:cubicBezTo>
                <a:cubicBezTo>
                  <a:pt x="250" y="112"/>
                  <a:pt x="252" y="110"/>
                  <a:pt x="252" y="106"/>
                </a:cubicBezTo>
                <a:cubicBezTo>
                  <a:pt x="252" y="100"/>
                  <a:pt x="256" y="96"/>
                  <a:pt x="262" y="96"/>
                </a:cubicBezTo>
                <a:cubicBezTo>
                  <a:pt x="268" y="96"/>
                  <a:pt x="273" y="100"/>
                  <a:pt x="273" y="106"/>
                </a:cubicBezTo>
                <a:cubicBezTo>
                  <a:pt x="273" y="118"/>
                  <a:pt x="268" y="125"/>
                  <a:pt x="264" y="129"/>
                </a:cubicBezTo>
                <a:cubicBezTo>
                  <a:pt x="261" y="133"/>
                  <a:pt x="260" y="134"/>
                  <a:pt x="260" y="138"/>
                </a:cubicBezTo>
                <a:cubicBezTo>
                  <a:pt x="260" y="144"/>
                  <a:pt x="255" y="149"/>
                  <a:pt x="249" y="149"/>
                </a:cubicBezTo>
                <a:cubicBezTo>
                  <a:pt x="243" y="149"/>
                  <a:pt x="238" y="144"/>
                  <a:pt x="238" y="138"/>
                </a:cubicBezTo>
                <a:close/>
                <a:moveTo>
                  <a:pt x="279" y="149"/>
                </a:moveTo>
                <a:cubicBezTo>
                  <a:pt x="279" y="134"/>
                  <a:pt x="285" y="127"/>
                  <a:pt x="290" y="121"/>
                </a:cubicBezTo>
                <a:cubicBezTo>
                  <a:pt x="294" y="116"/>
                  <a:pt x="297" y="113"/>
                  <a:pt x="297" y="106"/>
                </a:cubicBezTo>
                <a:cubicBezTo>
                  <a:pt x="297" y="100"/>
                  <a:pt x="301" y="96"/>
                  <a:pt x="307" y="96"/>
                </a:cubicBezTo>
                <a:cubicBezTo>
                  <a:pt x="313" y="96"/>
                  <a:pt x="318" y="100"/>
                  <a:pt x="318" y="106"/>
                </a:cubicBezTo>
                <a:cubicBezTo>
                  <a:pt x="318" y="121"/>
                  <a:pt x="311" y="129"/>
                  <a:pt x="307" y="135"/>
                </a:cubicBezTo>
                <a:cubicBezTo>
                  <a:pt x="302" y="139"/>
                  <a:pt x="300" y="142"/>
                  <a:pt x="300" y="149"/>
                </a:cubicBezTo>
                <a:cubicBezTo>
                  <a:pt x="300" y="155"/>
                  <a:pt x="295" y="160"/>
                  <a:pt x="289" y="160"/>
                </a:cubicBezTo>
                <a:cubicBezTo>
                  <a:pt x="283" y="160"/>
                  <a:pt x="279" y="155"/>
                  <a:pt x="279" y="149"/>
                </a:cubicBezTo>
                <a:close/>
                <a:moveTo>
                  <a:pt x="193" y="149"/>
                </a:moveTo>
                <a:cubicBezTo>
                  <a:pt x="193" y="134"/>
                  <a:pt x="200" y="127"/>
                  <a:pt x="205" y="121"/>
                </a:cubicBezTo>
                <a:cubicBezTo>
                  <a:pt x="209" y="116"/>
                  <a:pt x="211" y="113"/>
                  <a:pt x="211" y="106"/>
                </a:cubicBezTo>
                <a:cubicBezTo>
                  <a:pt x="211" y="100"/>
                  <a:pt x="216" y="96"/>
                  <a:pt x="222" y="96"/>
                </a:cubicBezTo>
                <a:cubicBezTo>
                  <a:pt x="228" y="96"/>
                  <a:pt x="233" y="100"/>
                  <a:pt x="233" y="106"/>
                </a:cubicBezTo>
                <a:cubicBezTo>
                  <a:pt x="233" y="121"/>
                  <a:pt x="226" y="129"/>
                  <a:pt x="221" y="135"/>
                </a:cubicBezTo>
                <a:cubicBezTo>
                  <a:pt x="217" y="139"/>
                  <a:pt x="215" y="142"/>
                  <a:pt x="215" y="149"/>
                </a:cubicBezTo>
                <a:cubicBezTo>
                  <a:pt x="215" y="155"/>
                  <a:pt x="210" y="160"/>
                  <a:pt x="204" y="160"/>
                </a:cubicBezTo>
                <a:cubicBezTo>
                  <a:pt x="198" y="160"/>
                  <a:pt x="193" y="155"/>
                  <a:pt x="193" y="14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1" name="Freeform 348"/>
          <p:cNvSpPr>
            <a:spLocks noChangeAspect="1" noEditPoints="1"/>
          </p:cNvSpPr>
          <p:nvPr/>
        </p:nvSpPr>
        <p:spPr bwMode="auto">
          <a:xfrm>
            <a:off x="1248738" y="1697038"/>
            <a:ext cx="369676" cy="369676"/>
          </a:xfrm>
          <a:custGeom>
            <a:avLst/>
            <a:gdLst>
              <a:gd name="T0" fmla="*/ 373 w 512"/>
              <a:gd name="T1" fmla="*/ 224 h 512"/>
              <a:gd name="T2" fmla="*/ 138 w 512"/>
              <a:gd name="T3" fmla="*/ 213 h 512"/>
              <a:gd name="T4" fmla="*/ 362 w 512"/>
              <a:gd name="T5" fmla="*/ 202 h 512"/>
              <a:gd name="T6" fmla="*/ 149 w 512"/>
              <a:gd name="T7" fmla="*/ 367 h 512"/>
              <a:gd name="T8" fmla="*/ 332 w 512"/>
              <a:gd name="T9" fmla="*/ 394 h 512"/>
              <a:gd name="T10" fmla="*/ 362 w 512"/>
              <a:gd name="T11" fmla="*/ 245 h 512"/>
              <a:gd name="T12" fmla="*/ 149 w 512"/>
              <a:gd name="T13" fmla="*/ 367 h 512"/>
              <a:gd name="T14" fmla="*/ 256 w 512"/>
              <a:gd name="T15" fmla="*/ 512 h 512"/>
              <a:gd name="T16" fmla="*/ 256 w 512"/>
              <a:gd name="T17" fmla="*/ 0 h 512"/>
              <a:gd name="T18" fmla="*/ 279 w 512"/>
              <a:gd name="T19" fmla="*/ 149 h 512"/>
              <a:gd name="T20" fmla="*/ 300 w 512"/>
              <a:gd name="T21" fmla="*/ 149 h 512"/>
              <a:gd name="T22" fmla="*/ 318 w 512"/>
              <a:gd name="T23" fmla="*/ 106 h 512"/>
              <a:gd name="T24" fmla="*/ 297 w 512"/>
              <a:gd name="T25" fmla="*/ 106 h 512"/>
              <a:gd name="T26" fmla="*/ 279 w 512"/>
              <a:gd name="T27" fmla="*/ 149 h 512"/>
              <a:gd name="T28" fmla="*/ 249 w 512"/>
              <a:gd name="T29" fmla="*/ 149 h 512"/>
              <a:gd name="T30" fmla="*/ 264 w 512"/>
              <a:gd name="T31" fmla="*/ 129 h 512"/>
              <a:gd name="T32" fmla="*/ 262 w 512"/>
              <a:gd name="T33" fmla="*/ 96 h 512"/>
              <a:gd name="T34" fmla="*/ 248 w 512"/>
              <a:gd name="T35" fmla="*/ 115 h 512"/>
              <a:gd name="T36" fmla="*/ 193 w 512"/>
              <a:gd name="T37" fmla="*/ 149 h 512"/>
              <a:gd name="T38" fmla="*/ 215 w 512"/>
              <a:gd name="T39" fmla="*/ 149 h 512"/>
              <a:gd name="T40" fmla="*/ 233 w 512"/>
              <a:gd name="T41" fmla="*/ 106 h 512"/>
              <a:gd name="T42" fmla="*/ 211 w 512"/>
              <a:gd name="T43" fmla="*/ 106 h 512"/>
              <a:gd name="T44" fmla="*/ 193 w 512"/>
              <a:gd name="T45" fmla="*/ 149 h 512"/>
              <a:gd name="T46" fmla="*/ 405 w 512"/>
              <a:gd name="T47" fmla="*/ 266 h 512"/>
              <a:gd name="T48" fmla="*/ 384 w 512"/>
              <a:gd name="T49" fmla="*/ 245 h 512"/>
              <a:gd name="T50" fmla="*/ 394 w 512"/>
              <a:gd name="T51" fmla="*/ 213 h 512"/>
              <a:gd name="T52" fmla="*/ 275 w 512"/>
              <a:gd name="T53" fmla="*/ 181 h 512"/>
              <a:gd name="T54" fmla="*/ 257 w 512"/>
              <a:gd name="T55" fmla="*/ 170 h 512"/>
              <a:gd name="T56" fmla="*/ 254 w 512"/>
              <a:gd name="T57" fmla="*/ 170 h 512"/>
              <a:gd name="T58" fmla="*/ 236 w 512"/>
              <a:gd name="T59" fmla="*/ 181 h 512"/>
              <a:gd name="T60" fmla="*/ 117 w 512"/>
              <a:gd name="T61" fmla="*/ 213 h 512"/>
              <a:gd name="T62" fmla="*/ 128 w 512"/>
              <a:gd name="T63" fmla="*/ 245 h 512"/>
              <a:gd name="T64" fmla="*/ 106 w 512"/>
              <a:gd name="T65" fmla="*/ 266 h 512"/>
              <a:gd name="T66" fmla="*/ 106 w 512"/>
              <a:gd name="T67" fmla="*/ 288 h 512"/>
              <a:gd name="T68" fmla="*/ 128 w 512"/>
              <a:gd name="T69" fmla="*/ 367 h 512"/>
              <a:gd name="T70" fmla="*/ 332 w 512"/>
              <a:gd name="T71" fmla="*/ 416 h 512"/>
              <a:gd name="T72" fmla="*/ 384 w 512"/>
              <a:gd name="T73" fmla="*/ 288 h 512"/>
              <a:gd name="T74" fmla="*/ 416 w 512"/>
              <a:gd name="T7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73" y="213"/>
                </a:moveTo>
                <a:cubicBezTo>
                  <a:pt x="373" y="224"/>
                  <a:pt x="373" y="224"/>
                  <a:pt x="373" y="224"/>
                </a:cubicBezTo>
                <a:cubicBezTo>
                  <a:pt x="138" y="224"/>
                  <a:pt x="138" y="224"/>
                  <a:pt x="138" y="224"/>
                </a:cubicBezTo>
                <a:cubicBezTo>
                  <a:pt x="138" y="213"/>
                  <a:pt x="138" y="213"/>
                  <a:pt x="138" y="213"/>
                </a:cubicBezTo>
                <a:cubicBezTo>
                  <a:pt x="138" y="207"/>
                  <a:pt x="143" y="202"/>
                  <a:pt x="149" y="202"/>
                </a:cubicBezTo>
                <a:cubicBezTo>
                  <a:pt x="362" y="202"/>
                  <a:pt x="362" y="202"/>
                  <a:pt x="362" y="202"/>
                </a:cubicBezTo>
                <a:cubicBezTo>
                  <a:pt x="368" y="202"/>
                  <a:pt x="373" y="207"/>
                  <a:pt x="373" y="213"/>
                </a:cubicBezTo>
                <a:close/>
                <a:moveTo>
                  <a:pt x="149" y="367"/>
                </a:moveTo>
                <a:cubicBezTo>
                  <a:pt x="149" y="382"/>
                  <a:pt x="163" y="394"/>
                  <a:pt x="179" y="394"/>
                </a:cubicBezTo>
                <a:cubicBezTo>
                  <a:pt x="332" y="394"/>
                  <a:pt x="332" y="394"/>
                  <a:pt x="332" y="394"/>
                </a:cubicBezTo>
                <a:cubicBezTo>
                  <a:pt x="349" y="394"/>
                  <a:pt x="362" y="382"/>
                  <a:pt x="362" y="367"/>
                </a:cubicBezTo>
                <a:cubicBezTo>
                  <a:pt x="362" y="245"/>
                  <a:pt x="362" y="245"/>
                  <a:pt x="362" y="245"/>
                </a:cubicBezTo>
                <a:cubicBezTo>
                  <a:pt x="149" y="245"/>
                  <a:pt x="149" y="245"/>
                  <a:pt x="149" y="245"/>
                </a:cubicBezTo>
                <a:lnTo>
                  <a:pt x="149" y="36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9" y="149"/>
                </a:moveTo>
                <a:cubicBezTo>
                  <a:pt x="279" y="155"/>
                  <a:pt x="283" y="160"/>
                  <a:pt x="289" y="160"/>
                </a:cubicBezTo>
                <a:cubicBezTo>
                  <a:pt x="295" y="160"/>
                  <a:pt x="300" y="155"/>
                  <a:pt x="300" y="149"/>
                </a:cubicBezTo>
                <a:cubicBezTo>
                  <a:pt x="300" y="142"/>
                  <a:pt x="302" y="139"/>
                  <a:pt x="307" y="135"/>
                </a:cubicBezTo>
                <a:cubicBezTo>
                  <a:pt x="311" y="129"/>
                  <a:pt x="318" y="121"/>
                  <a:pt x="318" y="106"/>
                </a:cubicBezTo>
                <a:cubicBezTo>
                  <a:pt x="318" y="100"/>
                  <a:pt x="313" y="96"/>
                  <a:pt x="307" y="96"/>
                </a:cubicBezTo>
                <a:cubicBezTo>
                  <a:pt x="301" y="96"/>
                  <a:pt x="297" y="100"/>
                  <a:pt x="297" y="106"/>
                </a:cubicBezTo>
                <a:cubicBezTo>
                  <a:pt x="297" y="113"/>
                  <a:pt x="294" y="116"/>
                  <a:pt x="290" y="121"/>
                </a:cubicBezTo>
                <a:cubicBezTo>
                  <a:pt x="285" y="127"/>
                  <a:pt x="279" y="134"/>
                  <a:pt x="279" y="149"/>
                </a:cubicBezTo>
                <a:close/>
                <a:moveTo>
                  <a:pt x="238" y="138"/>
                </a:moveTo>
                <a:cubicBezTo>
                  <a:pt x="238" y="144"/>
                  <a:pt x="243" y="149"/>
                  <a:pt x="249" y="149"/>
                </a:cubicBezTo>
                <a:cubicBezTo>
                  <a:pt x="255" y="149"/>
                  <a:pt x="260" y="144"/>
                  <a:pt x="260" y="138"/>
                </a:cubicBezTo>
                <a:cubicBezTo>
                  <a:pt x="260" y="134"/>
                  <a:pt x="261" y="133"/>
                  <a:pt x="264" y="129"/>
                </a:cubicBezTo>
                <a:cubicBezTo>
                  <a:pt x="268" y="125"/>
                  <a:pt x="273" y="118"/>
                  <a:pt x="273" y="106"/>
                </a:cubicBezTo>
                <a:cubicBezTo>
                  <a:pt x="273" y="100"/>
                  <a:pt x="268" y="96"/>
                  <a:pt x="262" y="96"/>
                </a:cubicBezTo>
                <a:cubicBezTo>
                  <a:pt x="256" y="96"/>
                  <a:pt x="252" y="100"/>
                  <a:pt x="252" y="106"/>
                </a:cubicBezTo>
                <a:cubicBezTo>
                  <a:pt x="252" y="110"/>
                  <a:pt x="250" y="112"/>
                  <a:pt x="248" y="115"/>
                </a:cubicBezTo>
                <a:cubicBezTo>
                  <a:pt x="244" y="120"/>
                  <a:pt x="238" y="126"/>
                  <a:pt x="238" y="138"/>
                </a:cubicBezTo>
                <a:close/>
                <a:moveTo>
                  <a:pt x="193" y="149"/>
                </a:moveTo>
                <a:cubicBezTo>
                  <a:pt x="193" y="155"/>
                  <a:pt x="198" y="160"/>
                  <a:pt x="204" y="160"/>
                </a:cubicBezTo>
                <a:cubicBezTo>
                  <a:pt x="210" y="160"/>
                  <a:pt x="215" y="155"/>
                  <a:pt x="215" y="149"/>
                </a:cubicBezTo>
                <a:cubicBezTo>
                  <a:pt x="215" y="142"/>
                  <a:pt x="217" y="139"/>
                  <a:pt x="221" y="135"/>
                </a:cubicBezTo>
                <a:cubicBezTo>
                  <a:pt x="226" y="129"/>
                  <a:pt x="233" y="121"/>
                  <a:pt x="233" y="106"/>
                </a:cubicBezTo>
                <a:cubicBezTo>
                  <a:pt x="233" y="100"/>
                  <a:pt x="228" y="96"/>
                  <a:pt x="222" y="96"/>
                </a:cubicBezTo>
                <a:cubicBezTo>
                  <a:pt x="216" y="96"/>
                  <a:pt x="211" y="100"/>
                  <a:pt x="211" y="106"/>
                </a:cubicBezTo>
                <a:cubicBezTo>
                  <a:pt x="211" y="113"/>
                  <a:pt x="209" y="116"/>
                  <a:pt x="205" y="121"/>
                </a:cubicBezTo>
                <a:cubicBezTo>
                  <a:pt x="200" y="127"/>
                  <a:pt x="193" y="134"/>
                  <a:pt x="193" y="149"/>
                </a:cubicBezTo>
                <a:close/>
                <a:moveTo>
                  <a:pt x="416" y="277"/>
                </a:moveTo>
                <a:cubicBezTo>
                  <a:pt x="416" y="271"/>
                  <a:pt x="411" y="266"/>
                  <a:pt x="405" y="266"/>
                </a:cubicBez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2" name="Freeform 865"/>
          <p:cNvSpPr>
            <a:spLocks noChangeAspect="1" noEditPoints="1"/>
          </p:cNvSpPr>
          <p:nvPr/>
        </p:nvSpPr>
        <p:spPr bwMode="auto">
          <a:xfrm>
            <a:off x="2512245" y="1697038"/>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3" name="Freeform 869"/>
          <p:cNvSpPr>
            <a:spLocks noChangeAspect="1" noEditPoints="1"/>
          </p:cNvSpPr>
          <p:nvPr/>
        </p:nvSpPr>
        <p:spPr bwMode="auto">
          <a:xfrm>
            <a:off x="2091076" y="1697038"/>
            <a:ext cx="369676" cy="369676"/>
          </a:xfrm>
          <a:custGeom>
            <a:avLst/>
            <a:gdLst>
              <a:gd name="T0" fmla="*/ 323 w 512"/>
              <a:gd name="T1" fmla="*/ 149 h 512"/>
              <a:gd name="T2" fmla="*/ 330 w 512"/>
              <a:gd name="T3" fmla="*/ 192 h 512"/>
              <a:gd name="T4" fmla="*/ 256 w 512"/>
              <a:gd name="T5" fmla="*/ 266 h 512"/>
              <a:gd name="T6" fmla="*/ 181 w 512"/>
              <a:gd name="T7" fmla="*/ 192 h 512"/>
              <a:gd name="T8" fmla="*/ 188 w 512"/>
              <a:gd name="T9" fmla="*/ 149 h 512"/>
              <a:gd name="T10" fmla="*/ 323 w 512"/>
              <a:gd name="T11" fmla="*/ 149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52 w 512"/>
              <a:gd name="T23" fmla="*/ 192 h 512"/>
              <a:gd name="T24" fmla="*/ 340 w 512"/>
              <a:gd name="T25" fmla="*/ 134 h 512"/>
              <a:gd name="T26" fmla="*/ 331 w 512"/>
              <a:gd name="T27" fmla="*/ 128 h 512"/>
              <a:gd name="T28" fmla="*/ 181 w 512"/>
              <a:gd name="T29" fmla="*/ 128 h 512"/>
              <a:gd name="T30" fmla="*/ 171 w 512"/>
              <a:gd name="T31" fmla="*/ 134 h 512"/>
              <a:gd name="T32" fmla="*/ 160 w 512"/>
              <a:gd name="T33" fmla="*/ 192 h 512"/>
              <a:gd name="T34" fmla="*/ 245 w 512"/>
              <a:gd name="T35" fmla="*/ 287 h 512"/>
              <a:gd name="T36" fmla="*/ 245 w 512"/>
              <a:gd name="T37" fmla="*/ 394 h 512"/>
              <a:gd name="T38" fmla="*/ 213 w 512"/>
              <a:gd name="T39" fmla="*/ 394 h 512"/>
              <a:gd name="T40" fmla="*/ 202 w 512"/>
              <a:gd name="T41" fmla="*/ 405 h 512"/>
              <a:gd name="T42" fmla="*/ 213 w 512"/>
              <a:gd name="T43" fmla="*/ 416 h 512"/>
              <a:gd name="T44" fmla="*/ 298 w 512"/>
              <a:gd name="T45" fmla="*/ 416 h 512"/>
              <a:gd name="T46" fmla="*/ 309 w 512"/>
              <a:gd name="T47" fmla="*/ 405 h 512"/>
              <a:gd name="T48" fmla="*/ 298 w 512"/>
              <a:gd name="T49" fmla="*/ 394 h 512"/>
              <a:gd name="T50" fmla="*/ 266 w 512"/>
              <a:gd name="T51" fmla="*/ 394 h 512"/>
              <a:gd name="T52" fmla="*/ 266 w 512"/>
              <a:gd name="T53" fmla="*/ 287 h 512"/>
              <a:gd name="T54" fmla="*/ 352 w 512"/>
              <a:gd name="T5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92"/>
                </a:moveTo>
                <a:cubicBezTo>
                  <a:pt x="352" y="173"/>
                  <a:pt x="347" y="151"/>
                  <a:pt x="340" y="134"/>
                </a:cubicBezTo>
                <a:cubicBezTo>
                  <a:pt x="338" y="130"/>
                  <a:pt x="335" y="128"/>
                  <a:pt x="331" y="128"/>
                </a:cubicBezTo>
                <a:cubicBezTo>
                  <a:pt x="181" y="128"/>
                  <a:pt x="181" y="128"/>
                  <a:pt x="181" y="128"/>
                </a:cubicBez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4" name="Group 648"/>
          <p:cNvGrpSpPr>
            <a:grpSpLocks noChangeAspect="1"/>
          </p:cNvGrpSpPr>
          <p:nvPr/>
        </p:nvGrpSpPr>
        <p:grpSpPr bwMode="auto">
          <a:xfrm>
            <a:off x="827679" y="2512469"/>
            <a:ext cx="369676" cy="369676"/>
            <a:chOff x="3520" y="2303"/>
            <a:chExt cx="340" cy="340"/>
          </a:xfrm>
          <a:solidFill>
            <a:schemeClr val="accent1"/>
          </a:solidFill>
        </p:grpSpPr>
        <p:sp>
          <p:nvSpPr>
            <p:cNvPr id="265" name="Freeform 649"/>
            <p:cNvSpPr>
              <a:spLocks noEditPoints="1"/>
            </p:cNvSpPr>
            <p:nvPr/>
          </p:nvSpPr>
          <p:spPr bwMode="auto">
            <a:xfrm>
              <a:off x="3583" y="2388"/>
              <a:ext cx="214" cy="177"/>
            </a:xfrm>
            <a:custGeom>
              <a:avLst/>
              <a:gdLst>
                <a:gd name="T0" fmla="*/ 235 w 322"/>
                <a:gd name="T1" fmla="*/ 266 h 266"/>
                <a:gd name="T2" fmla="*/ 86 w 322"/>
                <a:gd name="T3" fmla="*/ 266 h 266"/>
                <a:gd name="T4" fmla="*/ 75 w 322"/>
                <a:gd name="T5" fmla="*/ 256 h 266"/>
                <a:gd name="T6" fmla="*/ 75 w 322"/>
                <a:gd name="T7" fmla="*/ 132 h 266"/>
                <a:gd name="T8" fmla="*/ 62 w 322"/>
                <a:gd name="T9" fmla="*/ 146 h 266"/>
                <a:gd name="T10" fmla="*/ 53 w 322"/>
                <a:gd name="T11" fmla="*/ 149 h 266"/>
                <a:gd name="T12" fmla="*/ 46 w 322"/>
                <a:gd name="T13" fmla="*/ 145 h 266"/>
                <a:gd name="T14" fmla="*/ 3 w 322"/>
                <a:gd name="T15" fmla="*/ 92 h 266"/>
                <a:gd name="T16" fmla="*/ 4 w 322"/>
                <a:gd name="T17" fmla="*/ 77 h 266"/>
                <a:gd name="T18" fmla="*/ 78 w 322"/>
                <a:gd name="T19" fmla="*/ 3 h 266"/>
                <a:gd name="T20" fmla="*/ 86 w 322"/>
                <a:gd name="T21" fmla="*/ 0 h 266"/>
                <a:gd name="T22" fmla="*/ 129 w 322"/>
                <a:gd name="T23" fmla="*/ 0 h 266"/>
                <a:gd name="T24" fmla="*/ 138 w 322"/>
                <a:gd name="T25" fmla="*/ 6 h 266"/>
                <a:gd name="T26" fmla="*/ 161 w 322"/>
                <a:gd name="T27" fmla="*/ 21 h 266"/>
                <a:gd name="T28" fmla="*/ 183 w 322"/>
                <a:gd name="T29" fmla="*/ 6 h 266"/>
                <a:gd name="T30" fmla="*/ 193 w 322"/>
                <a:gd name="T31" fmla="*/ 0 h 266"/>
                <a:gd name="T32" fmla="*/ 235 w 322"/>
                <a:gd name="T33" fmla="*/ 0 h 266"/>
                <a:gd name="T34" fmla="*/ 243 w 322"/>
                <a:gd name="T35" fmla="*/ 3 h 266"/>
                <a:gd name="T36" fmla="*/ 318 w 322"/>
                <a:gd name="T37" fmla="*/ 77 h 266"/>
                <a:gd name="T38" fmla="*/ 318 w 322"/>
                <a:gd name="T39" fmla="*/ 92 h 266"/>
                <a:gd name="T40" fmla="*/ 276 w 322"/>
                <a:gd name="T41" fmla="*/ 145 h 266"/>
                <a:gd name="T42" fmla="*/ 268 w 322"/>
                <a:gd name="T43" fmla="*/ 149 h 266"/>
                <a:gd name="T44" fmla="*/ 260 w 322"/>
                <a:gd name="T45" fmla="*/ 146 h 266"/>
                <a:gd name="T46" fmla="*/ 246 w 322"/>
                <a:gd name="T47" fmla="*/ 132 h 266"/>
                <a:gd name="T48" fmla="*/ 246 w 322"/>
                <a:gd name="T49" fmla="*/ 256 h 266"/>
                <a:gd name="T50" fmla="*/ 235 w 322"/>
                <a:gd name="T51" fmla="*/ 266 h 266"/>
                <a:gd name="T52" fmla="*/ 97 w 322"/>
                <a:gd name="T53" fmla="*/ 245 h 266"/>
                <a:gd name="T54" fmla="*/ 225 w 322"/>
                <a:gd name="T55" fmla="*/ 245 h 266"/>
                <a:gd name="T56" fmla="*/ 225 w 322"/>
                <a:gd name="T57" fmla="*/ 106 h 266"/>
                <a:gd name="T58" fmla="*/ 231 w 322"/>
                <a:gd name="T59" fmla="*/ 96 h 266"/>
                <a:gd name="T60" fmla="*/ 243 w 322"/>
                <a:gd name="T61" fmla="*/ 99 h 266"/>
                <a:gd name="T62" fmla="*/ 266 w 322"/>
                <a:gd name="T63" fmla="*/ 122 h 266"/>
                <a:gd name="T64" fmla="*/ 296 w 322"/>
                <a:gd name="T65" fmla="*/ 86 h 266"/>
                <a:gd name="T66" fmla="*/ 231 w 322"/>
                <a:gd name="T67" fmla="*/ 21 h 266"/>
                <a:gd name="T68" fmla="*/ 199 w 322"/>
                <a:gd name="T69" fmla="*/ 21 h 266"/>
                <a:gd name="T70" fmla="*/ 161 w 322"/>
                <a:gd name="T71" fmla="*/ 42 h 266"/>
                <a:gd name="T72" fmla="*/ 122 w 322"/>
                <a:gd name="T73" fmla="*/ 21 h 266"/>
                <a:gd name="T74" fmla="*/ 90 w 322"/>
                <a:gd name="T75" fmla="*/ 21 h 266"/>
                <a:gd name="T76" fmla="*/ 26 w 322"/>
                <a:gd name="T77" fmla="*/ 86 h 266"/>
                <a:gd name="T78" fmla="*/ 55 w 322"/>
                <a:gd name="T79" fmla="*/ 122 h 266"/>
                <a:gd name="T80" fmla="*/ 78 w 322"/>
                <a:gd name="T81" fmla="*/ 99 h 266"/>
                <a:gd name="T82" fmla="*/ 90 w 322"/>
                <a:gd name="T83" fmla="*/ 96 h 266"/>
                <a:gd name="T84" fmla="*/ 97 w 322"/>
                <a:gd name="T85" fmla="*/ 106 h 266"/>
                <a:gd name="T86" fmla="*/ 97 w 322"/>
                <a:gd name="T87" fmla="*/ 24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6">
                  <a:moveTo>
                    <a:pt x="235" y="266"/>
                  </a:moveTo>
                  <a:cubicBezTo>
                    <a:pt x="86" y="266"/>
                    <a:pt x="86" y="266"/>
                    <a:pt x="86" y="266"/>
                  </a:cubicBezTo>
                  <a:cubicBezTo>
                    <a:pt x="80" y="266"/>
                    <a:pt x="75" y="262"/>
                    <a:pt x="75" y="256"/>
                  </a:cubicBezTo>
                  <a:cubicBezTo>
                    <a:pt x="75" y="132"/>
                    <a:pt x="75" y="132"/>
                    <a:pt x="75" y="132"/>
                  </a:cubicBezTo>
                  <a:cubicBezTo>
                    <a:pt x="62" y="146"/>
                    <a:pt x="62" y="146"/>
                    <a:pt x="62" y="146"/>
                  </a:cubicBezTo>
                  <a:cubicBezTo>
                    <a:pt x="59" y="148"/>
                    <a:pt x="56" y="149"/>
                    <a:pt x="53" y="149"/>
                  </a:cubicBezTo>
                  <a:cubicBezTo>
                    <a:pt x="50" y="149"/>
                    <a:pt x="48" y="147"/>
                    <a:pt x="46" y="145"/>
                  </a:cubicBezTo>
                  <a:cubicBezTo>
                    <a:pt x="3" y="92"/>
                    <a:pt x="3" y="92"/>
                    <a:pt x="3" y="92"/>
                  </a:cubicBezTo>
                  <a:cubicBezTo>
                    <a:pt x="0" y="87"/>
                    <a:pt x="0" y="81"/>
                    <a:pt x="4" y="77"/>
                  </a:cubicBezTo>
                  <a:cubicBezTo>
                    <a:pt x="78" y="3"/>
                    <a:pt x="78" y="3"/>
                    <a:pt x="78" y="3"/>
                  </a:cubicBezTo>
                  <a:cubicBezTo>
                    <a:pt x="80" y="1"/>
                    <a:pt x="83" y="0"/>
                    <a:pt x="86" y="0"/>
                  </a:cubicBezTo>
                  <a:cubicBezTo>
                    <a:pt x="129" y="0"/>
                    <a:pt x="129" y="0"/>
                    <a:pt x="129" y="0"/>
                  </a:cubicBezTo>
                  <a:cubicBezTo>
                    <a:pt x="133" y="0"/>
                    <a:pt x="136" y="2"/>
                    <a:pt x="138" y="6"/>
                  </a:cubicBezTo>
                  <a:cubicBezTo>
                    <a:pt x="143" y="16"/>
                    <a:pt x="151" y="21"/>
                    <a:pt x="161" y="21"/>
                  </a:cubicBezTo>
                  <a:cubicBezTo>
                    <a:pt x="171" y="21"/>
                    <a:pt x="178" y="16"/>
                    <a:pt x="183" y="6"/>
                  </a:cubicBezTo>
                  <a:cubicBezTo>
                    <a:pt x="185" y="2"/>
                    <a:pt x="189" y="0"/>
                    <a:pt x="193" y="0"/>
                  </a:cubicBezTo>
                  <a:cubicBezTo>
                    <a:pt x="235" y="0"/>
                    <a:pt x="235" y="0"/>
                    <a:pt x="235" y="0"/>
                  </a:cubicBezTo>
                  <a:cubicBezTo>
                    <a:pt x="238" y="0"/>
                    <a:pt x="241" y="1"/>
                    <a:pt x="243" y="3"/>
                  </a:cubicBezTo>
                  <a:cubicBezTo>
                    <a:pt x="318" y="77"/>
                    <a:pt x="318" y="77"/>
                    <a:pt x="318" y="77"/>
                  </a:cubicBezTo>
                  <a:cubicBezTo>
                    <a:pt x="321" y="81"/>
                    <a:pt x="322" y="87"/>
                    <a:pt x="318" y="92"/>
                  </a:cubicBezTo>
                  <a:cubicBezTo>
                    <a:pt x="276" y="145"/>
                    <a:pt x="276" y="145"/>
                    <a:pt x="276" y="145"/>
                  </a:cubicBezTo>
                  <a:cubicBezTo>
                    <a:pt x="274" y="147"/>
                    <a:pt x="271" y="149"/>
                    <a:pt x="268" y="149"/>
                  </a:cubicBezTo>
                  <a:cubicBezTo>
                    <a:pt x="265" y="149"/>
                    <a:pt x="262" y="148"/>
                    <a:pt x="260" y="146"/>
                  </a:cubicBezTo>
                  <a:cubicBezTo>
                    <a:pt x="246" y="132"/>
                    <a:pt x="246" y="132"/>
                    <a:pt x="246" y="132"/>
                  </a:cubicBezTo>
                  <a:cubicBezTo>
                    <a:pt x="246" y="256"/>
                    <a:pt x="246" y="256"/>
                    <a:pt x="246" y="256"/>
                  </a:cubicBezTo>
                  <a:cubicBezTo>
                    <a:pt x="246" y="262"/>
                    <a:pt x="241" y="266"/>
                    <a:pt x="235" y="266"/>
                  </a:cubicBezTo>
                  <a:close/>
                  <a:moveTo>
                    <a:pt x="97" y="245"/>
                  </a:moveTo>
                  <a:cubicBezTo>
                    <a:pt x="225" y="245"/>
                    <a:pt x="225" y="245"/>
                    <a:pt x="225" y="245"/>
                  </a:cubicBezTo>
                  <a:cubicBezTo>
                    <a:pt x="225" y="106"/>
                    <a:pt x="225" y="106"/>
                    <a:pt x="225" y="106"/>
                  </a:cubicBezTo>
                  <a:cubicBezTo>
                    <a:pt x="225" y="102"/>
                    <a:pt x="227" y="98"/>
                    <a:pt x="231" y="96"/>
                  </a:cubicBezTo>
                  <a:cubicBezTo>
                    <a:pt x="235" y="95"/>
                    <a:pt x="240" y="96"/>
                    <a:pt x="243" y="99"/>
                  </a:cubicBezTo>
                  <a:cubicBezTo>
                    <a:pt x="266" y="122"/>
                    <a:pt x="266" y="122"/>
                    <a:pt x="266" y="122"/>
                  </a:cubicBezTo>
                  <a:cubicBezTo>
                    <a:pt x="296" y="86"/>
                    <a:pt x="296" y="86"/>
                    <a:pt x="296" y="86"/>
                  </a:cubicBezTo>
                  <a:cubicBezTo>
                    <a:pt x="231" y="21"/>
                    <a:pt x="231" y="21"/>
                    <a:pt x="231" y="21"/>
                  </a:cubicBezTo>
                  <a:cubicBezTo>
                    <a:pt x="199" y="21"/>
                    <a:pt x="199" y="21"/>
                    <a:pt x="199" y="21"/>
                  </a:cubicBezTo>
                  <a:cubicBezTo>
                    <a:pt x="190" y="35"/>
                    <a:pt x="177" y="42"/>
                    <a:pt x="161" y="42"/>
                  </a:cubicBezTo>
                  <a:cubicBezTo>
                    <a:pt x="145" y="42"/>
                    <a:pt x="131" y="35"/>
                    <a:pt x="122" y="21"/>
                  </a:cubicBezTo>
                  <a:cubicBezTo>
                    <a:pt x="90" y="21"/>
                    <a:pt x="90" y="21"/>
                    <a:pt x="90" y="21"/>
                  </a:cubicBezTo>
                  <a:cubicBezTo>
                    <a:pt x="26" y="86"/>
                    <a:pt x="26" y="86"/>
                    <a:pt x="26" y="86"/>
                  </a:cubicBezTo>
                  <a:cubicBezTo>
                    <a:pt x="55" y="122"/>
                    <a:pt x="55" y="122"/>
                    <a:pt x="55" y="122"/>
                  </a:cubicBezTo>
                  <a:cubicBezTo>
                    <a:pt x="78" y="99"/>
                    <a:pt x="78" y="99"/>
                    <a:pt x="78" y="99"/>
                  </a:cubicBezTo>
                  <a:cubicBezTo>
                    <a:pt x="82" y="96"/>
                    <a:pt x="86" y="95"/>
                    <a:pt x="90" y="96"/>
                  </a:cubicBezTo>
                  <a:cubicBezTo>
                    <a:pt x="94" y="98"/>
                    <a:pt x="97" y="102"/>
                    <a:pt x="97" y="106"/>
                  </a:cubicBezTo>
                  <a:lnTo>
                    <a:pt x="97"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650"/>
            <p:cNvSpPr>
              <a:spLocks noEditPoints="1"/>
            </p:cNvSpPr>
            <p:nvPr/>
          </p:nvSpPr>
          <p:spPr bwMode="auto">
            <a:xfrm>
              <a:off x="3520" y="2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7" name="Freeform 654"/>
          <p:cNvSpPr>
            <a:spLocks noChangeAspect="1" noEditPoints="1"/>
          </p:cNvSpPr>
          <p:nvPr/>
        </p:nvSpPr>
        <p:spPr bwMode="auto">
          <a:xfrm>
            <a:off x="406400" y="251246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220 h 512"/>
              <a:gd name="T12" fmla="*/ 371 w 512"/>
              <a:gd name="T13" fmla="*/ 273 h 512"/>
              <a:gd name="T14" fmla="*/ 363 w 512"/>
              <a:gd name="T15" fmla="*/ 277 h 512"/>
              <a:gd name="T16" fmla="*/ 355 w 512"/>
              <a:gd name="T17" fmla="*/ 274 h 512"/>
              <a:gd name="T18" fmla="*/ 341 w 512"/>
              <a:gd name="T19" fmla="*/ 260 h 512"/>
              <a:gd name="T20" fmla="*/ 341 w 512"/>
              <a:gd name="T21" fmla="*/ 384 h 512"/>
              <a:gd name="T22" fmla="*/ 330 w 512"/>
              <a:gd name="T23" fmla="*/ 394 h 512"/>
              <a:gd name="T24" fmla="*/ 181 w 512"/>
              <a:gd name="T25" fmla="*/ 394 h 512"/>
              <a:gd name="T26" fmla="*/ 170 w 512"/>
              <a:gd name="T27" fmla="*/ 384 h 512"/>
              <a:gd name="T28" fmla="*/ 170 w 512"/>
              <a:gd name="T29" fmla="*/ 260 h 512"/>
              <a:gd name="T30" fmla="*/ 157 w 512"/>
              <a:gd name="T31" fmla="*/ 274 h 512"/>
              <a:gd name="T32" fmla="*/ 148 w 512"/>
              <a:gd name="T33" fmla="*/ 277 h 512"/>
              <a:gd name="T34" fmla="*/ 141 w 512"/>
              <a:gd name="T35" fmla="*/ 273 h 512"/>
              <a:gd name="T36" fmla="*/ 98 w 512"/>
              <a:gd name="T37" fmla="*/ 220 h 512"/>
              <a:gd name="T38" fmla="*/ 99 w 512"/>
              <a:gd name="T39" fmla="*/ 205 h 512"/>
              <a:gd name="T40" fmla="*/ 173 w 512"/>
              <a:gd name="T41" fmla="*/ 131 h 512"/>
              <a:gd name="T42" fmla="*/ 181 w 512"/>
              <a:gd name="T43" fmla="*/ 128 h 512"/>
              <a:gd name="T44" fmla="*/ 224 w 512"/>
              <a:gd name="T45" fmla="*/ 128 h 512"/>
              <a:gd name="T46" fmla="*/ 233 w 512"/>
              <a:gd name="T47" fmla="*/ 134 h 512"/>
              <a:gd name="T48" fmla="*/ 256 w 512"/>
              <a:gd name="T49" fmla="*/ 149 h 512"/>
              <a:gd name="T50" fmla="*/ 278 w 512"/>
              <a:gd name="T51" fmla="*/ 134 h 512"/>
              <a:gd name="T52" fmla="*/ 288 w 512"/>
              <a:gd name="T53" fmla="*/ 128 h 512"/>
              <a:gd name="T54" fmla="*/ 330 w 512"/>
              <a:gd name="T55" fmla="*/ 128 h 512"/>
              <a:gd name="T56" fmla="*/ 338 w 512"/>
              <a:gd name="T57" fmla="*/ 131 h 512"/>
              <a:gd name="T58" fmla="*/ 413 w 512"/>
              <a:gd name="T59" fmla="*/ 205 h 512"/>
              <a:gd name="T60" fmla="*/ 413 w 512"/>
              <a:gd name="T61" fmla="*/ 220 h 512"/>
              <a:gd name="T62" fmla="*/ 326 w 512"/>
              <a:gd name="T63" fmla="*/ 149 h 512"/>
              <a:gd name="T64" fmla="*/ 391 w 512"/>
              <a:gd name="T65" fmla="*/ 214 h 512"/>
              <a:gd name="T66" fmla="*/ 361 w 512"/>
              <a:gd name="T67" fmla="*/ 250 h 512"/>
              <a:gd name="T68" fmla="*/ 338 w 512"/>
              <a:gd name="T69" fmla="*/ 227 h 512"/>
              <a:gd name="T70" fmla="*/ 326 w 512"/>
              <a:gd name="T71" fmla="*/ 224 h 512"/>
              <a:gd name="T72" fmla="*/ 320 w 512"/>
              <a:gd name="T73" fmla="*/ 234 h 512"/>
              <a:gd name="T74" fmla="*/ 320 w 512"/>
              <a:gd name="T75" fmla="*/ 373 h 512"/>
              <a:gd name="T76" fmla="*/ 192 w 512"/>
              <a:gd name="T77" fmla="*/ 373 h 512"/>
              <a:gd name="T78" fmla="*/ 192 w 512"/>
              <a:gd name="T79" fmla="*/ 234 h 512"/>
              <a:gd name="T80" fmla="*/ 185 w 512"/>
              <a:gd name="T81" fmla="*/ 224 h 512"/>
              <a:gd name="T82" fmla="*/ 173 w 512"/>
              <a:gd name="T83" fmla="*/ 227 h 512"/>
              <a:gd name="T84" fmla="*/ 150 w 512"/>
              <a:gd name="T85" fmla="*/ 250 h 512"/>
              <a:gd name="T86" fmla="*/ 121 w 512"/>
              <a:gd name="T87" fmla="*/ 214 h 512"/>
              <a:gd name="T88" fmla="*/ 185 w 512"/>
              <a:gd name="T89" fmla="*/ 149 h 512"/>
              <a:gd name="T90" fmla="*/ 217 w 512"/>
              <a:gd name="T91" fmla="*/ 149 h 512"/>
              <a:gd name="T92" fmla="*/ 256 w 512"/>
              <a:gd name="T93" fmla="*/ 170 h 512"/>
              <a:gd name="T94" fmla="*/ 294 w 512"/>
              <a:gd name="T95" fmla="*/ 149 h 512"/>
              <a:gd name="T96" fmla="*/ 326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220"/>
                </a:moveTo>
                <a:cubicBezTo>
                  <a:pt x="371" y="273"/>
                  <a:pt x="371" y="273"/>
                  <a:pt x="371" y="273"/>
                </a:cubicBezTo>
                <a:cubicBezTo>
                  <a:pt x="369" y="275"/>
                  <a:pt x="366" y="277"/>
                  <a:pt x="363" y="277"/>
                </a:cubicBezTo>
                <a:cubicBezTo>
                  <a:pt x="360" y="277"/>
                  <a:pt x="357" y="276"/>
                  <a:pt x="355" y="274"/>
                </a:cubicBezTo>
                <a:cubicBezTo>
                  <a:pt x="341" y="260"/>
                  <a:pt x="341" y="260"/>
                  <a:pt x="341" y="260"/>
                </a:cubicBezTo>
                <a:cubicBezTo>
                  <a:pt x="341" y="384"/>
                  <a:pt x="341" y="384"/>
                  <a:pt x="341" y="384"/>
                </a:cubicBezTo>
                <a:cubicBezTo>
                  <a:pt x="341" y="390"/>
                  <a:pt x="336" y="394"/>
                  <a:pt x="330" y="394"/>
                </a:cubicBezTo>
                <a:cubicBezTo>
                  <a:pt x="181" y="394"/>
                  <a:pt x="181" y="394"/>
                  <a:pt x="181" y="394"/>
                </a:cubicBezTo>
                <a:cubicBezTo>
                  <a:pt x="175" y="394"/>
                  <a:pt x="170" y="390"/>
                  <a:pt x="170" y="384"/>
                </a:cubicBezTo>
                <a:cubicBezTo>
                  <a:pt x="170" y="260"/>
                  <a:pt x="170" y="260"/>
                  <a:pt x="170" y="260"/>
                </a:cubicBezTo>
                <a:cubicBezTo>
                  <a:pt x="157" y="274"/>
                  <a:pt x="157" y="274"/>
                  <a:pt x="157" y="274"/>
                </a:cubicBezTo>
                <a:cubicBezTo>
                  <a:pt x="154" y="276"/>
                  <a:pt x="151" y="277"/>
                  <a:pt x="148" y="277"/>
                </a:cubicBezTo>
                <a:cubicBezTo>
                  <a:pt x="145" y="277"/>
                  <a:pt x="143" y="275"/>
                  <a:pt x="141" y="273"/>
                </a:cubicBezTo>
                <a:cubicBezTo>
                  <a:pt x="98" y="220"/>
                  <a:pt x="98" y="220"/>
                  <a:pt x="98" y="220"/>
                </a:cubicBezTo>
                <a:cubicBezTo>
                  <a:pt x="95" y="215"/>
                  <a:pt x="95" y="209"/>
                  <a:pt x="99" y="205"/>
                </a:cubicBezTo>
                <a:cubicBezTo>
                  <a:pt x="173" y="131"/>
                  <a:pt x="173" y="131"/>
                  <a:pt x="173" y="131"/>
                </a:cubicBezTo>
                <a:cubicBezTo>
                  <a:pt x="175" y="129"/>
                  <a:pt x="178" y="128"/>
                  <a:pt x="181" y="128"/>
                </a:cubicBezTo>
                <a:cubicBezTo>
                  <a:pt x="224" y="128"/>
                  <a:pt x="224" y="128"/>
                  <a:pt x="224" y="128"/>
                </a:cubicBezTo>
                <a:cubicBezTo>
                  <a:pt x="228" y="128"/>
                  <a:pt x="231" y="130"/>
                  <a:pt x="233" y="134"/>
                </a:cubicBezTo>
                <a:cubicBezTo>
                  <a:pt x="238" y="144"/>
                  <a:pt x="246" y="149"/>
                  <a:pt x="256" y="149"/>
                </a:cubicBezTo>
                <a:cubicBezTo>
                  <a:pt x="266" y="149"/>
                  <a:pt x="273" y="144"/>
                  <a:pt x="278" y="134"/>
                </a:cubicBezTo>
                <a:cubicBezTo>
                  <a:pt x="280" y="130"/>
                  <a:pt x="284" y="128"/>
                  <a:pt x="288" y="128"/>
                </a:cubicBezTo>
                <a:cubicBezTo>
                  <a:pt x="330" y="128"/>
                  <a:pt x="330" y="128"/>
                  <a:pt x="330" y="128"/>
                </a:cubicBezTo>
                <a:cubicBezTo>
                  <a:pt x="333" y="128"/>
                  <a:pt x="336" y="129"/>
                  <a:pt x="338" y="131"/>
                </a:cubicBezTo>
                <a:cubicBezTo>
                  <a:pt x="413" y="205"/>
                  <a:pt x="413" y="205"/>
                  <a:pt x="413" y="205"/>
                </a:cubicBezTo>
                <a:cubicBezTo>
                  <a:pt x="416" y="209"/>
                  <a:pt x="417" y="215"/>
                  <a:pt x="413" y="220"/>
                </a:cubicBezTo>
                <a:close/>
                <a:moveTo>
                  <a:pt x="326" y="149"/>
                </a:moveTo>
                <a:cubicBezTo>
                  <a:pt x="391" y="214"/>
                  <a:pt x="391" y="214"/>
                  <a:pt x="391" y="214"/>
                </a:cubicBezTo>
                <a:cubicBezTo>
                  <a:pt x="361" y="250"/>
                  <a:pt x="361" y="250"/>
                  <a:pt x="361" y="250"/>
                </a:cubicBezTo>
                <a:cubicBezTo>
                  <a:pt x="338" y="227"/>
                  <a:pt x="338" y="227"/>
                  <a:pt x="338" y="227"/>
                </a:cubicBezTo>
                <a:cubicBezTo>
                  <a:pt x="335" y="224"/>
                  <a:pt x="330" y="223"/>
                  <a:pt x="326" y="224"/>
                </a:cubicBezTo>
                <a:cubicBezTo>
                  <a:pt x="322" y="226"/>
                  <a:pt x="320" y="230"/>
                  <a:pt x="320" y="234"/>
                </a:cubicBezTo>
                <a:cubicBezTo>
                  <a:pt x="320" y="373"/>
                  <a:pt x="320" y="373"/>
                  <a:pt x="320" y="373"/>
                </a:cubicBezTo>
                <a:cubicBezTo>
                  <a:pt x="192" y="373"/>
                  <a:pt x="192" y="373"/>
                  <a:pt x="192" y="373"/>
                </a:cubicBezTo>
                <a:cubicBezTo>
                  <a:pt x="192" y="234"/>
                  <a:pt x="192" y="234"/>
                  <a:pt x="192" y="234"/>
                </a:cubicBezTo>
                <a:cubicBezTo>
                  <a:pt x="192" y="230"/>
                  <a:pt x="189" y="226"/>
                  <a:pt x="185" y="224"/>
                </a:cubicBezTo>
                <a:cubicBezTo>
                  <a:pt x="181" y="223"/>
                  <a:pt x="177" y="224"/>
                  <a:pt x="173" y="227"/>
                </a:cubicBezTo>
                <a:cubicBezTo>
                  <a:pt x="150" y="250"/>
                  <a:pt x="150" y="250"/>
                  <a:pt x="150" y="250"/>
                </a:cubicBezTo>
                <a:cubicBezTo>
                  <a:pt x="121" y="214"/>
                  <a:pt x="121" y="214"/>
                  <a:pt x="121" y="214"/>
                </a:cubicBezTo>
                <a:cubicBezTo>
                  <a:pt x="185" y="149"/>
                  <a:pt x="185" y="149"/>
                  <a:pt x="185" y="149"/>
                </a:cubicBezTo>
                <a:cubicBezTo>
                  <a:pt x="217" y="149"/>
                  <a:pt x="217" y="149"/>
                  <a:pt x="217" y="149"/>
                </a:cubicBezTo>
                <a:cubicBezTo>
                  <a:pt x="226" y="163"/>
                  <a:pt x="240" y="170"/>
                  <a:pt x="256" y="170"/>
                </a:cubicBezTo>
                <a:cubicBezTo>
                  <a:pt x="272" y="170"/>
                  <a:pt x="285" y="163"/>
                  <a:pt x="294" y="149"/>
                </a:cubicBezTo>
                <a:lnTo>
                  <a:pt x="326" y="14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8" name="Freeform 781"/>
          <p:cNvSpPr>
            <a:spLocks noChangeAspect="1" noEditPoints="1"/>
          </p:cNvSpPr>
          <p:nvPr/>
        </p:nvSpPr>
        <p:spPr bwMode="auto">
          <a:xfrm>
            <a:off x="2933414" y="1697038"/>
            <a:ext cx="367041" cy="367041"/>
          </a:xfrm>
          <a:custGeom>
            <a:avLst/>
            <a:gdLst>
              <a:gd name="T0" fmla="*/ 175 w 512"/>
              <a:gd name="T1" fmla="*/ 160 h 512"/>
              <a:gd name="T2" fmla="*/ 337 w 512"/>
              <a:gd name="T3" fmla="*/ 160 h 512"/>
              <a:gd name="T4" fmla="*/ 256 w 512"/>
              <a:gd name="T5" fmla="*/ 241 h 512"/>
              <a:gd name="T6" fmla="*/ 175 w 512"/>
              <a:gd name="T7" fmla="*/ 160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46 h 512"/>
              <a:gd name="T20" fmla="*/ 363 w 512"/>
              <a:gd name="T21" fmla="*/ 139 h 512"/>
              <a:gd name="T22" fmla="*/ 149 w 512"/>
              <a:gd name="T23" fmla="*/ 139 h 512"/>
              <a:gd name="T24" fmla="*/ 139 w 512"/>
              <a:gd name="T25" fmla="*/ 146 h 512"/>
              <a:gd name="T26" fmla="*/ 142 w 512"/>
              <a:gd name="T27" fmla="*/ 157 h 512"/>
              <a:gd name="T28" fmla="*/ 245 w 512"/>
              <a:gd name="T29" fmla="*/ 261 h 512"/>
              <a:gd name="T30" fmla="*/ 245 w 512"/>
              <a:gd name="T31" fmla="*/ 374 h 512"/>
              <a:gd name="T32" fmla="*/ 192 w 512"/>
              <a:gd name="T33" fmla="*/ 374 h 512"/>
              <a:gd name="T34" fmla="*/ 181 w 512"/>
              <a:gd name="T35" fmla="*/ 384 h 512"/>
              <a:gd name="T36" fmla="*/ 192 w 512"/>
              <a:gd name="T37" fmla="*/ 395 h 512"/>
              <a:gd name="T38" fmla="*/ 320 w 512"/>
              <a:gd name="T39" fmla="*/ 395 h 512"/>
              <a:gd name="T40" fmla="*/ 331 w 512"/>
              <a:gd name="T41" fmla="*/ 384 h 512"/>
              <a:gd name="T42" fmla="*/ 320 w 512"/>
              <a:gd name="T43" fmla="*/ 374 h 512"/>
              <a:gd name="T44" fmla="*/ 267 w 512"/>
              <a:gd name="T45" fmla="*/ 374 h 512"/>
              <a:gd name="T46" fmla="*/ 267 w 512"/>
              <a:gd name="T47" fmla="*/ 261 h 512"/>
              <a:gd name="T48" fmla="*/ 370 w 512"/>
              <a:gd name="T49" fmla="*/ 157 h 512"/>
              <a:gd name="T50" fmla="*/ 373 w 512"/>
              <a:gd name="T51" fmla="*/ 1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75" y="160"/>
                </a:moveTo>
                <a:cubicBezTo>
                  <a:pt x="337" y="160"/>
                  <a:pt x="337" y="160"/>
                  <a:pt x="337" y="160"/>
                </a:cubicBezTo>
                <a:cubicBezTo>
                  <a:pt x="256" y="241"/>
                  <a:pt x="256" y="241"/>
                  <a:pt x="256" y="241"/>
                </a:cubicBezTo>
                <a:lnTo>
                  <a:pt x="175" y="16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46"/>
                </a:moveTo>
                <a:cubicBezTo>
                  <a:pt x="371" y="142"/>
                  <a:pt x="367" y="139"/>
                  <a:pt x="363" y="139"/>
                </a:cubicBezTo>
                <a:cubicBezTo>
                  <a:pt x="149" y="139"/>
                  <a:pt x="149" y="139"/>
                  <a:pt x="149" y="139"/>
                </a:cubicBezTo>
                <a:cubicBezTo>
                  <a:pt x="145" y="139"/>
                  <a:pt x="141" y="142"/>
                  <a:pt x="139" y="146"/>
                </a:cubicBezTo>
                <a:cubicBezTo>
                  <a:pt x="138" y="150"/>
                  <a:pt x="139" y="154"/>
                  <a:pt x="142" y="157"/>
                </a:cubicBezTo>
                <a:cubicBezTo>
                  <a:pt x="245" y="261"/>
                  <a:pt x="245" y="261"/>
                  <a:pt x="245" y="261"/>
                </a:cubicBezTo>
                <a:cubicBezTo>
                  <a:pt x="245" y="374"/>
                  <a:pt x="245" y="374"/>
                  <a:pt x="245" y="374"/>
                </a:cubicBezTo>
                <a:cubicBezTo>
                  <a:pt x="192" y="374"/>
                  <a:pt x="192" y="374"/>
                  <a:pt x="192" y="374"/>
                </a:cubicBezTo>
                <a:cubicBezTo>
                  <a:pt x="186" y="374"/>
                  <a:pt x="181" y="378"/>
                  <a:pt x="181" y="384"/>
                </a:cubicBezTo>
                <a:cubicBezTo>
                  <a:pt x="181" y="390"/>
                  <a:pt x="186" y="395"/>
                  <a:pt x="192" y="395"/>
                </a:cubicBezTo>
                <a:cubicBezTo>
                  <a:pt x="320" y="395"/>
                  <a:pt x="320" y="395"/>
                  <a:pt x="320" y="395"/>
                </a:cubicBezTo>
                <a:cubicBezTo>
                  <a:pt x="326" y="395"/>
                  <a:pt x="331" y="390"/>
                  <a:pt x="331" y="384"/>
                </a:cubicBezTo>
                <a:cubicBezTo>
                  <a:pt x="331" y="378"/>
                  <a:pt x="326" y="374"/>
                  <a:pt x="320" y="374"/>
                </a:cubicBezTo>
                <a:cubicBezTo>
                  <a:pt x="267" y="374"/>
                  <a:pt x="267" y="374"/>
                  <a:pt x="267" y="374"/>
                </a:cubicBezTo>
                <a:cubicBezTo>
                  <a:pt x="267" y="261"/>
                  <a:pt x="267" y="261"/>
                  <a:pt x="267" y="261"/>
                </a:cubicBezTo>
                <a:cubicBezTo>
                  <a:pt x="370" y="157"/>
                  <a:pt x="370" y="157"/>
                  <a:pt x="370" y="157"/>
                </a:cubicBezTo>
                <a:cubicBezTo>
                  <a:pt x="373" y="154"/>
                  <a:pt x="374" y="150"/>
                  <a:pt x="373" y="14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789"/>
          <p:cNvGrpSpPr>
            <a:grpSpLocks noChangeAspect="1"/>
          </p:cNvGrpSpPr>
          <p:nvPr/>
        </p:nvGrpSpPr>
        <p:grpSpPr bwMode="auto">
          <a:xfrm>
            <a:off x="3351948" y="1697038"/>
            <a:ext cx="368120" cy="367041"/>
            <a:chOff x="3185" y="3485"/>
            <a:chExt cx="341" cy="340"/>
          </a:xfrm>
          <a:solidFill>
            <a:schemeClr val="accent3"/>
          </a:solidFill>
        </p:grpSpPr>
        <p:sp>
          <p:nvSpPr>
            <p:cNvPr id="270"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14"/>
          <p:cNvSpPr>
            <a:spLocks noChangeAspect="1" noEditPoints="1"/>
          </p:cNvSpPr>
          <p:nvPr/>
        </p:nvSpPr>
        <p:spPr bwMode="auto">
          <a:xfrm>
            <a:off x="3771561" y="1697038"/>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17"/>
          <p:cNvGrpSpPr>
            <a:grpSpLocks noChangeAspect="1"/>
          </p:cNvGrpSpPr>
          <p:nvPr/>
        </p:nvGrpSpPr>
        <p:grpSpPr bwMode="auto">
          <a:xfrm>
            <a:off x="4191767" y="1697038"/>
            <a:ext cx="367631" cy="367631"/>
            <a:chOff x="2387" y="1141"/>
            <a:chExt cx="340" cy="340"/>
          </a:xfrm>
          <a:solidFill>
            <a:schemeClr val="accent1"/>
          </a:solidFill>
        </p:grpSpPr>
        <p:sp>
          <p:nvSpPr>
            <p:cNvPr id="274"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9" name="Freeform 159"/>
          <p:cNvSpPr>
            <a:spLocks noChangeAspect="1" noEditPoints="1"/>
          </p:cNvSpPr>
          <p:nvPr/>
        </p:nvSpPr>
        <p:spPr bwMode="auto">
          <a:xfrm>
            <a:off x="4610891" y="1697038"/>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0" name="Group 162"/>
          <p:cNvGrpSpPr>
            <a:grpSpLocks noChangeAspect="1"/>
          </p:cNvGrpSpPr>
          <p:nvPr/>
        </p:nvGrpSpPr>
        <p:grpSpPr bwMode="auto">
          <a:xfrm>
            <a:off x="5030015" y="1697038"/>
            <a:ext cx="367631" cy="367631"/>
            <a:chOff x="3425" y="1699"/>
            <a:chExt cx="340" cy="340"/>
          </a:xfrm>
          <a:solidFill>
            <a:schemeClr val="accent2"/>
          </a:solidFill>
        </p:grpSpPr>
        <p:sp>
          <p:nvSpPr>
            <p:cNvPr id="281"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Freeform 64"/>
          <p:cNvSpPr>
            <a:spLocks noChangeAspect="1" noEditPoints="1"/>
          </p:cNvSpPr>
          <p:nvPr/>
        </p:nvSpPr>
        <p:spPr bwMode="auto">
          <a:xfrm>
            <a:off x="5449139" y="1697038"/>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4" name="Group 67"/>
          <p:cNvGrpSpPr>
            <a:grpSpLocks noChangeAspect="1"/>
          </p:cNvGrpSpPr>
          <p:nvPr/>
        </p:nvGrpSpPr>
        <p:grpSpPr bwMode="auto">
          <a:xfrm>
            <a:off x="5868683" y="1697038"/>
            <a:ext cx="368254" cy="368152"/>
            <a:chOff x="1017" y="408"/>
            <a:chExt cx="3636" cy="3635"/>
          </a:xfrm>
          <a:solidFill>
            <a:schemeClr val="accent1"/>
          </a:solidFill>
        </p:grpSpPr>
        <p:sp>
          <p:nvSpPr>
            <p:cNvPr id="285"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7" name="Freeform 847"/>
          <p:cNvSpPr>
            <a:spLocks noChangeAspect="1" noEditPoints="1"/>
          </p:cNvSpPr>
          <p:nvPr/>
        </p:nvSpPr>
        <p:spPr bwMode="auto">
          <a:xfrm>
            <a:off x="6288430" y="1697038"/>
            <a:ext cx="367631" cy="36871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9 w 512"/>
              <a:gd name="T11" fmla="*/ 222 h 512"/>
              <a:gd name="T12" fmla="*/ 309 w 512"/>
              <a:gd name="T13" fmla="*/ 341 h 512"/>
              <a:gd name="T14" fmla="*/ 234 w 512"/>
              <a:gd name="T15" fmla="*/ 416 h 512"/>
              <a:gd name="T16" fmla="*/ 160 w 512"/>
              <a:gd name="T17" fmla="*/ 341 h 512"/>
              <a:gd name="T18" fmla="*/ 197 w 512"/>
              <a:gd name="T19" fmla="*/ 276 h 512"/>
              <a:gd name="T20" fmla="*/ 208 w 512"/>
              <a:gd name="T21" fmla="*/ 276 h 512"/>
              <a:gd name="T22" fmla="*/ 213 w 512"/>
              <a:gd name="T23" fmla="*/ 286 h 512"/>
              <a:gd name="T24" fmla="*/ 213 w 512"/>
              <a:gd name="T25" fmla="*/ 320 h 512"/>
              <a:gd name="T26" fmla="*/ 202 w 512"/>
              <a:gd name="T27" fmla="*/ 330 h 512"/>
              <a:gd name="T28" fmla="*/ 192 w 512"/>
              <a:gd name="T29" fmla="*/ 320 h 512"/>
              <a:gd name="T30" fmla="*/ 192 w 512"/>
              <a:gd name="T31" fmla="*/ 308 h 512"/>
              <a:gd name="T32" fmla="*/ 181 w 512"/>
              <a:gd name="T33" fmla="*/ 341 h 512"/>
              <a:gd name="T34" fmla="*/ 234 w 512"/>
              <a:gd name="T35" fmla="*/ 394 h 512"/>
              <a:gd name="T36" fmla="*/ 288 w 512"/>
              <a:gd name="T37" fmla="*/ 341 h 512"/>
              <a:gd name="T38" fmla="*/ 288 w 512"/>
              <a:gd name="T39" fmla="*/ 222 h 512"/>
              <a:gd name="T40" fmla="*/ 266 w 512"/>
              <a:gd name="T41" fmla="*/ 192 h 512"/>
              <a:gd name="T42" fmla="*/ 288 w 512"/>
              <a:gd name="T43" fmla="*/ 162 h 512"/>
              <a:gd name="T44" fmla="*/ 288 w 512"/>
              <a:gd name="T45" fmla="*/ 106 h 512"/>
              <a:gd name="T46" fmla="*/ 298 w 512"/>
              <a:gd name="T47" fmla="*/ 96 h 512"/>
              <a:gd name="T48" fmla="*/ 309 w 512"/>
              <a:gd name="T49" fmla="*/ 106 h 512"/>
              <a:gd name="T50" fmla="*/ 309 w 512"/>
              <a:gd name="T51" fmla="*/ 162 h 512"/>
              <a:gd name="T52" fmla="*/ 330 w 512"/>
              <a:gd name="T53" fmla="*/ 192 h 512"/>
              <a:gd name="T54" fmla="*/ 309 w 512"/>
              <a:gd name="T55" fmla="*/ 222 h 512"/>
              <a:gd name="T56" fmla="*/ 309 w 512"/>
              <a:gd name="T57" fmla="*/ 192 h 512"/>
              <a:gd name="T58" fmla="*/ 298 w 512"/>
              <a:gd name="T59" fmla="*/ 202 h 512"/>
              <a:gd name="T60" fmla="*/ 288 w 512"/>
              <a:gd name="T61" fmla="*/ 192 h 512"/>
              <a:gd name="T62" fmla="*/ 298 w 512"/>
              <a:gd name="T63" fmla="*/ 181 h 512"/>
              <a:gd name="T64" fmla="*/ 309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9" y="222"/>
                </a:moveTo>
                <a:cubicBezTo>
                  <a:pt x="309" y="341"/>
                  <a:pt x="309" y="341"/>
                  <a:pt x="309" y="341"/>
                </a:cubicBezTo>
                <a:cubicBezTo>
                  <a:pt x="309" y="382"/>
                  <a:pt x="276" y="416"/>
                  <a:pt x="234" y="416"/>
                </a:cubicBezTo>
                <a:cubicBezTo>
                  <a:pt x="193" y="416"/>
                  <a:pt x="160" y="382"/>
                  <a:pt x="160" y="341"/>
                </a:cubicBezTo>
                <a:cubicBezTo>
                  <a:pt x="160" y="312"/>
                  <a:pt x="173" y="289"/>
                  <a:pt x="197" y="276"/>
                </a:cubicBezTo>
                <a:cubicBezTo>
                  <a:pt x="201" y="274"/>
                  <a:pt x="205" y="275"/>
                  <a:pt x="208" y="276"/>
                </a:cubicBezTo>
                <a:cubicBezTo>
                  <a:pt x="211" y="278"/>
                  <a:pt x="213" y="282"/>
                  <a:pt x="213" y="286"/>
                </a:cubicBezTo>
                <a:cubicBezTo>
                  <a:pt x="213" y="320"/>
                  <a:pt x="213" y="320"/>
                  <a:pt x="213" y="320"/>
                </a:cubicBezTo>
                <a:cubicBezTo>
                  <a:pt x="213" y="326"/>
                  <a:pt x="208" y="330"/>
                  <a:pt x="202" y="330"/>
                </a:cubicBezTo>
                <a:cubicBezTo>
                  <a:pt x="196" y="330"/>
                  <a:pt x="192" y="326"/>
                  <a:pt x="192" y="320"/>
                </a:cubicBezTo>
                <a:cubicBezTo>
                  <a:pt x="192" y="308"/>
                  <a:pt x="192" y="308"/>
                  <a:pt x="192" y="308"/>
                </a:cubicBezTo>
                <a:cubicBezTo>
                  <a:pt x="185" y="317"/>
                  <a:pt x="181" y="328"/>
                  <a:pt x="181" y="341"/>
                </a:cubicBezTo>
                <a:cubicBezTo>
                  <a:pt x="181" y="370"/>
                  <a:pt x="205" y="394"/>
                  <a:pt x="234" y="394"/>
                </a:cubicBezTo>
                <a:cubicBezTo>
                  <a:pt x="264" y="394"/>
                  <a:pt x="288" y="370"/>
                  <a:pt x="288" y="341"/>
                </a:cubicBezTo>
                <a:cubicBezTo>
                  <a:pt x="288" y="222"/>
                  <a:pt x="288" y="222"/>
                  <a:pt x="288" y="222"/>
                </a:cubicBezTo>
                <a:cubicBezTo>
                  <a:pt x="275" y="217"/>
                  <a:pt x="266" y="206"/>
                  <a:pt x="266" y="192"/>
                </a:cubicBezTo>
                <a:cubicBezTo>
                  <a:pt x="266" y="178"/>
                  <a:pt x="275" y="166"/>
                  <a:pt x="288" y="162"/>
                </a:cubicBezTo>
                <a:cubicBezTo>
                  <a:pt x="288" y="106"/>
                  <a:pt x="288" y="106"/>
                  <a:pt x="288" y="106"/>
                </a:cubicBezTo>
                <a:cubicBezTo>
                  <a:pt x="288" y="100"/>
                  <a:pt x="292" y="96"/>
                  <a:pt x="298" y="96"/>
                </a:cubicBezTo>
                <a:cubicBezTo>
                  <a:pt x="304" y="96"/>
                  <a:pt x="309" y="100"/>
                  <a:pt x="309" y="106"/>
                </a:cubicBezTo>
                <a:cubicBezTo>
                  <a:pt x="309" y="162"/>
                  <a:pt x="309" y="162"/>
                  <a:pt x="309" y="162"/>
                </a:cubicBezTo>
                <a:cubicBezTo>
                  <a:pt x="321" y="166"/>
                  <a:pt x="330" y="178"/>
                  <a:pt x="330" y="192"/>
                </a:cubicBezTo>
                <a:cubicBezTo>
                  <a:pt x="330" y="206"/>
                  <a:pt x="321" y="217"/>
                  <a:pt x="309" y="222"/>
                </a:cubicBezTo>
                <a:close/>
                <a:moveTo>
                  <a:pt x="309" y="192"/>
                </a:moveTo>
                <a:cubicBezTo>
                  <a:pt x="309" y="198"/>
                  <a:pt x="304" y="202"/>
                  <a:pt x="298" y="202"/>
                </a:cubicBezTo>
                <a:cubicBezTo>
                  <a:pt x="292" y="202"/>
                  <a:pt x="288" y="198"/>
                  <a:pt x="288" y="192"/>
                </a:cubicBezTo>
                <a:cubicBezTo>
                  <a:pt x="288" y="186"/>
                  <a:pt x="292" y="181"/>
                  <a:pt x="298" y="181"/>
                </a:cubicBezTo>
                <a:cubicBezTo>
                  <a:pt x="304" y="181"/>
                  <a:pt x="309" y="186"/>
                  <a:pt x="309" y="19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8" name="Group 850"/>
          <p:cNvGrpSpPr>
            <a:grpSpLocks noChangeAspect="1"/>
          </p:cNvGrpSpPr>
          <p:nvPr/>
        </p:nvGrpSpPr>
        <p:grpSpPr bwMode="auto">
          <a:xfrm>
            <a:off x="6706718" y="1697038"/>
            <a:ext cx="367631" cy="367631"/>
            <a:chOff x="4988" y="3214"/>
            <a:chExt cx="340" cy="340"/>
          </a:xfrm>
          <a:solidFill>
            <a:schemeClr val="accent3"/>
          </a:solidFill>
        </p:grpSpPr>
        <p:sp>
          <p:nvSpPr>
            <p:cNvPr id="289" name="Freeform 851"/>
            <p:cNvSpPr>
              <a:spLocks/>
            </p:cNvSpPr>
            <p:nvPr/>
          </p:nvSpPr>
          <p:spPr bwMode="auto">
            <a:xfrm>
              <a:off x="5094" y="3348"/>
              <a:ext cx="99" cy="142"/>
            </a:xfrm>
            <a:custGeom>
              <a:avLst/>
              <a:gdLst>
                <a:gd name="T0" fmla="*/ 74 w 149"/>
                <a:gd name="T1" fmla="*/ 214 h 214"/>
                <a:gd name="T2" fmla="*/ 0 w 149"/>
                <a:gd name="T3" fmla="*/ 139 h 214"/>
                <a:gd name="T4" fmla="*/ 37 w 149"/>
                <a:gd name="T5" fmla="*/ 74 h 214"/>
                <a:gd name="T6" fmla="*/ 48 w 149"/>
                <a:gd name="T7" fmla="*/ 74 h 214"/>
                <a:gd name="T8" fmla="*/ 53 w 149"/>
                <a:gd name="T9" fmla="*/ 84 h 214"/>
                <a:gd name="T10" fmla="*/ 53 w 149"/>
                <a:gd name="T11" fmla="*/ 118 h 214"/>
                <a:gd name="T12" fmla="*/ 42 w 149"/>
                <a:gd name="T13" fmla="*/ 128 h 214"/>
                <a:gd name="T14" fmla="*/ 32 w 149"/>
                <a:gd name="T15" fmla="*/ 118 h 214"/>
                <a:gd name="T16" fmla="*/ 32 w 149"/>
                <a:gd name="T17" fmla="*/ 106 h 214"/>
                <a:gd name="T18" fmla="*/ 21 w 149"/>
                <a:gd name="T19" fmla="*/ 139 h 214"/>
                <a:gd name="T20" fmla="*/ 74 w 149"/>
                <a:gd name="T21" fmla="*/ 192 h 214"/>
                <a:gd name="T22" fmla="*/ 128 w 149"/>
                <a:gd name="T23" fmla="*/ 139 h 214"/>
                <a:gd name="T24" fmla="*/ 128 w 149"/>
                <a:gd name="T25" fmla="*/ 11 h 214"/>
                <a:gd name="T26" fmla="*/ 138 w 149"/>
                <a:gd name="T27" fmla="*/ 0 h 214"/>
                <a:gd name="T28" fmla="*/ 149 w 149"/>
                <a:gd name="T29" fmla="*/ 11 h 214"/>
                <a:gd name="T30" fmla="*/ 149 w 149"/>
                <a:gd name="T31" fmla="*/ 139 h 214"/>
                <a:gd name="T32" fmla="*/ 74 w 149"/>
                <a:gd name="T33"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214">
                  <a:moveTo>
                    <a:pt x="74" y="214"/>
                  </a:moveTo>
                  <a:cubicBezTo>
                    <a:pt x="33" y="214"/>
                    <a:pt x="0" y="180"/>
                    <a:pt x="0" y="139"/>
                  </a:cubicBezTo>
                  <a:cubicBezTo>
                    <a:pt x="0" y="110"/>
                    <a:pt x="13" y="87"/>
                    <a:pt x="37" y="74"/>
                  </a:cubicBezTo>
                  <a:cubicBezTo>
                    <a:pt x="41" y="72"/>
                    <a:pt x="45" y="73"/>
                    <a:pt x="48" y="74"/>
                  </a:cubicBezTo>
                  <a:cubicBezTo>
                    <a:pt x="51" y="76"/>
                    <a:pt x="53" y="80"/>
                    <a:pt x="53" y="84"/>
                  </a:cubicBezTo>
                  <a:cubicBezTo>
                    <a:pt x="53" y="118"/>
                    <a:pt x="53" y="118"/>
                    <a:pt x="53" y="118"/>
                  </a:cubicBezTo>
                  <a:cubicBezTo>
                    <a:pt x="53" y="124"/>
                    <a:pt x="48" y="128"/>
                    <a:pt x="42" y="128"/>
                  </a:cubicBezTo>
                  <a:cubicBezTo>
                    <a:pt x="36" y="128"/>
                    <a:pt x="32" y="124"/>
                    <a:pt x="32" y="118"/>
                  </a:cubicBezTo>
                  <a:cubicBezTo>
                    <a:pt x="32" y="106"/>
                    <a:pt x="32" y="106"/>
                    <a:pt x="32" y="106"/>
                  </a:cubicBezTo>
                  <a:cubicBezTo>
                    <a:pt x="25" y="115"/>
                    <a:pt x="21" y="126"/>
                    <a:pt x="21" y="139"/>
                  </a:cubicBezTo>
                  <a:cubicBezTo>
                    <a:pt x="21" y="168"/>
                    <a:pt x="45" y="192"/>
                    <a:pt x="74" y="192"/>
                  </a:cubicBezTo>
                  <a:cubicBezTo>
                    <a:pt x="104" y="192"/>
                    <a:pt x="128" y="168"/>
                    <a:pt x="128" y="139"/>
                  </a:cubicBezTo>
                  <a:cubicBezTo>
                    <a:pt x="128" y="11"/>
                    <a:pt x="128" y="11"/>
                    <a:pt x="128" y="11"/>
                  </a:cubicBezTo>
                  <a:cubicBezTo>
                    <a:pt x="128" y="5"/>
                    <a:pt x="132" y="0"/>
                    <a:pt x="138" y="0"/>
                  </a:cubicBezTo>
                  <a:cubicBezTo>
                    <a:pt x="144" y="0"/>
                    <a:pt x="149" y="5"/>
                    <a:pt x="149" y="11"/>
                  </a:cubicBezTo>
                  <a:cubicBezTo>
                    <a:pt x="149" y="139"/>
                    <a:pt x="149" y="139"/>
                    <a:pt x="149" y="139"/>
                  </a:cubicBezTo>
                  <a:cubicBezTo>
                    <a:pt x="149" y="180"/>
                    <a:pt x="116" y="214"/>
                    <a:pt x="7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852"/>
            <p:cNvSpPr>
              <a:spLocks noEditPoints="1"/>
            </p:cNvSpPr>
            <p:nvPr/>
          </p:nvSpPr>
          <p:spPr bwMode="auto">
            <a:xfrm>
              <a:off x="5165" y="3320"/>
              <a:ext cx="42"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2 w 64"/>
                <a:gd name="T13" fmla="*/ 32 h 64"/>
                <a:gd name="T14" fmla="*/ 32 w 64"/>
                <a:gd name="T15" fmla="*/ 42 h 64"/>
                <a:gd name="T16" fmla="*/ 43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49"/>
                    <a:pt x="0" y="32"/>
                  </a:cubicBezTo>
                  <a:cubicBezTo>
                    <a:pt x="0" y="14"/>
                    <a:pt x="15" y="0"/>
                    <a:pt x="32" y="0"/>
                  </a:cubicBezTo>
                  <a:cubicBezTo>
                    <a:pt x="50" y="0"/>
                    <a:pt x="64" y="14"/>
                    <a:pt x="64" y="32"/>
                  </a:cubicBezTo>
                  <a:cubicBezTo>
                    <a:pt x="64" y="49"/>
                    <a:pt x="50" y="64"/>
                    <a:pt x="32" y="64"/>
                  </a:cubicBezTo>
                  <a:close/>
                  <a:moveTo>
                    <a:pt x="32" y="21"/>
                  </a:moveTo>
                  <a:cubicBezTo>
                    <a:pt x="26" y="21"/>
                    <a:pt x="22" y="26"/>
                    <a:pt x="22" y="32"/>
                  </a:cubicBezTo>
                  <a:cubicBezTo>
                    <a:pt x="22" y="38"/>
                    <a:pt x="26" y="42"/>
                    <a:pt x="32" y="42"/>
                  </a:cubicBezTo>
                  <a:cubicBezTo>
                    <a:pt x="38" y="42"/>
                    <a:pt x="43" y="38"/>
                    <a:pt x="43" y="32"/>
                  </a:cubicBezTo>
                  <a:cubicBezTo>
                    <a:pt x="43"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853"/>
            <p:cNvSpPr>
              <a:spLocks/>
            </p:cNvSpPr>
            <p:nvPr/>
          </p:nvSpPr>
          <p:spPr bwMode="auto">
            <a:xfrm>
              <a:off x="5179" y="3278"/>
              <a:ext cx="14" cy="56"/>
            </a:xfrm>
            <a:custGeom>
              <a:avLst/>
              <a:gdLst>
                <a:gd name="T0" fmla="*/ 10 w 21"/>
                <a:gd name="T1" fmla="*/ 85 h 85"/>
                <a:gd name="T2" fmla="*/ 0 w 21"/>
                <a:gd name="T3" fmla="*/ 74 h 85"/>
                <a:gd name="T4" fmla="*/ 0 w 21"/>
                <a:gd name="T5" fmla="*/ 10 h 85"/>
                <a:gd name="T6" fmla="*/ 10 w 21"/>
                <a:gd name="T7" fmla="*/ 0 h 85"/>
                <a:gd name="T8" fmla="*/ 21 w 21"/>
                <a:gd name="T9" fmla="*/ 10 h 85"/>
                <a:gd name="T10" fmla="*/ 21 w 21"/>
                <a:gd name="T11" fmla="*/ 74 h 85"/>
                <a:gd name="T12" fmla="*/ 10 w 21"/>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 h="85">
                  <a:moveTo>
                    <a:pt x="10" y="85"/>
                  </a:moveTo>
                  <a:cubicBezTo>
                    <a:pt x="4" y="85"/>
                    <a:pt x="0" y="80"/>
                    <a:pt x="0" y="74"/>
                  </a:cubicBezTo>
                  <a:cubicBezTo>
                    <a:pt x="0" y="10"/>
                    <a:pt x="0" y="10"/>
                    <a:pt x="0" y="10"/>
                  </a:cubicBezTo>
                  <a:cubicBezTo>
                    <a:pt x="0" y="4"/>
                    <a:pt x="4" y="0"/>
                    <a:pt x="10" y="0"/>
                  </a:cubicBezTo>
                  <a:cubicBezTo>
                    <a:pt x="16" y="0"/>
                    <a:pt x="21" y="4"/>
                    <a:pt x="21" y="10"/>
                  </a:cubicBezTo>
                  <a:cubicBezTo>
                    <a:pt x="21" y="74"/>
                    <a:pt x="21" y="74"/>
                    <a:pt x="21" y="74"/>
                  </a:cubicBezTo>
                  <a:cubicBezTo>
                    <a:pt x="21" y="80"/>
                    <a:pt x="16" y="85"/>
                    <a:pt x="10"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54"/>
            <p:cNvSpPr>
              <a:spLocks noEditPoints="1"/>
            </p:cNvSpPr>
            <p:nvPr/>
          </p:nvSpPr>
          <p:spPr bwMode="auto">
            <a:xfrm>
              <a:off x="4988" y="32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3" name="Freeform 386"/>
          <p:cNvSpPr>
            <a:spLocks noChangeAspect="1" noEditPoints="1"/>
          </p:cNvSpPr>
          <p:nvPr/>
        </p:nvSpPr>
        <p:spPr bwMode="auto">
          <a:xfrm>
            <a:off x="1248958" y="2512469"/>
            <a:ext cx="367631" cy="367631"/>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4" name="Group 389"/>
          <p:cNvGrpSpPr>
            <a:grpSpLocks noChangeAspect="1"/>
          </p:cNvGrpSpPr>
          <p:nvPr/>
        </p:nvGrpSpPr>
        <p:grpSpPr bwMode="auto">
          <a:xfrm>
            <a:off x="1668192" y="2512469"/>
            <a:ext cx="368712" cy="367631"/>
            <a:chOff x="405" y="1575"/>
            <a:chExt cx="341" cy="340"/>
          </a:xfrm>
          <a:solidFill>
            <a:schemeClr val="accent5"/>
          </a:solidFill>
        </p:grpSpPr>
        <p:sp>
          <p:nvSpPr>
            <p:cNvPr id="295"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7" name="Freeform 471"/>
          <p:cNvSpPr>
            <a:spLocks noChangeAspect="1" noEditPoints="1"/>
          </p:cNvSpPr>
          <p:nvPr/>
        </p:nvSpPr>
        <p:spPr bwMode="auto">
          <a:xfrm>
            <a:off x="2927677" y="2512469"/>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8" name="Group 297"/>
          <p:cNvGrpSpPr>
            <a:grpSpLocks noChangeAspect="1"/>
          </p:cNvGrpSpPr>
          <p:nvPr/>
        </p:nvGrpSpPr>
        <p:grpSpPr bwMode="auto">
          <a:xfrm>
            <a:off x="3347262" y="2512469"/>
            <a:ext cx="367982" cy="367982"/>
            <a:chOff x="4112" y="2773"/>
            <a:chExt cx="340" cy="340"/>
          </a:xfrm>
          <a:solidFill>
            <a:schemeClr val="accent5"/>
          </a:solidFill>
        </p:grpSpPr>
        <p:sp>
          <p:nvSpPr>
            <p:cNvPr id="299"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1" name="Freeform 534"/>
          <p:cNvSpPr>
            <a:spLocks noChangeAspect="1" noEditPoints="1"/>
          </p:cNvSpPr>
          <p:nvPr/>
        </p:nvSpPr>
        <p:spPr bwMode="auto">
          <a:xfrm>
            <a:off x="7968791" y="1697038"/>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2" name="Group 537"/>
          <p:cNvGrpSpPr>
            <a:grpSpLocks noChangeAspect="1"/>
          </p:cNvGrpSpPr>
          <p:nvPr/>
        </p:nvGrpSpPr>
        <p:grpSpPr bwMode="auto">
          <a:xfrm>
            <a:off x="8388260" y="1697038"/>
            <a:ext cx="367982" cy="367982"/>
            <a:chOff x="3877" y="2753"/>
            <a:chExt cx="340" cy="340"/>
          </a:xfrm>
          <a:solidFill>
            <a:schemeClr val="accent6"/>
          </a:solidFill>
        </p:grpSpPr>
        <p:sp>
          <p:nvSpPr>
            <p:cNvPr id="303"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5" name="Freeform 304"/>
          <p:cNvSpPr>
            <a:spLocks noChangeAspect="1" noEditPoints="1"/>
          </p:cNvSpPr>
          <p:nvPr/>
        </p:nvSpPr>
        <p:spPr bwMode="auto">
          <a:xfrm>
            <a:off x="2088507" y="2512469"/>
            <a:ext cx="367982" cy="367982"/>
          </a:xfrm>
          <a:custGeom>
            <a:avLst/>
            <a:gdLst>
              <a:gd name="T0" fmla="*/ 214 w 512"/>
              <a:gd name="T1" fmla="*/ 156 h 512"/>
              <a:gd name="T2" fmla="*/ 227 w 512"/>
              <a:gd name="T3" fmla="*/ 155 h 512"/>
              <a:gd name="T4" fmla="*/ 254 w 512"/>
              <a:gd name="T5" fmla="*/ 129 h 512"/>
              <a:gd name="T6" fmla="*/ 282 w 512"/>
              <a:gd name="T7" fmla="*/ 160 h 512"/>
              <a:gd name="T8" fmla="*/ 296 w 512"/>
              <a:gd name="T9" fmla="*/ 160 h 512"/>
              <a:gd name="T10" fmla="*/ 303 w 512"/>
              <a:gd name="T11" fmla="*/ 191 h 512"/>
              <a:gd name="T12" fmla="*/ 203 w 512"/>
              <a:gd name="T13" fmla="*/ 192 h 512"/>
              <a:gd name="T14" fmla="*/ 512 w 512"/>
              <a:gd name="T15" fmla="*/ 256 h 512"/>
              <a:gd name="T16" fmla="*/ 0 w 512"/>
              <a:gd name="T17" fmla="*/ 256 h 512"/>
              <a:gd name="T18" fmla="*/ 512 w 512"/>
              <a:gd name="T19" fmla="*/ 256 h 512"/>
              <a:gd name="T20" fmla="*/ 341 w 512"/>
              <a:gd name="T21" fmla="*/ 384 h 512"/>
              <a:gd name="T22" fmla="*/ 330 w 512"/>
              <a:gd name="T23" fmla="*/ 295 h 512"/>
              <a:gd name="T24" fmla="*/ 328 w 512"/>
              <a:gd name="T25" fmla="*/ 276 h 512"/>
              <a:gd name="T26" fmla="*/ 334 w 512"/>
              <a:gd name="T27" fmla="*/ 177 h 512"/>
              <a:gd name="T28" fmla="*/ 254 w 512"/>
              <a:gd name="T29" fmla="*/ 108 h 512"/>
              <a:gd name="T30" fmla="*/ 173 w 512"/>
              <a:gd name="T31" fmla="*/ 176 h 512"/>
              <a:gd name="T32" fmla="*/ 189 w 512"/>
              <a:gd name="T33" fmla="*/ 226 h 512"/>
              <a:gd name="T34" fmla="*/ 129 w 512"/>
              <a:gd name="T35" fmla="*/ 254 h 512"/>
              <a:gd name="T36" fmla="*/ 159 w 512"/>
              <a:gd name="T37" fmla="*/ 358 h 512"/>
              <a:gd name="T38" fmla="*/ 171 w 512"/>
              <a:gd name="T39" fmla="*/ 384 h 512"/>
              <a:gd name="T40" fmla="*/ 160 w 512"/>
              <a:gd name="T41" fmla="*/ 394 h 512"/>
              <a:gd name="T42" fmla="*/ 181 w 512"/>
              <a:gd name="T43" fmla="*/ 405 h 512"/>
              <a:gd name="T44" fmla="*/ 341 w 512"/>
              <a:gd name="T45" fmla="*/ 405 h 512"/>
              <a:gd name="T46" fmla="*/ 212 w 512"/>
              <a:gd name="T47" fmla="*/ 213 h 512"/>
              <a:gd name="T48" fmla="*/ 306 w 512"/>
              <a:gd name="T49" fmla="*/ 277 h 512"/>
              <a:gd name="T50" fmla="*/ 212 w 512"/>
              <a:gd name="T51" fmla="*/ 213 h 512"/>
              <a:gd name="T52" fmla="*/ 150 w 512"/>
              <a:gd name="T53" fmla="*/ 257 h 512"/>
              <a:gd name="T54" fmla="*/ 177 w 512"/>
              <a:gd name="T55" fmla="*/ 333 h 512"/>
              <a:gd name="T56" fmla="*/ 176 w 512"/>
              <a:gd name="T57" fmla="*/ 286 h 512"/>
              <a:gd name="T58" fmla="*/ 186 w 512"/>
              <a:gd name="T59" fmla="*/ 250 h 512"/>
              <a:gd name="T60" fmla="*/ 203 w 512"/>
              <a:gd name="T61" fmla="*/ 298 h 512"/>
              <a:gd name="T62" fmla="*/ 318 w 512"/>
              <a:gd name="T63" fmla="*/ 384 h 512"/>
              <a:gd name="T64" fmla="*/ 203 w 512"/>
              <a:gd name="T65"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94" y="176"/>
                </a:moveTo>
                <a:cubicBezTo>
                  <a:pt x="194" y="165"/>
                  <a:pt x="203" y="156"/>
                  <a:pt x="214" y="156"/>
                </a:cubicBezTo>
                <a:cubicBezTo>
                  <a:pt x="215" y="156"/>
                  <a:pt x="217" y="156"/>
                  <a:pt x="218" y="157"/>
                </a:cubicBezTo>
                <a:cubicBezTo>
                  <a:pt x="221" y="157"/>
                  <a:pt x="224" y="157"/>
                  <a:pt x="227" y="155"/>
                </a:cubicBezTo>
                <a:cubicBezTo>
                  <a:pt x="229" y="154"/>
                  <a:pt x="231" y="151"/>
                  <a:pt x="231" y="148"/>
                </a:cubicBezTo>
                <a:cubicBezTo>
                  <a:pt x="233" y="137"/>
                  <a:pt x="243" y="129"/>
                  <a:pt x="254" y="129"/>
                </a:cubicBezTo>
                <a:cubicBezTo>
                  <a:pt x="267" y="129"/>
                  <a:pt x="277" y="139"/>
                  <a:pt x="277" y="151"/>
                </a:cubicBezTo>
                <a:cubicBezTo>
                  <a:pt x="277" y="155"/>
                  <a:pt x="279" y="158"/>
                  <a:pt x="282" y="160"/>
                </a:cubicBezTo>
                <a:cubicBezTo>
                  <a:pt x="285" y="162"/>
                  <a:pt x="288" y="162"/>
                  <a:pt x="291" y="161"/>
                </a:cubicBezTo>
                <a:cubicBezTo>
                  <a:pt x="293" y="161"/>
                  <a:pt x="295" y="160"/>
                  <a:pt x="296" y="160"/>
                </a:cubicBezTo>
                <a:cubicBezTo>
                  <a:pt x="305" y="160"/>
                  <a:pt x="313" y="168"/>
                  <a:pt x="313" y="177"/>
                </a:cubicBezTo>
                <a:cubicBezTo>
                  <a:pt x="313" y="183"/>
                  <a:pt x="309" y="189"/>
                  <a:pt x="303" y="191"/>
                </a:cubicBezTo>
                <a:cubicBezTo>
                  <a:pt x="303" y="192"/>
                  <a:pt x="302" y="192"/>
                  <a:pt x="302" y="192"/>
                </a:cubicBezTo>
                <a:cubicBezTo>
                  <a:pt x="203" y="192"/>
                  <a:pt x="203" y="192"/>
                  <a:pt x="203" y="192"/>
                </a:cubicBezTo>
                <a:cubicBezTo>
                  <a:pt x="198" y="188"/>
                  <a:pt x="194" y="182"/>
                  <a:pt x="194"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394"/>
                </a:moveTo>
                <a:cubicBezTo>
                  <a:pt x="352" y="388"/>
                  <a:pt x="347" y="384"/>
                  <a:pt x="341" y="384"/>
                </a:cubicBezTo>
                <a:cubicBezTo>
                  <a:pt x="340" y="384"/>
                  <a:pt x="340" y="384"/>
                  <a:pt x="340" y="384"/>
                </a:cubicBezTo>
                <a:cubicBezTo>
                  <a:pt x="330" y="295"/>
                  <a:pt x="330" y="295"/>
                  <a:pt x="330" y="295"/>
                </a:cubicBezTo>
                <a:cubicBezTo>
                  <a:pt x="333" y="293"/>
                  <a:pt x="336" y="290"/>
                  <a:pt x="336" y="286"/>
                </a:cubicBezTo>
                <a:cubicBezTo>
                  <a:pt x="336" y="281"/>
                  <a:pt x="332" y="277"/>
                  <a:pt x="328" y="276"/>
                </a:cubicBezTo>
                <a:cubicBezTo>
                  <a:pt x="320" y="206"/>
                  <a:pt x="320" y="206"/>
                  <a:pt x="320" y="206"/>
                </a:cubicBezTo>
                <a:cubicBezTo>
                  <a:pt x="329" y="199"/>
                  <a:pt x="334" y="188"/>
                  <a:pt x="334" y="177"/>
                </a:cubicBezTo>
                <a:cubicBezTo>
                  <a:pt x="334" y="156"/>
                  <a:pt x="317" y="139"/>
                  <a:pt x="297" y="139"/>
                </a:cubicBezTo>
                <a:cubicBezTo>
                  <a:pt x="291" y="121"/>
                  <a:pt x="274" y="108"/>
                  <a:pt x="254" y="108"/>
                </a:cubicBezTo>
                <a:cubicBezTo>
                  <a:pt x="236" y="108"/>
                  <a:pt x="220" y="119"/>
                  <a:pt x="213" y="135"/>
                </a:cubicBezTo>
                <a:cubicBezTo>
                  <a:pt x="191" y="135"/>
                  <a:pt x="173" y="153"/>
                  <a:pt x="173" y="176"/>
                </a:cubicBezTo>
                <a:cubicBezTo>
                  <a:pt x="173" y="189"/>
                  <a:pt x="180" y="202"/>
                  <a:pt x="191" y="209"/>
                </a:cubicBezTo>
                <a:cubicBezTo>
                  <a:pt x="189" y="226"/>
                  <a:pt x="189" y="226"/>
                  <a:pt x="189" y="226"/>
                </a:cubicBezTo>
                <a:cubicBezTo>
                  <a:pt x="179" y="220"/>
                  <a:pt x="166" y="214"/>
                  <a:pt x="153" y="218"/>
                </a:cubicBezTo>
                <a:cubicBezTo>
                  <a:pt x="140" y="222"/>
                  <a:pt x="132" y="234"/>
                  <a:pt x="129" y="254"/>
                </a:cubicBezTo>
                <a:cubicBezTo>
                  <a:pt x="121" y="297"/>
                  <a:pt x="115" y="334"/>
                  <a:pt x="135" y="351"/>
                </a:cubicBezTo>
                <a:cubicBezTo>
                  <a:pt x="141" y="356"/>
                  <a:pt x="149" y="358"/>
                  <a:pt x="159" y="358"/>
                </a:cubicBezTo>
                <a:cubicBezTo>
                  <a:pt x="163" y="358"/>
                  <a:pt x="169" y="358"/>
                  <a:pt x="175" y="356"/>
                </a:cubicBezTo>
                <a:cubicBezTo>
                  <a:pt x="171" y="384"/>
                  <a:pt x="171" y="384"/>
                  <a:pt x="171" y="384"/>
                </a:cubicBezTo>
                <a:cubicBezTo>
                  <a:pt x="170" y="384"/>
                  <a:pt x="170" y="384"/>
                  <a:pt x="170" y="384"/>
                </a:cubicBezTo>
                <a:cubicBezTo>
                  <a:pt x="164" y="384"/>
                  <a:pt x="160" y="388"/>
                  <a:pt x="160" y="394"/>
                </a:cubicBezTo>
                <a:cubicBezTo>
                  <a:pt x="160" y="400"/>
                  <a:pt x="164" y="405"/>
                  <a:pt x="170" y="405"/>
                </a:cubicBezTo>
                <a:cubicBezTo>
                  <a:pt x="181" y="405"/>
                  <a:pt x="181" y="405"/>
                  <a:pt x="181" y="405"/>
                </a:cubicBezTo>
                <a:cubicBezTo>
                  <a:pt x="330" y="405"/>
                  <a:pt x="330" y="405"/>
                  <a:pt x="330" y="405"/>
                </a:cubicBezTo>
                <a:cubicBezTo>
                  <a:pt x="341" y="405"/>
                  <a:pt x="341" y="405"/>
                  <a:pt x="341" y="405"/>
                </a:cubicBezTo>
                <a:cubicBezTo>
                  <a:pt x="347" y="405"/>
                  <a:pt x="352" y="400"/>
                  <a:pt x="352" y="394"/>
                </a:cubicBezTo>
                <a:close/>
                <a:moveTo>
                  <a:pt x="212" y="213"/>
                </a:moveTo>
                <a:cubicBezTo>
                  <a:pt x="205" y="277"/>
                  <a:pt x="205" y="277"/>
                  <a:pt x="205" y="277"/>
                </a:cubicBezTo>
                <a:cubicBezTo>
                  <a:pt x="306" y="277"/>
                  <a:pt x="306" y="277"/>
                  <a:pt x="306" y="277"/>
                </a:cubicBezTo>
                <a:cubicBezTo>
                  <a:pt x="299" y="213"/>
                  <a:pt x="299" y="213"/>
                  <a:pt x="299" y="213"/>
                </a:cubicBezTo>
                <a:lnTo>
                  <a:pt x="212" y="213"/>
                </a:lnTo>
                <a:close/>
                <a:moveTo>
                  <a:pt x="159" y="238"/>
                </a:moveTo>
                <a:cubicBezTo>
                  <a:pt x="155" y="240"/>
                  <a:pt x="152" y="247"/>
                  <a:pt x="150" y="257"/>
                </a:cubicBezTo>
                <a:cubicBezTo>
                  <a:pt x="144" y="289"/>
                  <a:pt x="138" y="325"/>
                  <a:pt x="149" y="334"/>
                </a:cubicBezTo>
                <a:cubicBezTo>
                  <a:pt x="153" y="338"/>
                  <a:pt x="163" y="338"/>
                  <a:pt x="177" y="333"/>
                </a:cubicBezTo>
                <a:cubicBezTo>
                  <a:pt x="181" y="295"/>
                  <a:pt x="181" y="295"/>
                  <a:pt x="181" y="295"/>
                </a:cubicBezTo>
                <a:cubicBezTo>
                  <a:pt x="178" y="293"/>
                  <a:pt x="176" y="290"/>
                  <a:pt x="176" y="286"/>
                </a:cubicBezTo>
                <a:cubicBezTo>
                  <a:pt x="176" y="281"/>
                  <a:pt x="179" y="277"/>
                  <a:pt x="183" y="276"/>
                </a:cubicBezTo>
                <a:cubicBezTo>
                  <a:pt x="186" y="250"/>
                  <a:pt x="186" y="250"/>
                  <a:pt x="186" y="250"/>
                </a:cubicBezTo>
                <a:cubicBezTo>
                  <a:pt x="178" y="244"/>
                  <a:pt x="166" y="236"/>
                  <a:pt x="159" y="238"/>
                </a:cubicBezTo>
                <a:close/>
                <a:moveTo>
                  <a:pt x="203" y="298"/>
                </a:moveTo>
                <a:cubicBezTo>
                  <a:pt x="193" y="384"/>
                  <a:pt x="193" y="384"/>
                  <a:pt x="193" y="384"/>
                </a:cubicBezTo>
                <a:cubicBezTo>
                  <a:pt x="318" y="384"/>
                  <a:pt x="318" y="384"/>
                  <a:pt x="318" y="384"/>
                </a:cubicBezTo>
                <a:cubicBezTo>
                  <a:pt x="309" y="298"/>
                  <a:pt x="309" y="298"/>
                  <a:pt x="309" y="298"/>
                </a:cubicBezTo>
                <a:lnTo>
                  <a:pt x="203" y="298"/>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6" name="Group 483"/>
          <p:cNvGrpSpPr>
            <a:grpSpLocks noChangeAspect="1"/>
          </p:cNvGrpSpPr>
          <p:nvPr/>
        </p:nvGrpSpPr>
        <p:grpSpPr bwMode="auto">
          <a:xfrm>
            <a:off x="2508092" y="2512469"/>
            <a:ext cx="367982" cy="367982"/>
            <a:chOff x="1214" y="2335"/>
            <a:chExt cx="340" cy="340"/>
          </a:xfrm>
          <a:solidFill>
            <a:schemeClr val="accent6"/>
          </a:solidFill>
        </p:grpSpPr>
        <p:sp>
          <p:nvSpPr>
            <p:cNvPr id="307" name="Freeform 484"/>
            <p:cNvSpPr>
              <a:spLocks noEditPoints="1"/>
            </p:cNvSpPr>
            <p:nvPr/>
          </p:nvSpPr>
          <p:spPr bwMode="auto">
            <a:xfrm>
              <a:off x="1214" y="23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485"/>
            <p:cNvSpPr>
              <a:spLocks noEditPoints="1"/>
            </p:cNvSpPr>
            <p:nvPr/>
          </p:nvSpPr>
          <p:spPr bwMode="auto">
            <a:xfrm>
              <a:off x="1290" y="2407"/>
              <a:ext cx="158" cy="197"/>
            </a:xfrm>
            <a:custGeom>
              <a:avLst/>
              <a:gdLst>
                <a:gd name="T0" fmla="*/ 226 w 237"/>
                <a:gd name="T1" fmla="*/ 276 h 297"/>
                <a:gd name="T2" fmla="*/ 225 w 237"/>
                <a:gd name="T3" fmla="*/ 276 h 297"/>
                <a:gd name="T4" fmla="*/ 215 w 237"/>
                <a:gd name="T5" fmla="*/ 187 h 297"/>
                <a:gd name="T6" fmla="*/ 221 w 237"/>
                <a:gd name="T7" fmla="*/ 178 h 297"/>
                <a:gd name="T8" fmla="*/ 213 w 237"/>
                <a:gd name="T9" fmla="*/ 168 h 297"/>
                <a:gd name="T10" fmla="*/ 205 w 237"/>
                <a:gd name="T11" fmla="*/ 98 h 297"/>
                <a:gd name="T12" fmla="*/ 219 w 237"/>
                <a:gd name="T13" fmla="*/ 69 h 297"/>
                <a:gd name="T14" fmla="*/ 182 w 237"/>
                <a:gd name="T15" fmla="*/ 31 h 297"/>
                <a:gd name="T16" fmla="*/ 139 w 237"/>
                <a:gd name="T17" fmla="*/ 0 h 297"/>
                <a:gd name="T18" fmla="*/ 98 w 237"/>
                <a:gd name="T19" fmla="*/ 27 h 297"/>
                <a:gd name="T20" fmla="*/ 58 w 237"/>
                <a:gd name="T21" fmla="*/ 68 h 297"/>
                <a:gd name="T22" fmla="*/ 76 w 237"/>
                <a:gd name="T23" fmla="*/ 101 h 297"/>
                <a:gd name="T24" fmla="*/ 74 w 237"/>
                <a:gd name="T25" fmla="*/ 118 h 297"/>
                <a:gd name="T26" fmla="*/ 38 w 237"/>
                <a:gd name="T27" fmla="*/ 110 h 297"/>
                <a:gd name="T28" fmla="*/ 14 w 237"/>
                <a:gd name="T29" fmla="*/ 146 h 297"/>
                <a:gd name="T30" fmla="*/ 20 w 237"/>
                <a:gd name="T31" fmla="*/ 243 h 297"/>
                <a:gd name="T32" fmla="*/ 44 w 237"/>
                <a:gd name="T33" fmla="*/ 250 h 297"/>
                <a:gd name="T34" fmla="*/ 60 w 237"/>
                <a:gd name="T35" fmla="*/ 248 h 297"/>
                <a:gd name="T36" fmla="*/ 56 w 237"/>
                <a:gd name="T37" fmla="*/ 276 h 297"/>
                <a:gd name="T38" fmla="*/ 55 w 237"/>
                <a:gd name="T39" fmla="*/ 276 h 297"/>
                <a:gd name="T40" fmla="*/ 45 w 237"/>
                <a:gd name="T41" fmla="*/ 286 h 297"/>
                <a:gd name="T42" fmla="*/ 55 w 237"/>
                <a:gd name="T43" fmla="*/ 297 h 297"/>
                <a:gd name="T44" fmla="*/ 66 w 237"/>
                <a:gd name="T45" fmla="*/ 297 h 297"/>
                <a:gd name="T46" fmla="*/ 215 w 237"/>
                <a:gd name="T47" fmla="*/ 297 h 297"/>
                <a:gd name="T48" fmla="*/ 226 w 237"/>
                <a:gd name="T49" fmla="*/ 297 h 297"/>
                <a:gd name="T50" fmla="*/ 237 w 237"/>
                <a:gd name="T51" fmla="*/ 286 h 297"/>
                <a:gd name="T52" fmla="*/ 226 w 237"/>
                <a:gd name="T53" fmla="*/ 276 h 297"/>
                <a:gd name="T54" fmla="*/ 97 w 237"/>
                <a:gd name="T55" fmla="*/ 105 h 297"/>
                <a:gd name="T56" fmla="*/ 184 w 237"/>
                <a:gd name="T57" fmla="*/ 105 h 297"/>
                <a:gd name="T58" fmla="*/ 191 w 237"/>
                <a:gd name="T59" fmla="*/ 169 h 297"/>
                <a:gd name="T60" fmla="*/ 90 w 237"/>
                <a:gd name="T61" fmla="*/ 169 h 297"/>
                <a:gd name="T62" fmla="*/ 97 w 237"/>
                <a:gd name="T63" fmla="*/ 105 h 297"/>
                <a:gd name="T64" fmla="*/ 99 w 237"/>
                <a:gd name="T65" fmla="*/ 48 h 297"/>
                <a:gd name="T66" fmla="*/ 103 w 237"/>
                <a:gd name="T67" fmla="*/ 49 h 297"/>
                <a:gd name="T68" fmla="*/ 112 w 237"/>
                <a:gd name="T69" fmla="*/ 47 h 297"/>
                <a:gd name="T70" fmla="*/ 116 w 237"/>
                <a:gd name="T71" fmla="*/ 40 h 297"/>
                <a:gd name="T72" fmla="*/ 139 w 237"/>
                <a:gd name="T73" fmla="*/ 21 h 297"/>
                <a:gd name="T74" fmla="*/ 162 w 237"/>
                <a:gd name="T75" fmla="*/ 43 h 297"/>
                <a:gd name="T76" fmla="*/ 167 w 237"/>
                <a:gd name="T77" fmla="*/ 52 h 297"/>
                <a:gd name="T78" fmla="*/ 176 w 237"/>
                <a:gd name="T79" fmla="*/ 53 h 297"/>
                <a:gd name="T80" fmla="*/ 181 w 237"/>
                <a:gd name="T81" fmla="*/ 52 h 297"/>
                <a:gd name="T82" fmla="*/ 198 w 237"/>
                <a:gd name="T83" fmla="*/ 69 h 297"/>
                <a:gd name="T84" fmla="*/ 188 w 237"/>
                <a:gd name="T85" fmla="*/ 83 h 297"/>
                <a:gd name="T86" fmla="*/ 187 w 237"/>
                <a:gd name="T87" fmla="*/ 84 h 297"/>
                <a:gd name="T88" fmla="*/ 88 w 237"/>
                <a:gd name="T89" fmla="*/ 84 h 297"/>
                <a:gd name="T90" fmla="*/ 79 w 237"/>
                <a:gd name="T91" fmla="*/ 68 h 297"/>
                <a:gd name="T92" fmla="*/ 99 w 237"/>
                <a:gd name="T93" fmla="*/ 48 h 297"/>
                <a:gd name="T94" fmla="*/ 34 w 237"/>
                <a:gd name="T95" fmla="*/ 226 h 297"/>
                <a:gd name="T96" fmla="*/ 35 w 237"/>
                <a:gd name="T97" fmla="*/ 149 h 297"/>
                <a:gd name="T98" fmla="*/ 44 w 237"/>
                <a:gd name="T99" fmla="*/ 130 h 297"/>
                <a:gd name="T100" fmla="*/ 71 w 237"/>
                <a:gd name="T101" fmla="*/ 142 h 297"/>
                <a:gd name="T102" fmla="*/ 68 w 237"/>
                <a:gd name="T103" fmla="*/ 168 h 297"/>
                <a:gd name="T104" fmla="*/ 61 w 237"/>
                <a:gd name="T105" fmla="*/ 178 h 297"/>
                <a:gd name="T106" fmla="*/ 66 w 237"/>
                <a:gd name="T107" fmla="*/ 187 h 297"/>
                <a:gd name="T108" fmla="*/ 62 w 237"/>
                <a:gd name="T109" fmla="*/ 225 h 297"/>
                <a:gd name="T110" fmla="*/ 34 w 237"/>
                <a:gd name="T111" fmla="*/ 226 h 297"/>
                <a:gd name="T112" fmla="*/ 78 w 237"/>
                <a:gd name="T113" fmla="*/ 276 h 297"/>
                <a:gd name="T114" fmla="*/ 88 w 237"/>
                <a:gd name="T115" fmla="*/ 190 h 297"/>
                <a:gd name="T116" fmla="*/ 194 w 237"/>
                <a:gd name="T117" fmla="*/ 190 h 297"/>
                <a:gd name="T118" fmla="*/ 203 w 237"/>
                <a:gd name="T119" fmla="*/ 276 h 297"/>
                <a:gd name="T120" fmla="*/ 78 w 237"/>
                <a:gd name="T121" fmla="*/ 27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297">
                  <a:moveTo>
                    <a:pt x="226" y="276"/>
                  </a:moveTo>
                  <a:cubicBezTo>
                    <a:pt x="225" y="276"/>
                    <a:pt x="225" y="276"/>
                    <a:pt x="225" y="276"/>
                  </a:cubicBezTo>
                  <a:cubicBezTo>
                    <a:pt x="215" y="187"/>
                    <a:pt x="215" y="187"/>
                    <a:pt x="215" y="187"/>
                  </a:cubicBezTo>
                  <a:cubicBezTo>
                    <a:pt x="218" y="185"/>
                    <a:pt x="221" y="182"/>
                    <a:pt x="221" y="178"/>
                  </a:cubicBezTo>
                  <a:cubicBezTo>
                    <a:pt x="221" y="173"/>
                    <a:pt x="217" y="169"/>
                    <a:pt x="213" y="168"/>
                  </a:cubicBezTo>
                  <a:cubicBezTo>
                    <a:pt x="205" y="98"/>
                    <a:pt x="205" y="98"/>
                    <a:pt x="205" y="98"/>
                  </a:cubicBezTo>
                  <a:cubicBezTo>
                    <a:pt x="214" y="91"/>
                    <a:pt x="219" y="80"/>
                    <a:pt x="219" y="69"/>
                  </a:cubicBezTo>
                  <a:cubicBezTo>
                    <a:pt x="219" y="48"/>
                    <a:pt x="202" y="31"/>
                    <a:pt x="182" y="31"/>
                  </a:cubicBezTo>
                  <a:cubicBezTo>
                    <a:pt x="176" y="13"/>
                    <a:pt x="159" y="0"/>
                    <a:pt x="139" y="0"/>
                  </a:cubicBezTo>
                  <a:cubicBezTo>
                    <a:pt x="121" y="0"/>
                    <a:pt x="105" y="11"/>
                    <a:pt x="98" y="27"/>
                  </a:cubicBezTo>
                  <a:cubicBezTo>
                    <a:pt x="76" y="27"/>
                    <a:pt x="58" y="45"/>
                    <a:pt x="58" y="68"/>
                  </a:cubicBezTo>
                  <a:cubicBezTo>
                    <a:pt x="58" y="81"/>
                    <a:pt x="65" y="94"/>
                    <a:pt x="76" y="101"/>
                  </a:cubicBezTo>
                  <a:cubicBezTo>
                    <a:pt x="74" y="118"/>
                    <a:pt x="74" y="118"/>
                    <a:pt x="74" y="118"/>
                  </a:cubicBezTo>
                  <a:cubicBezTo>
                    <a:pt x="64" y="112"/>
                    <a:pt x="51" y="106"/>
                    <a:pt x="38" y="110"/>
                  </a:cubicBezTo>
                  <a:cubicBezTo>
                    <a:pt x="25" y="114"/>
                    <a:pt x="17" y="126"/>
                    <a:pt x="14" y="146"/>
                  </a:cubicBezTo>
                  <a:cubicBezTo>
                    <a:pt x="6" y="189"/>
                    <a:pt x="0" y="226"/>
                    <a:pt x="20" y="243"/>
                  </a:cubicBezTo>
                  <a:cubicBezTo>
                    <a:pt x="26" y="248"/>
                    <a:pt x="34" y="250"/>
                    <a:pt x="44" y="250"/>
                  </a:cubicBezTo>
                  <a:cubicBezTo>
                    <a:pt x="48" y="250"/>
                    <a:pt x="54" y="250"/>
                    <a:pt x="60" y="248"/>
                  </a:cubicBezTo>
                  <a:cubicBezTo>
                    <a:pt x="56" y="276"/>
                    <a:pt x="56" y="276"/>
                    <a:pt x="56" y="276"/>
                  </a:cubicBezTo>
                  <a:cubicBezTo>
                    <a:pt x="55" y="276"/>
                    <a:pt x="55" y="276"/>
                    <a:pt x="55" y="276"/>
                  </a:cubicBezTo>
                  <a:cubicBezTo>
                    <a:pt x="49" y="276"/>
                    <a:pt x="45" y="280"/>
                    <a:pt x="45" y="286"/>
                  </a:cubicBezTo>
                  <a:cubicBezTo>
                    <a:pt x="45" y="292"/>
                    <a:pt x="49" y="297"/>
                    <a:pt x="55" y="297"/>
                  </a:cubicBezTo>
                  <a:cubicBezTo>
                    <a:pt x="66" y="297"/>
                    <a:pt x="66" y="297"/>
                    <a:pt x="66" y="297"/>
                  </a:cubicBezTo>
                  <a:cubicBezTo>
                    <a:pt x="215" y="297"/>
                    <a:pt x="215" y="297"/>
                    <a:pt x="215" y="297"/>
                  </a:cubicBezTo>
                  <a:cubicBezTo>
                    <a:pt x="226" y="297"/>
                    <a:pt x="226" y="297"/>
                    <a:pt x="226" y="297"/>
                  </a:cubicBezTo>
                  <a:cubicBezTo>
                    <a:pt x="232" y="297"/>
                    <a:pt x="237" y="292"/>
                    <a:pt x="237" y="286"/>
                  </a:cubicBezTo>
                  <a:cubicBezTo>
                    <a:pt x="237" y="280"/>
                    <a:pt x="232" y="276"/>
                    <a:pt x="226" y="276"/>
                  </a:cubicBezTo>
                  <a:close/>
                  <a:moveTo>
                    <a:pt x="97" y="105"/>
                  </a:moveTo>
                  <a:cubicBezTo>
                    <a:pt x="184" y="105"/>
                    <a:pt x="184" y="105"/>
                    <a:pt x="184" y="105"/>
                  </a:cubicBezTo>
                  <a:cubicBezTo>
                    <a:pt x="191" y="169"/>
                    <a:pt x="191" y="169"/>
                    <a:pt x="191" y="169"/>
                  </a:cubicBezTo>
                  <a:cubicBezTo>
                    <a:pt x="90" y="169"/>
                    <a:pt x="90" y="169"/>
                    <a:pt x="90" y="169"/>
                  </a:cubicBezTo>
                  <a:lnTo>
                    <a:pt x="97" y="105"/>
                  </a:lnTo>
                  <a:close/>
                  <a:moveTo>
                    <a:pt x="99" y="48"/>
                  </a:moveTo>
                  <a:cubicBezTo>
                    <a:pt x="100" y="48"/>
                    <a:pt x="102" y="48"/>
                    <a:pt x="103" y="49"/>
                  </a:cubicBezTo>
                  <a:cubicBezTo>
                    <a:pt x="106" y="49"/>
                    <a:pt x="109" y="49"/>
                    <a:pt x="112" y="47"/>
                  </a:cubicBezTo>
                  <a:cubicBezTo>
                    <a:pt x="114" y="46"/>
                    <a:pt x="116" y="43"/>
                    <a:pt x="116" y="40"/>
                  </a:cubicBezTo>
                  <a:cubicBezTo>
                    <a:pt x="118" y="29"/>
                    <a:pt x="128" y="21"/>
                    <a:pt x="139" y="21"/>
                  </a:cubicBezTo>
                  <a:cubicBezTo>
                    <a:pt x="152" y="21"/>
                    <a:pt x="162" y="31"/>
                    <a:pt x="162" y="43"/>
                  </a:cubicBezTo>
                  <a:cubicBezTo>
                    <a:pt x="162" y="47"/>
                    <a:pt x="164" y="50"/>
                    <a:pt x="167" y="52"/>
                  </a:cubicBezTo>
                  <a:cubicBezTo>
                    <a:pt x="170" y="54"/>
                    <a:pt x="173" y="54"/>
                    <a:pt x="176" y="53"/>
                  </a:cubicBezTo>
                  <a:cubicBezTo>
                    <a:pt x="178" y="53"/>
                    <a:pt x="180" y="52"/>
                    <a:pt x="181" y="52"/>
                  </a:cubicBezTo>
                  <a:cubicBezTo>
                    <a:pt x="190" y="52"/>
                    <a:pt x="198" y="60"/>
                    <a:pt x="198" y="69"/>
                  </a:cubicBezTo>
                  <a:cubicBezTo>
                    <a:pt x="198" y="75"/>
                    <a:pt x="194" y="81"/>
                    <a:pt x="188" y="83"/>
                  </a:cubicBezTo>
                  <a:cubicBezTo>
                    <a:pt x="188" y="84"/>
                    <a:pt x="187" y="84"/>
                    <a:pt x="187" y="84"/>
                  </a:cubicBezTo>
                  <a:cubicBezTo>
                    <a:pt x="88" y="84"/>
                    <a:pt x="88" y="84"/>
                    <a:pt x="88" y="84"/>
                  </a:cubicBezTo>
                  <a:cubicBezTo>
                    <a:pt x="83" y="80"/>
                    <a:pt x="79" y="74"/>
                    <a:pt x="79" y="68"/>
                  </a:cubicBezTo>
                  <a:cubicBezTo>
                    <a:pt x="79" y="57"/>
                    <a:pt x="88" y="48"/>
                    <a:pt x="99" y="48"/>
                  </a:cubicBezTo>
                  <a:close/>
                  <a:moveTo>
                    <a:pt x="34" y="226"/>
                  </a:moveTo>
                  <a:cubicBezTo>
                    <a:pt x="23" y="217"/>
                    <a:pt x="29" y="181"/>
                    <a:pt x="35" y="149"/>
                  </a:cubicBezTo>
                  <a:cubicBezTo>
                    <a:pt x="37" y="139"/>
                    <a:pt x="40" y="132"/>
                    <a:pt x="44" y="130"/>
                  </a:cubicBezTo>
                  <a:cubicBezTo>
                    <a:pt x="51" y="128"/>
                    <a:pt x="63" y="136"/>
                    <a:pt x="71" y="142"/>
                  </a:cubicBezTo>
                  <a:cubicBezTo>
                    <a:pt x="68" y="168"/>
                    <a:pt x="68" y="168"/>
                    <a:pt x="68" y="168"/>
                  </a:cubicBezTo>
                  <a:cubicBezTo>
                    <a:pt x="64" y="169"/>
                    <a:pt x="61" y="173"/>
                    <a:pt x="61" y="178"/>
                  </a:cubicBezTo>
                  <a:cubicBezTo>
                    <a:pt x="61" y="182"/>
                    <a:pt x="63" y="185"/>
                    <a:pt x="66" y="187"/>
                  </a:cubicBezTo>
                  <a:cubicBezTo>
                    <a:pt x="62" y="225"/>
                    <a:pt x="62" y="225"/>
                    <a:pt x="62" y="225"/>
                  </a:cubicBezTo>
                  <a:cubicBezTo>
                    <a:pt x="48" y="230"/>
                    <a:pt x="38" y="230"/>
                    <a:pt x="34" y="226"/>
                  </a:cubicBezTo>
                  <a:close/>
                  <a:moveTo>
                    <a:pt x="78" y="276"/>
                  </a:moveTo>
                  <a:cubicBezTo>
                    <a:pt x="88" y="190"/>
                    <a:pt x="88" y="190"/>
                    <a:pt x="88" y="190"/>
                  </a:cubicBezTo>
                  <a:cubicBezTo>
                    <a:pt x="194" y="190"/>
                    <a:pt x="194" y="190"/>
                    <a:pt x="194" y="190"/>
                  </a:cubicBezTo>
                  <a:cubicBezTo>
                    <a:pt x="203" y="276"/>
                    <a:pt x="203" y="276"/>
                    <a:pt x="203" y="276"/>
                  </a:cubicBezTo>
                  <a:lnTo>
                    <a:pt x="78" y="2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9" name="Freeform 890"/>
          <p:cNvSpPr>
            <a:spLocks noChangeAspect="1" noEditPoints="1"/>
          </p:cNvSpPr>
          <p:nvPr/>
        </p:nvSpPr>
        <p:spPr bwMode="auto">
          <a:xfrm>
            <a:off x="3766847" y="2512469"/>
            <a:ext cx="367982" cy="367982"/>
          </a:xfrm>
          <a:custGeom>
            <a:avLst/>
            <a:gdLst>
              <a:gd name="T0" fmla="*/ 283 w 512"/>
              <a:gd name="T1" fmla="*/ 240 h 512"/>
              <a:gd name="T2" fmla="*/ 298 w 512"/>
              <a:gd name="T3" fmla="*/ 288 h 512"/>
              <a:gd name="T4" fmla="*/ 245 w 512"/>
              <a:gd name="T5" fmla="*/ 288 h 512"/>
              <a:gd name="T6" fmla="*/ 234 w 512"/>
              <a:gd name="T7" fmla="*/ 298 h 512"/>
              <a:gd name="T8" fmla="*/ 234 w 512"/>
              <a:gd name="T9" fmla="*/ 362 h 512"/>
              <a:gd name="T10" fmla="*/ 245 w 512"/>
              <a:gd name="T11" fmla="*/ 373 h 512"/>
              <a:gd name="T12" fmla="*/ 298 w 512"/>
              <a:gd name="T13" fmla="*/ 373 h 512"/>
              <a:gd name="T14" fmla="*/ 298 w 512"/>
              <a:gd name="T15" fmla="*/ 387 h 512"/>
              <a:gd name="T16" fmla="*/ 256 w 512"/>
              <a:gd name="T17" fmla="*/ 394 h 512"/>
              <a:gd name="T18" fmla="*/ 213 w 512"/>
              <a:gd name="T19" fmla="*/ 387 h 512"/>
              <a:gd name="T20" fmla="*/ 213 w 512"/>
              <a:gd name="T21" fmla="*/ 288 h 512"/>
              <a:gd name="T22" fmla="*/ 228 w 512"/>
              <a:gd name="T23" fmla="*/ 240 h 512"/>
              <a:gd name="T24" fmla="*/ 245 w 512"/>
              <a:gd name="T25" fmla="*/ 181 h 512"/>
              <a:gd name="T26" fmla="*/ 245 w 512"/>
              <a:gd name="T27" fmla="*/ 160 h 512"/>
              <a:gd name="T28" fmla="*/ 266 w 512"/>
              <a:gd name="T29" fmla="*/ 160 h 512"/>
              <a:gd name="T30" fmla="*/ 266 w 512"/>
              <a:gd name="T31" fmla="*/ 181 h 512"/>
              <a:gd name="T32" fmla="*/ 283 w 512"/>
              <a:gd name="T33" fmla="*/ 240 h 512"/>
              <a:gd name="T34" fmla="*/ 256 w 512"/>
              <a:gd name="T35" fmla="*/ 352 h 512"/>
              <a:gd name="T36" fmla="*/ 298 w 512"/>
              <a:gd name="T37" fmla="*/ 352 h 512"/>
              <a:gd name="T38" fmla="*/ 298 w 512"/>
              <a:gd name="T39" fmla="*/ 309 h 512"/>
              <a:gd name="T40" fmla="*/ 256 w 512"/>
              <a:gd name="T41" fmla="*/ 309 h 512"/>
              <a:gd name="T42" fmla="*/ 256 w 512"/>
              <a:gd name="T43" fmla="*/ 35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20 w 512"/>
              <a:gd name="T55" fmla="*/ 288 h 512"/>
              <a:gd name="T56" fmla="*/ 303 w 512"/>
              <a:gd name="T57" fmla="*/ 231 h 512"/>
              <a:gd name="T58" fmla="*/ 288 w 512"/>
              <a:gd name="T59" fmla="*/ 181 h 512"/>
              <a:gd name="T60" fmla="*/ 288 w 512"/>
              <a:gd name="T61" fmla="*/ 117 h 512"/>
              <a:gd name="T62" fmla="*/ 256 w 512"/>
              <a:gd name="T63" fmla="*/ 96 h 512"/>
              <a:gd name="T64" fmla="*/ 224 w 512"/>
              <a:gd name="T65" fmla="*/ 117 h 512"/>
              <a:gd name="T66" fmla="*/ 224 w 512"/>
              <a:gd name="T67" fmla="*/ 149 h 512"/>
              <a:gd name="T68" fmla="*/ 224 w 512"/>
              <a:gd name="T69" fmla="*/ 181 h 512"/>
              <a:gd name="T70" fmla="*/ 208 w 512"/>
              <a:gd name="T71" fmla="*/ 231 h 512"/>
              <a:gd name="T72" fmla="*/ 192 w 512"/>
              <a:gd name="T73" fmla="*/ 288 h 512"/>
              <a:gd name="T74" fmla="*/ 192 w 512"/>
              <a:gd name="T75" fmla="*/ 394 h 512"/>
              <a:gd name="T76" fmla="*/ 197 w 512"/>
              <a:gd name="T77" fmla="*/ 404 h 512"/>
              <a:gd name="T78" fmla="*/ 256 w 512"/>
              <a:gd name="T79" fmla="*/ 416 h 512"/>
              <a:gd name="T80" fmla="*/ 314 w 512"/>
              <a:gd name="T81" fmla="*/ 404 h 512"/>
              <a:gd name="T82" fmla="*/ 320 w 512"/>
              <a:gd name="T83" fmla="*/ 394 h 512"/>
              <a:gd name="T84" fmla="*/ 320 w 512"/>
              <a:gd name="T85" fmla="*/ 288 h 512"/>
              <a:gd name="T86" fmla="*/ 266 w 512"/>
              <a:gd name="T87" fmla="*/ 119 h 512"/>
              <a:gd name="T88" fmla="*/ 256 w 512"/>
              <a:gd name="T89" fmla="*/ 117 h 512"/>
              <a:gd name="T90" fmla="*/ 245 w 512"/>
              <a:gd name="T91" fmla="*/ 118 h 512"/>
              <a:gd name="T92" fmla="*/ 245 w 512"/>
              <a:gd name="T93" fmla="*/ 138 h 512"/>
              <a:gd name="T94" fmla="*/ 266 w 512"/>
              <a:gd name="T95" fmla="*/ 138 h 512"/>
              <a:gd name="T96" fmla="*/ 266 w 512"/>
              <a:gd name="T97" fmla="*/ 11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83" y="240"/>
                </a:moveTo>
                <a:cubicBezTo>
                  <a:pt x="291" y="257"/>
                  <a:pt x="298" y="274"/>
                  <a:pt x="298" y="288"/>
                </a:cubicBezTo>
                <a:cubicBezTo>
                  <a:pt x="245" y="288"/>
                  <a:pt x="245" y="288"/>
                  <a:pt x="245" y="288"/>
                </a:cubicBezTo>
                <a:cubicBezTo>
                  <a:pt x="239" y="288"/>
                  <a:pt x="234" y="292"/>
                  <a:pt x="234" y="298"/>
                </a:cubicBezTo>
                <a:cubicBezTo>
                  <a:pt x="234" y="362"/>
                  <a:pt x="234" y="362"/>
                  <a:pt x="234" y="362"/>
                </a:cubicBezTo>
                <a:cubicBezTo>
                  <a:pt x="234" y="368"/>
                  <a:pt x="239" y="373"/>
                  <a:pt x="245" y="373"/>
                </a:cubicBezTo>
                <a:cubicBezTo>
                  <a:pt x="298" y="373"/>
                  <a:pt x="298" y="373"/>
                  <a:pt x="298" y="373"/>
                </a:cubicBezTo>
                <a:cubicBezTo>
                  <a:pt x="298" y="387"/>
                  <a:pt x="298" y="387"/>
                  <a:pt x="298" y="387"/>
                </a:cubicBezTo>
                <a:cubicBezTo>
                  <a:pt x="291" y="390"/>
                  <a:pt x="277" y="394"/>
                  <a:pt x="256" y="394"/>
                </a:cubicBezTo>
                <a:cubicBezTo>
                  <a:pt x="235" y="394"/>
                  <a:pt x="220" y="390"/>
                  <a:pt x="213" y="387"/>
                </a:cubicBezTo>
                <a:cubicBezTo>
                  <a:pt x="213" y="288"/>
                  <a:pt x="213" y="288"/>
                  <a:pt x="213" y="288"/>
                </a:cubicBezTo>
                <a:cubicBezTo>
                  <a:pt x="213" y="274"/>
                  <a:pt x="221" y="257"/>
                  <a:pt x="228" y="240"/>
                </a:cubicBezTo>
                <a:cubicBezTo>
                  <a:pt x="236" y="220"/>
                  <a:pt x="245" y="200"/>
                  <a:pt x="245" y="181"/>
                </a:cubicBezTo>
                <a:cubicBezTo>
                  <a:pt x="245" y="160"/>
                  <a:pt x="245" y="160"/>
                  <a:pt x="245" y="160"/>
                </a:cubicBezTo>
                <a:cubicBezTo>
                  <a:pt x="266" y="160"/>
                  <a:pt x="266" y="160"/>
                  <a:pt x="266" y="160"/>
                </a:cubicBezTo>
                <a:cubicBezTo>
                  <a:pt x="266" y="181"/>
                  <a:pt x="266" y="181"/>
                  <a:pt x="266" y="181"/>
                </a:cubicBezTo>
                <a:cubicBezTo>
                  <a:pt x="266" y="200"/>
                  <a:pt x="275" y="220"/>
                  <a:pt x="283" y="240"/>
                </a:cubicBezTo>
                <a:close/>
                <a:moveTo>
                  <a:pt x="256" y="352"/>
                </a:moveTo>
                <a:cubicBezTo>
                  <a:pt x="298" y="352"/>
                  <a:pt x="298" y="352"/>
                  <a:pt x="298" y="352"/>
                </a:cubicBezTo>
                <a:cubicBezTo>
                  <a:pt x="298" y="309"/>
                  <a:pt x="298" y="309"/>
                  <a:pt x="298" y="309"/>
                </a:cubicBezTo>
                <a:cubicBezTo>
                  <a:pt x="256" y="309"/>
                  <a:pt x="256" y="309"/>
                  <a:pt x="256" y="309"/>
                </a:cubicBezTo>
                <a:lnTo>
                  <a:pt x="25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288"/>
                </a:moveTo>
                <a:cubicBezTo>
                  <a:pt x="320" y="270"/>
                  <a:pt x="311" y="250"/>
                  <a:pt x="303" y="231"/>
                </a:cubicBezTo>
                <a:cubicBezTo>
                  <a:pt x="295" y="214"/>
                  <a:pt x="288" y="195"/>
                  <a:pt x="288" y="181"/>
                </a:cubicBezTo>
                <a:cubicBezTo>
                  <a:pt x="288" y="117"/>
                  <a:pt x="288" y="117"/>
                  <a:pt x="288" y="117"/>
                </a:cubicBezTo>
                <a:cubicBezTo>
                  <a:pt x="288" y="107"/>
                  <a:pt x="279" y="96"/>
                  <a:pt x="256" y="96"/>
                </a:cubicBezTo>
                <a:cubicBezTo>
                  <a:pt x="228" y="96"/>
                  <a:pt x="224" y="109"/>
                  <a:pt x="224" y="117"/>
                </a:cubicBezTo>
                <a:cubicBezTo>
                  <a:pt x="224" y="149"/>
                  <a:pt x="224" y="149"/>
                  <a:pt x="224" y="149"/>
                </a:cubicBezTo>
                <a:cubicBezTo>
                  <a:pt x="224" y="181"/>
                  <a:pt x="224" y="181"/>
                  <a:pt x="224" y="181"/>
                </a:cubicBezTo>
                <a:cubicBezTo>
                  <a:pt x="224" y="195"/>
                  <a:pt x="216" y="214"/>
                  <a:pt x="208" y="231"/>
                </a:cubicBezTo>
                <a:cubicBezTo>
                  <a:pt x="200" y="250"/>
                  <a:pt x="192" y="270"/>
                  <a:pt x="192" y="288"/>
                </a:cubicBezTo>
                <a:cubicBezTo>
                  <a:pt x="192" y="394"/>
                  <a:pt x="192" y="394"/>
                  <a:pt x="192" y="394"/>
                </a:cubicBezTo>
                <a:cubicBezTo>
                  <a:pt x="192" y="398"/>
                  <a:pt x="194" y="402"/>
                  <a:pt x="197" y="404"/>
                </a:cubicBezTo>
                <a:cubicBezTo>
                  <a:pt x="198" y="404"/>
                  <a:pt x="219" y="416"/>
                  <a:pt x="256" y="416"/>
                </a:cubicBezTo>
                <a:cubicBezTo>
                  <a:pt x="293" y="416"/>
                  <a:pt x="313" y="404"/>
                  <a:pt x="314" y="404"/>
                </a:cubicBezTo>
                <a:cubicBezTo>
                  <a:pt x="318" y="402"/>
                  <a:pt x="320" y="398"/>
                  <a:pt x="320" y="394"/>
                </a:cubicBezTo>
                <a:lnTo>
                  <a:pt x="320" y="288"/>
                </a:lnTo>
                <a:close/>
                <a:moveTo>
                  <a:pt x="266" y="119"/>
                </a:moveTo>
                <a:cubicBezTo>
                  <a:pt x="265" y="118"/>
                  <a:pt x="261" y="117"/>
                  <a:pt x="256" y="117"/>
                </a:cubicBezTo>
                <a:cubicBezTo>
                  <a:pt x="249" y="117"/>
                  <a:pt x="246" y="118"/>
                  <a:pt x="245" y="118"/>
                </a:cubicBezTo>
                <a:cubicBezTo>
                  <a:pt x="245" y="138"/>
                  <a:pt x="245" y="138"/>
                  <a:pt x="245" y="138"/>
                </a:cubicBezTo>
                <a:cubicBezTo>
                  <a:pt x="266" y="138"/>
                  <a:pt x="266" y="138"/>
                  <a:pt x="266" y="138"/>
                </a:cubicBezTo>
                <a:lnTo>
                  <a:pt x="266" y="11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0" name="Group 893"/>
          <p:cNvGrpSpPr>
            <a:grpSpLocks noChangeAspect="1"/>
          </p:cNvGrpSpPr>
          <p:nvPr/>
        </p:nvGrpSpPr>
        <p:grpSpPr bwMode="auto">
          <a:xfrm>
            <a:off x="4186432" y="2512469"/>
            <a:ext cx="367982" cy="367982"/>
            <a:chOff x="4449" y="4136"/>
            <a:chExt cx="340" cy="340"/>
          </a:xfrm>
          <a:solidFill>
            <a:schemeClr val="accent4"/>
          </a:solidFill>
        </p:grpSpPr>
        <p:sp>
          <p:nvSpPr>
            <p:cNvPr id="3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3" name="Freeform 1006"/>
          <p:cNvSpPr>
            <a:spLocks noChangeAspect="1" noEditPoints="1"/>
          </p:cNvSpPr>
          <p:nvPr/>
        </p:nvSpPr>
        <p:spPr bwMode="auto">
          <a:xfrm>
            <a:off x="4606017" y="2512469"/>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4" name="Group 1009"/>
          <p:cNvGrpSpPr>
            <a:grpSpLocks noChangeAspect="1"/>
          </p:cNvGrpSpPr>
          <p:nvPr/>
        </p:nvGrpSpPr>
        <p:grpSpPr bwMode="auto">
          <a:xfrm>
            <a:off x="5025602" y="2512469"/>
            <a:ext cx="367982" cy="367982"/>
            <a:chOff x="4876" y="4656"/>
            <a:chExt cx="340" cy="340"/>
          </a:xfrm>
          <a:solidFill>
            <a:schemeClr val="accent5"/>
          </a:solidFill>
        </p:grpSpPr>
        <p:sp>
          <p:nvSpPr>
            <p:cNvPr id="315" name="Freeform 1010"/>
            <p:cNvSpPr>
              <a:spLocks noEditPoints="1"/>
            </p:cNvSpPr>
            <p:nvPr/>
          </p:nvSpPr>
          <p:spPr bwMode="auto">
            <a:xfrm>
              <a:off x="4939" y="4726"/>
              <a:ext cx="214" cy="149"/>
            </a:xfrm>
            <a:custGeom>
              <a:avLst/>
              <a:gdLst>
                <a:gd name="T0" fmla="*/ 317 w 322"/>
                <a:gd name="T1" fmla="*/ 205 h 224"/>
                <a:gd name="T2" fmla="*/ 171 w 322"/>
                <a:gd name="T3" fmla="*/ 91 h 224"/>
                <a:gd name="T4" fmla="*/ 171 w 322"/>
                <a:gd name="T5" fmla="*/ 84 h 224"/>
                <a:gd name="T6" fmla="*/ 203 w 322"/>
                <a:gd name="T7" fmla="*/ 43 h 224"/>
                <a:gd name="T8" fmla="*/ 161 w 322"/>
                <a:gd name="T9" fmla="*/ 0 h 224"/>
                <a:gd name="T10" fmla="*/ 129 w 322"/>
                <a:gd name="T11" fmla="*/ 15 h 224"/>
                <a:gd name="T12" fmla="*/ 118 w 322"/>
                <a:gd name="T13" fmla="*/ 43 h 224"/>
                <a:gd name="T14" fmla="*/ 129 w 322"/>
                <a:gd name="T15" fmla="*/ 54 h 224"/>
                <a:gd name="T16" fmla="*/ 139 w 322"/>
                <a:gd name="T17" fmla="*/ 43 h 224"/>
                <a:gd name="T18" fmla="*/ 145 w 322"/>
                <a:gd name="T19" fmla="*/ 29 h 224"/>
                <a:gd name="T20" fmla="*/ 161 w 322"/>
                <a:gd name="T21" fmla="*/ 22 h 224"/>
                <a:gd name="T22" fmla="*/ 182 w 322"/>
                <a:gd name="T23" fmla="*/ 43 h 224"/>
                <a:gd name="T24" fmla="*/ 161 w 322"/>
                <a:gd name="T25" fmla="*/ 64 h 224"/>
                <a:gd name="T26" fmla="*/ 150 w 322"/>
                <a:gd name="T27" fmla="*/ 75 h 224"/>
                <a:gd name="T28" fmla="*/ 150 w 322"/>
                <a:gd name="T29" fmla="*/ 91 h 224"/>
                <a:gd name="T30" fmla="*/ 5 w 322"/>
                <a:gd name="T31" fmla="*/ 205 h 224"/>
                <a:gd name="T32" fmla="*/ 1 w 322"/>
                <a:gd name="T33" fmla="*/ 217 h 224"/>
                <a:gd name="T34" fmla="*/ 11 w 322"/>
                <a:gd name="T35" fmla="*/ 224 h 224"/>
                <a:gd name="T36" fmla="*/ 310 w 322"/>
                <a:gd name="T37" fmla="*/ 224 h 224"/>
                <a:gd name="T38" fmla="*/ 320 w 322"/>
                <a:gd name="T39" fmla="*/ 217 h 224"/>
                <a:gd name="T40" fmla="*/ 317 w 322"/>
                <a:gd name="T41" fmla="*/ 205 h 224"/>
                <a:gd name="T42" fmla="*/ 42 w 322"/>
                <a:gd name="T43" fmla="*/ 203 h 224"/>
                <a:gd name="T44" fmla="*/ 161 w 322"/>
                <a:gd name="T45" fmla="*/ 110 h 224"/>
                <a:gd name="T46" fmla="*/ 279 w 322"/>
                <a:gd name="T47" fmla="*/ 203 h 224"/>
                <a:gd name="T48" fmla="*/ 42 w 322"/>
                <a:gd name="T49" fmla="*/ 20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2" h="224">
                  <a:moveTo>
                    <a:pt x="317" y="205"/>
                  </a:moveTo>
                  <a:cubicBezTo>
                    <a:pt x="171" y="91"/>
                    <a:pt x="171" y="91"/>
                    <a:pt x="171" y="91"/>
                  </a:cubicBezTo>
                  <a:cubicBezTo>
                    <a:pt x="171" y="84"/>
                    <a:pt x="171" y="84"/>
                    <a:pt x="171" y="84"/>
                  </a:cubicBezTo>
                  <a:cubicBezTo>
                    <a:pt x="190" y="80"/>
                    <a:pt x="203" y="63"/>
                    <a:pt x="203" y="43"/>
                  </a:cubicBezTo>
                  <a:cubicBezTo>
                    <a:pt x="203" y="19"/>
                    <a:pt x="184" y="0"/>
                    <a:pt x="161" y="0"/>
                  </a:cubicBezTo>
                  <a:cubicBezTo>
                    <a:pt x="149" y="0"/>
                    <a:pt x="137" y="6"/>
                    <a:pt x="129" y="15"/>
                  </a:cubicBezTo>
                  <a:cubicBezTo>
                    <a:pt x="122" y="22"/>
                    <a:pt x="118" y="32"/>
                    <a:pt x="118" y="43"/>
                  </a:cubicBezTo>
                  <a:cubicBezTo>
                    <a:pt x="118" y="49"/>
                    <a:pt x="123" y="54"/>
                    <a:pt x="129" y="54"/>
                  </a:cubicBezTo>
                  <a:cubicBezTo>
                    <a:pt x="135" y="54"/>
                    <a:pt x="139" y="49"/>
                    <a:pt x="139" y="43"/>
                  </a:cubicBezTo>
                  <a:cubicBezTo>
                    <a:pt x="139" y="38"/>
                    <a:pt x="141" y="33"/>
                    <a:pt x="145" y="29"/>
                  </a:cubicBezTo>
                  <a:cubicBezTo>
                    <a:pt x="149" y="24"/>
                    <a:pt x="155" y="22"/>
                    <a:pt x="161" y="22"/>
                  </a:cubicBezTo>
                  <a:cubicBezTo>
                    <a:pt x="172" y="22"/>
                    <a:pt x="182" y="31"/>
                    <a:pt x="182" y="43"/>
                  </a:cubicBezTo>
                  <a:cubicBezTo>
                    <a:pt x="182" y="55"/>
                    <a:pt x="172" y="64"/>
                    <a:pt x="161" y="64"/>
                  </a:cubicBezTo>
                  <a:cubicBezTo>
                    <a:pt x="155" y="64"/>
                    <a:pt x="150" y="69"/>
                    <a:pt x="150" y="75"/>
                  </a:cubicBezTo>
                  <a:cubicBezTo>
                    <a:pt x="150" y="91"/>
                    <a:pt x="150" y="91"/>
                    <a:pt x="150" y="91"/>
                  </a:cubicBezTo>
                  <a:cubicBezTo>
                    <a:pt x="5" y="205"/>
                    <a:pt x="5" y="205"/>
                    <a:pt x="5" y="205"/>
                  </a:cubicBezTo>
                  <a:cubicBezTo>
                    <a:pt x="1" y="208"/>
                    <a:pt x="0" y="213"/>
                    <a:pt x="1" y="217"/>
                  </a:cubicBezTo>
                  <a:cubicBezTo>
                    <a:pt x="3" y="221"/>
                    <a:pt x="7" y="224"/>
                    <a:pt x="11" y="224"/>
                  </a:cubicBezTo>
                  <a:cubicBezTo>
                    <a:pt x="310" y="224"/>
                    <a:pt x="310" y="224"/>
                    <a:pt x="310" y="224"/>
                  </a:cubicBezTo>
                  <a:cubicBezTo>
                    <a:pt x="315" y="224"/>
                    <a:pt x="319" y="221"/>
                    <a:pt x="320" y="217"/>
                  </a:cubicBezTo>
                  <a:cubicBezTo>
                    <a:pt x="322" y="213"/>
                    <a:pt x="320" y="208"/>
                    <a:pt x="317" y="205"/>
                  </a:cubicBezTo>
                  <a:close/>
                  <a:moveTo>
                    <a:pt x="42" y="203"/>
                  </a:moveTo>
                  <a:cubicBezTo>
                    <a:pt x="161" y="110"/>
                    <a:pt x="161" y="110"/>
                    <a:pt x="161" y="110"/>
                  </a:cubicBezTo>
                  <a:cubicBezTo>
                    <a:pt x="279" y="203"/>
                    <a:pt x="279" y="203"/>
                    <a:pt x="279" y="203"/>
                  </a:cubicBezTo>
                  <a:lnTo>
                    <a:pt x="42"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1011"/>
            <p:cNvSpPr>
              <a:spLocks noEditPoints="1"/>
            </p:cNvSpPr>
            <p:nvPr/>
          </p:nvSpPr>
          <p:spPr bwMode="auto">
            <a:xfrm>
              <a:off x="4876" y="46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7" name="Freeform 1015"/>
          <p:cNvSpPr>
            <a:spLocks noChangeAspect="1" noEditPoints="1"/>
          </p:cNvSpPr>
          <p:nvPr/>
        </p:nvSpPr>
        <p:spPr bwMode="auto">
          <a:xfrm>
            <a:off x="5445187" y="2512469"/>
            <a:ext cx="367982" cy="369064"/>
          </a:xfrm>
          <a:custGeom>
            <a:avLst/>
            <a:gdLst>
              <a:gd name="T0" fmla="*/ 217 w 512"/>
              <a:gd name="T1" fmla="*/ 202 h 512"/>
              <a:gd name="T2" fmla="*/ 294 w 512"/>
              <a:gd name="T3" fmla="*/ 202 h 512"/>
              <a:gd name="T4" fmla="*/ 256 w 512"/>
              <a:gd name="T5" fmla="*/ 241 h 512"/>
              <a:gd name="T6" fmla="*/ 217 w 512"/>
              <a:gd name="T7" fmla="*/ 202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0 w 512"/>
              <a:gd name="T19" fmla="*/ 141 h 512"/>
              <a:gd name="T20" fmla="*/ 355 w 512"/>
              <a:gd name="T21" fmla="*/ 141 h 512"/>
              <a:gd name="T22" fmla="*/ 315 w 512"/>
              <a:gd name="T23" fmla="*/ 181 h 512"/>
              <a:gd name="T24" fmla="*/ 196 w 512"/>
              <a:gd name="T25" fmla="*/ 181 h 512"/>
              <a:gd name="T26" fmla="*/ 157 w 512"/>
              <a:gd name="T27" fmla="*/ 141 h 512"/>
              <a:gd name="T28" fmla="*/ 141 w 512"/>
              <a:gd name="T29" fmla="*/ 141 h 512"/>
              <a:gd name="T30" fmla="*/ 141 w 512"/>
              <a:gd name="T31" fmla="*/ 157 h 512"/>
              <a:gd name="T32" fmla="*/ 184 w 512"/>
              <a:gd name="T33" fmla="*/ 199 h 512"/>
              <a:gd name="T34" fmla="*/ 184 w 512"/>
              <a:gd name="T35" fmla="*/ 199 h 512"/>
              <a:gd name="T36" fmla="*/ 245 w 512"/>
              <a:gd name="T37" fmla="*/ 260 h 512"/>
              <a:gd name="T38" fmla="*/ 245 w 512"/>
              <a:gd name="T39" fmla="*/ 373 h 512"/>
              <a:gd name="T40" fmla="*/ 202 w 512"/>
              <a:gd name="T41" fmla="*/ 373 h 512"/>
              <a:gd name="T42" fmla="*/ 192 w 512"/>
              <a:gd name="T43" fmla="*/ 384 h 512"/>
              <a:gd name="T44" fmla="*/ 202 w 512"/>
              <a:gd name="T45" fmla="*/ 394 h 512"/>
              <a:gd name="T46" fmla="*/ 309 w 512"/>
              <a:gd name="T47" fmla="*/ 394 h 512"/>
              <a:gd name="T48" fmla="*/ 320 w 512"/>
              <a:gd name="T49" fmla="*/ 384 h 512"/>
              <a:gd name="T50" fmla="*/ 309 w 512"/>
              <a:gd name="T51" fmla="*/ 373 h 512"/>
              <a:gd name="T52" fmla="*/ 266 w 512"/>
              <a:gd name="T53" fmla="*/ 373 h 512"/>
              <a:gd name="T54" fmla="*/ 266 w 512"/>
              <a:gd name="T55" fmla="*/ 260 h 512"/>
              <a:gd name="T56" fmla="*/ 327 w 512"/>
              <a:gd name="T57" fmla="*/ 199 h 512"/>
              <a:gd name="T58" fmla="*/ 327 w 512"/>
              <a:gd name="T59" fmla="*/ 199 h 512"/>
              <a:gd name="T60" fmla="*/ 370 w 512"/>
              <a:gd name="T61" fmla="*/ 157 h 512"/>
              <a:gd name="T62" fmla="*/ 370 w 512"/>
              <a:gd name="T63"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17" y="202"/>
                </a:moveTo>
                <a:cubicBezTo>
                  <a:pt x="294" y="202"/>
                  <a:pt x="294" y="202"/>
                  <a:pt x="294" y="202"/>
                </a:cubicBezTo>
                <a:cubicBezTo>
                  <a:pt x="256" y="241"/>
                  <a:pt x="256" y="241"/>
                  <a:pt x="256" y="241"/>
                </a:cubicBezTo>
                <a:lnTo>
                  <a:pt x="217"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0" y="141"/>
                </a:moveTo>
                <a:cubicBezTo>
                  <a:pt x="366" y="137"/>
                  <a:pt x="359" y="137"/>
                  <a:pt x="355" y="141"/>
                </a:cubicBezTo>
                <a:cubicBezTo>
                  <a:pt x="315" y="181"/>
                  <a:pt x="315" y="181"/>
                  <a:pt x="315" y="181"/>
                </a:cubicBezTo>
                <a:cubicBezTo>
                  <a:pt x="196" y="181"/>
                  <a:pt x="196" y="181"/>
                  <a:pt x="196" y="181"/>
                </a:cubicBezTo>
                <a:cubicBezTo>
                  <a:pt x="157" y="141"/>
                  <a:pt x="157" y="141"/>
                  <a:pt x="157" y="141"/>
                </a:cubicBezTo>
                <a:cubicBezTo>
                  <a:pt x="152" y="137"/>
                  <a:pt x="146" y="137"/>
                  <a:pt x="141" y="141"/>
                </a:cubicBezTo>
                <a:cubicBezTo>
                  <a:pt x="137" y="146"/>
                  <a:pt x="137" y="152"/>
                  <a:pt x="141" y="157"/>
                </a:cubicBezTo>
                <a:cubicBezTo>
                  <a:pt x="184" y="199"/>
                  <a:pt x="184" y="199"/>
                  <a:pt x="184" y="199"/>
                </a:cubicBezTo>
                <a:cubicBezTo>
                  <a:pt x="184" y="199"/>
                  <a:pt x="184" y="199"/>
                  <a:pt x="184" y="199"/>
                </a:cubicBezTo>
                <a:cubicBezTo>
                  <a:pt x="245" y="260"/>
                  <a:pt x="245" y="260"/>
                  <a:pt x="245" y="260"/>
                </a:cubicBezTo>
                <a:cubicBezTo>
                  <a:pt x="245" y="373"/>
                  <a:pt x="245" y="373"/>
                  <a:pt x="245" y="373"/>
                </a:cubicBezTo>
                <a:cubicBezTo>
                  <a:pt x="202" y="373"/>
                  <a:pt x="202" y="373"/>
                  <a:pt x="202" y="373"/>
                </a:cubicBezTo>
                <a:cubicBezTo>
                  <a:pt x="196" y="373"/>
                  <a:pt x="192" y="378"/>
                  <a:pt x="192" y="384"/>
                </a:cubicBezTo>
                <a:cubicBezTo>
                  <a:pt x="192" y="390"/>
                  <a:pt x="196" y="394"/>
                  <a:pt x="202" y="394"/>
                </a:cubicBezTo>
                <a:cubicBezTo>
                  <a:pt x="309" y="394"/>
                  <a:pt x="309" y="394"/>
                  <a:pt x="309" y="394"/>
                </a:cubicBezTo>
                <a:cubicBezTo>
                  <a:pt x="315" y="394"/>
                  <a:pt x="320" y="390"/>
                  <a:pt x="320" y="384"/>
                </a:cubicBezTo>
                <a:cubicBezTo>
                  <a:pt x="320" y="378"/>
                  <a:pt x="315" y="373"/>
                  <a:pt x="309" y="373"/>
                </a:cubicBezTo>
                <a:cubicBezTo>
                  <a:pt x="266" y="373"/>
                  <a:pt x="266" y="373"/>
                  <a:pt x="266" y="373"/>
                </a:cubicBezTo>
                <a:cubicBezTo>
                  <a:pt x="266" y="260"/>
                  <a:pt x="266" y="260"/>
                  <a:pt x="266" y="260"/>
                </a:cubicBezTo>
                <a:cubicBezTo>
                  <a:pt x="327" y="199"/>
                  <a:pt x="327" y="199"/>
                  <a:pt x="327" y="199"/>
                </a:cubicBezTo>
                <a:cubicBezTo>
                  <a:pt x="327" y="199"/>
                  <a:pt x="327" y="199"/>
                  <a:pt x="327" y="199"/>
                </a:cubicBezTo>
                <a:cubicBezTo>
                  <a:pt x="370" y="157"/>
                  <a:pt x="370" y="157"/>
                  <a:pt x="370" y="157"/>
                </a:cubicBezTo>
                <a:cubicBezTo>
                  <a:pt x="374" y="152"/>
                  <a:pt x="374" y="146"/>
                  <a:pt x="370" y="14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8" name="Group 1018"/>
          <p:cNvGrpSpPr>
            <a:grpSpLocks noChangeAspect="1"/>
          </p:cNvGrpSpPr>
          <p:nvPr/>
        </p:nvGrpSpPr>
        <p:grpSpPr bwMode="auto">
          <a:xfrm>
            <a:off x="5864772" y="2512469"/>
            <a:ext cx="369064" cy="369064"/>
            <a:chOff x="5589" y="4650"/>
            <a:chExt cx="341" cy="341"/>
          </a:xfrm>
          <a:solidFill>
            <a:schemeClr val="accent5"/>
          </a:solidFill>
        </p:grpSpPr>
        <p:sp>
          <p:nvSpPr>
            <p:cNvPr id="319" name="Freeform 318"/>
            <p:cNvSpPr>
              <a:spLocks noEditPoints="1"/>
            </p:cNvSpPr>
            <p:nvPr/>
          </p:nvSpPr>
          <p:spPr bwMode="auto">
            <a:xfrm>
              <a:off x="5589" y="4650"/>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319"/>
            <p:cNvSpPr>
              <a:spLocks noEditPoints="1"/>
            </p:cNvSpPr>
            <p:nvPr/>
          </p:nvSpPr>
          <p:spPr bwMode="auto">
            <a:xfrm>
              <a:off x="5680" y="4741"/>
              <a:ext cx="158" cy="171"/>
            </a:xfrm>
            <a:custGeom>
              <a:avLst/>
              <a:gdLst>
                <a:gd name="T0" fmla="*/ 233 w 237"/>
                <a:gd name="T1" fmla="*/ 4 h 257"/>
                <a:gd name="T2" fmla="*/ 218 w 237"/>
                <a:gd name="T3" fmla="*/ 4 h 257"/>
                <a:gd name="T4" fmla="*/ 178 w 237"/>
                <a:gd name="T5" fmla="*/ 44 h 257"/>
                <a:gd name="T6" fmla="*/ 59 w 237"/>
                <a:gd name="T7" fmla="*/ 44 h 257"/>
                <a:gd name="T8" fmla="*/ 20 w 237"/>
                <a:gd name="T9" fmla="*/ 4 h 257"/>
                <a:gd name="T10" fmla="*/ 4 w 237"/>
                <a:gd name="T11" fmla="*/ 4 h 257"/>
                <a:gd name="T12" fmla="*/ 4 w 237"/>
                <a:gd name="T13" fmla="*/ 20 h 257"/>
                <a:gd name="T14" fmla="*/ 47 w 237"/>
                <a:gd name="T15" fmla="*/ 62 h 257"/>
                <a:gd name="T16" fmla="*/ 47 w 237"/>
                <a:gd name="T17" fmla="*/ 62 h 257"/>
                <a:gd name="T18" fmla="*/ 108 w 237"/>
                <a:gd name="T19" fmla="*/ 123 h 257"/>
                <a:gd name="T20" fmla="*/ 108 w 237"/>
                <a:gd name="T21" fmla="*/ 236 h 257"/>
                <a:gd name="T22" fmla="*/ 65 w 237"/>
                <a:gd name="T23" fmla="*/ 236 h 257"/>
                <a:gd name="T24" fmla="*/ 55 w 237"/>
                <a:gd name="T25" fmla="*/ 247 h 257"/>
                <a:gd name="T26" fmla="*/ 65 w 237"/>
                <a:gd name="T27" fmla="*/ 257 h 257"/>
                <a:gd name="T28" fmla="*/ 172 w 237"/>
                <a:gd name="T29" fmla="*/ 257 h 257"/>
                <a:gd name="T30" fmla="*/ 183 w 237"/>
                <a:gd name="T31" fmla="*/ 247 h 257"/>
                <a:gd name="T32" fmla="*/ 172 w 237"/>
                <a:gd name="T33" fmla="*/ 236 h 257"/>
                <a:gd name="T34" fmla="*/ 129 w 237"/>
                <a:gd name="T35" fmla="*/ 236 h 257"/>
                <a:gd name="T36" fmla="*/ 129 w 237"/>
                <a:gd name="T37" fmla="*/ 123 h 257"/>
                <a:gd name="T38" fmla="*/ 190 w 237"/>
                <a:gd name="T39" fmla="*/ 62 h 257"/>
                <a:gd name="T40" fmla="*/ 190 w 237"/>
                <a:gd name="T41" fmla="*/ 62 h 257"/>
                <a:gd name="T42" fmla="*/ 233 w 237"/>
                <a:gd name="T43" fmla="*/ 20 h 257"/>
                <a:gd name="T44" fmla="*/ 233 w 237"/>
                <a:gd name="T45" fmla="*/ 4 h 257"/>
                <a:gd name="T46" fmla="*/ 157 w 237"/>
                <a:gd name="T47" fmla="*/ 65 h 257"/>
                <a:gd name="T48" fmla="*/ 119 w 237"/>
                <a:gd name="T49" fmla="*/ 104 h 257"/>
                <a:gd name="T50" fmla="*/ 80 w 237"/>
                <a:gd name="T51" fmla="*/ 65 h 257"/>
                <a:gd name="T52" fmla="*/ 157 w 237"/>
                <a:gd name="T53"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257">
                  <a:moveTo>
                    <a:pt x="233" y="4"/>
                  </a:moveTo>
                  <a:cubicBezTo>
                    <a:pt x="229" y="0"/>
                    <a:pt x="222" y="0"/>
                    <a:pt x="218" y="4"/>
                  </a:cubicBezTo>
                  <a:cubicBezTo>
                    <a:pt x="178" y="44"/>
                    <a:pt x="178" y="44"/>
                    <a:pt x="178" y="44"/>
                  </a:cubicBezTo>
                  <a:cubicBezTo>
                    <a:pt x="59" y="44"/>
                    <a:pt x="59" y="44"/>
                    <a:pt x="59" y="44"/>
                  </a:cubicBezTo>
                  <a:cubicBezTo>
                    <a:pt x="20" y="4"/>
                    <a:pt x="20" y="4"/>
                    <a:pt x="20" y="4"/>
                  </a:cubicBezTo>
                  <a:cubicBezTo>
                    <a:pt x="15" y="0"/>
                    <a:pt x="9" y="0"/>
                    <a:pt x="4" y="4"/>
                  </a:cubicBezTo>
                  <a:cubicBezTo>
                    <a:pt x="0" y="9"/>
                    <a:pt x="0" y="15"/>
                    <a:pt x="4" y="20"/>
                  </a:cubicBezTo>
                  <a:cubicBezTo>
                    <a:pt x="47" y="62"/>
                    <a:pt x="47" y="62"/>
                    <a:pt x="47" y="62"/>
                  </a:cubicBezTo>
                  <a:cubicBezTo>
                    <a:pt x="47" y="62"/>
                    <a:pt x="47" y="62"/>
                    <a:pt x="47" y="62"/>
                  </a:cubicBezTo>
                  <a:cubicBezTo>
                    <a:pt x="108" y="123"/>
                    <a:pt x="108" y="123"/>
                    <a:pt x="108" y="123"/>
                  </a:cubicBezTo>
                  <a:cubicBezTo>
                    <a:pt x="108" y="236"/>
                    <a:pt x="108" y="236"/>
                    <a:pt x="108" y="236"/>
                  </a:cubicBezTo>
                  <a:cubicBezTo>
                    <a:pt x="65" y="236"/>
                    <a:pt x="65" y="236"/>
                    <a:pt x="65" y="236"/>
                  </a:cubicBezTo>
                  <a:cubicBezTo>
                    <a:pt x="59" y="236"/>
                    <a:pt x="55" y="241"/>
                    <a:pt x="55" y="247"/>
                  </a:cubicBezTo>
                  <a:cubicBezTo>
                    <a:pt x="55" y="253"/>
                    <a:pt x="59" y="257"/>
                    <a:pt x="65" y="257"/>
                  </a:cubicBezTo>
                  <a:cubicBezTo>
                    <a:pt x="172" y="257"/>
                    <a:pt x="172" y="257"/>
                    <a:pt x="172" y="257"/>
                  </a:cubicBezTo>
                  <a:cubicBezTo>
                    <a:pt x="178" y="257"/>
                    <a:pt x="183" y="253"/>
                    <a:pt x="183" y="247"/>
                  </a:cubicBezTo>
                  <a:cubicBezTo>
                    <a:pt x="183" y="241"/>
                    <a:pt x="178" y="236"/>
                    <a:pt x="172" y="236"/>
                  </a:cubicBezTo>
                  <a:cubicBezTo>
                    <a:pt x="129" y="236"/>
                    <a:pt x="129" y="236"/>
                    <a:pt x="129" y="236"/>
                  </a:cubicBezTo>
                  <a:cubicBezTo>
                    <a:pt x="129" y="123"/>
                    <a:pt x="129" y="123"/>
                    <a:pt x="129" y="123"/>
                  </a:cubicBezTo>
                  <a:cubicBezTo>
                    <a:pt x="190" y="62"/>
                    <a:pt x="190" y="62"/>
                    <a:pt x="190" y="62"/>
                  </a:cubicBezTo>
                  <a:cubicBezTo>
                    <a:pt x="190" y="62"/>
                    <a:pt x="190" y="62"/>
                    <a:pt x="190" y="62"/>
                  </a:cubicBezTo>
                  <a:cubicBezTo>
                    <a:pt x="233" y="20"/>
                    <a:pt x="233" y="20"/>
                    <a:pt x="233" y="20"/>
                  </a:cubicBezTo>
                  <a:cubicBezTo>
                    <a:pt x="237" y="15"/>
                    <a:pt x="237" y="9"/>
                    <a:pt x="233" y="4"/>
                  </a:cubicBezTo>
                  <a:close/>
                  <a:moveTo>
                    <a:pt x="157" y="65"/>
                  </a:moveTo>
                  <a:cubicBezTo>
                    <a:pt x="119" y="104"/>
                    <a:pt x="119" y="104"/>
                    <a:pt x="119" y="104"/>
                  </a:cubicBezTo>
                  <a:cubicBezTo>
                    <a:pt x="80" y="65"/>
                    <a:pt x="80" y="65"/>
                    <a:pt x="80" y="65"/>
                  </a:cubicBezTo>
                  <a:lnTo>
                    <a:pt x="157" y="6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1" name="Group 682"/>
          <p:cNvGrpSpPr>
            <a:grpSpLocks noChangeAspect="1"/>
          </p:cNvGrpSpPr>
          <p:nvPr/>
        </p:nvGrpSpPr>
        <p:grpSpPr bwMode="auto">
          <a:xfrm>
            <a:off x="6706718" y="2512469"/>
            <a:ext cx="369676" cy="369676"/>
            <a:chOff x="1144" y="2344"/>
            <a:chExt cx="340" cy="340"/>
          </a:xfrm>
          <a:solidFill>
            <a:schemeClr val="accent1"/>
          </a:solidFill>
        </p:grpSpPr>
        <p:sp>
          <p:nvSpPr>
            <p:cNvPr id="322" name="Freeform 683"/>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684"/>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4" name="Freeform 688"/>
          <p:cNvSpPr>
            <a:spLocks noChangeAspect="1" noEditPoints="1"/>
          </p:cNvSpPr>
          <p:nvPr/>
        </p:nvSpPr>
        <p:spPr bwMode="auto">
          <a:xfrm>
            <a:off x="6285439" y="251246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5" name="Group 495"/>
          <p:cNvGrpSpPr>
            <a:grpSpLocks noChangeAspect="1"/>
          </p:cNvGrpSpPr>
          <p:nvPr/>
        </p:nvGrpSpPr>
        <p:grpSpPr bwMode="auto">
          <a:xfrm>
            <a:off x="7549276" y="2512469"/>
            <a:ext cx="369676" cy="370763"/>
            <a:chOff x="7361" y="1880"/>
            <a:chExt cx="340" cy="341"/>
          </a:xfrm>
          <a:solidFill>
            <a:schemeClr val="accent6"/>
          </a:solidFill>
        </p:grpSpPr>
        <p:sp>
          <p:nvSpPr>
            <p:cNvPr id="326" name="Freeform 496"/>
            <p:cNvSpPr>
              <a:spLocks noEditPoints="1"/>
            </p:cNvSpPr>
            <p:nvPr/>
          </p:nvSpPr>
          <p:spPr bwMode="auto">
            <a:xfrm>
              <a:off x="7361" y="188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497"/>
            <p:cNvSpPr>
              <a:spLocks noEditPoints="1"/>
            </p:cNvSpPr>
            <p:nvPr/>
          </p:nvSpPr>
          <p:spPr bwMode="auto">
            <a:xfrm>
              <a:off x="7453" y="1944"/>
              <a:ext cx="156" cy="213"/>
            </a:xfrm>
            <a:custGeom>
              <a:avLst/>
              <a:gdLst>
                <a:gd name="T0" fmla="*/ 224 w 235"/>
                <a:gd name="T1" fmla="*/ 42 h 320"/>
                <a:gd name="T2" fmla="*/ 214 w 235"/>
                <a:gd name="T3" fmla="*/ 42 h 320"/>
                <a:gd name="T4" fmla="*/ 213 w 235"/>
                <a:gd name="T5" fmla="*/ 39 h 320"/>
                <a:gd name="T6" fmla="*/ 202 w 235"/>
                <a:gd name="T7" fmla="*/ 7 h 320"/>
                <a:gd name="T8" fmla="*/ 192 w 235"/>
                <a:gd name="T9" fmla="*/ 0 h 320"/>
                <a:gd name="T10" fmla="*/ 43 w 235"/>
                <a:gd name="T11" fmla="*/ 0 h 320"/>
                <a:gd name="T12" fmla="*/ 33 w 235"/>
                <a:gd name="T13" fmla="*/ 7 h 320"/>
                <a:gd name="T14" fmla="*/ 22 w 235"/>
                <a:gd name="T15" fmla="*/ 39 h 320"/>
                <a:gd name="T16" fmla="*/ 22 w 235"/>
                <a:gd name="T17" fmla="*/ 42 h 320"/>
                <a:gd name="T18" fmla="*/ 11 w 235"/>
                <a:gd name="T19" fmla="*/ 42 h 320"/>
                <a:gd name="T20" fmla="*/ 0 w 235"/>
                <a:gd name="T21" fmla="*/ 53 h 320"/>
                <a:gd name="T22" fmla="*/ 11 w 235"/>
                <a:gd name="T23" fmla="*/ 64 h 320"/>
                <a:gd name="T24" fmla="*/ 23 w 235"/>
                <a:gd name="T25" fmla="*/ 64 h 320"/>
                <a:gd name="T26" fmla="*/ 27 w 235"/>
                <a:gd name="T27" fmla="*/ 117 h 320"/>
                <a:gd name="T28" fmla="*/ 22 w 235"/>
                <a:gd name="T29" fmla="*/ 117 h 320"/>
                <a:gd name="T30" fmla="*/ 14 w 235"/>
                <a:gd name="T31" fmla="*/ 120 h 320"/>
                <a:gd name="T32" fmla="*/ 11 w 235"/>
                <a:gd name="T33" fmla="*/ 129 h 320"/>
                <a:gd name="T34" fmla="*/ 22 w 235"/>
                <a:gd name="T35" fmla="*/ 246 h 320"/>
                <a:gd name="T36" fmla="*/ 32 w 235"/>
                <a:gd name="T37" fmla="*/ 256 h 320"/>
                <a:gd name="T38" fmla="*/ 39 w 235"/>
                <a:gd name="T39" fmla="*/ 256 h 320"/>
                <a:gd name="T40" fmla="*/ 43 w 235"/>
                <a:gd name="T41" fmla="*/ 310 h 320"/>
                <a:gd name="T42" fmla="*/ 54 w 235"/>
                <a:gd name="T43" fmla="*/ 320 h 320"/>
                <a:gd name="T44" fmla="*/ 182 w 235"/>
                <a:gd name="T45" fmla="*/ 320 h 320"/>
                <a:gd name="T46" fmla="*/ 192 w 235"/>
                <a:gd name="T47" fmla="*/ 310 h 320"/>
                <a:gd name="T48" fmla="*/ 197 w 235"/>
                <a:gd name="T49" fmla="*/ 256 h 320"/>
                <a:gd name="T50" fmla="*/ 203 w 235"/>
                <a:gd name="T51" fmla="*/ 256 h 320"/>
                <a:gd name="T52" fmla="*/ 214 w 235"/>
                <a:gd name="T53" fmla="*/ 246 h 320"/>
                <a:gd name="T54" fmla="*/ 224 w 235"/>
                <a:gd name="T55" fmla="*/ 129 h 320"/>
                <a:gd name="T56" fmla="*/ 222 w 235"/>
                <a:gd name="T57" fmla="*/ 120 h 320"/>
                <a:gd name="T58" fmla="*/ 214 w 235"/>
                <a:gd name="T59" fmla="*/ 117 h 320"/>
                <a:gd name="T60" fmla="*/ 208 w 235"/>
                <a:gd name="T61" fmla="*/ 117 h 320"/>
                <a:gd name="T62" fmla="*/ 213 w 235"/>
                <a:gd name="T63" fmla="*/ 64 h 320"/>
                <a:gd name="T64" fmla="*/ 224 w 235"/>
                <a:gd name="T65" fmla="*/ 64 h 320"/>
                <a:gd name="T66" fmla="*/ 235 w 235"/>
                <a:gd name="T67" fmla="*/ 53 h 320"/>
                <a:gd name="T68" fmla="*/ 224 w 235"/>
                <a:gd name="T69" fmla="*/ 42 h 320"/>
                <a:gd name="T70" fmla="*/ 51 w 235"/>
                <a:gd name="T71" fmla="*/ 21 h 320"/>
                <a:gd name="T72" fmla="*/ 185 w 235"/>
                <a:gd name="T73" fmla="*/ 21 h 320"/>
                <a:gd name="T74" fmla="*/ 192 w 235"/>
                <a:gd name="T75" fmla="*/ 42 h 320"/>
                <a:gd name="T76" fmla="*/ 44 w 235"/>
                <a:gd name="T77" fmla="*/ 42 h 320"/>
                <a:gd name="T78" fmla="*/ 51 w 235"/>
                <a:gd name="T79" fmla="*/ 21 h 320"/>
                <a:gd name="T80" fmla="*/ 172 w 235"/>
                <a:gd name="T81" fmla="*/ 298 h 320"/>
                <a:gd name="T82" fmla="*/ 63 w 235"/>
                <a:gd name="T83" fmla="*/ 298 h 320"/>
                <a:gd name="T84" fmla="*/ 60 w 235"/>
                <a:gd name="T85" fmla="*/ 256 h 320"/>
                <a:gd name="T86" fmla="*/ 175 w 235"/>
                <a:gd name="T87" fmla="*/ 256 h 320"/>
                <a:gd name="T88" fmla="*/ 172 w 235"/>
                <a:gd name="T89" fmla="*/ 298 h 320"/>
                <a:gd name="T90" fmla="*/ 193 w 235"/>
                <a:gd name="T91" fmla="*/ 234 h 320"/>
                <a:gd name="T92" fmla="*/ 42 w 235"/>
                <a:gd name="T93" fmla="*/ 234 h 320"/>
                <a:gd name="T94" fmla="*/ 33 w 235"/>
                <a:gd name="T95" fmla="*/ 138 h 320"/>
                <a:gd name="T96" fmla="*/ 202 w 235"/>
                <a:gd name="T97" fmla="*/ 138 h 320"/>
                <a:gd name="T98" fmla="*/ 193 w 235"/>
                <a:gd name="T99" fmla="*/ 234 h 320"/>
                <a:gd name="T100" fmla="*/ 187 w 235"/>
                <a:gd name="T101" fmla="*/ 117 h 320"/>
                <a:gd name="T102" fmla="*/ 48 w 235"/>
                <a:gd name="T103" fmla="*/ 117 h 320"/>
                <a:gd name="T104" fmla="*/ 44 w 235"/>
                <a:gd name="T105" fmla="*/ 64 h 320"/>
                <a:gd name="T106" fmla="*/ 191 w 235"/>
                <a:gd name="T107" fmla="*/ 64 h 320"/>
                <a:gd name="T108" fmla="*/ 187 w 235"/>
                <a:gd name="T109"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42"/>
                  </a:moveTo>
                  <a:cubicBezTo>
                    <a:pt x="214" y="42"/>
                    <a:pt x="214" y="42"/>
                    <a:pt x="214" y="42"/>
                  </a:cubicBezTo>
                  <a:cubicBezTo>
                    <a:pt x="214" y="41"/>
                    <a:pt x="213" y="40"/>
                    <a:pt x="213" y="39"/>
                  </a:cubicBezTo>
                  <a:cubicBezTo>
                    <a:pt x="202" y="7"/>
                    <a:pt x="202" y="7"/>
                    <a:pt x="202" y="7"/>
                  </a:cubicBezTo>
                  <a:cubicBezTo>
                    <a:pt x="201" y="3"/>
                    <a:pt x="197" y="0"/>
                    <a:pt x="192" y="0"/>
                  </a:cubicBezTo>
                  <a:cubicBezTo>
                    <a:pt x="43" y="0"/>
                    <a:pt x="43" y="0"/>
                    <a:pt x="43" y="0"/>
                  </a:cubicBezTo>
                  <a:cubicBezTo>
                    <a:pt x="38" y="0"/>
                    <a:pt x="34" y="3"/>
                    <a:pt x="33" y="7"/>
                  </a:cubicBezTo>
                  <a:cubicBezTo>
                    <a:pt x="22" y="39"/>
                    <a:pt x="22" y="39"/>
                    <a:pt x="22" y="39"/>
                  </a:cubicBezTo>
                  <a:cubicBezTo>
                    <a:pt x="22" y="40"/>
                    <a:pt x="22" y="41"/>
                    <a:pt x="22" y="42"/>
                  </a:cubicBezTo>
                  <a:cubicBezTo>
                    <a:pt x="11" y="42"/>
                    <a:pt x="11" y="42"/>
                    <a:pt x="11" y="42"/>
                  </a:cubicBezTo>
                  <a:cubicBezTo>
                    <a:pt x="5" y="42"/>
                    <a:pt x="0" y="47"/>
                    <a:pt x="0" y="53"/>
                  </a:cubicBezTo>
                  <a:cubicBezTo>
                    <a:pt x="0" y="59"/>
                    <a:pt x="5" y="64"/>
                    <a:pt x="11" y="64"/>
                  </a:cubicBezTo>
                  <a:cubicBezTo>
                    <a:pt x="23" y="64"/>
                    <a:pt x="23" y="64"/>
                    <a:pt x="23" y="64"/>
                  </a:cubicBezTo>
                  <a:cubicBezTo>
                    <a:pt x="27" y="117"/>
                    <a:pt x="27" y="117"/>
                    <a:pt x="27" y="117"/>
                  </a:cubicBezTo>
                  <a:cubicBezTo>
                    <a:pt x="22" y="117"/>
                    <a:pt x="22" y="117"/>
                    <a:pt x="22" y="117"/>
                  </a:cubicBezTo>
                  <a:cubicBezTo>
                    <a:pt x="19" y="117"/>
                    <a:pt x="16" y="118"/>
                    <a:pt x="14" y="120"/>
                  </a:cubicBezTo>
                  <a:cubicBezTo>
                    <a:pt x="12" y="123"/>
                    <a:pt x="11" y="126"/>
                    <a:pt x="11" y="129"/>
                  </a:cubicBezTo>
                  <a:cubicBezTo>
                    <a:pt x="22" y="246"/>
                    <a:pt x="22" y="246"/>
                    <a:pt x="22" y="246"/>
                  </a:cubicBezTo>
                  <a:cubicBezTo>
                    <a:pt x="22" y="251"/>
                    <a:pt x="27" y="256"/>
                    <a:pt x="32" y="256"/>
                  </a:cubicBezTo>
                  <a:cubicBezTo>
                    <a:pt x="39" y="256"/>
                    <a:pt x="39" y="256"/>
                    <a:pt x="39" y="256"/>
                  </a:cubicBezTo>
                  <a:cubicBezTo>
                    <a:pt x="43" y="310"/>
                    <a:pt x="43" y="310"/>
                    <a:pt x="43" y="310"/>
                  </a:cubicBezTo>
                  <a:cubicBezTo>
                    <a:pt x="43" y="315"/>
                    <a:pt x="48" y="320"/>
                    <a:pt x="54" y="320"/>
                  </a:cubicBezTo>
                  <a:cubicBezTo>
                    <a:pt x="182" y="320"/>
                    <a:pt x="182" y="320"/>
                    <a:pt x="182" y="320"/>
                  </a:cubicBezTo>
                  <a:cubicBezTo>
                    <a:pt x="187" y="320"/>
                    <a:pt x="192" y="315"/>
                    <a:pt x="192" y="310"/>
                  </a:cubicBezTo>
                  <a:cubicBezTo>
                    <a:pt x="197" y="256"/>
                    <a:pt x="197" y="256"/>
                    <a:pt x="197" y="256"/>
                  </a:cubicBezTo>
                  <a:cubicBezTo>
                    <a:pt x="203" y="256"/>
                    <a:pt x="203" y="256"/>
                    <a:pt x="203" y="256"/>
                  </a:cubicBezTo>
                  <a:cubicBezTo>
                    <a:pt x="209" y="256"/>
                    <a:pt x="213" y="251"/>
                    <a:pt x="214" y="246"/>
                  </a:cubicBezTo>
                  <a:cubicBezTo>
                    <a:pt x="224" y="129"/>
                    <a:pt x="224" y="129"/>
                    <a:pt x="224" y="129"/>
                  </a:cubicBezTo>
                  <a:cubicBezTo>
                    <a:pt x="225" y="126"/>
                    <a:pt x="224" y="123"/>
                    <a:pt x="222" y="120"/>
                  </a:cubicBezTo>
                  <a:cubicBezTo>
                    <a:pt x="220" y="118"/>
                    <a:pt x="217" y="117"/>
                    <a:pt x="214" y="117"/>
                  </a:cubicBezTo>
                  <a:cubicBezTo>
                    <a:pt x="208" y="117"/>
                    <a:pt x="208" y="117"/>
                    <a:pt x="208" y="117"/>
                  </a:cubicBezTo>
                  <a:cubicBezTo>
                    <a:pt x="213" y="64"/>
                    <a:pt x="213" y="64"/>
                    <a:pt x="213" y="64"/>
                  </a:cubicBezTo>
                  <a:cubicBezTo>
                    <a:pt x="224" y="64"/>
                    <a:pt x="224" y="64"/>
                    <a:pt x="224" y="64"/>
                  </a:cubicBezTo>
                  <a:cubicBezTo>
                    <a:pt x="230" y="64"/>
                    <a:pt x="235" y="59"/>
                    <a:pt x="235" y="53"/>
                  </a:cubicBezTo>
                  <a:cubicBezTo>
                    <a:pt x="235" y="47"/>
                    <a:pt x="230" y="42"/>
                    <a:pt x="224" y="42"/>
                  </a:cubicBezTo>
                  <a:close/>
                  <a:moveTo>
                    <a:pt x="51" y="21"/>
                  </a:moveTo>
                  <a:cubicBezTo>
                    <a:pt x="185" y="21"/>
                    <a:pt x="185" y="21"/>
                    <a:pt x="185" y="21"/>
                  </a:cubicBezTo>
                  <a:cubicBezTo>
                    <a:pt x="192" y="42"/>
                    <a:pt x="192" y="42"/>
                    <a:pt x="192" y="42"/>
                  </a:cubicBezTo>
                  <a:cubicBezTo>
                    <a:pt x="44" y="42"/>
                    <a:pt x="44" y="42"/>
                    <a:pt x="44" y="42"/>
                  </a:cubicBezTo>
                  <a:lnTo>
                    <a:pt x="51" y="21"/>
                  </a:lnTo>
                  <a:close/>
                  <a:moveTo>
                    <a:pt x="172" y="298"/>
                  </a:moveTo>
                  <a:cubicBezTo>
                    <a:pt x="63" y="298"/>
                    <a:pt x="63" y="298"/>
                    <a:pt x="63" y="298"/>
                  </a:cubicBezTo>
                  <a:cubicBezTo>
                    <a:pt x="60" y="256"/>
                    <a:pt x="60" y="256"/>
                    <a:pt x="60" y="256"/>
                  </a:cubicBezTo>
                  <a:cubicBezTo>
                    <a:pt x="175" y="256"/>
                    <a:pt x="175" y="256"/>
                    <a:pt x="175" y="256"/>
                  </a:cubicBezTo>
                  <a:lnTo>
                    <a:pt x="172" y="298"/>
                  </a:lnTo>
                  <a:close/>
                  <a:moveTo>
                    <a:pt x="193" y="234"/>
                  </a:moveTo>
                  <a:cubicBezTo>
                    <a:pt x="42" y="234"/>
                    <a:pt x="42" y="234"/>
                    <a:pt x="42" y="234"/>
                  </a:cubicBezTo>
                  <a:cubicBezTo>
                    <a:pt x="33" y="138"/>
                    <a:pt x="33" y="138"/>
                    <a:pt x="33" y="138"/>
                  </a:cubicBezTo>
                  <a:cubicBezTo>
                    <a:pt x="202" y="138"/>
                    <a:pt x="202" y="138"/>
                    <a:pt x="202" y="138"/>
                  </a:cubicBezTo>
                  <a:lnTo>
                    <a:pt x="193" y="234"/>
                  </a:lnTo>
                  <a:close/>
                  <a:moveTo>
                    <a:pt x="187" y="117"/>
                  </a:moveTo>
                  <a:cubicBezTo>
                    <a:pt x="48" y="117"/>
                    <a:pt x="48" y="117"/>
                    <a:pt x="48" y="117"/>
                  </a:cubicBezTo>
                  <a:cubicBezTo>
                    <a:pt x="44" y="64"/>
                    <a:pt x="44" y="64"/>
                    <a:pt x="44" y="64"/>
                  </a:cubicBezTo>
                  <a:cubicBezTo>
                    <a:pt x="191" y="64"/>
                    <a:pt x="191" y="64"/>
                    <a:pt x="191" y="64"/>
                  </a:cubicBezTo>
                  <a:lnTo>
                    <a:pt x="187"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8" name="Freeform 501"/>
          <p:cNvSpPr>
            <a:spLocks noChangeAspect="1" noEditPoints="1"/>
          </p:cNvSpPr>
          <p:nvPr/>
        </p:nvSpPr>
        <p:spPr bwMode="auto">
          <a:xfrm>
            <a:off x="7127997" y="2512469"/>
            <a:ext cx="369676" cy="370763"/>
          </a:xfrm>
          <a:custGeom>
            <a:avLst/>
            <a:gdLst>
              <a:gd name="T0" fmla="*/ 186 w 512"/>
              <a:gd name="T1" fmla="*/ 213 h 512"/>
              <a:gd name="T2" fmla="*/ 182 w 512"/>
              <a:gd name="T3" fmla="*/ 160 h 512"/>
              <a:gd name="T4" fmla="*/ 329 w 512"/>
              <a:gd name="T5" fmla="*/ 160 h 512"/>
              <a:gd name="T6" fmla="*/ 325 w 512"/>
              <a:gd name="T7" fmla="*/ 213 h 512"/>
              <a:gd name="T8" fmla="*/ 186 w 512"/>
              <a:gd name="T9" fmla="*/ 213 h 512"/>
              <a:gd name="T10" fmla="*/ 201 w 512"/>
              <a:gd name="T11" fmla="*/ 394 h 512"/>
              <a:gd name="T12" fmla="*/ 310 w 512"/>
              <a:gd name="T13" fmla="*/ 394 h 512"/>
              <a:gd name="T14" fmla="*/ 313 w 512"/>
              <a:gd name="T15" fmla="*/ 352 h 512"/>
              <a:gd name="T16" fmla="*/ 198 w 512"/>
              <a:gd name="T17" fmla="*/ 352 h 512"/>
              <a:gd name="T18" fmla="*/ 201 w 512"/>
              <a:gd name="T19" fmla="*/ 394 h 512"/>
              <a:gd name="T20" fmla="*/ 323 w 512"/>
              <a:gd name="T21" fmla="*/ 117 h 512"/>
              <a:gd name="T22" fmla="*/ 189 w 512"/>
              <a:gd name="T23" fmla="*/ 117 h 512"/>
              <a:gd name="T24" fmla="*/ 182 w 512"/>
              <a:gd name="T25" fmla="*/ 138 h 512"/>
              <a:gd name="T26" fmla="*/ 330 w 512"/>
              <a:gd name="T27" fmla="*/ 138 h 512"/>
              <a:gd name="T28" fmla="*/ 323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149 h 512"/>
              <a:gd name="T42" fmla="*/ 362 w 512"/>
              <a:gd name="T43" fmla="*/ 138 h 512"/>
              <a:gd name="T44" fmla="*/ 352 w 512"/>
              <a:gd name="T45" fmla="*/ 138 h 512"/>
              <a:gd name="T46" fmla="*/ 351 w 512"/>
              <a:gd name="T47" fmla="*/ 135 h 512"/>
              <a:gd name="T48" fmla="*/ 340 w 512"/>
              <a:gd name="T49" fmla="*/ 103 h 512"/>
              <a:gd name="T50" fmla="*/ 330 w 512"/>
              <a:gd name="T51" fmla="*/ 96 h 512"/>
              <a:gd name="T52" fmla="*/ 181 w 512"/>
              <a:gd name="T53" fmla="*/ 96 h 512"/>
              <a:gd name="T54" fmla="*/ 171 w 512"/>
              <a:gd name="T55" fmla="*/ 103 h 512"/>
              <a:gd name="T56" fmla="*/ 160 w 512"/>
              <a:gd name="T57" fmla="*/ 135 h 512"/>
              <a:gd name="T58" fmla="*/ 160 w 512"/>
              <a:gd name="T59" fmla="*/ 138 h 512"/>
              <a:gd name="T60" fmla="*/ 149 w 512"/>
              <a:gd name="T61" fmla="*/ 138 h 512"/>
              <a:gd name="T62" fmla="*/ 138 w 512"/>
              <a:gd name="T63" fmla="*/ 149 h 512"/>
              <a:gd name="T64" fmla="*/ 149 w 512"/>
              <a:gd name="T65" fmla="*/ 160 h 512"/>
              <a:gd name="T66" fmla="*/ 161 w 512"/>
              <a:gd name="T67" fmla="*/ 160 h 512"/>
              <a:gd name="T68" fmla="*/ 165 w 512"/>
              <a:gd name="T69" fmla="*/ 213 h 512"/>
              <a:gd name="T70" fmla="*/ 160 w 512"/>
              <a:gd name="T71" fmla="*/ 213 h 512"/>
              <a:gd name="T72" fmla="*/ 152 w 512"/>
              <a:gd name="T73" fmla="*/ 216 h 512"/>
              <a:gd name="T74" fmla="*/ 149 w 512"/>
              <a:gd name="T75" fmla="*/ 225 h 512"/>
              <a:gd name="T76" fmla="*/ 160 w 512"/>
              <a:gd name="T77" fmla="*/ 342 h 512"/>
              <a:gd name="T78" fmla="*/ 170 w 512"/>
              <a:gd name="T79" fmla="*/ 352 h 512"/>
              <a:gd name="T80" fmla="*/ 177 w 512"/>
              <a:gd name="T81" fmla="*/ 352 h 512"/>
              <a:gd name="T82" fmla="*/ 181 w 512"/>
              <a:gd name="T83" fmla="*/ 406 h 512"/>
              <a:gd name="T84" fmla="*/ 192 w 512"/>
              <a:gd name="T85" fmla="*/ 416 h 512"/>
              <a:gd name="T86" fmla="*/ 320 w 512"/>
              <a:gd name="T87" fmla="*/ 416 h 512"/>
              <a:gd name="T88" fmla="*/ 330 w 512"/>
              <a:gd name="T89" fmla="*/ 406 h 512"/>
              <a:gd name="T90" fmla="*/ 335 w 512"/>
              <a:gd name="T91" fmla="*/ 352 h 512"/>
              <a:gd name="T92" fmla="*/ 341 w 512"/>
              <a:gd name="T93" fmla="*/ 352 h 512"/>
              <a:gd name="T94" fmla="*/ 352 w 512"/>
              <a:gd name="T95" fmla="*/ 342 h 512"/>
              <a:gd name="T96" fmla="*/ 362 w 512"/>
              <a:gd name="T97" fmla="*/ 225 h 512"/>
              <a:gd name="T98" fmla="*/ 360 w 512"/>
              <a:gd name="T99" fmla="*/ 216 h 512"/>
              <a:gd name="T100" fmla="*/ 352 w 512"/>
              <a:gd name="T101" fmla="*/ 213 h 512"/>
              <a:gd name="T102" fmla="*/ 346 w 512"/>
              <a:gd name="T103" fmla="*/ 213 h 512"/>
              <a:gd name="T104" fmla="*/ 351 w 512"/>
              <a:gd name="T105" fmla="*/ 160 h 512"/>
              <a:gd name="T106" fmla="*/ 362 w 512"/>
              <a:gd name="T107" fmla="*/ 160 h 512"/>
              <a:gd name="T108" fmla="*/ 373 w 512"/>
              <a:gd name="T109" fmla="*/ 149 h 512"/>
              <a:gd name="T110" fmla="*/ 180 w 512"/>
              <a:gd name="T111" fmla="*/ 330 h 512"/>
              <a:gd name="T112" fmla="*/ 331 w 512"/>
              <a:gd name="T113" fmla="*/ 330 h 512"/>
              <a:gd name="T114" fmla="*/ 340 w 512"/>
              <a:gd name="T115" fmla="*/ 234 h 512"/>
              <a:gd name="T116" fmla="*/ 171 w 512"/>
              <a:gd name="T117" fmla="*/ 234 h 512"/>
              <a:gd name="T118" fmla="*/ 180 w 512"/>
              <a:gd name="T11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6" y="213"/>
                </a:moveTo>
                <a:cubicBezTo>
                  <a:pt x="182" y="160"/>
                  <a:pt x="182" y="160"/>
                  <a:pt x="182" y="160"/>
                </a:cubicBezTo>
                <a:cubicBezTo>
                  <a:pt x="329" y="160"/>
                  <a:pt x="329" y="160"/>
                  <a:pt x="329" y="160"/>
                </a:cubicBezTo>
                <a:cubicBezTo>
                  <a:pt x="325" y="213"/>
                  <a:pt x="325" y="213"/>
                  <a:pt x="325" y="213"/>
                </a:cubicBezTo>
                <a:lnTo>
                  <a:pt x="186" y="213"/>
                </a:lnTo>
                <a:close/>
                <a:moveTo>
                  <a:pt x="201" y="394"/>
                </a:moveTo>
                <a:cubicBezTo>
                  <a:pt x="310" y="394"/>
                  <a:pt x="310" y="394"/>
                  <a:pt x="310" y="394"/>
                </a:cubicBezTo>
                <a:cubicBezTo>
                  <a:pt x="313" y="352"/>
                  <a:pt x="313" y="352"/>
                  <a:pt x="313" y="352"/>
                </a:cubicBezTo>
                <a:cubicBezTo>
                  <a:pt x="198" y="352"/>
                  <a:pt x="198" y="352"/>
                  <a:pt x="198" y="352"/>
                </a:cubicBezTo>
                <a:lnTo>
                  <a:pt x="201" y="394"/>
                </a:lnTo>
                <a:close/>
                <a:moveTo>
                  <a:pt x="323" y="117"/>
                </a:moveTo>
                <a:cubicBezTo>
                  <a:pt x="189" y="117"/>
                  <a:pt x="189" y="117"/>
                  <a:pt x="189" y="117"/>
                </a:cubicBezTo>
                <a:cubicBezTo>
                  <a:pt x="182" y="138"/>
                  <a:pt x="182" y="138"/>
                  <a:pt x="182" y="138"/>
                </a:cubicBezTo>
                <a:cubicBezTo>
                  <a:pt x="330" y="138"/>
                  <a:pt x="330" y="138"/>
                  <a:pt x="330" y="138"/>
                </a:cubicBezTo>
                <a:lnTo>
                  <a:pt x="323"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49"/>
                </a:moveTo>
                <a:cubicBezTo>
                  <a:pt x="373" y="143"/>
                  <a:pt x="368" y="138"/>
                  <a:pt x="362" y="138"/>
                </a:cubicBezTo>
                <a:cubicBezTo>
                  <a:pt x="352" y="138"/>
                  <a:pt x="352" y="138"/>
                  <a:pt x="352" y="138"/>
                </a:cubicBezTo>
                <a:cubicBezTo>
                  <a:pt x="352" y="137"/>
                  <a:pt x="351" y="136"/>
                  <a:pt x="351" y="135"/>
                </a:cubicBezTo>
                <a:cubicBezTo>
                  <a:pt x="340" y="103"/>
                  <a:pt x="340" y="103"/>
                  <a:pt x="340" y="103"/>
                </a:cubicBezTo>
                <a:cubicBezTo>
                  <a:pt x="339" y="99"/>
                  <a:pt x="335" y="96"/>
                  <a:pt x="330" y="96"/>
                </a:cubicBezTo>
                <a:cubicBezTo>
                  <a:pt x="181" y="96"/>
                  <a:pt x="181" y="96"/>
                  <a:pt x="181" y="96"/>
                </a:cubicBezTo>
                <a:cubicBezTo>
                  <a:pt x="176" y="96"/>
                  <a:pt x="172" y="99"/>
                  <a:pt x="171" y="103"/>
                </a:cubicBezTo>
                <a:cubicBezTo>
                  <a:pt x="160" y="135"/>
                  <a:pt x="160" y="135"/>
                  <a:pt x="160" y="135"/>
                </a:cubicBezTo>
                <a:cubicBezTo>
                  <a:pt x="160" y="136"/>
                  <a:pt x="160" y="137"/>
                  <a:pt x="160" y="138"/>
                </a:cubicBezTo>
                <a:cubicBezTo>
                  <a:pt x="149" y="138"/>
                  <a:pt x="149" y="138"/>
                  <a:pt x="149" y="138"/>
                </a:cubicBezTo>
                <a:cubicBezTo>
                  <a:pt x="143" y="138"/>
                  <a:pt x="138" y="143"/>
                  <a:pt x="138" y="149"/>
                </a:cubicBezTo>
                <a:cubicBezTo>
                  <a:pt x="138" y="155"/>
                  <a:pt x="143" y="160"/>
                  <a:pt x="149" y="160"/>
                </a:cubicBezTo>
                <a:cubicBezTo>
                  <a:pt x="161" y="160"/>
                  <a:pt x="161" y="160"/>
                  <a:pt x="161" y="160"/>
                </a:cubicBezTo>
                <a:cubicBezTo>
                  <a:pt x="165" y="213"/>
                  <a:pt x="165" y="213"/>
                  <a:pt x="165" y="213"/>
                </a:cubicBezTo>
                <a:cubicBezTo>
                  <a:pt x="160" y="213"/>
                  <a:pt x="160" y="213"/>
                  <a:pt x="160" y="213"/>
                </a:cubicBezTo>
                <a:cubicBezTo>
                  <a:pt x="157" y="213"/>
                  <a:pt x="154" y="214"/>
                  <a:pt x="152" y="216"/>
                </a:cubicBezTo>
                <a:cubicBezTo>
                  <a:pt x="150" y="219"/>
                  <a:pt x="149" y="222"/>
                  <a:pt x="149" y="225"/>
                </a:cubicBezTo>
                <a:cubicBezTo>
                  <a:pt x="160" y="342"/>
                  <a:pt x="160" y="342"/>
                  <a:pt x="160" y="342"/>
                </a:cubicBezTo>
                <a:cubicBezTo>
                  <a:pt x="160" y="347"/>
                  <a:pt x="165" y="352"/>
                  <a:pt x="170" y="352"/>
                </a:cubicBezTo>
                <a:cubicBezTo>
                  <a:pt x="177" y="352"/>
                  <a:pt x="177" y="352"/>
                  <a:pt x="177" y="352"/>
                </a:cubicBezTo>
                <a:cubicBezTo>
                  <a:pt x="181" y="406"/>
                  <a:pt x="181" y="406"/>
                  <a:pt x="181" y="406"/>
                </a:cubicBezTo>
                <a:cubicBezTo>
                  <a:pt x="181" y="411"/>
                  <a:pt x="186" y="416"/>
                  <a:pt x="192" y="416"/>
                </a:cubicBezTo>
                <a:cubicBezTo>
                  <a:pt x="320" y="416"/>
                  <a:pt x="320" y="416"/>
                  <a:pt x="320" y="416"/>
                </a:cubicBezTo>
                <a:cubicBezTo>
                  <a:pt x="325" y="416"/>
                  <a:pt x="330" y="411"/>
                  <a:pt x="330" y="406"/>
                </a:cubicBezTo>
                <a:cubicBezTo>
                  <a:pt x="335" y="352"/>
                  <a:pt x="335" y="352"/>
                  <a:pt x="335" y="352"/>
                </a:cubicBezTo>
                <a:cubicBezTo>
                  <a:pt x="341" y="352"/>
                  <a:pt x="341" y="352"/>
                  <a:pt x="341" y="352"/>
                </a:cubicBezTo>
                <a:cubicBezTo>
                  <a:pt x="347" y="352"/>
                  <a:pt x="351" y="347"/>
                  <a:pt x="352" y="342"/>
                </a:cubicBezTo>
                <a:cubicBezTo>
                  <a:pt x="362" y="225"/>
                  <a:pt x="362" y="225"/>
                  <a:pt x="362" y="225"/>
                </a:cubicBezTo>
                <a:cubicBezTo>
                  <a:pt x="363" y="222"/>
                  <a:pt x="362" y="219"/>
                  <a:pt x="360" y="216"/>
                </a:cubicBezTo>
                <a:cubicBezTo>
                  <a:pt x="358" y="214"/>
                  <a:pt x="355" y="213"/>
                  <a:pt x="352" y="213"/>
                </a:cubicBezTo>
                <a:cubicBezTo>
                  <a:pt x="346" y="213"/>
                  <a:pt x="346" y="213"/>
                  <a:pt x="346" y="213"/>
                </a:cubicBezTo>
                <a:cubicBezTo>
                  <a:pt x="351" y="160"/>
                  <a:pt x="351" y="160"/>
                  <a:pt x="351" y="160"/>
                </a:cubicBezTo>
                <a:cubicBezTo>
                  <a:pt x="362" y="160"/>
                  <a:pt x="362" y="160"/>
                  <a:pt x="362" y="160"/>
                </a:cubicBezTo>
                <a:cubicBezTo>
                  <a:pt x="368" y="160"/>
                  <a:pt x="373" y="155"/>
                  <a:pt x="373" y="149"/>
                </a:cubicBezTo>
                <a:close/>
                <a:moveTo>
                  <a:pt x="180" y="330"/>
                </a:moveTo>
                <a:cubicBezTo>
                  <a:pt x="331" y="330"/>
                  <a:pt x="331" y="330"/>
                  <a:pt x="331" y="330"/>
                </a:cubicBezTo>
                <a:cubicBezTo>
                  <a:pt x="340" y="234"/>
                  <a:pt x="340" y="234"/>
                  <a:pt x="340" y="234"/>
                </a:cubicBezTo>
                <a:cubicBezTo>
                  <a:pt x="171" y="234"/>
                  <a:pt x="171" y="234"/>
                  <a:pt x="171" y="234"/>
                </a:cubicBezTo>
                <a:lnTo>
                  <a:pt x="180" y="33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9" name="Freeform 268"/>
          <p:cNvSpPr>
            <a:spLocks noChangeAspect="1" noEditPoints="1"/>
          </p:cNvSpPr>
          <p:nvPr/>
        </p:nvSpPr>
        <p:spPr bwMode="auto">
          <a:xfrm>
            <a:off x="7126678" y="1697038"/>
            <a:ext cx="369021" cy="369021"/>
          </a:xfrm>
          <a:custGeom>
            <a:avLst/>
            <a:gdLst>
              <a:gd name="T0" fmla="*/ 329 w 512"/>
              <a:gd name="T1" fmla="*/ 224 h 512"/>
              <a:gd name="T2" fmla="*/ 291 w 512"/>
              <a:gd name="T3" fmla="*/ 224 h 512"/>
              <a:gd name="T4" fmla="*/ 339 w 512"/>
              <a:gd name="T5" fmla="*/ 151 h 512"/>
              <a:gd name="T6" fmla="*/ 346 w 512"/>
              <a:gd name="T7" fmla="*/ 146 h 512"/>
              <a:gd name="T8" fmla="*/ 354 w 512"/>
              <a:gd name="T9" fmla="*/ 147 h 512"/>
              <a:gd name="T10" fmla="*/ 359 w 512"/>
              <a:gd name="T11" fmla="*/ 154 h 512"/>
              <a:gd name="T12" fmla="*/ 357 w 512"/>
              <a:gd name="T13" fmla="*/ 163 h 512"/>
              <a:gd name="T14" fmla="*/ 329 w 512"/>
              <a:gd name="T15" fmla="*/ 224 h 512"/>
              <a:gd name="T16" fmla="*/ 196 w 512"/>
              <a:gd name="T17" fmla="*/ 350 h 512"/>
              <a:gd name="T18" fmla="*/ 202 w 512"/>
              <a:gd name="T19" fmla="*/ 360 h 512"/>
              <a:gd name="T20" fmla="*/ 202 w 512"/>
              <a:gd name="T21" fmla="*/ 362 h 512"/>
              <a:gd name="T22" fmla="*/ 309 w 512"/>
              <a:gd name="T23" fmla="*/ 362 h 512"/>
              <a:gd name="T24" fmla="*/ 309 w 512"/>
              <a:gd name="T25" fmla="*/ 360 h 512"/>
              <a:gd name="T26" fmla="*/ 315 w 512"/>
              <a:gd name="T27" fmla="*/ 350 h 512"/>
              <a:gd name="T28" fmla="*/ 394 w 512"/>
              <a:gd name="T29" fmla="*/ 245 h 512"/>
              <a:gd name="T30" fmla="*/ 117 w 512"/>
              <a:gd name="T31" fmla="*/ 245 h 512"/>
              <a:gd name="T32" fmla="*/ 196 w 512"/>
              <a:gd name="T33" fmla="*/ 35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40 h 512"/>
              <a:gd name="T46" fmla="*/ 415 w 512"/>
              <a:gd name="T47" fmla="*/ 236 h 512"/>
              <a:gd name="T48" fmla="*/ 415 w 512"/>
              <a:gd name="T49" fmla="*/ 234 h 512"/>
              <a:gd name="T50" fmla="*/ 405 w 512"/>
              <a:gd name="T51" fmla="*/ 224 h 512"/>
              <a:gd name="T52" fmla="*/ 352 w 512"/>
              <a:gd name="T53" fmla="*/ 224 h 512"/>
              <a:gd name="T54" fmla="*/ 376 w 512"/>
              <a:gd name="T55" fmla="*/ 172 h 512"/>
              <a:gd name="T56" fmla="*/ 379 w 512"/>
              <a:gd name="T57" fmla="*/ 148 h 512"/>
              <a:gd name="T58" fmla="*/ 364 w 512"/>
              <a:gd name="T59" fmla="*/ 129 h 512"/>
              <a:gd name="T60" fmla="*/ 340 w 512"/>
              <a:gd name="T61" fmla="*/ 126 h 512"/>
              <a:gd name="T62" fmla="*/ 321 w 512"/>
              <a:gd name="T63" fmla="*/ 140 h 512"/>
              <a:gd name="T64" fmla="*/ 265 w 512"/>
              <a:gd name="T65" fmla="*/ 224 h 512"/>
              <a:gd name="T66" fmla="*/ 107 w 512"/>
              <a:gd name="T67" fmla="*/ 224 h 512"/>
              <a:gd name="T68" fmla="*/ 96 w 512"/>
              <a:gd name="T69" fmla="*/ 234 h 512"/>
              <a:gd name="T70" fmla="*/ 96 w 512"/>
              <a:gd name="T71" fmla="*/ 236 h 512"/>
              <a:gd name="T72" fmla="*/ 96 w 512"/>
              <a:gd name="T73" fmla="*/ 240 h 512"/>
              <a:gd name="T74" fmla="*/ 181 w 512"/>
              <a:gd name="T75" fmla="*/ 367 h 512"/>
              <a:gd name="T76" fmla="*/ 181 w 512"/>
              <a:gd name="T77" fmla="*/ 373 h 512"/>
              <a:gd name="T78" fmla="*/ 192 w 512"/>
              <a:gd name="T79" fmla="*/ 384 h 512"/>
              <a:gd name="T80" fmla="*/ 320 w 512"/>
              <a:gd name="T81" fmla="*/ 384 h 512"/>
              <a:gd name="T82" fmla="*/ 330 w 512"/>
              <a:gd name="T83" fmla="*/ 373 h 512"/>
              <a:gd name="T84" fmla="*/ 330 w 512"/>
              <a:gd name="T85" fmla="*/ 367 h 512"/>
              <a:gd name="T86" fmla="*/ 416 w 512"/>
              <a:gd name="T87"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9" y="224"/>
                </a:moveTo>
                <a:cubicBezTo>
                  <a:pt x="291" y="224"/>
                  <a:pt x="291" y="224"/>
                  <a:pt x="291" y="224"/>
                </a:cubicBezTo>
                <a:cubicBezTo>
                  <a:pt x="339" y="151"/>
                  <a:pt x="339" y="151"/>
                  <a:pt x="339" y="151"/>
                </a:cubicBezTo>
                <a:cubicBezTo>
                  <a:pt x="341" y="149"/>
                  <a:pt x="343" y="147"/>
                  <a:pt x="346" y="146"/>
                </a:cubicBezTo>
                <a:cubicBezTo>
                  <a:pt x="348" y="146"/>
                  <a:pt x="351" y="146"/>
                  <a:pt x="354" y="147"/>
                </a:cubicBezTo>
                <a:cubicBezTo>
                  <a:pt x="356" y="149"/>
                  <a:pt x="358" y="151"/>
                  <a:pt x="359" y="154"/>
                </a:cubicBezTo>
                <a:cubicBezTo>
                  <a:pt x="360" y="157"/>
                  <a:pt x="359" y="159"/>
                  <a:pt x="357" y="163"/>
                </a:cubicBezTo>
                <a:lnTo>
                  <a:pt x="329" y="224"/>
                </a:lnTo>
                <a:close/>
                <a:moveTo>
                  <a:pt x="196" y="350"/>
                </a:moveTo>
                <a:cubicBezTo>
                  <a:pt x="200" y="352"/>
                  <a:pt x="202" y="356"/>
                  <a:pt x="202" y="360"/>
                </a:cubicBezTo>
                <a:cubicBezTo>
                  <a:pt x="202" y="362"/>
                  <a:pt x="202" y="362"/>
                  <a:pt x="202" y="362"/>
                </a:cubicBezTo>
                <a:cubicBezTo>
                  <a:pt x="309" y="362"/>
                  <a:pt x="309" y="362"/>
                  <a:pt x="309" y="362"/>
                </a:cubicBezTo>
                <a:cubicBezTo>
                  <a:pt x="309" y="360"/>
                  <a:pt x="309" y="360"/>
                  <a:pt x="309" y="360"/>
                </a:cubicBezTo>
                <a:cubicBezTo>
                  <a:pt x="309" y="356"/>
                  <a:pt x="312" y="352"/>
                  <a:pt x="315" y="350"/>
                </a:cubicBezTo>
                <a:cubicBezTo>
                  <a:pt x="362" y="331"/>
                  <a:pt x="392" y="290"/>
                  <a:pt x="394" y="245"/>
                </a:cubicBezTo>
                <a:cubicBezTo>
                  <a:pt x="117" y="245"/>
                  <a:pt x="117" y="245"/>
                  <a:pt x="117" y="245"/>
                </a:cubicBezTo>
                <a:cubicBezTo>
                  <a:pt x="119" y="290"/>
                  <a:pt x="150" y="331"/>
                  <a:pt x="196" y="35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38"/>
                  <a:pt x="416" y="237"/>
                  <a:pt x="415" y="236"/>
                </a:cubicBezTo>
                <a:cubicBezTo>
                  <a:pt x="415" y="234"/>
                  <a:pt x="415" y="234"/>
                  <a:pt x="415" y="234"/>
                </a:cubicBezTo>
                <a:cubicBezTo>
                  <a:pt x="415" y="228"/>
                  <a:pt x="410" y="224"/>
                  <a:pt x="405" y="224"/>
                </a:cubicBezTo>
                <a:cubicBezTo>
                  <a:pt x="352" y="224"/>
                  <a:pt x="352" y="224"/>
                  <a:pt x="352" y="224"/>
                </a:cubicBezTo>
                <a:cubicBezTo>
                  <a:pt x="376" y="172"/>
                  <a:pt x="376" y="172"/>
                  <a:pt x="376" y="172"/>
                </a:cubicBezTo>
                <a:cubicBezTo>
                  <a:pt x="381" y="165"/>
                  <a:pt x="382" y="156"/>
                  <a:pt x="379" y="148"/>
                </a:cubicBezTo>
                <a:cubicBezTo>
                  <a:pt x="377" y="140"/>
                  <a:pt x="372" y="133"/>
                  <a:pt x="364" y="129"/>
                </a:cubicBezTo>
                <a:cubicBezTo>
                  <a:pt x="357" y="125"/>
                  <a:pt x="348" y="124"/>
                  <a:pt x="340" y="126"/>
                </a:cubicBezTo>
                <a:cubicBezTo>
                  <a:pt x="332" y="128"/>
                  <a:pt x="325" y="133"/>
                  <a:pt x="321" y="140"/>
                </a:cubicBezTo>
                <a:cubicBezTo>
                  <a:pt x="265" y="224"/>
                  <a:pt x="265" y="224"/>
                  <a:pt x="265" y="224"/>
                </a:cubicBezTo>
                <a:cubicBezTo>
                  <a:pt x="107" y="224"/>
                  <a:pt x="107" y="224"/>
                  <a:pt x="107" y="224"/>
                </a:cubicBezTo>
                <a:cubicBezTo>
                  <a:pt x="101" y="224"/>
                  <a:pt x="96" y="228"/>
                  <a:pt x="96" y="234"/>
                </a:cubicBezTo>
                <a:cubicBezTo>
                  <a:pt x="96" y="236"/>
                  <a:pt x="96" y="236"/>
                  <a:pt x="96" y="236"/>
                </a:cubicBezTo>
                <a:cubicBezTo>
                  <a:pt x="96" y="237"/>
                  <a:pt x="96" y="238"/>
                  <a:pt x="96" y="240"/>
                </a:cubicBezTo>
                <a:cubicBezTo>
                  <a:pt x="96" y="293"/>
                  <a:pt x="129" y="342"/>
                  <a:pt x="181" y="367"/>
                </a:cubicBezTo>
                <a:cubicBezTo>
                  <a:pt x="181" y="373"/>
                  <a:pt x="181" y="373"/>
                  <a:pt x="181" y="373"/>
                </a:cubicBezTo>
                <a:cubicBezTo>
                  <a:pt x="181" y="379"/>
                  <a:pt x="186" y="384"/>
                  <a:pt x="192" y="384"/>
                </a:cubicBezTo>
                <a:cubicBezTo>
                  <a:pt x="320" y="384"/>
                  <a:pt x="320" y="384"/>
                  <a:pt x="320" y="384"/>
                </a:cubicBezTo>
                <a:cubicBezTo>
                  <a:pt x="326" y="384"/>
                  <a:pt x="330" y="379"/>
                  <a:pt x="330" y="373"/>
                </a:cubicBezTo>
                <a:cubicBezTo>
                  <a:pt x="330" y="367"/>
                  <a:pt x="330" y="367"/>
                  <a:pt x="330" y="367"/>
                </a:cubicBezTo>
                <a:cubicBezTo>
                  <a:pt x="382" y="342"/>
                  <a:pt x="416" y="293"/>
                  <a:pt x="416" y="24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0" name="Group 271"/>
          <p:cNvGrpSpPr>
            <a:grpSpLocks noChangeAspect="1"/>
          </p:cNvGrpSpPr>
          <p:nvPr/>
        </p:nvGrpSpPr>
        <p:grpSpPr bwMode="auto">
          <a:xfrm>
            <a:off x="7547192" y="1697038"/>
            <a:ext cx="370106" cy="369021"/>
            <a:chOff x="5834" y="786"/>
            <a:chExt cx="341" cy="340"/>
          </a:xfrm>
          <a:solidFill>
            <a:schemeClr val="accent3"/>
          </a:solidFill>
        </p:grpSpPr>
        <p:sp>
          <p:nvSpPr>
            <p:cNvPr id="331" name="Freeform 272"/>
            <p:cNvSpPr>
              <a:spLocks noEditPoints="1"/>
            </p:cNvSpPr>
            <p:nvPr/>
          </p:nvSpPr>
          <p:spPr bwMode="auto">
            <a:xfrm>
              <a:off x="5834" y="7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273"/>
            <p:cNvSpPr>
              <a:spLocks noEditPoints="1"/>
            </p:cNvSpPr>
            <p:nvPr/>
          </p:nvSpPr>
          <p:spPr bwMode="auto">
            <a:xfrm>
              <a:off x="5898" y="868"/>
              <a:ext cx="213" cy="173"/>
            </a:xfrm>
            <a:custGeom>
              <a:avLst/>
              <a:gdLst>
                <a:gd name="T0" fmla="*/ 319 w 320"/>
                <a:gd name="T1" fmla="*/ 112 h 260"/>
                <a:gd name="T2" fmla="*/ 319 w 320"/>
                <a:gd name="T3" fmla="*/ 110 h 260"/>
                <a:gd name="T4" fmla="*/ 309 w 320"/>
                <a:gd name="T5" fmla="*/ 100 h 260"/>
                <a:gd name="T6" fmla="*/ 256 w 320"/>
                <a:gd name="T7" fmla="*/ 100 h 260"/>
                <a:gd name="T8" fmla="*/ 280 w 320"/>
                <a:gd name="T9" fmla="*/ 48 h 260"/>
                <a:gd name="T10" fmla="*/ 283 w 320"/>
                <a:gd name="T11" fmla="*/ 24 h 260"/>
                <a:gd name="T12" fmla="*/ 268 w 320"/>
                <a:gd name="T13" fmla="*/ 5 h 260"/>
                <a:gd name="T14" fmla="*/ 244 w 320"/>
                <a:gd name="T15" fmla="*/ 2 h 260"/>
                <a:gd name="T16" fmla="*/ 225 w 320"/>
                <a:gd name="T17" fmla="*/ 16 h 260"/>
                <a:gd name="T18" fmla="*/ 169 w 320"/>
                <a:gd name="T19" fmla="*/ 100 h 260"/>
                <a:gd name="T20" fmla="*/ 11 w 320"/>
                <a:gd name="T21" fmla="*/ 100 h 260"/>
                <a:gd name="T22" fmla="*/ 0 w 320"/>
                <a:gd name="T23" fmla="*/ 110 h 260"/>
                <a:gd name="T24" fmla="*/ 0 w 320"/>
                <a:gd name="T25" fmla="*/ 112 h 260"/>
                <a:gd name="T26" fmla="*/ 0 w 320"/>
                <a:gd name="T27" fmla="*/ 116 h 260"/>
                <a:gd name="T28" fmla="*/ 85 w 320"/>
                <a:gd name="T29" fmla="*/ 243 h 260"/>
                <a:gd name="T30" fmla="*/ 85 w 320"/>
                <a:gd name="T31" fmla="*/ 249 h 260"/>
                <a:gd name="T32" fmla="*/ 96 w 320"/>
                <a:gd name="T33" fmla="*/ 260 h 260"/>
                <a:gd name="T34" fmla="*/ 224 w 320"/>
                <a:gd name="T35" fmla="*/ 260 h 260"/>
                <a:gd name="T36" fmla="*/ 234 w 320"/>
                <a:gd name="T37" fmla="*/ 249 h 260"/>
                <a:gd name="T38" fmla="*/ 234 w 320"/>
                <a:gd name="T39" fmla="*/ 243 h 260"/>
                <a:gd name="T40" fmla="*/ 320 w 320"/>
                <a:gd name="T41" fmla="*/ 116 h 260"/>
                <a:gd name="T42" fmla="*/ 319 w 320"/>
                <a:gd name="T43" fmla="*/ 112 h 260"/>
                <a:gd name="T44" fmla="*/ 243 w 320"/>
                <a:gd name="T45" fmla="*/ 27 h 260"/>
                <a:gd name="T46" fmla="*/ 250 w 320"/>
                <a:gd name="T47" fmla="*/ 22 h 260"/>
                <a:gd name="T48" fmla="*/ 258 w 320"/>
                <a:gd name="T49" fmla="*/ 23 h 260"/>
                <a:gd name="T50" fmla="*/ 263 w 320"/>
                <a:gd name="T51" fmla="*/ 30 h 260"/>
                <a:gd name="T52" fmla="*/ 261 w 320"/>
                <a:gd name="T53" fmla="*/ 39 h 260"/>
                <a:gd name="T54" fmla="*/ 233 w 320"/>
                <a:gd name="T55" fmla="*/ 100 h 260"/>
                <a:gd name="T56" fmla="*/ 195 w 320"/>
                <a:gd name="T57" fmla="*/ 100 h 260"/>
                <a:gd name="T58" fmla="*/ 243 w 320"/>
                <a:gd name="T59" fmla="*/ 27 h 260"/>
                <a:gd name="T60" fmla="*/ 219 w 320"/>
                <a:gd name="T61" fmla="*/ 226 h 260"/>
                <a:gd name="T62" fmla="*/ 213 w 320"/>
                <a:gd name="T63" fmla="*/ 236 h 260"/>
                <a:gd name="T64" fmla="*/ 213 w 320"/>
                <a:gd name="T65" fmla="*/ 238 h 260"/>
                <a:gd name="T66" fmla="*/ 106 w 320"/>
                <a:gd name="T67" fmla="*/ 238 h 260"/>
                <a:gd name="T68" fmla="*/ 106 w 320"/>
                <a:gd name="T69" fmla="*/ 236 h 260"/>
                <a:gd name="T70" fmla="*/ 100 w 320"/>
                <a:gd name="T71" fmla="*/ 226 h 260"/>
                <a:gd name="T72" fmla="*/ 21 w 320"/>
                <a:gd name="T73" fmla="*/ 121 h 260"/>
                <a:gd name="T74" fmla="*/ 298 w 320"/>
                <a:gd name="T75" fmla="*/ 121 h 260"/>
                <a:gd name="T76" fmla="*/ 219 w 320"/>
                <a:gd name="T77"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60">
                  <a:moveTo>
                    <a:pt x="319" y="112"/>
                  </a:moveTo>
                  <a:cubicBezTo>
                    <a:pt x="319" y="110"/>
                    <a:pt x="319" y="110"/>
                    <a:pt x="319" y="110"/>
                  </a:cubicBezTo>
                  <a:cubicBezTo>
                    <a:pt x="319" y="104"/>
                    <a:pt x="314" y="100"/>
                    <a:pt x="309" y="100"/>
                  </a:cubicBezTo>
                  <a:cubicBezTo>
                    <a:pt x="256" y="100"/>
                    <a:pt x="256" y="100"/>
                    <a:pt x="256" y="100"/>
                  </a:cubicBezTo>
                  <a:cubicBezTo>
                    <a:pt x="280" y="48"/>
                    <a:pt x="280" y="48"/>
                    <a:pt x="280" y="48"/>
                  </a:cubicBezTo>
                  <a:cubicBezTo>
                    <a:pt x="285" y="41"/>
                    <a:pt x="286" y="32"/>
                    <a:pt x="283" y="24"/>
                  </a:cubicBezTo>
                  <a:cubicBezTo>
                    <a:pt x="281" y="16"/>
                    <a:pt x="276" y="9"/>
                    <a:pt x="268" y="5"/>
                  </a:cubicBezTo>
                  <a:cubicBezTo>
                    <a:pt x="261" y="1"/>
                    <a:pt x="252" y="0"/>
                    <a:pt x="244" y="2"/>
                  </a:cubicBezTo>
                  <a:cubicBezTo>
                    <a:pt x="236" y="4"/>
                    <a:pt x="229" y="9"/>
                    <a:pt x="225" y="16"/>
                  </a:cubicBezTo>
                  <a:cubicBezTo>
                    <a:pt x="169" y="100"/>
                    <a:pt x="169" y="100"/>
                    <a:pt x="169" y="100"/>
                  </a:cubicBezTo>
                  <a:cubicBezTo>
                    <a:pt x="11" y="100"/>
                    <a:pt x="11" y="100"/>
                    <a:pt x="11" y="100"/>
                  </a:cubicBezTo>
                  <a:cubicBezTo>
                    <a:pt x="5" y="100"/>
                    <a:pt x="0" y="104"/>
                    <a:pt x="0" y="110"/>
                  </a:cubicBezTo>
                  <a:cubicBezTo>
                    <a:pt x="0" y="112"/>
                    <a:pt x="0" y="112"/>
                    <a:pt x="0" y="112"/>
                  </a:cubicBezTo>
                  <a:cubicBezTo>
                    <a:pt x="0" y="113"/>
                    <a:pt x="0" y="114"/>
                    <a:pt x="0" y="116"/>
                  </a:cubicBezTo>
                  <a:cubicBezTo>
                    <a:pt x="0" y="169"/>
                    <a:pt x="33" y="218"/>
                    <a:pt x="85" y="243"/>
                  </a:cubicBezTo>
                  <a:cubicBezTo>
                    <a:pt x="85" y="249"/>
                    <a:pt x="85" y="249"/>
                    <a:pt x="85" y="249"/>
                  </a:cubicBezTo>
                  <a:cubicBezTo>
                    <a:pt x="85" y="255"/>
                    <a:pt x="90" y="260"/>
                    <a:pt x="96" y="260"/>
                  </a:cubicBezTo>
                  <a:cubicBezTo>
                    <a:pt x="224" y="260"/>
                    <a:pt x="224" y="260"/>
                    <a:pt x="224" y="260"/>
                  </a:cubicBezTo>
                  <a:cubicBezTo>
                    <a:pt x="230" y="260"/>
                    <a:pt x="234" y="255"/>
                    <a:pt x="234" y="249"/>
                  </a:cubicBezTo>
                  <a:cubicBezTo>
                    <a:pt x="234" y="243"/>
                    <a:pt x="234" y="243"/>
                    <a:pt x="234" y="243"/>
                  </a:cubicBezTo>
                  <a:cubicBezTo>
                    <a:pt x="286" y="218"/>
                    <a:pt x="320" y="169"/>
                    <a:pt x="320" y="116"/>
                  </a:cubicBezTo>
                  <a:cubicBezTo>
                    <a:pt x="320" y="114"/>
                    <a:pt x="320" y="113"/>
                    <a:pt x="319" y="112"/>
                  </a:cubicBezTo>
                  <a:close/>
                  <a:moveTo>
                    <a:pt x="243" y="27"/>
                  </a:moveTo>
                  <a:cubicBezTo>
                    <a:pt x="245" y="25"/>
                    <a:pt x="247" y="23"/>
                    <a:pt x="250" y="22"/>
                  </a:cubicBezTo>
                  <a:cubicBezTo>
                    <a:pt x="252" y="22"/>
                    <a:pt x="255" y="22"/>
                    <a:pt x="258" y="23"/>
                  </a:cubicBezTo>
                  <a:cubicBezTo>
                    <a:pt x="260" y="25"/>
                    <a:pt x="262" y="27"/>
                    <a:pt x="263" y="30"/>
                  </a:cubicBezTo>
                  <a:cubicBezTo>
                    <a:pt x="264" y="33"/>
                    <a:pt x="263" y="35"/>
                    <a:pt x="261" y="39"/>
                  </a:cubicBezTo>
                  <a:cubicBezTo>
                    <a:pt x="233" y="100"/>
                    <a:pt x="233" y="100"/>
                    <a:pt x="233" y="100"/>
                  </a:cubicBezTo>
                  <a:cubicBezTo>
                    <a:pt x="195" y="100"/>
                    <a:pt x="195" y="100"/>
                    <a:pt x="195" y="100"/>
                  </a:cubicBezTo>
                  <a:lnTo>
                    <a:pt x="243" y="27"/>
                  </a:lnTo>
                  <a:close/>
                  <a:moveTo>
                    <a:pt x="219" y="226"/>
                  </a:moveTo>
                  <a:cubicBezTo>
                    <a:pt x="216" y="228"/>
                    <a:pt x="213" y="232"/>
                    <a:pt x="213" y="236"/>
                  </a:cubicBezTo>
                  <a:cubicBezTo>
                    <a:pt x="213" y="238"/>
                    <a:pt x="213" y="238"/>
                    <a:pt x="213" y="238"/>
                  </a:cubicBezTo>
                  <a:cubicBezTo>
                    <a:pt x="106" y="238"/>
                    <a:pt x="106" y="238"/>
                    <a:pt x="106" y="238"/>
                  </a:cubicBezTo>
                  <a:cubicBezTo>
                    <a:pt x="106" y="236"/>
                    <a:pt x="106" y="236"/>
                    <a:pt x="106" y="236"/>
                  </a:cubicBezTo>
                  <a:cubicBezTo>
                    <a:pt x="106" y="232"/>
                    <a:pt x="104" y="228"/>
                    <a:pt x="100" y="226"/>
                  </a:cubicBezTo>
                  <a:cubicBezTo>
                    <a:pt x="54" y="207"/>
                    <a:pt x="23" y="166"/>
                    <a:pt x="21" y="121"/>
                  </a:cubicBezTo>
                  <a:cubicBezTo>
                    <a:pt x="298" y="121"/>
                    <a:pt x="298" y="121"/>
                    <a:pt x="298" y="121"/>
                  </a:cubicBezTo>
                  <a:cubicBezTo>
                    <a:pt x="296" y="166"/>
                    <a:pt x="266" y="207"/>
                    <a:pt x="219" y="2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3" name="Group 72"/>
          <p:cNvGrpSpPr>
            <a:grpSpLocks noChangeAspect="1"/>
          </p:cNvGrpSpPr>
          <p:nvPr/>
        </p:nvGrpSpPr>
        <p:grpSpPr bwMode="auto">
          <a:xfrm>
            <a:off x="8389201" y="2512469"/>
            <a:ext cx="367041" cy="367041"/>
            <a:chOff x="5279" y="1220"/>
            <a:chExt cx="340" cy="340"/>
          </a:xfrm>
          <a:solidFill>
            <a:schemeClr val="accent1"/>
          </a:solidFill>
        </p:grpSpPr>
        <p:sp>
          <p:nvSpPr>
            <p:cNvPr id="334" name="Freeform 73"/>
            <p:cNvSpPr>
              <a:spLocks noEditPoints="1"/>
            </p:cNvSpPr>
            <p:nvPr/>
          </p:nvSpPr>
          <p:spPr bwMode="auto">
            <a:xfrm>
              <a:off x="5279" y="12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74"/>
            <p:cNvSpPr>
              <a:spLocks noEditPoints="1"/>
            </p:cNvSpPr>
            <p:nvPr/>
          </p:nvSpPr>
          <p:spPr bwMode="auto">
            <a:xfrm>
              <a:off x="5357" y="1298"/>
              <a:ext cx="184" cy="184"/>
            </a:xfrm>
            <a:custGeom>
              <a:avLst/>
              <a:gdLst>
                <a:gd name="T0" fmla="*/ 193 w 277"/>
                <a:gd name="T1" fmla="*/ 64 h 277"/>
                <a:gd name="T2" fmla="*/ 201 w 277"/>
                <a:gd name="T3" fmla="*/ 12 h 277"/>
                <a:gd name="T4" fmla="*/ 140 w 277"/>
                <a:gd name="T5" fmla="*/ 38 h 277"/>
                <a:gd name="T6" fmla="*/ 123 w 277"/>
                <a:gd name="T7" fmla="*/ 12 h 277"/>
                <a:gd name="T8" fmla="*/ 78 w 277"/>
                <a:gd name="T9" fmla="*/ 58 h 277"/>
                <a:gd name="T10" fmla="*/ 11 w 277"/>
                <a:gd name="T11" fmla="*/ 64 h 277"/>
                <a:gd name="T12" fmla="*/ 0 w 277"/>
                <a:gd name="T13" fmla="*/ 117 h 277"/>
                <a:gd name="T14" fmla="*/ 21 w 277"/>
                <a:gd name="T15" fmla="*/ 128 h 277"/>
                <a:gd name="T16" fmla="*/ 32 w 277"/>
                <a:gd name="T17" fmla="*/ 277 h 277"/>
                <a:gd name="T18" fmla="*/ 256 w 277"/>
                <a:gd name="T19" fmla="*/ 267 h 277"/>
                <a:gd name="T20" fmla="*/ 267 w 277"/>
                <a:gd name="T21" fmla="*/ 128 h 277"/>
                <a:gd name="T22" fmla="*/ 277 w 277"/>
                <a:gd name="T23" fmla="*/ 75 h 277"/>
                <a:gd name="T24" fmla="*/ 171 w 277"/>
                <a:gd name="T25" fmla="*/ 28 h 277"/>
                <a:gd name="T26" fmla="*/ 189 w 277"/>
                <a:gd name="T27" fmla="*/ 35 h 277"/>
                <a:gd name="T28" fmla="*/ 157 w 277"/>
                <a:gd name="T29" fmla="*/ 56 h 277"/>
                <a:gd name="T30" fmla="*/ 93 w 277"/>
                <a:gd name="T31" fmla="*/ 28 h 277"/>
                <a:gd name="T32" fmla="*/ 108 w 277"/>
                <a:gd name="T33" fmla="*/ 28 h 277"/>
                <a:gd name="T34" fmla="*/ 93 w 277"/>
                <a:gd name="T35" fmla="*/ 43 h 277"/>
                <a:gd name="T36" fmla="*/ 21 w 277"/>
                <a:gd name="T37" fmla="*/ 85 h 277"/>
                <a:gd name="T38" fmla="*/ 128 w 277"/>
                <a:gd name="T39" fmla="*/ 107 h 277"/>
                <a:gd name="T40" fmla="*/ 21 w 277"/>
                <a:gd name="T41" fmla="*/ 107 h 277"/>
                <a:gd name="T42" fmla="*/ 128 w 277"/>
                <a:gd name="T43" fmla="*/ 128 h 277"/>
                <a:gd name="T44" fmla="*/ 43 w 277"/>
                <a:gd name="T45" fmla="*/ 181 h 277"/>
                <a:gd name="T46" fmla="*/ 128 w 277"/>
                <a:gd name="T47" fmla="*/ 128 h 277"/>
                <a:gd name="T48" fmla="*/ 128 w 277"/>
                <a:gd name="T49" fmla="*/ 203 h 277"/>
                <a:gd name="T50" fmla="*/ 43 w 277"/>
                <a:gd name="T51" fmla="*/ 256 h 277"/>
                <a:gd name="T52" fmla="*/ 149 w 277"/>
                <a:gd name="T53" fmla="*/ 256 h 277"/>
                <a:gd name="T54" fmla="*/ 235 w 277"/>
                <a:gd name="T55" fmla="*/ 203 h 277"/>
                <a:gd name="T56" fmla="*/ 149 w 277"/>
                <a:gd name="T57" fmla="*/ 256 h 277"/>
                <a:gd name="T58" fmla="*/ 149 w 277"/>
                <a:gd name="T59" fmla="*/ 181 h 277"/>
                <a:gd name="T60" fmla="*/ 235 w 277"/>
                <a:gd name="T61" fmla="*/ 128 h 277"/>
                <a:gd name="T62" fmla="*/ 256 w 277"/>
                <a:gd name="T63" fmla="*/ 107 h 277"/>
                <a:gd name="T64" fmla="*/ 149 w 277"/>
                <a:gd name="T65" fmla="*/ 107 h 277"/>
                <a:gd name="T66" fmla="*/ 256 w 277"/>
                <a:gd name="T6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67" y="64"/>
                  </a:moveTo>
                  <a:cubicBezTo>
                    <a:pt x="193" y="64"/>
                    <a:pt x="193" y="64"/>
                    <a:pt x="193" y="64"/>
                  </a:cubicBezTo>
                  <a:cubicBezTo>
                    <a:pt x="196" y="62"/>
                    <a:pt x="199" y="59"/>
                    <a:pt x="201" y="58"/>
                  </a:cubicBezTo>
                  <a:cubicBezTo>
                    <a:pt x="213" y="45"/>
                    <a:pt x="213" y="25"/>
                    <a:pt x="201" y="12"/>
                  </a:cubicBezTo>
                  <a:cubicBezTo>
                    <a:pt x="188" y="0"/>
                    <a:pt x="168" y="0"/>
                    <a:pt x="156" y="12"/>
                  </a:cubicBezTo>
                  <a:cubicBezTo>
                    <a:pt x="150" y="18"/>
                    <a:pt x="144" y="28"/>
                    <a:pt x="140" y="38"/>
                  </a:cubicBezTo>
                  <a:cubicBezTo>
                    <a:pt x="140" y="39"/>
                    <a:pt x="140" y="39"/>
                    <a:pt x="139" y="40"/>
                  </a:cubicBezTo>
                  <a:cubicBezTo>
                    <a:pt x="135" y="28"/>
                    <a:pt x="128" y="17"/>
                    <a:pt x="123" y="12"/>
                  </a:cubicBezTo>
                  <a:cubicBezTo>
                    <a:pt x="111" y="0"/>
                    <a:pt x="90" y="0"/>
                    <a:pt x="78" y="12"/>
                  </a:cubicBezTo>
                  <a:cubicBezTo>
                    <a:pt x="65" y="25"/>
                    <a:pt x="65" y="45"/>
                    <a:pt x="78" y="58"/>
                  </a:cubicBezTo>
                  <a:cubicBezTo>
                    <a:pt x="80" y="60"/>
                    <a:pt x="83" y="62"/>
                    <a:pt x="86" y="64"/>
                  </a:cubicBezTo>
                  <a:cubicBezTo>
                    <a:pt x="11" y="64"/>
                    <a:pt x="11" y="64"/>
                    <a:pt x="11" y="64"/>
                  </a:cubicBezTo>
                  <a:cubicBezTo>
                    <a:pt x="5" y="64"/>
                    <a:pt x="0" y="69"/>
                    <a:pt x="0" y="75"/>
                  </a:cubicBezTo>
                  <a:cubicBezTo>
                    <a:pt x="0" y="117"/>
                    <a:pt x="0" y="117"/>
                    <a:pt x="0" y="117"/>
                  </a:cubicBezTo>
                  <a:cubicBezTo>
                    <a:pt x="0" y="123"/>
                    <a:pt x="5" y="128"/>
                    <a:pt x="11" y="128"/>
                  </a:cubicBezTo>
                  <a:cubicBezTo>
                    <a:pt x="21" y="128"/>
                    <a:pt x="21" y="128"/>
                    <a:pt x="21" y="128"/>
                  </a:cubicBezTo>
                  <a:cubicBezTo>
                    <a:pt x="21" y="267"/>
                    <a:pt x="21" y="267"/>
                    <a:pt x="21" y="267"/>
                  </a:cubicBezTo>
                  <a:cubicBezTo>
                    <a:pt x="21" y="273"/>
                    <a:pt x="26" y="277"/>
                    <a:pt x="32" y="277"/>
                  </a:cubicBezTo>
                  <a:cubicBezTo>
                    <a:pt x="245" y="277"/>
                    <a:pt x="245" y="277"/>
                    <a:pt x="245" y="277"/>
                  </a:cubicBezTo>
                  <a:cubicBezTo>
                    <a:pt x="251" y="277"/>
                    <a:pt x="256" y="273"/>
                    <a:pt x="256" y="267"/>
                  </a:cubicBezTo>
                  <a:cubicBezTo>
                    <a:pt x="256" y="128"/>
                    <a:pt x="256" y="128"/>
                    <a:pt x="256" y="128"/>
                  </a:cubicBezTo>
                  <a:cubicBezTo>
                    <a:pt x="267" y="128"/>
                    <a:pt x="267" y="128"/>
                    <a:pt x="267" y="128"/>
                  </a:cubicBezTo>
                  <a:cubicBezTo>
                    <a:pt x="273" y="128"/>
                    <a:pt x="277" y="123"/>
                    <a:pt x="277" y="117"/>
                  </a:cubicBezTo>
                  <a:cubicBezTo>
                    <a:pt x="277" y="75"/>
                    <a:pt x="277" y="75"/>
                    <a:pt x="277" y="75"/>
                  </a:cubicBezTo>
                  <a:cubicBezTo>
                    <a:pt x="277" y="69"/>
                    <a:pt x="273" y="64"/>
                    <a:pt x="267" y="64"/>
                  </a:cubicBezTo>
                  <a:close/>
                  <a:moveTo>
                    <a:pt x="171" y="28"/>
                  </a:moveTo>
                  <a:cubicBezTo>
                    <a:pt x="175" y="23"/>
                    <a:pt x="182" y="23"/>
                    <a:pt x="186" y="28"/>
                  </a:cubicBezTo>
                  <a:cubicBezTo>
                    <a:pt x="188" y="30"/>
                    <a:pt x="189" y="32"/>
                    <a:pt x="189" y="35"/>
                  </a:cubicBezTo>
                  <a:cubicBezTo>
                    <a:pt x="189" y="38"/>
                    <a:pt x="188" y="41"/>
                    <a:pt x="186" y="43"/>
                  </a:cubicBezTo>
                  <a:cubicBezTo>
                    <a:pt x="180" y="49"/>
                    <a:pt x="164" y="56"/>
                    <a:pt x="157" y="56"/>
                  </a:cubicBezTo>
                  <a:cubicBezTo>
                    <a:pt x="157" y="50"/>
                    <a:pt x="165" y="34"/>
                    <a:pt x="171" y="28"/>
                  </a:cubicBezTo>
                  <a:close/>
                  <a:moveTo>
                    <a:pt x="93" y="28"/>
                  </a:moveTo>
                  <a:cubicBezTo>
                    <a:pt x="95" y="25"/>
                    <a:pt x="98" y="24"/>
                    <a:pt x="100" y="24"/>
                  </a:cubicBezTo>
                  <a:cubicBezTo>
                    <a:pt x="103" y="24"/>
                    <a:pt x="106" y="25"/>
                    <a:pt x="108" y="28"/>
                  </a:cubicBezTo>
                  <a:cubicBezTo>
                    <a:pt x="114" y="34"/>
                    <a:pt x="121" y="50"/>
                    <a:pt x="121" y="56"/>
                  </a:cubicBezTo>
                  <a:cubicBezTo>
                    <a:pt x="115" y="56"/>
                    <a:pt x="99" y="49"/>
                    <a:pt x="93" y="43"/>
                  </a:cubicBezTo>
                  <a:cubicBezTo>
                    <a:pt x="89" y="39"/>
                    <a:pt x="89" y="32"/>
                    <a:pt x="93" y="28"/>
                  </a:cubicBezTo>
                  <a:close/>
                  <a:moveTo>
                    <a:pt x="21" y="85"/>
                  </a:moveTo>
                  <a:cubicBezTo>
                    <a:pt x="128" y="85"/>
                    <a:pt x="128" y="85"/>
                    <a:pt x="128" y="85"/>
                  </a:cubicBezTo>
                  <a:cubicBezTo>
                    <a:pt x="128" y="107"/>
                    <a:pt x="128" y="107"/>
                    <a:pt x="128" y="107"/>
                  </a:cubicBezTo>
                  <a:cubicBezTo>
                    <a:pt x="32" y="107"/>
                    <a:pt x="32" y="107"/>
                    <a:pt x="32" y="107"/>
                  </a:cubicBezTo>
                  <a:cubicBezTo>
                    <a:pt x="21" y="107"/>
                    <a:pt x="21" y="107"/>
                    <a:pt x="21" y="107"/>
                  </a:cubicBezTo>
                  <a:lnTo>
                    <a:pt x="21" y="85"/>
                  </a:lnTo>
                  <a:close/>
                  <a:moveTo>
                    <a:pt x="128" y="128"/>
                  </a:moveTo>
                  <a:cubicBezTo>
                    <a:pt x="128" y="181"/>
                    <a:pt x="128" y="181"/>
                    <a:pt x="128" y="181"/>
                  </a:cubicBezTo>
                  <a:cubicBezTo>
                    <a:pt x="43" y="181"/>
                    <a:pt x="43" y="181"/>
                    <a:pt x="43" y="181"/>
                  </a:cubicBezTo>
                  <a:cubicBezTo>
                    <a:pt x="43" y="128"/>
                    <a:pt x="43" y="128"/>
                    <a:pt x="43" y="128"/>
                  </a:cubicBezTo>
                  <a:lnTo>
                    <a:pt x="128" y="128"/>
                  </a:lnTo>
                  <a:close/>
                  <a:moveTo>
                    <a:pt x="43" y="203"/>
                  </a:moveTo>
                  <a:cubicBezTo>
                    <a:pt x="128" y="203"/>
                    <a:pt x="128" y="203"/>
                    <a:pt x="128" y="203"/>
                  </a:cubicBezTo>
                  <a:cubicBezTo>
                    <a:pt x="128" y="256"/>
                    <a:pt x="128" y="256"/>
                    <a:pt x="128" y="256"/>
                  </a:cubicBezTo>
                  <a:cubicBezTo>
                    <a:pt x="43" y="256"/>
                    <a:pt x="43" y="256"/>
                    <a:pt x="43" y="256"/>
                  </a:cubicBezTo>
                  <a:lnTo>
                    <a:pt x="43" y="203"/>
                  </a:lnTo>
                  <a:close/>
                  <a:moveTo>
                    <a:pt x="149" y="256"/>
                  </a:moveTo>
                  <a:cubicBezTo>
                    <a:pt x="149" y="203"/>
                    <a:pt x="149" y="203"/>
                    <a:pt x="149" y="203"/>
                  </a:cubicBezTo>
                  <a:cubicBezTo>
                    <a:pt x="235" y="203"/>
                    <a:pt x="235" y="203"/>
                    <a:pt x="235" y="203"/>
                  </a:cubicBezTo>
                  <a:cubicBezTo>
                    <a:pt x="235" y="256"/>
                    <a:pt x="235" y="256"/>
                    <a:pt x="235" y="256"/>
                  </a:cubicBezTo>
                  <a:lnTo>
                    <a:pt x="149" y="256"/>
                  </a:lnTo>
                  <a:close/>
                  <a:moveTo>
                    <a:pt x="235" y="181"/>
                  </a:moveTo>
                  <a:cubicBezTo>
                    <a:pt x="149" y="181"/>
                    <a:pt x="149" y="181"/>
                    <a:pt x="149" y="181"/>
                  </a:cubicBezTo>
                  <a:cubicBezTo>
                    <a:pt x="149" y="128"/>
                    <a:pt x="149" y="128"/>
                    <a:pt x="149" y="128"/>
                  </a:cubicBezTo>
                  <a:cubicBezTo>
                    <a:pt x="235" y="128"/>
                    <a:pt x="235" y="128"/>
                    <a:pt x="235" y="128"/>
                  </a:cubicBezTo>
                  <a:lnTo>
                    <a:pt x="235" y="181"/>
                  </a:lnTo>
                  <a:close/>
                  <a:moveTo>
                    <a:pt x="256" y="107"/>
                  </a:moveTo>
                  <a:cubicBezTo>
                    <a:pt x="245" y="107"/>
                    <a:pt x="245" y="107"/>
                    <a:pt x="245" y="107"/>
                  </a:cubicBezTo>
                  <a:cubicBezTo>
                    <a:pt x="149" y="107"/>
                    <a:pt x="149" y="107"/>
                    <a:pt x="149" y="107"/>
                  </a:cubicBezTo>
                  <a:cubicBezTo>
                    <a:pt x="149" y="85"/>
                    <a:pt x="149" y="85"/>
                    <a:pt x="149" y="85"/>
                  </a:cubicBezTo>
                  <a:cubicBezTo>
                    <a:pt x="256" y="85"/>
                    <a:pt x="256" y="85"/>
                    <a:pt x="256" y="85"/>
                  </a:cubicBezTo>
                  <a:lnTo>
                    <a:pt x="256"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6" name="Freeform 78"/>
          <p:cNvSpPr>
            <a:spLocks noChangeAspect="1" noEditPoints="1"/>
          </p:cNvSpPr>
          <p:nvPr/>
        </p:nvSpPr>
        <p:spPr bwMode="auto">
          <a:xfrm>
            <a:off x="7970555" y="2512469"/>
            <a:ext cx="367041" cy="367041"/>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7" name="Freeform 114"/>
          <p:cNvSpPr>
            <a:spLocks noChangeAspect="1" noEditPoints="1"/>
          </p:cNvSpPr>
          <p:nvPr/>
        </p:nvSpPr>
        <p:spPr bwMode="auto">
          <a:xfrm>
            <a:off x="406400" y="337413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8" name="Group 117"/>
          <p:cNvGrpSpPr>
            <a:grpSpLocks noChangeAspect="1"/>
          </p:cNvGrpSpPr>
          <p:nvPr/>
        </p:nvGrpSpPr>
        <p:grpSpPr bwMode="auto">
          <a:xfrm>
            <a:off x="825360" y="3374131"/>
            <a:ext cx="367631" cy="367631"/>
            <a:chOff x="2594" y="955"/>
            <a:chExt cx="340" cy="340"/>
          </a:xfrm>
          <a:solidFill>
            <a:schemeClr val="accent2"/>
          </a:solidFill>
        </p:grpSpPr>
        <p:sp>
          <p:nvSpPr>
            <p:cNvPr id="339" name="Freeform 118"/>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Freeform 119"/>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1" name="Freeform 586"/>
          <p:cNvSpPr>
            <a:spLocks noChangeAspect="1" noEditPoints="1"/>
          </p:cNvSpPr>
          <p:nvPr/>
        </p:nvSpPr>
        <p:spPr bwMode="auto">
          <a:xfrm>
            <a:off x="1244320" y="3374131"/>
            <a:ext cx="367631" cy="367631"/>
          </a:xfrm>
          <a:custGeom>
            <a:avLst/>
            <a:gdLst>
              <a:gd name="T0" fmla="*/ 149 w 512"/>
              <a:gd name="T1" fmla="*/ 352 h 512"/>
              <a:gd name="T2" fmla="*/ 298 w 512"/>
              <a:gd name="T3" fmla="*/ 352 h 512"/>
              <a:gd name="T4" fmla="*/ 298 w 512"/>
              <a:gd name="T5" fmla="*/ 362 h 512"/>
              <a:gd name="T6" fmla="*/ 292 w 512"/>
              <a:gd name="T7" fmla="*/ 373 h 512"/>
              <a:gd name="T8" fmla="*/ 155 w 512"/>
              <a:gd name="T9" fmla="*/ 373 h 512"/>
              <a:gd name="T10" fmla="*/ 149 w 512"/>
              <a:gd name="T11" fmla="*/ 362 h 512"/>
              <a:gd name="T12" fmla="*/ 149 w 512"/>
              <a:gd name="T13" fmla="*/ 352 h 512"/>
              <a:gd name="T14" fmla="*/ 163 w 512"/>
              <a:gd name="T15" fmla="*/ 245 h 512"/>
              <a:gd name="T16" fmla="*/ 284 w 512"/>
              <a:gd name="T17" fmla="*/ 245 h 512"/>
              <a:gd name="T18" fmla="*/ 224 w 512"/>
              <a:gd name="T19" fmla="*/ 224 h 512"/>
              <a:gd name="T20" fmla="*/ 163 w 512"/>
              <a:gd name="T21" fmla="*/ 24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5 w 512"/>
              <a:gd name="T33" fmla="*/ 171 h 512"/>
              <a:gd name="T34" fmla="*/ 402 w 512"/>
              <a:gd name="T35" fmla="*/ 163 h 512"/>
              <a:gd name="T36" fmla="*/ 394 w 512"/>
              <a:gd name="T37" fmla="*/ 160 h 512"/>
              <a:gd name="T38" fmla="*/ 329 w 512"/>
              <a:gd name="T39" fmla="*/ 160 h 512"/>
              <a:gd name="T40" fmla="*/ 320 w 512"/>
              <a:gd name="T41" fmla="*/ 105 h 512"/>
              <a:gd name="T42" fmla="*/ 315 w 512"/>
              <a:gd name="T43" fmla="*/ 97 h 512"/>
              <a:gd name="T44" fmla="*/ 306 w 512"/>
              <a:gd name="T45" fmla="*/ 96 h 512"/>
              <a:gd name="T46" fmla="*/ 242 w 512"/>
              <a:gd name="T47" fmla="*/ 118 h 512"/>
              <a:gd name="T48" fmla="*/ 235 w 512"/>
              <a:gd name="T49" fmla="*/ 131 h 512"/>
              <a:gd name="T50" fmla="*/ 248 w 512"/>
              <a:gd name="T51" fmla="*/ 138 h 512"/>
              <a:gd name="T52" fmla="*/ 301 w 512"/>
              <a:gd name="T53" fmla="*/ 120 h 512"/>
              <a:gd name="T54" fmla="*/ 307 w 512"/>
              <a:gd name="T55" fmla="*/ 160 h 512"/>
              <a:gd name="T56" fmla="*/ 245 w 512"/>
              <a:gd name="T57" fmla="*/ 160 h 512"/>
              <a:gd name="T58" fmla="*/ 237 w 512"/>
              <a:gd name="T59" fmla="*/ 163 h 512"/>
              <a:gd name="T60" fmla="*/ 234 w 512"/>
              <a:gd name="T61" fmla="*/ 171 h 512"/>
              <a:gd name="T62" fmla="*/ 238 w 512"/>
              <a:gd name="T63" fmla="*/ 203 h 512"/>
              <a:gd name="T64" fmla="*/ 224 w 512"/>
              <a:gd name="T65" fmla="*/ 202 h 512"/>
              <a:gd name="T66" fmla="*/ 130 w 512"/>
              <a:gd name="T67" fmla="*/ 249 h 512"/>
              <a:gd name="T68" fmla="*/ 129 w 512"/>
              <a:gd name="T69" fmla="*/ 260 h 512"/>
              <a:gd name="T70" fmla="*/ 138 w 512"/>
              <a:gd name="T71" fmla="*/ 266 h 512"/>
              <a:gd name="T72" fmla="*/ 309 w 512"/>
              <a:gd name="T73" fmla="*/ 266 h 512"/>
              <a:gd name="T74" fmla="*/ 309 w 512"/>
              <a:gd name="T75" fmla="*/ 266 h 512"/>
              <a:gd name="T76" fmla="*/ 319 w 512"/>
              <a:gd name="T77" fmla="*/ 260 h 512"/>
              <a:gd name="T78" fmla="*/ 318 w 512"/>
              <a:gd name="T79" fmla="*/ 249 h 512"/>
              <a:gd name="T80" fmla="*/ 259 w 512"/>
              <a:gd name="T81" fmla="*/ 208 h 512"/>
              <a:gd name="T82" fmla="*/ 257 w 512"/>
              <a:gd name="T83" fmla="*/ 181 h 512"/>
              <a:gd name="T84" fmla="*/ 383 w 512"/>
              <a:gd name="T85" fmla="*/ 181 h 512"/>
              <a:gd name="T86" fmla="*/ 363 w 512"/>
              <a:gd name="T87" fmla="*/ 373 h 512"/>
              <a:gd name="T88" fmla="*/ 318 w 512"/>
              <a:gd name="T89" fmla="*/ 373 h 512"/>
              <a:gd name="T90" fmla="*/ 320 w 512"/>
              <a:gd name="T91" fmla="*/ 362 h 512"/>
              <a:gd name="T92" fmla="*/ 320 w 512"/>
              <a:gd name="T93" fmla="*/ 341 h 512"/>
              <a:gd name="T94" fmla="*/ 309 w 512"/>
              <a:gd name="T95" fmla="*/ 330 h 512"/>
              <a:gd name="T96" fmla="*/ 138 w 512"/>
              <a:gd name="T97" fmla="*/ 330 h 512"/>
              <a:gd name="T98" fmla="*/ 128 w 512"/>
              <a:gd name="T99" fmla="*/ 341 h 512"/>
              <a:gd name="T100" fmla="*/ 128 w 512"/>
              <a:gd name="T101" fmla="*/ 362 h 512"/>
              <a:gd name="T102" fmla="*/ 155 w 512"/>
              <a:gd name="T103" fmla="*/ 394 h 512"/>
              <a:gd name="T104" fmla="*/ 373 w 512"/>
              <a:gd name="T105" fmla="*/ 394 h 512"/>
              <a:gd name="T106" fmla="*/ 384 w 512"/>
              <a:gd name="T107" fmla="*/ 385 h 512"/>
              <a:gd name="T108" fmla="*/ 405 w 512"/>
              <a:gd name="T109" fmla="*/ 171 h 512"/>
              <a:gd name="T110" fmla="*/ 138 w 512"/>
              <a:gd name="T111" fmla="*/ 309 h 512"/>
              <a:gd name="T112" fmla="*/ 309 w 512"/>
              <a:gd name="T113" fmla="*/ 309 h 512"/>
              <a:gd name="T114" fmla="*/ 320 w 512"/>
              <a:gd name="T115" fmla="*/ 298 h 512"/>
              <a:gd name="T116" fmla="*/ 309 w 512"/>
              <a:gd name="T117" fmla="*/ 288 h 512"/>
              <a:gd name="T118" fmla="*/ 138 w 512"/>
              <a:gd name="T119" fmla="*/ 288 h 512"/>
              <a:gd name="T120" fmla="*/ 128 w 512"/>
              <a:gd name="T121" fmla="*/ 298 h 512"/>
              <a:gd name="T122" fmla="*/ 138 w 512"/>
              <a:gd name="T123"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49" y="352"/>
                </a:moveTo>
                <a:cubicBezTo>
                  <a:pt x="298" y="352"/>
                  <a:pt x="298" y="352"/>
                  <a:pt x="298" y="352"/>
                </a:cubicBezTo>
                <a:cubicBezTo>
                  <a:pt x="298" y="362"/>
                  <a:pt x="298" y="362"/>
                  <a:pt x="298" y="362"/>
                </a:cubicBezTo>
                <a:cubicBezTo>
                  <a:pt x="298" y="368"/>
                  <a:pt x="295" y="373"/>
                  <a:pt x="292" y="373"/>
                </a:cubicBezTo>
                <a:cubicBezTo>
                  <a:pt x="155" y="373"/>
                  <a:pt x="155" y="373"/>
                  <a:pt x="155" y="373"/>
                </a:cubicBezTo>
                <a:cubicBezTo>
                  <a:pt x="152" y="373"/>
                  <a:pt x="149" y="368"/>
                  <a:pt x="149" y="362"/>
                </a:cubicBezTo>
                <a:lnTo>
                  <a:pt x="149" y="352"/>
                </a:lnTo>
                <a:close/>
                <a:moveTo>
                  <a:pt x="163" y="245"/>
                </a:moveTo>
                <a:cubicBezTo>
                  <a:pt x="284" y="245"/>
                  <a:pt x="284" y="245"/>
                  <a:pt x="284" y="245"/>
                </a:cubicBezTo>
                <a:cubicBezTo>
                  <a:pt x="267" y="231"/>
                  <a:pt x="246" y="224"/>
                  <a:pt x="224" y="224"/>
                </a:cubicBezTo>
                <a:cubicBezTo>
                  <a:pt x="201" y="224"/>
                  <a:pt x="180" y="231"/>
                  <a:pt x="163"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71"/>
                </a:moveTo>
                <a:cubicBezTo>
                  <a:pt x="405" y="168"/>
                  <a:pt x="404" y="165"/>
                  <a:pt x="402" y="163"/>
                </a:cubicBezTo>
                <a:cubicBezTo>
                  <a:pt x="400" y="161"/>
                  <a:pt x="397" y="160"/>
                  <a:pt x="394" y="160"/>
                </a:cubicBezTo>
                <a:cubicBezTo>
                  <a:pt x="329" y="160"/>
                  <a:pt x="329" y="160"/>
                  <a:pt x="329" y="160"/>
                </a:cubicBezTo>
                <a:cubicBezTo>
                  <a:pt x="320" y="105"/>
                  <a:pt x="320" y="105"/>
                  <a:pt x="320" y="105"/>
                </a:cubicBezTo>
                <a:cubicBezTo>
                  <a:pt x="319" y="101"/>
                  <a:pt x="317" y="99"/>
                  <a:pt x="315" y="97"/>
                </a:cubicBezTo>
                <a:cubicBezTo>
                  <a:pt x="312" y="96"/>
                  <a:pt x="309" y="95"/>
                  <a:pt x="306" y="96"/>
                </a:cubicBezTo>
                <a:cubicBezTo>
                  <a:pt x="242" y="118"/>
                  <a:pt x="242" y="118"/>
                  <a:pt x="242" y="118"/>
                </a:cubicBezTo>
                <a:cubicBezTo>
                  <a:pt x="236" y="119"/>
                  <a:pt x="233" y="125"/>
                  <a:pt x="235" y="131"/>
                </a:cubicBezTo>
                <a:cubicBezTo>
                  <a:pt x="237" y="137"/>
                  <a:pt x="243" y="140"/>
                  <a:pt x="248" y="138"/>
                </a:cubicBezTo>
                <a:cubicBezTo>
                  <a:pt x="301" y="120"/>
                  <a:pt x="301" y="120"/>
                  <a:pt x="301" y="120"/>
                </a:cubicBezTo>
                <a:cubicBezTo>
                  <a:pt x="307" y="160"/>
                  <a:pt x="307" y="160"/>
                  <a:pt x="307" y="160"/>
                </a:cubicBezTo>
                <a:cubicBezTo>
                  <a:pt x="245" y="160"/>
                  <a:pt x="245" y="160"/>
                  <a:pt x="245" y="160"/>
                </a:cubicBezTo>
                <a:cubicBezTo>
                  <a:pt x="242" y="160"/>
                  <a:pt x="239" y="161"/>
                  <a:pt x="237" y="163"/>
                </a:cubicBezTo>
                <a:cubicBezTo>
                  <a:pt x="235" y="165"/>
                  <a:pt x="234" y="168"/>
                  <a:pt x="234" y="171"/>
                </a:cubicBezTo>
                <a:cubicBezTo>
                  <a:pt x="238" y="203"/>
                  <a:pt x="238" y="203"/>
                  <a:pt x="238" y="203"/>
                </a:cubicBezTo>
                <a:cubicBezTo>
                  <a:pt x="233" y="203"/>
                  <a:pt x="228" y="202"/>
                  <a:pt x="224" y="202"/>
                </a:cubicBezTo>
                <a:cubicBezTo>
                  <a:pt x="186" y="202"/>
                  <a:pt x="152" y="219"/>
                  <a:pt x="130" y="249"/>
                </a:cubicBezTo>
                <a:cubicBezTo>
                  <a:pt x="127" y="252"/>
                  <a:pt x="127" y="257"/>
                  <a:pt x="129" y="260"/>
                </a:cubicBezTo>
                <a:cubicBezTo>
                  <a:pt x="131" y="264"/>
                  <a:pt x="134" y="266"/>
                  <a:pt x="138" y="266"/>
                </a:cubicBezTo>
                <a:cubicBezTo>
                  <a:pt x="309" y="266"/>
                  <a:pt x="309" y="266"/>
                  <a:pt x="309" y="266"/>
                </a:cubicBezTo>
                <a:cubicBezTo>
                  <a:pt x="309" y="266"/>
                  <a:pt x="309" y="266"/>
                  <a:pt x="309" y="266"/>
                </a:cubicBezTo>
                <a:cubicBezTo>
                  <a:pt x="313" y="266"/>
                  <a:pt x="317" y="264"/>
                  <a:pt x="319" y="260"/>
                </a:cubicBezTo>
                <a:cubicBezTo>
                  <a:pt x="320" y="257"/>
                  <a:pt x="320" y="253"/>
                  <a:pt x="318" y="249"/>
                </a:cubicBezTo>
                <a:cubicBezTo>
                  <a:pt x="303" y="229"/>
                  <a:pt x="282" y="215"/>
                  <a:pt x="259" y="208"/>
                </a:cubicBezTo>
                <a:cubicBezTo>
                  <a:pt x="257" y="181"/>
                  <a:pt x="257" y="181"/>
                  <a:pt x="257" y="181"/>
                </a:cubicBezTo>
                <a:cubicBezTo>
                  <a:pt x="383" y="181"/>
                  <a:pt x="383" y="181"/>
                  <a:pt x="383" y="181"/>
                </a:cubicBezTo>
                <a:cubicBezTo>
                  <a:pt x="363" y="373"/>
                  <a:pt x="363" y="373"/>
                  <a:pt x="363" y="373"/>
                </a:cubicBezTo>
                <a:cubicBezTo>
                  <a:pt x="318" y="373"/>
                  <a:pt x="318" y="373"/>
                  <a:pt x="318" y="373"/>
                </a:cubicBezTo>
                <a:cubicBezTo>
                  <a:pt x="319" y="370"/>
                  <a:pt x="320" y="366"/>
                  <a:pt x="320" y="362"/>
                </a:cubicBezTo>
                <a:cubicBezTo>
                  <a:pt x="320" y="341"/>
                  <a:pt x="320" y="341"/>
                  <a:pt x="320" y="341"/>
                </a:cubicBezTo>
                <a:cubicBezTo>
                  <a:pt x="320" y="335"/>
                  <a:pt x="315" y="330"/>
                  <a:pt x="309" y="330"/>
                </a:cubicBezTo>
                <a:cubicBezTo>
                  <a:pt x="138" y="330"/>
                  <a:pt x="138" y="330"/>
                  <a:pt x="138" y="330"/>
                </a:cubicBezTo>
                <a:cubicBezTo>
                  <a:pt x="132" y="330"/>
                  <a:pt x="128" y="335"/>
                  <a:pt x="128" y="341"/>
                </a:cubicBezTo>
                <a:cubicBezTo>
                  <a:pt x="128" y="362"/>
                  <a:pt x="128" y="362"/>
                  <a:pt x="128" y="362"/>
                </a:cubicBezTo>
                <a:cubicBezTo>
                  <a:pt x="128" y="380"/>
                  <a:pt x="140" y="394"/>
                  <a:pt x="155" y="394"/>
                </a:cubicBezTo>
                <a:cubicBezTo>
                  <a:pt x="373" y="394"/>
                  <a:pt x="373" y="394"/>
                  <a:pt x="373" y="394"/>
                </a:cubicBezTo>
                <a:cubicBezTo>
                  <a:pt x="378" y="394"/>
                  <a:pt x="383" y="390"/>
                  <a:pt x="384" y="385"/>
                </a:cubicBezTo>
                <a:lnTo>
                  <a:pt x="405" y="171"/>
                </a:lnTo>
                <a:close/>
                <a:moveTo>
                  <a:pt x="138" y="309"/>
                </a:moveTo>
                <a:cubicBezTo>
                  <a:pt x="309" y="309"/>
                  <a:pt x="309" y="309"/>
                  <a:pt x="309" y="309"/>
                </a:cubicBezTo>
                <a:cubicBezTo>
                  <a:pt x="315" y="309"/>
                  <a:pt x="320" y="304"/>
                  <a:pt x="320" y="298"/>
                </a:cubicBezTo>
                <a:cubicBezTo>
                  <a:pt x="320" y="292"/>
                  <a:pt x="315" y="288"/>
                  <a:pt x="309" y="288"/>
                </a:cubicBezTo>
                <a:cubicBezTo>
                  <a:pt x="138" y="288"/>
                  <a:pt x="138" y="288"/>
                  <a:pt x="138" y="288"/>
                </a:cubicBezTo>
                <a:cubicBezTo>
                  <a:pt x="132" y="288"/>
                  <a:pt x="128" y="292"/>
                  <a:pt x="128" y="298"/>
                </a:cubicBezTo>
                <a:cubicBezTo>
                  <a:pt x="128" y="304"/>
                  <a:pt x="132" y="309"/>
                  <a:pt x="138" y="30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2" name="Group 589"/>
          <p:cNvGrpSpPr>
            <a:grpSpLocks noChangeAspect="1"/>
          </p:cNvGrpSpPr>
          <p:nvPr/>
        </p:nvGrpSpPr>
        <p:grpSpPr bwMode="auto">
          <a:xfrm>
            <a:off x="1663280" y="3374131"/>
            <a:ext cx="367631" cy="367631"/>
            <a:chOff x="1174" y="2386"/>
            <a:chExt cx="340" cy="340"/>
          </a:xfrm>
          <a:solidFill>
            <a:schemeClr val="accent1"/>
          </a:solidFill>
        </p:grpSpPr>
        <p:sp>
          <p:nvSpPr>
            <p:cNvPr id="343" name="Freeform 590"/>
            <p:cNvSpPr>
              <a:spLocks noEditPoints="1"/>
            </p:cNvSpPr>
            <p:nvPr/>
          </p:nvSpPr>
          <p:spPr bwMode="auto">
            <a:xfrm>
              <a:off x="1258" y="2449"/>
              <a:ext cx="185" cy="199"/>
            </a:xfrm>
            <a:custGeom>
              <a:avLst/>
              <a:gdLst>
                <a:gd name="T0" fmla="*/ 275 w 278"/>
                <a:gd name="T1" fmla="*/ 68 h 299"/>
                <a:gd name="T2" fmla="*/ 267 w 278"/>
                <a:gd name="T3" fmla="*/ 65 h 299"/>
                <a:gd name="T4" fmla="*/ 202 w 278"/>
                <a:gd name="T5" fmla="*/ 65 h 299"/>
                <a:gd name="T6" fmla="*/ 193 w 278"/>
                <a:gd name="T7" fmla="*/ 10 h 299"/>
                <a:gd name="T8" fmla="*/ 188 w 278"/>
                <a:gd name="T9" fmla="*/ 2 h 299"/>
                <a:gd name="T10" fmla="*/ 179 w 278"/>
                <a:gd name="T11" fmla="*/ 1 h 299"/>
                <a:gd name="T12" fmla="*/ 115 w 278"/>
                <a:gd name="T13" fmla="*/ 23 h 299"/>
                <a:gd name="T14" fmla="*/ 108 w 278"/>
                <a:gd name="T15" fmla="*/ 36 h 299"/>
                <a:gd name="T16" fmla="*/ 121 w 278"/>
                <a:gd name="T17" fmla="*/ 43 h 299"/>
                <a:gd name="T18" fmla="*/ 174 w 278"/>
                <a:gd name="T19" fmla="*/ 25 h 299"/>
                <a:gd name="T20" fmla="*/ 180 w 278"/>
                <a:gd name="T21" fmla="*/ 65 h 299"/>
                <a:gd name="T22" fmla="*/ 118 w 278"/>
                <a:gd name="T23" fmla="*/ 65 h 299"/>
                <a:gd name="T24" fmla="*/ 110 w 278"/>
                <a:gd name="T25" fmla="*/ 68 h 299"/>
                <a:gd name="T26" fmla="*/ 107 w 278"/>
                <a:gd name="T27" fmla="*/ 76 h 299"/>
                <a:gd name="T28" fmla="*/ 111 w 278"/>
                <a:gd name="T29" fmla="*/ 108 h 299"/>
                <a:gd name="T30" fmla="*/ 97 w 278"/>
                <a:gd name="T31" fmla="*/ 107 h 299"/>
                <a:gd name="T32" fmla="*/ 3 w 278"/>
                <a:gd name="T33" fmla="*/ 154 h 299"/>
                <a:gd name="T34" fmla="*/ 2 w 278"/>
                <a:gd name="T35" fmla="*/ 165 h 299"/>
                <a:gd name="T36" fmla="*/ 11 w 278"/>
                <a:gd name="T37" fmla="*/ 171 h 299"/>
                <a:gd name="T38" fmla="*/ 182 w 278"/>
                <a:gd name="T39" fmla="*/ 171 h 299"/>
                <a:gd name="T40" fmla="*/ 182 w 278"/>
                <a:gd name="T41" fmla="*/ 171 h 299"/>
                <a:gd name="T42" fmla="*/ 192 w 278"/>
                <a:gd name="T43" fmla="*/ 165 h 299"/>
                <a:gd name="T44" fmla="*/ 191 w 278"/>
                <a:gd name="T45" fmla="*/ 154 h 299"/>
                <a:gd name="T46" fmla="*/ 132 w 278"/>
                <a:gd name="T47" fmla="*/ 113 h 299"/>
                <a:gd name="T48" fmla="*/ 130 w 278"/>
                <a:gd name="T49" fmla="*/ 86 h 299"/>
                <a:gd name="T50" fmla="*/ 256 w 278"/>
                <a:gd name="T51" fmla="*/ 86 h 299"/>
                <a:gd name="T52" fmla="*/ 236 w 278"/>
                <a:gd name="T53" fmla="*/ 278 h 299"/>
                <a:gd name="T54" fmla="*/ 191 w 278"/>
                <a:gd name="T55" fmla="*/ 278 h 299"/>
                <a:gd name="T56" fmla="*/ 193 w 278"/>
                <a:gd name="T57" fmla="*/ 267 h 299"/>
                <a:gd name="T58" fmla="*/ 193 w 278"/>
                <a:gd name="T59" fmla="*/ 246 h 299"/>
                <a:gd name="T60" fmla="*/ 182 w 278"/>
                <a:gd name="T61" fmla="*/ 235 h 299"/>
                <a:gd name="T62" fmla="*/ 11 w 278"/>
                <a:gd name="T63" fmla="*/ 235 h 299"/>
                <a:gd name="T64" fmla="*/ 1 w 278"/>
                <a:gd name="T65" fmla="*/ 246 h 299"/>
                <a:gd name="T66" fmla="*/ 1 w 278"/>
                <a:gd name="T67" fmla="*/ 267 h 299"/>
                <a:gd name="T68" fmla="*/ 28 w 278"/>
                <a:gd name="T69" fmla="*/ 299 h 299"/>
                <a:gd name="T70" fmla="*/ 246 w 278"/>
                <a:gd name="T71" fmla="*/ 299 h 299"/>
                <a:gd name="T72" fmla="*/ 257 w 278"/>
                <a:gd name="T73" fmla="*/ 290 h 299"/>
                <a:gd name="T74" fmla="*/ 278 w 278"/>
                <a:gd name="T75" fmla="*/ 76 h 299"/>
                <a:gd name="T76" fmla="*/ 275 w 278"/>
                <a:gd name="T77" fmla="*/ 68 h 299"/>
                <a:gd name="T78" fmla="*/ 36 w 278"/>
                <a:gd name="T79" fmla="*/ 150 h 299"/>
                <a:gd name="T80" fmla="*/ 97 w 278"/>
                <a:gd name="T81" fmla="*/ 129 h 299"/>
                <a:gd name="T82" fmla="*/ 157 w 278"/>
                <a:gd name="T83" fmla="*/ 150 h 299"/>
                <a:gd name="T84" fmla="*/ 36 w 278"/>
                <a:gd name="T85" fmla="*/ 150 h 299"/>
                <a:gd name="T86" fmla="*/ 22 w 278"/>
                <a:gd name="T87" fmla="*/ 267 h 299"/>
                <a:gd name="T88" fmla="*/ 22 w 278"/>
                <a:gd name="T89" fmla="*/ 257 h 299"/>
                <a:gd name="T90" fmla="*/ 171 w 278"/>
                <a:gd name="T91" fmla="*/ 257 h 299"/>
                <a:gd name="T92" fmla="*/ 171 w 278"/>
                <a:gd name="T93" fmla="*/ 267 h 299"/>
                <a:gd name="T94" fmla="*/ 165 w 278"/>
                <a:gd name="T95" fmla="*/ 278 h 299"/>
                <a:gd name="T96" fmla="*/ 28 w 278"/>
                <a:gd name="T97" fmla="*/ 278 h 299"/>
                <a:gd name="T98" fmla="*/ 22 w 278"/>
                <a:gd name="T99"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8" h="299">
                  <a:moveTo>
                    <a:pt x="275" y="68"/>
                  </a:moveTo>
                  <a:cubicBezTo>
                    <a:pt x="273" y="66"/>
                    <a:pt x="270" y="65"/>
                    <a:pt x="267" y="65"/>
                  </a:cubicBezTo>
                  <a:cubicBezTo>
                    <a:pt x="202" y="65"/>
                    <a:pt x="202" y="65"/>
                    <a:pt x="202" y="65"/>
                  </a:cubicBezTo>
                  <a:cubicBezTo>
                    <a:pt x="193" y="10"/>
                    <a:pt x="193" y="10"/>
                    <a:pt x="193" y="10"/>
                  </a:cubicBezTo>
                  <a:cubicBezTo>
                    <a:pt x="192" y="6"/>
                    <a:pt x="190" y="4"/>
                    <a:pt x="188" y="2"/>
                  </a:cubicBezTo>
                  <a:cubicBezTo>
                    <a:pt x="185" y="1"/>
                    <a:pt x="182" y="0"/>
                    <a:pt x="179" y="1"/>
                  </a:cubicBezTo>
                  <a:cubicBezTo>
                    <a:pt x="115" y="23"/>
                    <a:pt x="115" y="23"/>
                    <a:pt x="115" y="23"/>
                  </a:cubicBezTo>
                  <a:cubicBezTo>
                    <a:pt x="109" y="24"/>
                    <a:pt x="106" y="30"/>
                    <a:pt x="108" y="36"/>
                  </a:cubicBezTo>
                  <a:cubicBezTo>
                    <a:pt x="110" y="42"/>
                    <a:pt x="116" y="45"/>
                    <a:pt x="121" y="43"/>
                  </a:cubicBezTo>
                  <a:cubicBezTo>
                    <a:pt x="174" y="25"/>
                    <a:pt x="174" y="25"/>
                    <a:pt x="174" y="25"/>
                  </a:cubicBezTo>
                  <a:cubicBezTo>
                    <a:pt x="180" y="65"/>
                    <a:pt x="180" y="65"/>
                    <a:pt x="180" y="65"/>
                  </a:cubicBezTo>
                  <a:cubicBezTo>
                    <a:pt x="118" y="65"/>
                    <a:pt x="118" y="65"/>
                    <a:pt x="118" y="65"/>
                  </a:cubicBezTo>
                  <a:cubicBezTo>
                    <a:pt x="115" y="65"/>
                    <a:pt x="112" y="66"/>
                    <a:pt x="110" y="68"/>
                  </a:cubicBezTo>
                  <a:cubicBezTo>
                    <a:pt x="108" y="70"/>
                    <a:pt x="107" y="73"/>
                    <a:pt x="107" y="76"/>
                  </a:cubicBezTo>
                  <a:cubicBezTo>
                    <a:pt x="111" y="108"/>
                    <a:pt x="111" y="108"/>
                    <a:pt x="111" y="108"/>
                  </a:cubicBezTo>
                  <a:cubicBezTo>
                    <a:pt x="106" y="108"/>
                    <a:pt x="101" y="107"/>
                    <a:pt x="97" y="107"/>
                  </a:cubicBezTo>
                  <a:cubicBezTo>
                    <a:pt x="59" y="107"/>
                    <a:pt x="25" y="124"/>
                    <a:pt x="3" y="154"/>
                  </a:cubicBezTo>
                  <a:cubicBezTo>
                    <a:pt x="0" y="157"/>
                    <a:pt x="0" y="162"/>
                    <a:pt x="2" y="165"/>
                  </a:cubicBezTo>
                  <a:cubicBezTo>
                    <a:pt x="4" y="169"/>
                    <a:pt x="7" y="171"/>
                    <a:pt x="11" y="171"/>
                  </a:cubicBezTo>
                  <a:cubicBezTo>
                    <a:pt x="182" y="171"/>
                    <a:pt x="182" y="171"/>
                    <a:pt x="182" y="171"/>
                  </a:cubicBezTo>
                  <a:cubicBezTo>
                    <a:pt x="182" y="171"/>
                    <a:pt x="182" y="171"/>
                    <a:pt x="182" y="171"/>
                  </a:cubicBezTo>
                  <a:cubicBezTo>
                    <a:pt x="186" y="171"/>
                    <a:pt x="190" y="169"/>
                    <a:pt x="192" y="165"/>
                  </a:cubicBezTo>
                  <a:cubicBezTo>
                    <a:pt x="193" y="162"/>
                    <a:pt x="193" y="158"/>
                    <a:pt x="191" y="154"/>
                  </a:cubicBezTo>
                  <a:cubicBezTo>
                    <a:pt x="176" y="134"/>
                    <a:pt x="155" y="120"/>
                    <a:pt x="132" y="113"/>
                  </a:cubicBezTo>
                  <a:cubicBezTo>
                    <a:pt x="130" y="86"/>
                    <a:pt x="130" y="86"/>
                    <a:pt x="130" y="86"/>
                  </a:cubicBezTo>
                  <a:cubicBezTo>
                    <a:pt x="256" y="86"/>
                    <a:pt x="256" y="86"/>
                    <a:pt x="256" y="86"/>
                  </a:cubicBezTo>
                  <a:cubicBezTo>
                    <a:pt x="236" y="278"/>
                    <a:pt x="236" y="278"/>
                    <a:pt x="236" y="278"/>
                  </a:cubicBezTo>
                  <a:cubicBezTo>
                    <a:pt x="191" y="278"/>
                    <a:pt x="191" y="278"/>
                    <a:pt x="191" y="278"/>
                  </a:cubicBezTo>
                  <a:cubicBezTo>
                    <a:pt x="192" y="275"/>
                    <a:pt x="193" y="271"/>
                    <a:pt x="193" y="267"/>
                  </a:cubicBezTo>
                  <a:cubicBezTo>
                    <a:pt x="193" y="246"/>
                    <a:pt x="193" y="246"/>
                    <a:pt x="193" y="246"/>
                  </a:cubicBezTo>
                  <a:cubicBezTo>
                    <a:pt x="193" y="240"/>
                    <a:pt x="188" y="235"/>
                    <a:pt x="182" y="235"/>
                  </a:cubicBezTo>
                  <a:cubicBezTo>
                    <a:pt x="11" y="235"/>
                    <a:pt x="11" y="235"/>
                    <a:pt x="11" y="235"/>
                  </a:cubicBezTo>
                  <a:cubicBezTo>
                    <a:pt x="5" y="235"/>
                    <a:pt x="1" y="240"/>
                    <a:pt x="1" y="246"/>
                  </a:cubicBezTo>
                  <a:cubicBezTo>
                    <a:pt x="1" y="267"/>
                    <a:pt x="1" y="267"/>
                    <a:pt x="1" y="267"/>
                  </a:cubicBezTo>
                  <a:cubicBezTo>
                    <a:pt x="1" y="285"/>
                    <a:pt x="13" y="299"/>
                    <a:pt x="28" y="299"/>
                  </a:cubicBezTo>
                  <a:cubicBezTo>
                    <a:pt x="246" y="299"/>
                    <a:pt x="246" y="299"/>
                    <a:pt x="246" y="299"/>
                  </a:cubicBezTo>
                  <a:cubicBezTo>
                    <a:pt x="251" y="299"/>
                    <a:pt x="256" y="295"/>
                    <a:pt x="257" y="290"/>
                  </a:cubicBezTo>
                  <a:cubicBezTo>
                    <a:pt x="278" y="76"/>
                    <a:pt x="278" y="76"/>
                    <a:pt x="278" y="76"/>
                  </a:cubicBezTo>
                  <a:cubicBezTo>
                    <a:pt x="278" y="73"/>
                    <a:pt x="277" y="70"/>
                    <a:pt x="275" y="68"/>
                  </a:cubicBezTo>
                  <a:close/>
                  <a:moveTo>
                    <a:pt x="36" y="150"/>
                  </a:moveTo>
                  <a:cubicBezTo>
                    <a:pt x="53" y="136"/>
                    <a:pt x="74" y="129"/>
                    <a:pt x="97" y="129"/>
                  </a:cubicBezTo>
                  <a:cubicBezTo>
                    <a:pt x="119" y="129"/>
                    <a:pt x="140" y="136"/>
                    <a:pt x="157" y="150"/>
                  </a:cubicBezTo>
                  <a:lnTo>
                    <a:pt x="36" y="150"/>
                  </a:lnTo>
                  <a:close/>
                  <a:moveTo>
                    <a:pt x="22" y="267"/>
                  </a:moveTo>
                  <a:cubicBezTo>
                    <a:pt x="22" y="257"/>
                    <a:pt x="22" y="257"/>
                    <a:pt x="22" y="257"/>
                  </a:cubicBezTo>
                  <a:cubicBezTo>
                    <a:pt x="171" y="257"/>
                    <a:pt x="171" y="257"/>
                    <a:pt x="171" y="257"/>
                  </a:cubicBezTo>
                  <a:cubicBezTo>
                    <a:pt x="171" y="267"/>
                    <a:pt x="171" y="267"/>
                    <a:pt x="171" y="267"/>
                  </a:cubicBezTo>
                  <a:cubicBezTo>
                    <a:pt x="171" y="273"/>
                    <a:pt x="168" y="278"/>
                    <a:pt x="165" y="278"/>
                  </a:cubicBezTo>
                  <a:cubicBezTo>
                    <a:pt x="28" y="278"/>
                    <a:pt x="28" y="278"/>
                    <a:pt x="28" y="278"/>
                  </a:cubicBezTo>
                  <a:cubicBezTo>
                    <a:pt x="25" y="278"/>
                    <a:pt x="22" y="273"/>
                    <a:pt x="22" y="2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Freeform 591"/>
            <p:cNvSpPr>
              <a:spLocks/>
            </p:cNvSpPr>
            <p:nvPr/>
          </p:nvSpPr>
          <p:spPr bwMode="auto">
            <a:xfrm>
              <a:off x="1259" y="2577"/>
              <a:ext cx="127" cy="14"/>
            </a:xfrm>
            <a:custGeom>
              <a:avLst/>
              <a:gdLst>
                <a:gd name="T0" fmla="*/ 10 w 192"/>
                <a:gd name="T1" fmla="*/ 21 h 21"/>
                <a:gd name="T2" fmla="*/ 181 w 192"/>
                <a:gd name="T3" fmla="*/ 21 h 21"/>
                <a:gd name="T4" fmla="*/ 192 w 192"/>
                <a:gd name="T5" fmla="*/ 10 h 21"/>
                <a:gd name="T6" fmla="*/ 181 w 192"/>
                <a:gd name="T7" fmla="*/ 0 h 21"/>
                <a:gd name="T8" fmla="*/ 10 w 192"/>
                <a:gd name="T9" fmla="*/ 0 h 21"/>
                <a:gd name="T10" fmla="*/ 0 w 192"/>
                <a:gd name="T11" fmla="*/ 10 h 21"/>
                <a:gd name="T12" fmla="*/ 10 w 19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92" h="21">
                  <a:moveTo>
                    <a:pt x="10" y="21"/>
                  </a:moveTo>
                  <a:cubicBezTo>
                    <a:pt x="181" y="21"/>
                    <a:pt x="181" y="21"/>
                    <a:pt x="181" y="21"/>
                  </a:cubicBezTo>
                  <a:cubicBezTo>
                    <a:pt x="187" y="21"/>
                    <a:pt x="192" y="16"/>
                    <a:pt x="192" y="10"/>
                  </a:cubicBezTo>
                  <a:cubicBezTo>
                    <a:pt x="192" y="4"/>
                    <a:pt x="187" y="0"/>
                    <a:pt x="181" y="0"/>
                  </a:cubicBezTo>
                  <a:cubicBezTo>
                    <a:pt x="10" y="0"/>
                    <a:pt x="10" y="0"/>
                    <a:pt x="10" y="0"/>
                  </a:cubicBezTo>
                  <a:cubicBezTo>
                    <a:pt x="4" y="0"/>
                    <a:pt x="0" y="4"/>
                    <a:pt x="0" y="10"/>
                  </a:cubicBezTo>
                  <a:cubicBezTo>
                    <a:pt x="0" y="16"/>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592"/>
            <p:cNvSpPr>
              <a:spLocks noEditPoints="1"/>
            </p:cNvSpPr>
            <p:nvPr/>
          </p:nvSpPr>
          <p:spPr bwMode="auto">
            <a:xfrm>
              <a:off x="1174" y="23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6" name="Group 449"/>
          <p:cNvGrpSpPr>
            <a:grpSpLocks noChangeAspect="1"/>
          </p:cNvGrpSpPr>
          <p:nvPr/>
        </p:nvGrpSpPr>
        <p:grpSpPr bwMode="auto">
          <a:xfrm>
            <a:off x="2503245" y="3374131"/>
            <a:ext cx="369676" cy="369676"/>
            <a:chOff x="2732" y="1561"/>
            <a:chExt cx="340" cy="340"/>
          </a:xfrm>
          <a:solidFill>
            <a:schemeClr val="accent5"/>
          </a:solidFill>
        </p:grpSpPr>
        <p:sp>
          <p:nvSpPr>
            <p:cNvPr id="347" name="Freeform 450"/>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 name="Freeform 451"/>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9" name="Group 454"/>
          <p:cNvGrpSpPr>
            <a:grpSpLocks noChangeAspect="1"/>
          </p:cNvGrpSpPr>
          <p:nvPr/>
        </p:nvGrpSpPr>
        <p:grpSpPr bwMode="auto">
          <a:xfrm>
            <a:off x="2082240" y="3374131"/>
            <a:ext cx="369676" cy="369676"/>
            <a:chOff x="2325" y="1565"/>
            <a:chExt cx="340" cy="340"/>
          </a:xfrm>
          <a:solidFill>
            <a:schemeClr val="accent5"/>
          </a:solidFill>
        </p:grpSpPr>
        <p:sp>
          <p:nvSpPr>
            <p:cNvPr id="350"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2" name="Freeform 223"/>
          <p:cNvSpPr>
            <a:spLocks noChangeAspect="1" noEditPoints="1"/>
          </p:cNvSpPr>
          <p:nvPr/>
        </p:nvSpPr>
        <p:spPr bwMode="auto">
          <a:xfrm>
            <a:off x="2924250" y="3374131"/>
            <a:ext cx="367631" cy="367631"/>
          </a:xfrm>
          <a:custGeom>
            <a:avLst/>
            <a:gdLst>
              <a:gd name="T0" fmla="*/ 190 w 512"/>
              <a:gd name="T1" fmla="*/ 227 h 512"/>
              <a:gd name="T2" fmla="*/ 166 w 512"/>
              <a:gd name="T3" fmla="*/ 170 h 512"/>
              <a:gd name="T4" fmla="*/ 232 w 512"/>
              <a:gd name="T5" fmla="*/ 170 h 512"/>
              <a:gd name="T6" fmla="*/ 190 w 512"/>
              <a:gd name="T7" fmla="*/ 227 h 512"/>
              <a:gd name="T8" fmla="*/ 149 w 512"/>
              <a:gd name="T9" fmla="*/ 184 h 512"/>
              <a:gd name="T10" fmla="*/ 124 w 512"/>
              <a:gd name="T11" fmla="*/ 234 h 512"/>
              <a:gd name="T12" fmla="*/ 171 w 512"/>
              <a:gd name="T13" fmla="*/ 234 h 512"/>
              <a:gd name="T14" fmla="*/ 149 w 512"/>
              <a:gd name="T15" fmla="*/ 184 h 512"/>
              <a:gd name="T16" fmla="*/ 346 w 512"/>
              <a:gd name="T17" fmla="*/ 170 h 512"/>
              <a:gd name="T18" fmla="*/ 280 w 512"/>
              <a:gd name="T19" fmla="*/ 170 h 512"/>
              <a:gd name="T20" fmla="*/ 321 w 512"/>
              <a:gd name="T21" fmla="*/ 227 h 512"/>
              <a:gd name="T22" fmla="*/ 346 w 512"/>
              <a:gd name="T23" fmla="*/ 170 h 512"/>
              <a:gd name="T24" fmla="*/ 298 w 512"/>
              <a:gd name="T25" fmla="*/ 234 h 512"/>
              <a:gd name="T26" fmla="*/ 256 w 512"/>
              <a:gd name="T27" fmla="*/ 177 h 512"/>
              <a:gd name="T28" fmla="*/ 213 w 512"/>
              <a:gd name="T29" fmla="*/ 234 h 512"/>
              <a:gd name="T30" fmla="*/ 298 w 512"/>
              <a:gd name="T31" fmla="*/ 234 h 512"/>
              <a:gd name="T32" fmla="*/ 131 w 512"/>
              <a:gd name="T33" fmla="*/ 256 h 512"/>
              <a:gd name="T34" fmla="*/ 224 w 512"/>
              <a:gd name="T35" fmla="*/ 356 h 512"/>
              <a:gd name="T36" fmla="*/ 180 w 512"/>
              <a:gd name="T37" fmla="*/ 256 h 512"/>
              <a:gd name="T38" fmla="*/ 131 w 512"/>
              <a:gd name="T39" fmla="*/ 256 h 512"/>
              <a:gd name="T40" fmla="*/ 340 w 512"/>
              <a:gd name="T41" fmla="*/ 234 h 512"/>
              <a:gd name="T42" fmla="*/ 388 w 512"/>
              <a:gd name="T43" fmla="*/ 234 h 512"/>
              <a:gd name="T44" fmla="*/ 362 w 512"/>
              <a:gd name="T45" fmla="*/ 184 h 512"/>
              <a:gd name="T46" fmla="*/ 340 w 512"/>
              <a:gd name="T47" fmla="*/ 234 h 512"/>
              <a:gd name="T48" fmla="*/ 203 w 512"/>
              <a:gd name="T49" fmla="*/ 256 h 512"/>
              <a:gd name="T50" fmla="*/ 256 w 512"/>
              <a:gd name="T51" fmla="*/ 378 h 512"/>
              <a:gd name="T52" fmla="*/ 309 w 512"/>
              <a:gd name="T53" fmla="*/ 256 h 512"/>
              <a:gd name="T54" fmla="*/ 203 w 512"/>
              <a:gd name="T55" fmla="*/ 256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40 h 512"/>
              <a:gd name="T68" fmla="*/ 372 w 512"/>
              <a:gd name="T69" fmla="*/ 155 h 512"/>
              <a:gd name="T70" fmla="*/ 362 w 512"/>
              <a:gd name="T71" fmla="*/ 149 h 512"/>
              <a:gd name="T72" fmla="*/ 149 w 512"/>
              <a:gd name="T73" fmla="*/ 149 h 512"/>
              <a:gd name="T74" fmla="*/ 139 w 512"/>
              <a:gd name="T75" fmla="*/ 155 h 512"/>
              <a:gd name="T76" fmla="*/ 97 w 512"/>
              <a:gd name="T77" fmla="*/ 240 h 512"/>
              <a:gd name="T78" fmla="*/ 99 w 512"/>
              <a:gd name="T79" fmla="*/ 252 h 512"/>
              <a:gd name="T80" fmla="*/ 248 w 512"/>
              <a:gd name="T81" fmla="*/ 412 h 512"/>
              <a:gd name="T82" fmla="*/ 256 w 512"/>
              <a:gd name="T83" fmla="*/ 416 h 512"/>
              <a:gd name="T84" fmla="*/ 263 w 512"/>
              <a:gd name="T85" fmla="*/ 412 h 512"/>
              <a:gd name="T86" fmla="*/ 413 w 512"/>
              <a:gd name="T87" fmla="*/ 252 h 512"/>
              <a:gd name="T88" fmla="*/ 415 w 512"/>
              <a:gd name="T89" fmla="*/ 240 h 512"/>
              <a:gd name="T90" fmla="*/ 287 w 512"/>
              <a:gd name="T91" fmla="*/ 356 h 512"/>
              <a:gd name="T92" fmla="*/ 380 w 512"/>
              <a:gd name="T93" fmla="*/ 256 h 512"/>
              <a:gd name="T94" fmla="*/ 331 w 512"/>
              <a:gd name="T95" fmla="*/ 256 h 512"/>
              <a:gd name="T96" fmla="*/ 287 w 512"/>
              <a:gd name="T97" fmla="*/ 3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90" y="227"/>
                </a:moveTo>
                <a:cubicBezTo>
                  <a:pt x="166" y="170"/>
                  <a:pt x="166" y="170"/>
                  <a:pt x="166" y="170"/>
                </a:cubicBezTo>
                <a:cubicBezTo>
                  <a:pt x="232" y="170"/>
                  <a:pt x="232" y="170"/>
                  <a:pt x="232" y="170"/>
                </a:cubicBezTo>
                <a:lnTo>
                  <a:pt x="190" y="227"/>
                </a:lnTo>
                <a:close/>
                <a:moveTo>
                  <a:pt x="149" y="184"/>
                </a:moveTo>
                <a:cubicBezTo>
                  <a:pt x="124" y="234"/>
                  <a:pt x="124" y="234"/>
                  <a:pt x="124" y="234"/>
                </a:cubicBezTo>
                <a:cubicBezTo>
                  <a:pt x="171" y="234"/>
                  <a:pt x="171" y="234"/>
                  <a:pt x="171" y="234"/>
                </a:cubicBezTo>
                <a:lnTo>
                  <a:pt x="149" y="184"/>
                </a:lnTo>
                <a:close/>
                <a:moveTo>
                  <a:pt x="346" y="170"/>
                </a:moveTo>
                <a:cubicBezTo>
                  <a:pt x="280" y="170"/>
                  <a:pt x="280" y="170"/>
                  <a:pt x="280" y="170"/>
                </a:cubicBezTo>
                <a:cubicBezTo>
                  <a:pt x="321" y="227"/>
                  <a:pt x="321" y="227"/>
                  <a:pt x="321" y="227"/>
                </a:cubicBezTo>
                <a:lnTo>
                  <a:pt x="346" y="170"/>
                </a:lnTo>
                <a:close/>
                <a:moveTo>
                  <a:pt x="298" y="234"/>
                </a:moveTo>
                <a:cubicBezTo>
                  <a:pt x="256" y="177"/>
                  <a:pt x="256" y="177"/>
                  <a:pt x="256" y="177"/>
                </a:cubicBezTo>
                <a:cubicBezTo>
                  <a:pt x="213" y="234"/>
                  <a:pt x="213" y="234"/>
                  <a:pt x="213" y="234"/>
                </a:cubicBezTo>
                <a:lnTo>
                  <a:pt x="298" y="234"/>
                </a:lnTo>
                <a:close/>
                <a:moveTo>
                  <a:pt x="131" y="256"/>
                </a:moveTo>
                <a:cubicBezTo>
                  <a:pt x="224" y="356"/>
                  <a:pt x="224" y="356"/>
                  <a:pt x="224" y="356"/>
                </a:cubicBezTo>
                <a:cubicBezTo>
                  <a:pt x="180" y="256"/>
                  <a:pt x="180" y="256"/>
                  <a:pt x="180" y="256"/>
                </a:cubicBezTo>
                <a:lnTo>
                  <a:pt x="131" y="256"/>
                </a:lnTo>
                <a:close/>
                <a:moveTo>
                  <a:pt x="340" y="234"/>
                </a:moveTo>
                <a:cubicBezTo>
                  <a:pt x="388" y="234"/>
                  <a:pt x="388" y="234"/>
                  <a:pt x="388" y="234"/>
                </a:cubicBezTo>
                <a:cubicBezTo>
                  <a:pt x="362" y="184"/>
                  <a:pt x="362" y="184"/>
                  <a:pt x="362" y="184"/>
                </a:cubicBezTo>
                <a:lnTo>
                  <a:pt x="340" y="234"/>
                </a:lnTo>
                <a:close/>
                <a:moveTo>
                  <a:pt x="203" y="256"/>
                </a:moveTo>
                <a:cubicBezTo>
                  <a:pt x="256" y="378"/>
                  <a:pt x="256" y="378"/>
                  <a:pt x="256" y="378"/>
                </a:cubicBezTo>
                <a:cubicBezTo>
                  <a:pt x="309" y="256"/>
                  <a:pt x="309" y="256"/>
                  <a:pt x="309" y="256"/>
                </a:cubicBezTo>
                <a:lnTo>
                  <a:pt x="203"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40"/>
                </a:moveTo>
                <a:cubicBezTo>
                  <a:pt x="372" y="155"/>
                  <a:pt x="372" y="155"/>
                  <a:pt x="372" y="155"/>
                </a:cubicBezTo>
                <a:cubicBezTo>
                  <a:pt x="370" y="151"/>
                  <a:pt x="366" y="149"/>
                  <a:pt x="362" y="149"/>
                </a:cubicBezTo>
                <a:cubicBezTo>
                  <a:pt x="149" y="149"/>
                  <a:pt x="149" y="149"/>
                  <a:pt x="149" y="149"/>
                </a:cubicBezTo>
                <a:cubicBezTo>
                  <a:pt x="145" y="149"/>
                  <a:pt x="141" y="151"/>
                  <a:pt x="139" y="155"/>
                </a:cubicBezTo>
                <a:cubicBezTo>
                  <a:pt x="97" y="240"/>
                  <a:pt x="97" y="240"/>
                  <a:pt x="97" y="240"/>
                </a:cubicBezTo>
                <a:cubicBezTo>
                  <a:pt x="95" y="244"/>
                  <a:pt x="95" y="249"/>
                  <a:pt x="99" y="252"/>
                </a:cubicBezTo>
                <a:cubicBezTo>
                  <a:pt x="248" y="412"/>
                  <a:pt x="248" y="412"/>
                  <a:pt x="248" y="412"/>
                </a:cubicBezTo>
                <a:cubicBezTo>
                  <a:pt x="250" y="414"/>
                  <a:pt x="253" y="416"/>
                  <a:pt x="256" y="416"/>
                </a:cubicBezTo>
                <a:cubicBezTo>
                  <a:pt x="259" y="416"/>
                  <a:pt x="261" y="414"/>
                  <a:pt x="263" y="412"/>
                </a:cubicBezTo>
                <a:cubicBezTo>
                  <a:pt x="413" y="252"/>
                  <a:pt x="413" y="252"/>
                  <a:pt x="413" y="252"/>
                </a:cubicBezTo>
                <a:cubicBezTo>
                  <a:pt x="416" y="249"/>
                  <a:pt x="417" y="244"/>
                  <a:pt x="415" y="240"/>
                </a:cubicBezTo>
                <a:close/>
                <a:moveTo>
                  <a:pt x="287" y="356"/>
                </a:moveTo>
                <a:cubicBezTo>
                  <a:pt x="380" y="256"/>
                  <a:pt x="380" y="256"/>
                  <a:pt x="380" y="256"/>
                </a:cubicBezTo>
                <a:cubicBezTo>
                  <a:pt x="331" y="256"/>
                  <a:pt x="331" y="256"/>
                  <a:pt x="331" y="256"/>
                </a:cubicBezTo>
                <a:lnTo>
                  <a:pt x="287" y="35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3" name="Group 226"/>
          <p:cNvGrpSpPr>
            <a:grpSpLocks noChangeAspect="1"/>
          </p:cNvGrpSpPr>
          <p:nvPr/>
        </p:nvGrpSpPr>
        <p:grpSpPr bwMode="auto">
          <a:xfrm>
            <a:off x="3343210" y="3374131"/>
            <a:ext cx="367631" cy="367631"/>
            <a:chOff x="2710" y="770"/>
            <a:chExt cx="340" cy="340"/>
          </a:xfrm>
          <a:solidFill>
            <a:schemeClr val="accent3"/>
          </a:solidFill>
        </p:grpSpPr>
        <p:sp>
          <p:nvSpPr>
            <p:cNvPr id="354" name="Freeform 227"/>
            <p:cNvSpPr>
              <a:spLocks noEditPoints="1"/>
            </p:cNvSpPr>
            <p:nvPr/>
          </p:nvSpPr>
          <p:spPr bwMode="auto">
            <a:xfrm>
              <a:off x="2710"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228"/>
            <p:cNvSpPr>
              <a:spLocks noEditPoints="1"/>
            </p:cNvSpPr>
            <p:nvPr/>
          </p:nvSpPr>
          <p:spPr bwMode="auto">
            <a:xfrm>
              <a:off x="2773" y="869"/>
              <a:ext cx="214" cy="177"/>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6" name="Group 556"/>
          <p:cNvGrpSpPr>
            <a:grpSpLocks noChangeAspect="1"/>
          </p:cNvGrpSpPr>
          <p:nvPr/>
        </p:nvGrpSpPr>
        <p:grpSpPr bwMode="auto">
          <a:xfrm>
            <a:off x="4183175" y="3374131"/>
            <a:ext cx="370763" cy="369676"/>
            <a:chOff x="3513" y="1927"/>
            <a:chExt cx="341" cy="340"/>
          </a:xfrm>
          <a:solidFill>
            <a:schemeClr val="accent6"/>
          </a:solidFill>
        </p:grpSpPr>
        <p:sp>
          <p:nvSpPr>
            <p:cNvPr id="357" name="Freeform 557"/>
            <p:cNvSpPr>
              <a:spLocks noEditPoints="1"/>
            </p:cNvSpPr>
            <p:nvPr/>
          </p:nvSpPr>
          <p:spPr bwMode="auto">
            <a:xfrm>
              <a:off x="3513" y="192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558"/>
            <p:cNvSpPr>
              <a:spLocks noEditPoints="1"/>
            </p:cNvSpPr>
            <p:nvPr/>
          </p:nvSpPr>
          <p:spPr bwMode="auto">
            <a:xfrm>
              <a:off x="3577" y="2019"/>
              <a:ext cx="206" cy="156"/>
            </a:xfrm>
            <a:custGeom>
              <a:avLst/>
              <a:gdLst>
                <a:gd name="T0" fmla="*/ 288 w 309"/>
                <a:gd name="T1" fmla="*/ 164 h 235"/>
                <a:gd name="T2" fmla="*/ 288 w 309"/>
                <a:gd name="T3" fmla="*/ 107 h 235"/>
                <a:gd name="T4" fmla="*/ 266 w 309"/>
                <a:gd name="T5" fmla="*/ 86 h 235"/>
                <a:gd name="T6" fmla="*/ 245 w 309"/>
                <a:gd name="T7" fmla="*/ 86 h 235"/>
                <a:gd name="T8" fmla="*/ 245 w 309"/>
                <a:gd name="T9" fmla="*/ 32 h 235"/>
                <a:gd name="T10" fmla="*/ 224 w 309"/>
                <a:gd name="T11" fmla="*/ 11 h 235"/>
                <a:gd name="T12" fmla="*/ 213 w 309"/>
                <a:gd name="T13" fmla="*/ 22 h 235"/>
                <a:gd name="T14" fmla="*/ 224 w 309"/>
                <a:gd name="T15" fmla="*/ 32 h 235"/>
                <a:gd name="T16" fmla="*/ 224 w 309"/>
                <a:gd name="T17" fmla="*/ 86 h 235"/>
                <a:gd name="T18" fmla="*/ 168 w 309"/>
                <a:gd name="T19" fmla="*/ 86 h 235"/>
                <a:gd name="T20" fmla="*/ 149 w 309"/>
                <a:gd name="T21" fmla="*/ 20 h 235"/>
                <a:gd name="T22" fmla="*/ 128 w 309"/>
                <a:gd name="T23" fmla="*/ 0 h 235"/>
                <a:gd name="T24" fmla="*/ 64 w 309"/>
                <a:gd name="T25" fmla="*/ 0 h 235"/>
                <a:gd name="T26" fmla="*/ 53 w 309"/>
                <a:gd name="T27" fmla="*/ 10 h 235"/>
                <a:gd name="T28" fmla="*/ 43 w 309"/>
                <a:gd name="T29" fmla="*/ 93 h 235"/>
                <a:gd name="T30" fmla="*/ 0 w 309"/>
                <a:gd name="T31" fmla="*/ 160 h 235"/>
                <a:gd name="T32" fmla="*/ 74 w 309"/>
                <a:gd name="T33" fmla="*/ 235 h 235"/>
                <a:gd name="T34" fmla="*/ 127 w 309"/>
                <a:gd name="T35" fmla="*/ 213 h 235"/>
                <a:gd name="T36" fmla="*/ 128 w 309"/>
                <a:gd name="T37" fmla="*/ 214 h 235"/>
                <a:gd name="T38" fmla="*/ 238 w 309"/>
                <a:gd name="T39" fmla="*/ 214 h 235"/>
                <a:gd name="T40" fmla="*/ 272 w 309"/>
                <a:gd name="T41" fmla="*/ 235 h 235"/>
                <a:gd name="T42" fmla="*/ 309 w 309"/>
                <a:gd name="T43" fmla="*/ 198 h 235"/>
                <a:gd name="T44" fmla="*/ 288 w 309"/>
                <a:gd name="T45" fmla="*/ 164 h 235"/>
                <a:gd name="T46" fmla="*/ 266 w 309"/>
                <a:gd name="T47" fmla="*/ 161 h 235"/>
                <a:gd name="T48" fmla="*/ 235 w 309"/>
                <a:gd name="T49" fmla="*/ 192 h 235"/>
                <a:gd name="T50" fmla="*/ 142 w 309"/>
                <a:gd name="T51" fmla="*/ 192 h 235"/>
                <a:gd name="T52" fmla="*/ 149 w 309"/>
                <a:gd name="T53" fmla="*/ 160 h 235"/>
                <a:gd name="T54" fmla="*/ 126 w 309"/>
                <a:gd name="T55" fmla="*/ 107 h 235"/>
                <a:gd name="T56" fmla="*/ 266 w 309"/>
                <a:gd name="T57" fmla="*/ 107 h 235"/>
                <a:gd name="T58" fmla="*/ 266 w 309"/>
                <a:gd name="T59" fmla="*/ 161 h 235"/>
                <a:gd name="T60" fmla="*/ 73 w 309"/>
                <a:gd name="T61" fmla="*/ 22 h 235"/>
                <a:gd name="T62" fmla="*/ 128 w 309"/>
                <a:gd name="T63" fmla="*/ 22 h 235"/>
                <a:gd name="T64" fmla="*/ 128 w 309"/>
                <a:gd name="T65" fmla="*/ 25 h 235"/>
                <a:gd name="T66" fmla="*/ 146 w 309"/>
                <a:gd name="T67" fmla="*/ 86 h 235"/>
                <a:gd name="T68" fmla="*/ 85 w 309"/>
                <a:gd name="T69" fmla="*/ 86 h 235"/>
                <a:gd name="T70" fmla="*/ 83 w 309"/>
                <a:gd name="T71" fmla="*/ 86 h 235"/>
                <a:gd name="T72" fmla="*/ 74 w 309"/>
                <a:gd name="T73" fmla="*/ 86 h 235"/>
                <a:gd name="T74" fmla="*/ 65 w 309"/>
                <a:gd name="T75" fmla="*/ 86 h 235"/>
                <a:gd name="T76" fmla="*/ 73 w 309"/>
                <a:gd name="T77" fmla="*/ 22 h 235"/>
                <a:gd name="T78" fmla="*/ 74 w 309"/>
                <a:gd name="T79" fmla="*/ 214 h 235"/>
                <a:gd name="T80" fmla="*/ 21 w 309"/>
                <a:gd name="T81" fmla="*/ 160 h 235"/>
                <a:gd name="T82" fmla="*/ 74 w 309"/>
                <a:gd name="T83" fmla="*/ 107 h 235"/>
                <a:gd name="T84" fmla="*/ 128 w 309"/>
                <a:gd name="T85" fmla="*/ 160 h 235"/>
                <a:gd name="T86" fmla="*/ 74 w 309"/>
                <a:gd name="T87" fmla="*/ 214 h 235"/>
                <a:gd name="T88" fmla="*/ 272 w 309"/>
                <a:gd name="T89" fmla="*/ 214 h 235"/>
                <a:gd name="T90" fmla="*/ 256 w 309"/>
                <a:gd name="T91" fmla="*/ 198 h 235"/>
                <a:gd name="T92" fmla="*/ 272 w 309"/>
                <a:gd name="T93" fmla="*/ 182 h 235"/>
                <a:gd name="T94" fmla="*/ 288 w 309"/>
                <a:gd name="T95" fmla="*/ 198 h 235"/>
                <a:gd name="T96" fmla="*/ 272 w 309"/>
                <a:gd name="T97" fmla="*/ 214 h 235"/>
                <a:gd name="T98" fmla="*/ 234 w 309"/>
                <a:gd name="T99" fmla="*/ 128 h 235"/>
                <a:gd name="T100" fmla="*/ 245 w 309"/>
                <a:gd name="T101" fmla="*/ 139 h 235"/>
                <a:gd name="T102" fmla="*/ 234 w 309"/>
                <a:gd name="T103" fmla="*/ 150 h 235"/>
                <a:gd name="T104" fmla="*/ 213 w 309"/>
                <a:gd name="T105" fmla="*/ 150 h 235"/>
                <a:gd name="T106" fmla="*/ 202 w 309"/>
                <a:gd name="T107" fmla="*/ 139 h 235"/>
                <a:gd name="T108" fmla="*/ 213 w 309"/>
                <a:gd name="T109" fmla="*/ 128 h 235"/>
                <a:gd name="T110" fmla="*/ 234 w 309"/>
                <a:gd name="T111"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35">
                  <a:moveTo>
                    <a:pt x="288" y="164"/>
                  </a:moveTo>
                  <a:cubicBezTo>
                    <a:pt x="288" y="107"/>
                    <a:pt x="288" y="107"/>
                    <a:pt x="288" y="107"/>
                  </a:cubicBezTo>
                  <a:cubicBezTo>
                    <a:pt x="288" y="95"/>
                    <a:pt x="278" y="86"/>
                    <a:pt x="266" y="86"/>
                  </a:cubicBezTo>
                  <a:cubicBezTo>
                    <a:pt x="245" y="86"/>
                    <a:pt x="245" y="86"/>
                    <a:pt x="245" y="86"/>
                  </a:cubicBezTo>
                  <a:cubicBezTo>
                    <a:pt x="245" y="32"/>
                    <a:pt x="245" y="32"/>
                    <a:pt x="245" y="32"/>
                  </a:cubicBezTo>
                  <a:cubicBezTo>
                    <a:pt x="245" y="21"/>
                    <a:pt x="235" y="11"/>
                    <a:pt x="224" y="11"/>
                  </a:cubicBezTo>
                  <a:cubicBezTo>
                    <a:pt x="218" y="11"/>
                    <a:pt x="213" y="16"/>
                    <a:pt x="213" y="22"/>
                  </a:cubicBezTo>
                  <a:cubicBezTo>
                    <a:pt x="213" y="28"/>
                    <a:pt x="218" y="32"/>
                    <a:pt x="224" y="32"/>
                  </a:cubicBezTo>
                  <a:cubicBezTo>
                    <a:pt x="224" y="86"/>
                    <a:pt x="224" y="86"/>
                    <a:pt x="224" y="86"/>
                  </a:cubicBezTo>
                  <a:cubicBezTo>
                    <a:pt x="168" y="86"/>
                    <a:pt x="168" y="86"/>
                    <a:pt x="168" y="86"/>
                  </a:cubicBezTo>
                  <a:cubicBezTo>
                    <a:pt x="149" y="20"/>
                    <a:pt x="149" y="20"/>
                    <a:pt x="149" y="20"/>
                  </a:cubicBezTo>
                  <a:cubicBezTo>
                    <a:pt x="148" y="9"/>
                    <a:pt x="139" y="0"/>
                    <a:pt x="128" y="0"/>
                  </a:cubicBezTo>
                  <a:cubicBezTo>
                    <a:pt x="64" y="0"/>
                    <a:pt x="64" y="0"/>
                    <a:pt x="64" y="0"/>
                  </a:cubicBezTo>
                  <a:cubicBezTo>
                    <a:pt x="58" y="0"/>
                    <a:pt x="54" y="4"/>
                    <a:pt x="53" y="10"/>
                  </a:cubicBezTo>
                  <a:cubicBezTo>
                    <a:pt x="43" y="93"/>
                    <a:pt x="43" y="93"/>
                    <a:pt x="43" y="93"/>
                  </a:cubicBezTo>
                  <a:cubicBezTo>
                    <a:pt x="17" y="105"/>
                    <a:pt x="0" y="130"/>
                    <a:pt x="0" y="160"/>
                  </a:cubicBezTo>
                  <a:cubicBezTo>
                    <a:pt x="0" y="202"/>
                    <a:pt x="33" y="235"/>
                    <a:pt x="74" y="235"/>
                  </a:cubicBezTo>
                  <a:cubicBezTo>
                    <a:pt x="95" y="235"/>
                    <a:pt x="113" y="227"/>
                    <a:pt x="127" y="213"/>
                  </a:cubicBezTo>
                  <a:cubicBezTo>
                    <a:pt x="127" y="214"/>
                    <a:pt x="127" y="214"/>
                    <a:pt x="128" y="214"/>
                  </a:cubicBezTo>
                  <a:cubicBezTo>
                    <a:pt x="238" y="214"/>
                    <a:pt x="238" y="214"/>
                    <a:pt x="238" y="214"/>
                  </a:cubicBezTo>
                  <a:cubicBezTo>
                    <a:pt x="244" y="226"/>
                    <a:pt x="257" y="235"/>
                    <a:pt x="272" y="235"/>
                  </a:cubicBezTo>
                  <a:cubicBezTo>
                    <a:pt x="292" y="235"/>
                    <a:pt x="309" y="218"/>
                    <a:pt x="309" y="198"/>
                  </a:cubicBezTo>
                  <a:cubicBezTo>
                    <a:pt x="309" y="183"/>
                    <a:pt x="300" y="170"/>
                    <a:pt x="288" y="164"/>
                  </a:cubicBezTo>
                  <a:close/>
                  <a:moveTo>
                    <a:pt x="266" y="161"/>
                  </a:moveTo>
                  <a:cubicBezTo>
                    <a:pt x="250" y="163"/>
                    <a:pt x="237" y="176"/>
                    <a:pt x="235" y="192"/>
                  </a:cubicBezTo>
                  <a:cubicBezTo>
                    <a:pt x="142" y="192"/>
                    <a:pt x="142" y="192"/>
                    <a:pt x="142" y="192"/>
                  </a:cubicBezTo>
                  <a:cubicBezTo>
                    <a:pt x="146" y="183"/>
                    <a:pt x="149" y="172"/>
                    <a:pt x="149" y="160"/>
                  </a:cubicBezTo>
                  <a:cubicBezTo>
                    <a:pt x="149" y="139"/>
                    <a:pt x="140" y="121"/>
                    <a:pt x="126" y="107"/>
                  </a:cubicBezTo>
                  <a:cubicBezTo>
                    <a:pt x="266" y="107"/>
                    <a:pt x="266" y="107"/>
                    <a:pt x="266" y="107"/>
                  </a:cubicBezTo>
                  <a:lnTo>
                    <a:pt x="266" y="161"/>
                  </a:lnTo>
                  <a:close/>
                  <a:moveTo>
                    <a:pt x="73" y="22"/>
                  </a:moveTo>
                  <a:cubicBezTo>
                    <a:pt x="128" y="22"/>
                    <a:pt x="128" y="22"/>
                    <a:pt x="128" y="22"/>
                  </a:cubicBezTo>
                  <a:cubicBezTo>
                    <a:pt x="128" y="23"/>
                    <a:pt x="128" y="24"/>
                    <a:pt x="128" y="25"/>
                  </a:cubicBezTo>
                  <a:cubicBezTo>
                    <a:pt x="146" y="86"/>
                    <a:pt x="146" y="86"/>
                    <a:pt x="146" y="86"/>
                  </a:cubicBezTo>
                  <a:cubicBezTo>
                    <a:pt x="85" y="86"/>
                    <a:pt x="85" y="86"/>
                    <a:pt x="85" y="86"/>
                  </a:cubicBezTo>
                  <a:cubicBezTo>
                    <a:pt x="84" y="86"/>
                    <a:pt x="83" y="86"/>
                    <a:pt x="83" y="86"/>
                  </a:cubicBezTo>
                  <a:cubicBezTo>
                    <a:pt x="80" y="86"/>
                    <a:pt x="77" y="86"/>
                    <a:pt x="74" y="86"/>
                  </a:cubicBezTo>
                  <a:cubicBezTo>
                    <a:pt x="71" y="86"/>
                    <a:pt x="68" y="86"/>
                    <a:pt x="65" y="86"/>
                  </a:cubicBezTo>
                  <a:lnTo>
                    <a:pt x="73" y="22"/>
                  </a:lnTo>
                  <a:close/>
                  <a:moveTo>
                    <a:pt x="74" y="214"/>
                  </a:moveTo>
                  <a:cubicBezTo>
                    <a:pt x="45" y="214"/>
                    <a:pt x="21" y="190"/>
                    <a:pt x="21" y="160"/>
                  </a:cubicBezTo>
                  <a:cubicBezTo>
                    <a:pt x="21" y="131"/>
                    <a:pt x="45" y="107"/>
                    <a:pt x="74" y="107"/>
                  </a:cubicBezTo>
                  <a:cubicBezTo>
                    <a:pt x="104" y="107"/>
                    <a:pt x="128" y="131"/>
                    <a:pt x="128" y="160"/>
                  </a:cubicBezTo>
                  <a:cubicBezTo>
                    <a:pt x="128" y="190"/>
                    <a:pt x="104" y="214"/>
                    <a:pt x="74" y="214"/>
                  </a:cubicBezTo>
                  <a:close/>
                  <a:moveTo>
                    <a:pt x="272" y="214"/>
                  </a:moveTo>
                  <a:cubicBezTo>
                    <a:pt x="263" y="214"/>
                    <a:pt x="256" y="206"/>
                    <a:pt x="256" y="198"/>
                  </a:cubicBezTo>
                  <a:cubicBezTo>
                    <a:pt x="256" y="189"/>
                    <a:pt x="263" y="182"/>
                    <a:pt x="272" y="182"/>
                  </a:cubicBezTo>
                  <a:cubicBezTo>
                    <a:pt x="280" y="182"/>
                    <a:pt x="288" y="189"/>
                    <a:pt x="288" y="198"/>
                  </a:cubicBezTo>
                  <a:cubicBezTo>
                    <a:pt x="288" y="206"/>
                    <a:pt x="280" y="214"/>
                    <a:pt x="272" y="214"/>
                  </a:cubicBezTo>
                  <a:close/>
                  <a:moveTo>
                    <a:pt x="234" y="128"/>
                  </a:moveTo>
                  <a:cubicBezTo>
                    <a:pt x="240" y="128"/>
                    <a:pt x="245" y="133"/>
                    <a:pt x="245" y="139"/>
                  </a:cubicBezTo>
                  <a:cubicBezTo>
                    <a:pt x="245" y="145"/>
                    <a:pt x="240" y="150"/>
                    <a:pt x="234" y="150"/>
                  </a:cubicBezTo>
                  <a:cubicBezTo>
                    <a:pt x="213" y="150"/>
                    <a:pt x="213" y="150"/>
                    <a:pt x="213" y="150"/>
                  </a:cubicBezTo>
                  <a:cubicBezTo>
                    <a:pt x="207" y="150"/>
                    <a:pt x="202" y="145"/>
                    <a:pt x="202" y="139"/>
                  </a:cubicBezTo>
                  <a:cubicBezTo>
                    <a:pt x="202" y="133"/>
                    <a:pt x="207" y="128"/>
                    <a:pt x="213" y="128"/>
                  </a:cubicBezTo>
                  <a:lnTo>
                    <a:pt x="234" y="1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9" name="Freeform 562"/>
          <p:cNvSpPr>
            <a:spLocks noChangeAspect="1" noEditPoints="1"/>
          </p:cNvSpPr>
          <p:nvPr/>
        </p:nvSpPr>
        <p:spPr bwMode="auto">
          <a:xfrm>
            <a:off x="3762170" y="3374131"/>
            <a:ext cx="369676" cy="3696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39" name="Group 986"/>
          <p:cNvGrpSpPr>
            <a:grpSpLocks noChangeAspect="1"/>
          </p:cNvGrpSpPr>
          <p:nvPr/>
        </p:nvGrpSpPr>
        <p:grpSpPr bwMode="auto">
          <a:xfrm>
            <a:off x="5867402" y="3374131"/>
            <a:ext cx="369021" cy="369021"/>
            <a:chOff x="4274" y="3998"/>
            <a:chExt cx="340" cy="340"/>
          </a:xfrm>
          <a:solidFill>
            <a:schemeClr val="accent5"/>
          </a:solidFill>
        </p:grpSpPr>
        <p:sp>
          <p:nvSpPr>
            <p:cNvPr id="240"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2" name="Freeform 992"/>
          <p:cNvSpPr>
            <a:spLocks noChangeAspect="1" noEditPoints="1"/>
          </p:cNvSpPr>
          <p:nvPr/>
        </p:nvSpPr>
        <p:spPr bwMode="auto">
          <a:xfrm>
            <a:off x="5447052" y="3374131"/>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43" name="Freeform 996"/>
          <p:cNvSpPr>
            <a:spLocks noChangeAspect="1" noEditPoints="1"/>
          </p:cNvSpPr>
          <p:nvPr/>
        </p:nvSpPr>
        <p:spPr bwMode="auto">
          <a:xfrm>
            <a:off x="5025617" y="3374131"/>
            <a:ext cx="370106"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44" name="Freeform 1000"/>
          <p:cNvSpPr>
            <a:spLocks noChangeAspect="1" noEditPoints="1"/>
          </p:cNvSpPr>
          <p:nvPr/>
        </p:nvSpPr>
        <p:spPr bwMode="auto">
          <a:xfrm>
            <a:off x="4605267" y="3374131"/>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TextBox 141"/>
          <p:cNvSpPr txBox="1"/>
          <p:nvPr/>
        </p:nvSpPr>
        <p:spPr>
          <a:xfrm>
            <a:off x="6265333" y="38320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Egg timer</a:t>
            </a:r>
          </a:p>
        </p:txBody>
      </p:sp>
      <p:sp>
        <p:nvSpPr>
          <p:cNvPr id="143" name="Freeform 444"/>
          <p:cNvSpPr>
            <a:spLocks noChangeAspect="1" noEditPoints="1"/>
          </p:cNvSpPr>
          <p:nvPr/>
        </p:nvSpPr>
        <p:spPr bwMode="auto">
          <a:xfrm>
            <a:off x="6287752" y="3374131"/>
            <a:ext cx="367631" cy="367631"/>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44" name="Group 447"/>
          <p:cNvGrpSpPr>
            <a:grpSpLocks noChangeAspect="1"/>
          </p:cNvGrpSpPr>
          <p:nvPr/>
        </p:nvGrpSpPr>
        <p:grpSpPr bwMode="auto">
          <a:xfrm>
            <a:off x="6706718" y="3374131"/>
            <a:ext cx="367631" cy="367631"/>
            <a:chOff x="4988" y="1602"/>
            <a:chExt cx="340" cy="340"/>
          </a:xfrm>
          <a:solidFill>
            <a:schemeClr val="accent5"/>
          </a:solidFill>
        </p:grpSpPr>
        <p:sp>
          <p:nvSpPr>
            <p:cNvPr id="145" name="Freeform 448"/>
            <p:cNvSpPr>
              <a:spLocks noEditPoints="1"/>
            </p:cNvSpPr>
            <p:nvPr/>
          </p:nvSpPr>
          <p:spPr bwMode="auto">
            <a:xfrm>
              <a:off x="4988" y="16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449"/>
            <p:cNvSpPr>
              <a:spLocks noEditPoints="1"/>
            </p:cNvSpPr>
            <p:nvPr/>
          </p:nvSpPr>
          <p:spPr bwMode="auto">
            <a:xfrm>
              <a:off x="5101" y="1666"/>
              <a:ext cx="113" cy="212"/>
            </a:xfrm>
            <a:custGeom>
              <a:avLst/>
              <a:gdLst>
                <a:gd name="T0" fmla="*/ 160 w 171"/>
                <a:gd name="T1" fmla="*/ 298 h 320"/>
                <a:gd name="T2" fmla="*/ 160 w 171"/>
                <a:gd name="T3" fmla="*/ 266 h 320"/>
                <a:gd name="T4" fmla="*/ 129 w 171"/>
                <a:gd name="T5" fmla="*/ 197 h 320"/>
                <a:gd name="T6" fmla="*/ 118 w 171"/>
                <a:gd name="T7" fmla="*/ 160 h 320"/>
                <a:gd name="T8" fmla="*/ 129 w 171"/>
                <a:gd name="T9" fmla="*/ 124 h 320"/>
                <a:gd name="T10" fmla="*/ 160 w 171"/>
                <a:gd name="T11" fmla="*/ 53 h 320"/>
                <a:gd name="T12" fmla="*/ 160 w 171"/>
                <a:gd name="T13" fmla="*/ 21 h 320"/>
                <a:gd name="T14" fmla="*/ 171 w 171"/>
                <a:gd name="T15" fmla="*/ 10 h 320"/>
                <a:gd name="T16" fmla="*/ 160 w 171"/>
                <a:gd name="T17" fmla="*/ 0 h 320"/>
                <a:gd name="T18" fmla="*/ 11 w 171"/>
                <a:gd name="T19" fmla="*/ 0 h 320"/>
                <a:gd name="T20" fmla="*/ 0 w 171"/>
                <a:gd name="T21" fmla="*/ 10 h 320"/>
                <a:gd name="T22" fmla="*/ 11 w 171"/>
                <a:gd name="T23" fmla="*/ 21 h 320"/>
                <a:gd name="T24" fmla="*/ 11 w 171"/>
                <a:gd name="T25" fmla="*/ 53 h 320"/>
                <a:gd name="T26" fmla="*/ 43 w 171"/>
                <a:gd name="T27" fmla="*/ 124 h 320"/>
                <a:gd name="T28" fmla="*/ 54 w 171"/>
                <a:gd name="T29" fmla="*/ 160 h 320"/>
                <a:gd name="T30" fmla="*/ 42 w 171"/>
                <a:gd name="T31" fmla="*/ 197 h 320"/>
                <a:gd name="T32" fmla="*/ 11 w 171"/>
                <a:gd name="T33" fmla="*/ 266 h 320"/>
                <a:gd name="T34" fmla="*/ 11 w 171"/>
                <a:gd name="T35" fmla="*/ 298 h 320"/>
                <a:gd name="T36" fmla="*/ 0 w 171"/>
                <a:gd name="T37" fmla="*/ 309 h 320"/>
                <a:gd name="T38" fmla="*/ 11 w 171"/>
                <a:gd name="T39" fmla="*/ 320 h 320"/>
                <a:gd name="T40" fmla="*/ 160 w 171"/>
                <a:gd name="T41" fmla="*/ 320 h 320"/>
                <a:gd name="T42" fmla="*/ 171 w 171"/>
                <a:gd name="T43" fmla="*/ 309 h 320"/>
                <a:gd name="T44" fmla="*/ 160 w 171"/>
                <a:gd name="T45" fmla="*/ 298 h 320"/>
                <a:gd name="T46" fmla="*/ 61 w 171"/>
                <a:gd name="T47" fmla="*/ 113 h 320"/>
                <a:gd name="T48" fmla="*/ 32 w 171"/>
                <a:gd name="T49" fmla="*/ 53 h 320"/>
                <a:gd name="T50" fmla="*/ 32 w 171"/>
                <a:gd name="T51" fmla="*/ 21 h 320"/>
                <a:gd name="T52" fmla="*/ 139 w 171"/>
                <a:gd name="T53" fmla="*/ 21 h 320"/>
                <a:gd name="T54" fmla="*/ 139 w 171"/>
                <a:gd name="T55" fmla="*/ 53 h 320"/>
                <a:gd name="T56" fmla="*/ 111 w 171"/>
                <a:gd name="T57" fmla="*/ 113 h 320"/>
                <a:gd name="T58" fmla="*/ 96 w 171"/>
                <a:gd name="T59" fmla="*/ 160 h 320"/>
                <a:gd name="T60" fmla="*/ 101 w 171"/>
                <a:gd name="T61" fmla="*/ 186 h 320"/>
                <a:gd name="T62" fmla="*/ 101 w 171"/>
                <a:gd name="T63" fmla="*/ 187 h 320"/>
                <a:gd name="T64" fmla="*/ 104 w 171"/>
                <a:gd name="T65" fmla="*/ 195 h 320"/>
                <a:gd name="T66" fmla="*/ 111 w 171"/>
                <a:gd name="T67" fmla="*/ 208 h 320"/>
                <a:gd name="T68" fmla="*/ 120 w 171"/>
                <a:gd name="T69" fmla="*/ 224 h 320"/>
                <a:gd name="T70" fmla="*/ 52 w 171"/>
                <a:gd name="T71" fmla="*/ 224 h 320"/>
                <a:gd name="T72" fmla="*/ 60 w 171"/>
                <a:gd name="T73" fmla="*/ 208 h 320"/>
                <a:gd name="T74" fmla="*/ 67 w 171"/>
                <a:gd name="T75" fmla="*/ 195 h 320"/>
                <a:gd name="T76" fmla="*/ 70 w 171"/>
                <a:gd name="T77" fmla="*/ 187 h 320"/>
                <a:gd name="T78" fmla="*/ 71 w 171"/>
                <a:gd name="T79" fmla="*/ 186 h 320"/>
                <a:gd name="T80" fmla="*/ 75 w 171"/>
                <a:gd name="T81" fmla="*/ 160 h 320"/>
                <a:gd name="T82" fmla="*/ 61 w 171"/>
                <a:gd name="T83" fmla="*/ 113 h 320"/>
                <a:gd name="T84" fmla="*/ 32 w 171"/>
                <a:gd name="T85" fmla="*/ 267 h 320"/>
                <a:gd name="T86" fmla="*/ 41 w 171"/>
                <a:gd name="T87" fmla="*/ 245 h 320"/>
                <a:gd name="T88" fmla="*/ 130 w 171"/>
                <a:gd name="T89" fmla="*/ 245 h 320"/>
                <a:gd name="T90" fmla="*/ 139 w 171"/>
                <a:gd name="T91" fmla="*/ 267 h 320"/>
                <a:gd name="T92" fmla="*/ 139 w 171"/>
                <a:gd name="T93" fmla="*/ 298 h 320"/>
                <a:gd name="T94" fmla="*/ 32 w 171"/>
                <a:gd name="T95" fmla="*/ 298 h 320"/>
                <a:gd name="T96" fmla="*/ 32 w 171"/>
                <a:gd name="T9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320">
                  <a:moveTo>
                    <a:pt x="160" y="298"/>
                  </a:moveTo>
                  <a:cubicBezTo>
                    <a:pt x="160" y="266"/>
                    <a:pt x="160" y="266"/>
                    <a:pt x="160" y="266"/>
                  </a:cubicBezTo>
                  <a:cubicBezTo>
                    <a:pt x="160" y="256"/>
                    <a:pt x="143" y="223"/>
                    <a:pt x="129" y="197"/>
                  </a:cubicBezTo>
                  <a:cubicBezTo>
                    <a:pt x="122" y="185"/>
                    <a:pt x="118" y="160"/>
                    <a:pt x="118" y="160"/>
                  </a:cubicBezTo>
                  <a:cubicBezTo>
                    <a:pt x="118" y="147"/>
                    <a:pt x="122" y="134"/>
                    <a:pt x="129" y="124"/>
                  </a:cubicBezTo>
                  <a:cubicBezTo>
                    <a:pt x="143" y="97"/>
                    <a:pt x="160" y="64"/>
                    <a:pt x="160" y="53"/>
                  </a:cubicBezTo>
                  <a:cubicBezTo>
                    <a:pt x="160" y="21"/>
                    <a:pt x="160" y="21"/>
                    <a:pt x="160" y="21"/>
                  </a:cubicBezTo>
                  <a:cubicBezTo>
                    <a:pt x="166" y="21"/>
                    <a:pt x="171" y="16"/>
                    <a:pt x="171" y="10"/>
                  </a:cubicBezTo>
                  <a:cubicBezTo>
                    <a:pt x="171" y="4"/>
                    <a:pt x="166" y="0"/>
                    <a:pt x="160" y="0"/>
                  </a:cubicBezTo>
                  <a:cubicBezTo>
                    <a:pt x="11" y="0"/>
                    <a:pt x="11" y="0"/>
                    <a:pt x="11" y="0"/>
                  </a:cubicBezTo>
                  <a:cubicBezTo>
                    <a:pt x="5" y="0"/>
                    <a:pt x="0" y="4"/>
                    <a:pt x="0" y="10"/>
                  </a:cubicBezTo>
                  <a:cubicBezTo>
                    <a:pt x="0" y="16"/>
                    <a:pt x="5" y="21"/>
                    <a:pt x="11" y="21"/>
                  </a:cubicBezTo>
                  <a:cubicBezTo>
                    <a:pt x="11" y="53"/>
                    <a:pt x="11" y="53"/>
                    <a:pt x="11" y="53"/>
                  </a:cubicBezTo>
                  <a:cubicBezTo>
                    <a:pt x="11" y="64"/>
                    <a:pt x="28" y="97"/>
                    <a:pt x="43" y="124"/>
                  </a:cubicBezTo>
                  <a:cubicBezTo>
                    <a:pt x="50" y="134"/>
                    <a:pt x="54" y="147"/>
                    <a:pt x="54" y="160"/>
                  </a:cubicBezTo>
                  <a:cubicBezTo>
                    <a:pt x="54" y="160"/>
                    <a:pt x="50" y="185"/>
                    <a:pt x="42" y="197"/>
                  </a:cubicBezTo>
                  <a:cubicBezTo>
                    <a:pt x="28" y="223"/>
                    <a:pt x="11" y="256"/>
                    <a:pt x="11" y="266"/>
                  </a:cubicBezTo>
                  <a:cubicBezTo>
                    <a:pt x="11" y="298"/>
                    <a:pt x="11" y="298"/>
                    <a:pt x="11" y="298"/>
                  </a:cubicBezTo>
                  <a:cubicBezTo>
                    <a:pt x="5" y="298"/>
                    <a:pt x="0" y="303"/>
                    <a:pt x="0" y="309"/>
                  </a:cubicBezTo>
                  <a:cubicBezTo>
                    <a:pt x="0" y="315"/>
                    <a:pt x="5" y="320"/>
                    <a:pt x="11" y="320"/>
                  </a:cubicBezTo>
                  <a:cubicBezTo>
                    <a:pt x="160" y="320"/>
                    <a:pt x="160" y="320"/>
                    <a:pt x="160" y="320"/>
                  </a:cubicBezTo>
                  <a:cubicBezTo>
                    <a:pt x="166" y="320"/>
                    <a:pt x="171" y="315"/>
                    <a:pt x="171" y="309"/>
                  </a:cubicBezTo>
                  <a:cubicBezTo>
                    <a:pt x="171" y="303"/>
                    <a:pt x="166" y="298"/>
                    <a:pt x="160" y="298"/>
                  </a:cubicBezTo>
                  <a:close/>
                  <a:moveTo>
                    <a:pt x="61" y="113"/>
                  </a:moveTo>
                  <a:cubicBezTo>
                    <a:pt x="48" y="89"/>
                    <a:pt x="33" y="59"/>
                    <a:pt x="32" y="53"/>
                  </a:cubicBezTo>
                  <a:cubicBezTo>
                    <a:pt x="32" y="21"/>
                    <a:pt x="32" y="21"/>
                    <a:pt x="32" y="21"/>
                  </a:cubicBezTo>
                  <a:cubicBezTo>
                    <a:pt x="139" y="21"/>
                    <a:pt x="139" y="21"/>
                    <a:pt x="139" y="21"/>
                  </a:cubicBezTo>
                  <a:cubicBezTo>
                    <a:pt x="139" y="53"/>
                    <a:pt x="139" y="53"/>
                    <a:pt x="139" y="53"/>
                  </a:cubicBezTo>
                  <a:cubicBezTo>
                    <a:pt x="139" y="59"/>
                    <a:pt x="124" y="89"/>
                    <a:pt x="111" y="113"/>
                  </a:cubicBezTo>
                  <a:cubicBezTo>
                    <a:pt x="101" y="126"/>
                    <a:pt x="96" y="142"/>
                    <a:pt x="96" y="160"/>
                  </a:cubicBezTo>
                  <a:cubicBezTo>
                    <a:pt x="96" y="169"/>
                    <a:pt x="98" y="177"/>
                    <a:pt x="101" y="186"/>
                  </a:cubicBezTo>
                  <a:cubicBezTo>
                    <a:pt x="101" y="186"/>
                    <a:pt x="101" y="187"/>
                    <a:pt x="101" y="187"/>
                  </a:cubicBezTo>
                  <a:cubicBezTo>
                    <a:pt x="102" y="190"/>
                    <a:pt x="103" y="193"/>
                    <a:pt x="104" y="195"/>
                  </a:cubicBezTo>
                  <a:cubicBezTo>
                    <a:pt x="106" y="200"/>
                    <a:pt x="108" y="204"/>
                    <a:pt x="111" y="208"/>
                  </a:cubicBezTo>
                  <a:cubicBezTo>
                    <a:pt x="114" y="213"/>
                    <a:pt x="117" y="218"/>
                    <a:pt x="120" y="224"/>
                  </a:cubicBezTo>
                  <a:cubicBezTo>
                    <a:pt x="52" y="224"/>
                    <a:pt x="52" y="224"/>
                    <a:pt x="52" y="224"/>
                  </a:cubicBezTo>
                  <a:cubicBezTo>
                    <a:pt x="55" y="218"/>
                    <a:pt x="57" y="213"/>
                    <a:pt x="60" y="208"/>
                  </a:cubicBezTo>
                  <a:cubicBezTo>
                    <a:pt x="63" y="204"/>
                    <a:pt x="65" y="200"/>
                    <a:pt x="67" y="195"/>
                  </a:cubicBezTo>
                  <a:cubicBezTo>
                    <a:pt x="68" y="193"/>
                    <a:pt x="69" y="190"/>
                    <a:pt x="70" y="187"/>
                  </a:cubicBezTo>
                  <a:cubicBezTo>
                    <a:pt x="70" y="187"/>
                    <a:pt x="71" y="186"/>
                    <a:pt x="71" y="186"/>
                  </a:cubicBezTo>
                  <a:cubicBezTo>
                    <a:pt x="74" y="177"/>
                    <a:pt x="75" y="169"/>
                    <a:pt x="75" y="160"/>
                  </a:cubicBezTo>
                  <a:cubicBezTo>
                    <a:pt x="75" y="142"/>
                    <a:pt x="70" y="126"/>
                    <a:pt x="61" y="113"/>
                  </a:cubicBezTo>
                  <a:close/>
                  <a:moveTo>
                    <a:pt x="32" y="267"/>
                  </a:moveTo>
                  <a:cubicBezTo>
                    <a:pt x="33" y="264"/>
                    <a:pt x="36" y="255"/>
                    <a:pt x="41" y="245"/>
                  </a:cubicBezTo>
                  <a:cubicBezTo>
                    <a:pt x="130" y="245"/>
                    <a:pt x="130" y="245"/>
                    <a:pt x="130" y="245"/>
                  </a:cubicBezTo>
                  <a:cubicBezTo>
                    <a:pt x="135" y="255"/>
                    <a:pt x="139" y="264"/>
                    <a:pt x="139" y="267"/>
                  </a:cubicBezTo>
                  <a:cubicBezTo>
                    <a:pt x="139" y="298"/>
                    <a:pt x="139" y="298"/>
                    <a:pt x="139" y="298"/>
                  </a:cubicBezTo>
                  <a:cubicBezTo>
                    <a:pt x="32" y="298"/>
                    <a:pt x="32" y="298"/>
                    <a:pt x="32" y="298"/>
                  </a:cubicBezTo>
                  <a:lnTo>
                    <a:pt x="32" y="2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4222703"/>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Manufacturing</a:t>
            </a:r>
            <a:endParaRPr lang="en-GB" dirty="0"/>
          </a:p>
        </p:txBody>
      </p:sp>
      <p:sp>
        <p:nvSpPr>
          <p:cNvPr id="4" name="Title 3"/>
          <p:cNvSpPr>
            <a:spLocks noGrp="1"/>
          </p:cNvSpPr>
          <p:nvPr>
            <p:ph type="title"/>
          </p:nvPr>
        </p:nvSpPr>
        <p:spPr/>
        <p:txBody>
          <a:bodyPr/>
          <a:lstStyle/>
          <a:p>
            <a:r>
              <a:rPr lang="en-GB" dirty="0"/>
              <a:t>Iconography</a:t>
            </a:r>
          </a:p>
        </p:txBody>
      </p:sp>
      <p:sp>
        <p:nvSpPr>
          <p:cNvPr id="425" name="TextBox 424"/>
          <p:cNvSpPr txBox="1"/>
          <p:nvPr/>
        </p:nvSpPr>
        <p:spPr>
          <a:xfrm>
            <a:off x="1193714" y="2121972"/>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lmet mining</a:t>
            </a:r>
          </a:p>
        </p:txBody>
      </p:sp>
      <p:sp>
        <p:nvSpPr>
          <p:cNvPr id="426" name="TextBox 425"/>
          <p:cNvSpPr txBox="1"/>
          <p:nvPr/>
        </p:nvSpPr>
        <p:spPr>
          <a:xfrm>
            <a:off x="2035252"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elmet</a:t>
            </a:r>
          </a:p>
        </p:txBody>
      </p:sp>
      <p:sp>
        <p:nvSpPr>
          <p:cNvPr id="427" name="TextBox 426"/>
          <p:cNvSpPr txBox="1"/>
          <p:nvPr/>
        </p:nvSpPr>
        <p:spPr>
          <a:xfrm>
            <a:off x="352176"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uler</a:t>
            </a:r>
          </a:p>
        </p:txBody>
      </p:sp>
      <p:sp>
        <p:nvSpPr>
          <p:cNvPr id="428" name="TextBox 427"/>
          <p:cNvSpPr txBox="1"/>
          <p:nvPr/>
        </p:nvSpPr>
        <p:spPr>
          <a:xfrm>
            <a:off x="2876790"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crewdriver</a:t>
            </a:r>
          </a:p>
        </p:txBody>
      </p:sp>
      <p:sp>
        <p:nvSpPr>
          <p:cNvPr id="429" name="TextBox 428"/>
          <p:cNvSpPr txBox="1"/>
          <p:nvPr/>
        </p:nvSpPr>
        <p:spPr>
          <a:xfrm>
            <a:off x="540140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ctory</a:t>
            </a:r>
          </a:p>
        </p:txBody>
      </p:sp>
      <p:sp>
        <p:nvSpPr>
          <p:cNvPr id="430" name="TextBox 429"/>
          <p:cNvSpPr txBox="1"/>
          <p:nvPr/>
        </p:nvSpPr>
        <p:spPr>
          <a:xfrm>
            <a:off x="4559866"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ammer</a:t>
            </a:r>
          </a:p>
        </p:txBody>
      </p:sp>
      <p:sp>
        <p:nvSpPr>
          <p:cNvPr id="431" name="TextBox 430"/>
          <p:cNvSpPr txBox="1"/>
          <p:nvPr/>
        </p:nvSpPr>
        <p:spPr>
          <a:xfrm>
            <a:off x="3718328" y="211879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mpass</a:t>
            </a:r>
          </a:p>
        </p:txBody>
      </p:sp>
      <p:sp>
        <p:nvSpPr>
          <p:cNvPr id="472" name="TextBox 471"/>
          <p:cNvSpPr txBox="1"/>
          <p:nvPr/>
        </p:nvSpPr>
        <p:spPr>
          <a:xfrm>
            <a:off x="374564" y="2947420"/>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rane</a:t>
            </a:r>
          </a:p>
        </p:txBody>
      </p:sp>
      <p:sp>
        <p:nvSpPr>
          <p:cNvPr id="473" name="TextBox 472"/>
          <p:cNvSpPr txBox="1"/>
          <p:nvPr/>
        </p:nvSpPr>
        <p:spPr>
          <a:xfrm>
            <a:off x="7084482" y="2152419"/>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anner</a:t>
            </a:r>
          </a:p>
        </p:txBody>
      </p:sp>
      <p:sp>
        <p:nvSpPr>
          <p:cNvPr id="475" name="TextBox 474"/>
          <p:cNvSpPr txBox="1"/>
          <p:nvPr/>
        </p:nvSpPr>
        <p:spPr>
          <a:xfrm>
            <a:off x="1215530" y="2947420"/>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ork lift truck</a:t>
            </a:r>
          </a:p>
        </p:txBody>
      </p:sp>
      <p:sp>
        <p:nvSpPr>
          <p:cNvPr id="476" name="TextBox 475"/>
          <p:cNvSpPr txBox="1"/>
          <p:nvPr/>
        </p:nvSpPr>
        <p:spPr>
          <a:xfrm>
            <a:off x="2920747" y="294742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D</a:t>
            </a:r>
          </a:p>
        </p:txBody>
      </p:sp>
      <p:sp>
        <p:nvSpPr>
          <p:cNvPr id="477" name="TextBox 476"/>
          <p:cNvSpPr txBox="1"/>
          <p:nvPr/>
        </p:nvSpPr>
        <p:spPr>
          <a:xfrm>
            <a:off x="6242942" y="215222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actory 2</a:t>
            </a:r>
          </a:p>
        </p:txBody>
      </p:sp>
      <p:sp>
        <p:nvSpPr>
          <p:cNvPr id="478" name="TextBox 477"/>
          <p:cNvSpPr txBox="1"/>
          <p:nvPr/>
        </p:nvSpPr>
        <p:spPr>
          <a:xfrm>
            <a:off x="2068138" y="294742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oolbox</a:t>
            </a:r>
          </a:p>
        </p:txBody>
      </p:sp>
      <p:grpSp>
        <p:nvGrpSpPr>
          <p:cNvPr id="269" name="Group 806"/>
          <p:cNvGrpSpPr>
            <a:grpSpLocks noChangeAspect="1"/>
          </p:cNvGrpSpPr>
          <p:nvPr/>
        </p:nvGrpSpPr>
        <p:grpSpPr bwMode="auto">
          <a:xfrm>
            <a:off x="807399" y="1703369"/>
            <a:ext cx="369021" cy="369021"/>
            <a:chOff x="3458" y="3061"/>
            <a:chExt cx="340" cy="340"/>
          </a:xfrm>
          <a:solidFill>
            <a:schemeClr val="accent3"/>
          </a:solidFill>
        </p:grpSpPr>
        <p:sp>
          <p:nvSpPr>
            <p:cNvPr id="270" name="Freeform 807"/>
            <p:cNvSpPr>
              <a:spLocks noEditPoints="1"/>
            </p:cNvSpPr>
            <p:nvPr/>
          </p:nvSpPr>
          <p:spPr bwMode="auto">
            <a:xfrm>
              <a:off x="3522" y="3181"/>
              <a:ext cx="212" cy="99"/>
            </a:xfrm>
            <a:custGeom>
              <a:avLst/>
              <a:gdLst>
                <a:gd name="T0" fmla="*/ 309 w 320"/>
                <a:gd name="T1" fmla="*/ 0 h 149"/>
                <a:gd name="T2" fmla="*/ 10 w 320"/>
                <a:gd name="T3" fmla="*/ 0 h 149"/>
                <a:gd name="T4" fmla="*/ 0 w 320"/>
                <a:gd name="T5" fmla="*/ 11 h 149"/>
                <a:gd name="T6" fmla="*/ 0 w 320"/>
                <a:gd name="T7" fmla="*/ 139 h 149"/>
                <a:gd name="T8" fmla="*/ 10 w 320"/>
                <a:gd name="T9" fmla="*/ 149 h 149"/>
                <a:gd name="T10" fmla="*/ 309 w 320"/>
                <a:gd name="T11" fmla="*/ 149 h 149"/>
                <a:gd name="T12" fmla="*/ 320 w 320"/>
                <a:gd name="T13" fmla="*/ 139 h 149"/>
                <a:gd name="T14" fmla="*/ 320 w 320"/>
                <a:gd name="T15" fmla="*/ 11 h 149"/>
                <a:gd name="T16" fmla="*/ 309 w 320"/>
                <a:gd name="T17" fmla="*/ 0 h 149"/>
                <a:gd name="T18" fmla="*/ 298 w 320"/>
                <a:gd name="T19" fmla="*/ 128 h 149"/>
                <a:gd name="T20" fmla="*/ 21 w 320"/>
                <a:gd name="T21" fmla="*/ 128 h 149"/>
                <a:gd name="T22" fmla="*/ 21 w 320"/>
                <a:gd name="T23" fmla="*/ 21 h 149"/>
                <a:gd name="T24" fmla="*/ 42 w 320"/>
                <a:gd name="T25" fmla="*/ 21 h 149"/>
                <a:gd name="T26" fmla="*/ 42 w 320"/>
                <a:gd name="T27" fmla="*/ 53 h 149"/>
                <a:gd name="T28" fmla="*/ 53 w 320"/>
                <a:gd name="T29" fmla="*/ 64 h 149"/>
                <a:gd name="T30" fmla="*/ 64 w 320"/>
                <a:gd name="T31" fmla="*/ 53 h 149"/>
                <a:gd name="T32" fmla="*/ 64 w 320"/>
                <a:gd name="T33" fmla="*/ 21 h 149"/>
                <a:gd name="T34" fmla="*/ 85 w 320"/>
                <a:gd name="T35" fmla="*/ 21 h 149"/>
                <a:gd name="T36" fmla="*/ 85 w 320"/>
                <a:gd name="T37" fmla="*/ 85 h 149"/>
                <a:gd name="T38" fmla="*/ 96 w 320"/>
                <a:gd name="T39" fmla="*/ 96 h 149"/>
                <a:gd name="T40" fmla="*/ 106 w 320"/>
                <a:gd name="T41" fmla="*/ 85 h 149"/>
                <a:gd name="T42" fmla="*/ 106 w 320"/>
                <a:gd name="T43" fmla="*/ 21 h 149"/>
                <a:gd name="T44" fmla="*/ 128 w 320"/>
                <a:gd name="T45" fmla="*/ 21 h 149"/>
                <a:gd name="T46" fmla="*/ 128 w 320"/>
                <a:gd name="T47" fmla="*/ 53 h 149"/>
                <a:gd name="T48" fmla="*/ 138 w 320"/>
                <a:gd name="T49" fmla="*/ 64 h 149"/>
                <a:gd name="T50" fmla="*/ 149 w 320"/>
                <a:gd name="T51" fmla="*/ 53 h 149"/>
                <a:gd name="T52" fmla="*/ 149 w 320"/>
                <a:gd name="T53" fmla="*/ 21 h 149"/>
                <a:gd name="T54" fmla="*/ 170 w 320"/>
                <a:gd name="T55" fmla="*/ 21 h 149"/>
                <a:gd name="T56" fmla="*/ 170 w 320"/>
                <a:gd name="T57" fmla="*/ 85 h 149"/>
                <a:gd name="T58" fmla="*/ 181 w 320"/>
                <a:gd name="T59" fmla="*/ 96 h 149"/>
                <a:gd name="T60" fmla="*/ 192 w 320"/>
                <a:gd name="T61" fmla="*/ 85 h 149"/>
                <a:gd name="T62" fmla="*/ 192 w 320"/>
                <a:gd name="T63" fmla="*/ 21 h 149"/>
                <a:gd name="T64" fmla="*/ 213 w 320"/>
                <a:gd name="T65" fmla="*/ 21 h 149"/>
                <a:gd name="T66" fmla="*/ 213 w 320"/>
                <a:gd name="T67" fmla="*/ 53 h 149"/>
                <a:gd name="T68" fmla="*/ 224 w 320"/>
                <a:gd name="T69" fmla="*/ 64 h 149"/>
                <a:gd name="T70" fmla="*/ 234 w 320"/>
                <a:gd name="T71" fmla="*/ 53 h 149"/>
                <a:gd name="T72" fmla="*/ 234 w 320"/>
                <a:gd name="T73" fmla="*/ 21 h 149"/>
                <a:gd name="T74" fmla="*/ 256 w 320"/>
                <a:gd name="T75" fmla="*/ 21 h 149"/>
                <a:gd name="T76" fmla="*/ 256 w 320"/>
                <a:gd name="T77" fmla="*/ 85 h 149"/>
                <a:gd name="T78" fmla="*/ 266 w 320"/>
                <a:gd name="T79" fmla="*/ 96 h 149"/>
                <a:gd name="T80" fmla="*/ 277 w 320"/>
                <a:gd name="T81" fmla="*/ 85 h 149"/>
                <a:gd name="T82" fmla="*/ 277 w 320"/>
                <a:gd name="T83" fmla="*/ 21 h 149"/>
                <a:gd name="T84" fmla="*/ 298 w 320"/>
                <a:gd name="T85" fmla="*/ 21 h 149"/>
                <a:gd name="T86" fmla="*/ 298 w 320"/>
                <a:gd name="T87"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49">
                  <a:moveTo>
                    <a:pt x="309" y="0"/>
                  </a:moveTo>
                  <a:cubicBezTo>
                    <a:pt x="10" y="0"/>
                    <a:pt x="10" y="0"/>
                    <a:pt x="10" y="0"/>
                  </a:cubicBezTo>
                  <a:cubicBezTo>
                    <a:pt x="4" y="0"/>
                    <a:pt x="0" y="5"/>
                    <a:pt x="0" y="11"/>
                  </a:cubicBezTo>
                  <a:cubicBezTo>
                    <a:pt x="0" y="139"/>
                    <a:pt x="0" y="139"/>
                    <a:pt x="0" y="139"/>
                  </a:cubicBezTo>
                  <a:cubicBezTo>
                    <a:pt x="0" y="145"/>
                    <a:pt x="4" y="149"/>
                    <a:pt x="10" y="149"/>
                  </a:cubicBezTo>
                  <a:cubicBezTo>
                    <a:pt x="309" y="149"/>
                    <a:pt x="309" y="149"/>
                    <a:pt x="309" y="149"/>
                  </a:cubicBezTo>
                  <a:cubicBezTo>
                    <a:pt x="315" y="149"/>
                    <a:pt x="320" y="145"/>
                    <a:pt x="320" y="139"/>
                  </a:cubicBezTo>
                  <a:cubicBezTo>
                    <a:pt x="320" y="11"/>
                    <a:pt x="320" y="11"/>
                    <a:pt x="320" y="11"/>
                  </a:cubicBezTo>
                  <a:cubicBezTo>
                    <a:pt x="320" y="5"/>
                    <a:pt x="315" y="0"/>
                    <a:pt x="309" y="0"/>
                  </a:cubicBezTo>
                  <a:close/>
                  <a:moveTo>
                    <a:pt x="298" y="128"/>
                  </a:moveTo>
                  <a:cubicBezTo>
                    <a:pt x="21" y="128"/>
                    <a:pt x="21" y="128"/>
                    <a:pt x="21" y="128"/>
                  </a:cubicBezTo>
                  <a:cubicBezTo>
                    <a:pt x="21" y="21"/>
                    <a:pt x="21" y="21"/>
                    <a:pt x="21" y="21"/>
                  </a:cubicBezTo>
                  <a:cubicBezTo>
                    <a:pt x="42" y="21"/>
                    <a:pt x="42" y="21"/>
                    <a:pt x="42" y="21"/>
                  </a:cubicBezTo>
                  <a:cubicBezTo>
                    <a:pt x="42" y="53"/>
                    <a:pt x="42" y="53"/>
                    <a:pt x="42" y="53"/>
                  </a:cubicBezTo>
                  <a:cubicBezTo>
                    <a:pt x="42" y="59"/>
                    <a:pt x="47" y="64"/>
                    <a:pt x="53" y="64"/>
                  </a:cubicBezTo>
                  <a:cubicBezTo>
                    <a:pt x="59" y="64"/>
                    <a:pt x="64" y="59"/>
                    <a:pt x="64" y="53"/>
                  </a:cubicBezTo>
                  <a:cubicBezTo>
                    <a:pt x="64" y="21"/>
                    <a:pt x="64" y="21"/>
                    <a:pt x="64" y="21"/>
                  </a:cubicBezTo>
                  <a:cubicBezTo>
                    <a:pt x="85" y="21"/>
                    <a:pt x="85" y="21"/>
                    <a:pt x="85" y="21"/>
                  </a:cubicBezTo>
                  <a:cubicBezTo>
                    <a:pt x="85" y="85"/>
                    <a:pt x="85" y="85"/>
                    <a:pt x="85" y="85"/>
                  </a:cubicBezTo>
                  <a:cubicBezTo>
                    <a:pt x="85" y="91"/>
                    <a:pt x="90" y="96"/>
                    <a:pt x="96" y="96"/>
                  </a:cubicBezTo>
                  <a:cubicBezTo>
                    <a:pt x="102" y="96"/>
                    <a:pt x="106" y="91"/>
                    <a:pt x="106" y="85"/>
                  </a:cubicBezTo>
                  <a:cubicBezTo>
                    <a:pt x="106" y="21"/>
                    <a:pt x="106" y="21"/>
                    <a:pt x="106" y="21"/>
                  </a:cubicBezTo>
                  <a:cubicBezTo>
                    <a:pt x="128" y="21"/>
                    <a:pt x="128" y="21"/>
                    <a:pt x="128" y="21"/>
                  </a:cubicBezTo>
                  <a:cubicBezTo>
                    <a:pt x="128" y="53"/>
                    <a:pt x="128" y="53"/>
                    <a:pt x="128" y="53"/>
                  </a:cubicBezTo>
                  <a:cubicBezTo>
                    <a:pt x="128" y="59"/>
                    <a:pt x="132" y="64"/>
                    <a:pt x="138" y="64"/>
                  </a:cubicBezTo>
                  <a:cubicBezTo>
                    <a:pt x="144" y="64"/>
                    <a:pt x="149" y="59"/>
                    <a:pt x="149" y="53"/>
                  </a:cubicBezTo>
                  <a:cubicBezTo>
                    <a:pt x="149" y="21"/>
                    <a:pt x="149" y="21"/>
                    <a:pt x="149" y="21"/>
                  </a:cubicBezTo>
                  <a:cubicBezTo>
                    <a:pt x="170" y="21"/>
                    <a:pt x="170" y="21"/>
                    <a:pt x="170" y="21"/>
                  </a:cubicBezTo>
                  <a:cubicBezTo>
                    <a:pt x="170" y="85"/>
                    <a:pt x="170" y="85"/>
                    <a:pt x="170" y="85"/>
                  </a:cubicBezTo>
                  <a:cubicBezTo>
                    <a:pt x="170" y="91"/>
                    <a:pt x="175" y="96"/>
                    <a:pt x="181" y="96"/>
                  </a:cubicBezTo>
                  <a:cubicBezTo>
                    <a:pt x="187" y="96"/>
                    <a:pt x="192" y="91"/>
                    <a:pt x="192" y="85"/>
                  </a:cubicBezTo>
                  <a:cubicBezTo>
                    <a:pt x="192" y="21"/>
                    <a:pt x="192" y="21"/>
                    <a:pt x="192" y="21"/>
                  </a:cubicBezTo>
                  <a:cubicBezTo>
                    <a:pt x="213" y="21"/>
                    <a:pt x="213" y="21"/>
                    <a:pt x="213" y="21"/>
                  </a:cubicBezTo>
                  <a:cubicBezTo>
                    <a:pt x="213" y="53"/>
                    <a:pt x="213" y="53"/>
                    <a:pt x="213" y="53"/>
                  </a:cubicBezTo>
                  <a:cubicBezTo>
                    <a:pt x="213" y="59"/>
                    <a:pt x="218" y="64"/>
                    <a:pt x="224" y="64"/>
                  </a:cubicBezTo>
                  <a:cubicBezTo>
                    <a:pt x="230" y="64"/>
                    <a:pt x="234" y="59"/>
                    <a:pt x="234" y="53"/>
                  </a:cubicBezTo>
                  <a:cubicBezTo>
                    <a:pt x="234" y="21"/>
                    <a:pt x="234" y="21"/>
                    <a:pt x="234" y="21"/>
                  </a:cubicBezTo>
                  <a:cubicBezTo>
                    <a:pt x="256" y="21"/>
                    <a:pt x="256" y="21"/>
                    <a:pt x="256" y="21"/>
                  </a:cubicBezTo>
                  <a:cubicBezTo>
                    <a:pt x="256" y="85"/>
                    <a:pt x="256" y="85"/>
                    <a:pt x="256" y="85"/>
                  </a:cubicBezTo>
                  <a:cubicBezTo>
                    <a:pt x="256" y="91"/>
                    <a:pt x="260" y="96"/>
                    <a:pt x="266" y="96"/>
                  </a:cubicBezTo>
                  <a:cubicBezTo>
                    <a:pt x="272" y="96"/>
                    <a:pt x="277" y="91"/>
                    <a:pt x="277" y="85"/>
                  </a:cubicBezTo>
                  <a:cubicBezTo>
                    <a:pt x="277" y="21"/>
                    <a:pt x="277" y="21"/>
                    <a:pt x="277" y="21"/>
                  </a:cubicBezTo>
                  <a:cubicBezTo>
                    <a:pt x="298" y="21"/>
                    <a:pt x="298" y="21"/>
                    <a:pt x="298" y="21"/>
                  </a:cubicBezTo>
                  <a:lnTo>
                    <a:pt x="298" y="1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808"/>
            <p:cNvSpPr>
              <a:spLocks noEditPoints="1"/>
            </p:cNvSpPr>
            <p:nvPr/>
          </p:nvSpPr>
          <p:spPr bwMode="auto">
            <a:xfrm>
              <a:off x="3458" y="30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812"/>
          <p:cNvSpPr>
            <a:spLocks noChangeAspect="1" noEditPoints="1"/>
          </p:cNvSpPr>
          <p:nvPr/>
        </p:nvSpPr>
        <p:spPr bwMode="auto">
          <a:xfrm>
            <a:off x="385233" y="1702284"/>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3" name="Freeform 270"/>
          <p:cNvSpPr>
            <a:spLocks noChangeAspect="1" noEditPoints="1"/>
          </p:cNvSpPr>
          <p:nvPr/>
        </p:nvSpPr>
        <p:spPr bwMode="auto">
          <a:xfrm>
            <a:off x="1229565" y="1705349"/>
            <a:ext cx="368120" cy="367041"/>
          </a:xfrm>
          <a:custGeom>
            <a:avLst/>
            <a:gdLst>
              <a:gd name="T0" fmla="*/ 266 w 512"/>
              <a:gd name="T1" fmla="*/ 288 h 512"/>
              <a:gd name="T2" fmla="*/ 245 w 512"/>
              <a:gd name="T3" fmla="*/ 288 h 512"/>
              <a:gd name="T4" fmla="*/ 192 w 512"/>
              <a:gd name="T5" fmla="*/ 288 h 512"/>
              <a:gd name="T6" fmla="*/ 320 w 512"/>
              <a:gd name="T7" fmla="*/ 288 h 512"/>
              <a:gd name="T8" fmla="*/ 362 w 512"/>
              <a:gd name="T9" fmla="*/ 294 h 512"/>
              <a:gd name="T10" fmla="*/ 341 w 512"/>
              <a:gd name="T11" fmla="*/ 192 h 512"/>
              <a:gd name="T12" fmla="*/ 330 w 512"/>
              <a:gd name="T13" fmla="*/ 261 h 512"/>
              <a:gd name="T14" fmla="*/ 320 w 512"/>
              <a:gd name="T15" fmla="*/ 157 h 512"/>
              <a:gd name="T16" fmla="*/ 288 w 512"/>
              <a:gd name="T17" fmla="*/ 142 h 512"/>
              <a:gd name="T18" fmla="*/ 295 w 512"/>
              <a:gd name="T19" fmla="*/ 197 h 512"/>
              <a:gd name="T20" fmla="*/ 277 w 512"/>
              <a:gd name="T21" fmla="*/ 208 h 512"/>
              <a:gd name="T22" fmla="*/ 266 w 512"/>
              <a:gd name="T23" fmla="*/ 189 h 512"/>
              <a:gd name="T24" fmla="*/ 266 w 512"/>
              <a:gd name="T25" fmla="*/ 128 h 512"/>
              <a:gd name="T26" fmla="*/ 245 w 512"/>
              <a:gd name="T27" fmla="*/ 128 h 512"/>
              <a:gd name="T28" fmla="*/ 245 w 512"/>
              <a:gd name="T29" fmla="*/ 189 h 512"/>
              <a:gd name="T30" fmla="*/ 235 w 512"/>
              <a:gd name="T31" fmla="*/ 208 h 512"/>
              <a:gd name="T32" fmla="*/ 217 w 512"/>
              <a:gd name="T33" fmla="*/ 197 h 512"/>
              <a:gd name="T34" fmla="*/ 224 w 512"/>
              <a:gd name="T35" fmla="*/ 142 h 512"/>
              <a:gd name="T36" fmla="*/ 192 w 512"/>
              <a:gd name="T37" fmla="*/ 157 h 512"/>
              <a:gd name="T38" fmla="*/ 181 w 512"/>
              <a:gd name="T39" fmla="*/ 261 h 512"/>
              <a:gd name="T40" fmla="*/ 170 w 512"/>
              <a:gd name="T41" fmla="*/ 192 h 512"/>
              <a:gd name="T42" fmla="*/ 149 w 512"/>
              <a:gd name="T43" fmla="*/ 294 h 512"/>
              <a:gd name="T44" fmla="*/ 192 w 512"/>
              <a:gd name="T45" fmla="*/ 288 h 512"/>
              <a:gd name="T46" fmla="*/ 256 w 512"/>
              <a:gd name="T47" fmla="*/ 512 h 512"/>
              <a:gd name="T48" fmla="*/ 256 w 512"/>
              <a:gd name="T49" fmla="*/ 0 h 512"/>
              <a:gd name="T50" fmla="*/ 414 w 512"/>
              <a:gd name="T51" fmla="*/ 289 h 512"/>
              <a:gd name="T52" fmla="*/ 384 w 512"/>
              <a:gd name="T53" fmla="*/ 273 h 512"/>
              <a:gd name="T54" fmla="*/ 341 w 512"/>
              <a:gd name="T55" fmla="*/ 156 h 512"/>
              <a:gd name="T56" fmla="*/ 335 w 512"/>
              <a:gd name="T57" fmla="*/ 141 h 512"/>
              <a:gd name="T58" fmla="*/ 288 w 512"/>
              <a:gd name="T59" fmla="*/ 120 h 512"/>
              <a:gd name="T60" fmla="*/ 277 w 512"/>
              <a:gd name="T61" fmla="*/ 106 h 512"/>
              <a:gd name="T62" fmla="*/ 224 w 512"/>
              <a:gd name="T63" fmla="*/ 117 h 512"/>
              <a:gd name="T64" fmla="*/ 187 w 512"/>
              <a:gd name="T65" fmla="*/ 135 h 512"/>
              <a:gd name="T66" fmla="*/ 170 w 512"/>
              <a:gd name="T67" fmla="*/ 150 h 512"/>
              <a:gd name="T68" fmla="*/ 128 w 512"/>
              <a:gd name="T69" fmla="*/ 260 h 512"/>
              <a:gd name="T70" fmla="*/ 104 w 512"/>
              <a:gd name="T71" fmla="*/ 281 h 512"/>
              <a:gd name="T72" fmla="*/ 96 w 512"/>
              <a:gd name="T73" fmla="*/ 324 h 512"/>
              <a:gd name="T74" fmla="*/ 119 w 512"/>
              <a:gd name="T75" fmla="*/ 370 h 512"/>
              <a:gd name="T76" fmla="*/ 393 w 512"/>
              <a:gd name="T77" fmla="*/ 370 h 512"/>
              <a:gd name="T78" fmla="*/ 415 w 512"/>
              <a:gd name="T79" fmla="*/ 324 h 512"/>
              <a:gd name="T80" fmla="*/ 256 w 512"/>
              <a:gd name="T81" fmla="*/ 245 h 512"/>
              <a:gd name="T82" fmla="*/ 256 w 512"/>
              <a:gd name="T83" fmla="*/ 330 h 512"/>
              <a:gd name="T84" fmla="*/ 256 w 512"/>
              <a:gd name="T85" fmla="*/ 245 h 512"/>
              <a:gd name="T86" fmla="*/ 224 w 512"/>
              <a:gd name="T87" fmla="*/ 288 h 512"/>
              <a:gd name="T88" fmla="*/ 288 w 512"/>
              <a:gd name="T89" fmla="*/ 288 h 512"/>
              <a:gd name="T90" fmla="*/ 384 w 512"/>
              <a:gd name="T91" fmla="*/ 296 h 512"/>
              <a:gd name="T92" fmla="*/ 382 w 512"/>
              <a:gd name="T93" fmla="*/ 304 h 512"/>
              <a:gd name="T94" fmla="*/ 303 w 512"/>
              <a:gd name="T95" fmla="*/ 330 h 512"/>
              <a:gd name="T96" fmla="*/ 256 w 512"/>
              <a:gd name="T97" fmla="*/ 352 h 512"/>
              <a:gd name="T98" fmla="*/ 208 w 512"/>
              <a:gd name="T99" fmla="*/ 330 h 512"/>
              <a:gd name="T100" fmla="*/ 130 w 512"/>
              <a:gd name="T101" fmla="*/ 304 h 512"/>
              <a:gd name="T102" fmla="*/ 128 w 512"/>
              <a:gd name="T103" fmla="*/ 296 h 512"/>
              <a:gd name="T104" fmla="*/ 117 w 512"/>
              <a:gd name="T105" fmla="*/ 319 h 512"/>
              <a:gd name="T106" fmla="*/ 256 w 512"/>
              <a:gd name="T107" fmla="*/ 362 h 512"/>
              <a:gd name="T108" fmla="*/ 394 w 512"/>
              <a:gd name="T109" fmla="*/ 319 h 512"/>
              <a:gd name="T110" fmla="*/ 384 w 512"/>
              <a:gd name="T111" fmla="*/ 2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277"/>
                </a:moveTo>
                <a:cubicBezTo>
                  <a:pt x="262" y="277"/>
                  <a:pt x="266" y="282"/>
                  <a:pt x="266" y="288"/>
                </a:cubicBezTo>
                <a:cubicBezTo>
                  <a:pt x="266" y="294"/>
                  <a:pt x="262" y="298"/>
                  <a:pt x="256" y="298"/>
                </a:cubicBezTo>
                <a:cubicBezTo>
                  <a:pt x="250" y="298"/>
                  <a:pt x="245" y="294"/>
                  <a:pt x="245" y="288"/>
                </a:cubicBezTo>
                <a:cubicBezTo>
                  <a:pt x="245" y="282"/>
                  <a:pt x="250" y="277"/>
                  <a:pt x="256" y="277"/>
                </a:cubicBezTo>
                <a:close/>
                <a:moveTo>
                  <a:pt x="192" y="288"/>
                </a:moveTo>
                <a:cubicBezTo>
                  <a:pt x="192" y="252"/>
                  <a:pt x="220" y="224"/>
                  <a:pt x="256" y="224"/>
                </a:cubicBezTo>
                <a:cubicBezTo>
                  <a:pt x="291" y="224"/>
                  <a:pt x="320" y="252"/>
                  <a:pt x="320" y="288"/>
                </a:cubicBezTo>
                <a:cubicBezTo>
                  <a:pt x="320" y="295"/>
                  <a:pt x="319" y="301"/>
                  <a:pt x="317" y="307"/>
                </a:cubicBezTo>
                <a:cubicBezTo>
                  <a:pt x="345" y="303"/>
                  <a:pt x="358" y="297"/>
                  <a:pt x="362" y="294"/>
                </a:cubicBezTo>
                <a:cubicBezTo>
                  <a:pt x="362" y="260"/>
                  <a:pt x="362" y="260"/>
                  <a:pt x="362" y="260"/>
                </a:cubicBezTo>
                <a:cubicBezTo>
                  <a:pt x="362" y="232"/>
                  <a:pt x="352" y="209"/>
                  <a:pt x="341" y="192"/>
                </a:cubicBezTo>
                <a:cubicBezTo>
                  <a:pt x="341" y="250"/>
                  <a:pt x="341" y="250"/>
                  <a:pt x="341" y="250"/>
                </a:cubicBezTo>
                <a:cubicBezTo>
                  <a:pt x="341" y="256"/>
                  <a:pt x="336" y="261"/>
                  <a:pt x="330" y="261"/>
                </a:cubicBezTo>
                <a:cubicBezTo>
                  <a:pt x="324" y="261"/>
                  <a:pt x="320" y="256"/>
                  <a:pt x="320" y="250"/>
                </a:cubicBezTo>
                <a:cubicBezTo>
                  <a:pt x="320" y="157"/>
                  <a:pt x="320" y="157"/>
                  <a:pt x="320" y="157"/>
                </a:cubicBezTo>
                <a:cubicBezTo>
                  <a:pt x="318" y="156"/>
                  <a:pt x="316" y="155"/>
                  <a:pt x="314" y="154"/>
                </a:cubicBezTo>
                <a:cubicBezTo>
                  <a:pt x="304" y="149"/>
                  <a:pt x="297" y="145"/>
                  <a:pt x="288" y="142"/>
                </a:cubicBezTo>
                <a:cubicBezTo>
                  <a:pt x="288" y="186"/>
                  <a:pt x="288" y="186"/>
                  <a:pt x="288" y="186"/>
                </a:cubicBezTo>
                <a:cubicBezTo>
                  <a:pt x="295" y="197"/>
                  <a:pt x="295" y="197"/>
                  <a:pt x="295" y="197"/>
                </a:cubicBezTo>
                <a:cubicBezTo>
                  <a:pt x="298" y="202"/>
                  <a:pt x="296" y="208"/>
                  <a:pt x="291" y="211"/>
                </a:cubicBezTo>
                <a:cubicBezTo>
                  <a:pt x="286" y="214"/>
                  <a:pt x="280" y="213"/>
                  <a:pt x="277" y="208"/>
                </a:cubicBezTo>
                <a:cubicBezTo>
                  <a:pt x="268" y="194"/>
                  <a:pt x="268" y="194"/>
                  <a:pt x="268" y="194"/>
                </a:cubicBezTo>
                <a:cubicBezTo>
                  <a:pt x="267" y="193"/>
                  <a:pt x="266" y="191"/>
                  <a:pt x="266" y="189"/>
                </a:cubicBezTo>
                <a:cubicBezTo>
                  <a:pt x="266" y="129"/>
                  <a:pt x="266" y="129"/>
                  <a:pt x="266" y="129"/>
                </a:cubicBezTo>
                <a:cubicBezTo>
                  <a:pt x="266" y="128"/>
                  <a:pt x="266" y="128"/>
                  <a:pt x="266" y="128"/>
                </a:cubicBezTo>
                <a:cubicBezTo>
                  <a:pt x="245" y="128"/>
                  <a:pt x="245" y="128"/>
                  <a:pt x="245" y="128"/>
                </a:cubicBezTo>
                <a:cubicBezTo>
                  <a:pt x="245" y="128"/>
                  <a:pt x="245" y="128"/>
                  <a:pt x="245" y="128"/>
                </a:cubicBezTo>
                <a:cubicBezTo>
                  <a:pt x="245" y="129"/>
                  <a:pt x="245" y="129"/>
                  <a:pt x="245" y="129"/>
                </a:cubicBezTo>
                <a:cubicBezTo>
                  <a:pt x="245" y="189"/>
                  <a:pt x="245" y="189"/>
                  <a:pt x="245" y="189"/>
                </a:cubicBezTo>
                <a:cubicBezTo>
                  <a:pt x="245" y="191"/>
                  <a:pt x="244" y="193"/>
                  <a:pt x="243" y="194"/>
                </a:cubicBezTo>
                <a:cubicBezTo>
                  <a:pt x="235" y="208"/>
                  <a:pt x="235" y="208"/>
                  <a:pt x="235" y="208"/>
                </a:cubicBezTo>
                <a:cubicBezTo>
                  <a:pt x="232" y="213"/>
                  <a:pt x="225" y="214"/>
                  <a:pt x="220" y="211"/>
                </a:cubicBezTo>
                <a:cubicBezTo>
                  <a:pt x="215" y="208"/>
                  <a:pt x="214" y="202"/>
                  <a:pt x="217" y="197"/>
                </a:cubicBezTo>
                <a:cubicBezTo>
                  <a:pt x="224" y="186"/>
                  <a:pt x="224" y="186"/>
                  <a:pt x="224" y="186"/>
                </a:cubicBezTo>
                <a:cubicBezTo>
                  <a:pt x="224" y="142"/>
                  <a:pt x="224" y="142"/>
                  <a:pt x="224" y="142"/>
                </a:cubicBezTo>
                <a:cubicBezTo>
                  <a:pt x="215" y="145"/>
                  <a:pt x="207" y="149"/>
                  <a:pt x="197" y="154"/>
                </a:cubicBezTo>
                <a:cubicBezTo>
                  <a:pt x="195" y="155"/>
                  <a:pt x="194" y="156"/>
                  <a:pt x="192" y="157"/>
                </a:cubicBezTo>
                <a:cubicBezTo>
                  <a:pt x="192" y="250"/>
                  <a:pt x="192" y="250"/>
                  <a:pt x="192" y="250"/>
                </a:cubicBezTo>
                <a:cubicBezTo>
                  <a:pt x="192" y="256"/>
                  <a:pt x="187" y="261"/>
                  <a:pt x="181" y="261"/>
                </a:cubicBezTo>
                <a:cubicBezTo>
                  <a:pt x="175" y="261"/>
                  <a:pt x="170" y="256"/>
                  <a:pt x="170" y="250"/>
                </a:cubicBezTo>
                <a:cubicBezTo>
                  <a:pt x="170" y="192"/>
                  <a:pt x="170" y="192"/>
                  <a:pt x="170" y="192"/>
                </a:cubicBezTo>
                <a:cubicBezTo>
                  <a:pt x="160" y="209"/>
                  <a:pt x="149" y="232"/>
                  <a:pt x="149" y="260"/>
                </a:cubicBezTo>
                <a:cubicBezTo>
                  <a:pt x="149" y="294"/>
                  <a:pt x="149" y="294"/>
                  <a:pt x="149" y="294"/>
                </a:cubicBezTo>
                <a:cubicBezTo>
                  <a:pt x="153" y="297"/>
                  <a:pt x="166" y="303"/>
                  <a:pt x="195" y="307"/>
                </a:cubicBezTo>
                <a:cubicBezTo>
                  <a:pt x="193" y="301"/>
                  <a:pt x="192" y="295"/>
                  <a:pt x="192"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5"/>
                  <a:pt x="411" y="282"/>
                  <a:pt x="407" y="281"/>
                </a:cubicBezTo>
                <a:cubicBezTo>
                  <a:pt x="384" y="273"/>
                  <a:pt x="384" y="273"/>
                  <a:pt x="384" y="273"/>
                </a:cubicBezTo>
                <a:cubicBezTo>
                  <a:pt x="384" y="260"/>
                  <a:pt x="384" y="260"/>
                  <a:pt x="384" y="260"/>
                </a:cubicBezTo>
                <a:cubicBezTo>
                  <a:pt x="384" y="225"/>
                  <a:pt x="368" y="186"/>
                  <a:pt x="341" y="156"/>
                </a:cubicBezTo>
                <a:cubicBezTo>
                  <a:pt x="341" y="150"/>
                  <a:pt x="341" y="150"/>
                  <a:pt x="341" y="150"/>
                </a:cubicBezTo>
                <a:cubicBezTo>
                  <a:pt x="341" y="146"/>
                  <a:pt x="339" y="143"/>
                  <a:pt x="335" y="141"/>
                </a:cubicBezTo>
                <a:cubicBezTo>
                  <a:pt x="331" y="139"/>
                  <a:pt x="327" y="137"/>
                  <a:pt x="324" y="135"/>
                </a:cubicBezTo>
                <a:cubicBezTo>
                  <a:pt x="312" y="129"/>
                  <a:pt x="302"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44" y="186"/>
                  <a:pt x="128" y="225"/>
                  <a:pt x="128" y="260"/>
                </a:cubicBezTo>
                <a:cubicBezTo>
                  <a:pt x="128" y="273"/>
                  <a:pt x="128" y="273"/>
                  <a:pt x="128" y="273"/>
                </a:cubicBezTo>
                <a:cubicBezTo>
                  <a:pt x="104" y="281"/>
                  <a:pt x="104" y="281"/>
                  <a:pt x="104" y="281"/>
                </a:cubicBezTo>
                <a:cubicBezTo>
                  <a:pt x="100" y="282"/>
                  <a:pt x="98" y="285"/>
                  <a:pt x="97" y="289"/>
                </a:cubicBezTo>
                <a:cubicBezTo>
                  <a:pt x="96" y="291"/>
                  <a:pt x="93" y="310"/>
                  <a:pt x="96" y="324"/>
                </a:cubicBezTo>
                <a:cubicBezTo>
                  <a:pt x="100" y="338"/>
                  <a:pt x="115" y="365"/>
                  <a:pt x="117" y="368"/>
                </a:cubicBezTo>
                <a:cubicBezTo>
                  <a:pt x="118" y="369"/>
                  <a:pt x="118" y="369"/>
                  <a:pt x="119" y="370"/>
                </a:cubicBezTo>
                <a:cubicBezTo>
                  <a:pt x="129" y="381"/>
                  <a:pt x="199" y="384"/>
                  <a:pt x="256" y="384"/>
                </a:cubicBezTo>
                <a:cubicBezTo>
                  <a:pt x="312" y="384"/>
                  <a:pt x="382" y="381"/>
                  <a:pt x="393" y="370"/>
                </a:cubicBezTo>
                <a:cubicBezTo>
                  <a:pt x="393" y="369"/>
                  <a:pt x="394" y="369"/>
                  <a:pt x="394" y="368"/>
                </a:cubicBezTo>
                <a:cubicBezTo>
                  <a:pt x="396" y="365"/>
                  <a:pt x="411" y="338"/>
                  <a:pt x="415" y="324"/>
                </a:cubicBezTo>
                <a:cubicBezTo>
                  <a:pt x="419" y="310"/>
                  <a:pt x="415" y="291"/>
                  <a:pt x="414" y="289"/>
                </a:cubicBezTo>
                <a:close/>
                <a:moveTo>
                  <a:pt x="256" y="245"/>
                </a:moveTo>
                <a:cubicBezTo>
                  <a:pt x="279" y="245"/>
                  <a:pt x="298" y="264"/>
                  <a:pt x="298" y="288"/>
                </a:cubicBezTo>
                <a:cubicBezTo>
                  <a:pt x="298" y="311"/>
                  <a:pt x="279" y="330"/>
                  <a:pt x="256" y="330"/>
                </a:cubicBezTo>
                <a:cubicBezTo>
                  <a:pt x="232" y="330"/>
                  <a:pt x="213" y="311"/>
                  <a:pt x="213" y="288"/>
                </a:cubicBezTo>
                <a:cubicBezTo>
                  <a:pt x="213" y="264"/>
                  <a:pt x="232" y="245"/>
                  <a:pt x="256" y="245"/>
                </a:cubicBezTo>
                <a:close/>
                <a:moveTo>
                  <a:pt x="256" y="256"/>
                </a:moveTo>
                <a:cubicBezTo>
                  <a:pt x="238" y="256"/>
                  <a:pt x="224" y="270"/>
                  <a:pt x="224" y="288"/>
                </a:cubicBezTo>
                <a:cubicBezTo>
                  <a:pt x="224" y="305"/>
                  <a:pt x="238" y="320"/>
                  <a:pt x="256" y="320"/>
                </a:cubicBezTo>
                <a:cubicBezTo>
                  <a:pt x="273" y="320"/>
                  <a:pt x="288" y="305"/>
                  <a:pt x="288" y="288"/>
                </a:cubicBezTo>
                <a:cubicBezTo>
                  <a:pt x="288" y="270"/>
                  <a:pt x="273" y="256"/>
                  <a:pt x="256" y="256"/>
                </a:cubicBezTo>
                <a:close/>
                <a:moveTo>
                  <a:pt x="384" y="296"/>
                </a:moveTo>
                <a:cubicBezTo>
                  <a:pt x="384" y="298"/>
                  <a:pt x="384" y="298"/>
                  <a:pt x="384" y="298"/>
                </a:cubicBezTo>
                <a:cubicBezTo>
                  <a:pt x="384" y="301"/>
                  <a:pt x="383" y="303"/>
                  <a:pt x="382" y="304"/>
                </a:cubicBezTo>
                <a:cubicBezTo>
                  <a:pt x="379" y="308"/>
                  <a:pt x="365" y="324"/>
                  <a:pt x="305" y="330"/>
                </a:cubicBezTo>
                <a:cubicBezTo>
                  <a:pt x="304" y="330"/>
                  <a:pt x="304" y="330"/>
                  <a:pt x="303" y="330"/>
                </a:cubicBezTo>
                <a:cubicBezTo>
                  <a:pt x="303" y="330"/>
                  <a:pt x="303" y="330"/>
                  <a:pt x="303" y="330"/>
                </a:cubicBezTo>
                <a:cubicBezTo>
                  <a:pt x="292" y="343"/>
                  <a:pt x="275" y="352"/>
                  <a:pt x="256" y="352"/>
                </a:cubicBezTo>
                <a:cubicBezTo>
                  <a:pt x="237" y="352"/>
                  <a:pt x="220" y="343"/>
                  <a:pt x="208" y="330"/>
                </a:cubicBezTo>
                <a:cubicBezTo>
                  <a:pt x="208" y="330"/>
                  <a:pt x="208" y="330"/>
                  <a:pt x="208" y="330"/>
                </a:cubicBezTo>
                <a:cubicBezTo>
                  <a:pt x="208" y="330"/>
                  <a:pt x="207" y="330"/>
                  <a:pt x="207" y="330"/>
                </a:cubicBezTo>
                <a:cubicBezTo>
                  <a:pt x="146" y="324"/>
                  <a:pt x="132" y="308"/>
                  <a:pt x="130" y="304"/>
                </a:cubicBezTo>
                <a:cubicBezTo>
                  <a:pt x="128" y="303"/>
                  <a:pt x="128" y="301"/>
                  <a:pt x="128" y="298"/>
                </a:cubicBezTo>
                <a:cubicBezTo>
                  <a:pt x="128" y="296"/>
                  <a:pt x="128" y="296"/>
                  <a:pt x="128" y="296"/>
                </a:cubicBezTo>
                <a:cubicBezTo>
                  <a:pt x="117" y="299"/>
                  <a:pt x="117" y="299"/>
                  <a:pt x="117" y="299"/>
                </a:cubicBezTo>
                <a:cubicBezTo>
                  <a:pt x="116" y="305"/>
                  <a:pt x="116" y="313"/>
                  <a:pt x="117" y="319"/>
                </a:cubicBezTo>
                <a:cubicBezTo>
                  <a:pt x="119" y="327"/>
                  <a:pt x="129" y="345"/>
                  <a:pt x="134" y="355"/>
                </a:cubicBezTo>
                <a:cubicBezTo>
                  <a:pt x="140" y="357"/>
                  <a:pt x="167" y="362"/>
                  <a:pt x="256" y="362"/>
                </a:cubicBezTo>
                <a:cubicBezTo>
                  <a:pt x="345" y="362"/>
                  <a:pt x="371" y="357"/>
                  <a:pt x="377" y="355"/>
                </a:cubicBezTo>
                <a:cubicBezTo>
                  <a:pt x="382" y="345"/>
                  <a:pt x="392" y="327"/>
                  <a:pt x="394" y="319"/>
                </a:cubicBezTo>
                <a:cubicBezTo>
                  <a:pt x="396" y="313"/>
                  <a:pt x="395" y="305"/>
                  <a:pt x="395" y="299"/>
                </a:cubicBezTo>
                <a:lnTo>
                  <a:pt x="384" y="29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4" name="Group 273"/>
          <p:cNvGrpSpPr>
            <a:grpSpLocks noChangeAspect="1"/>
          </p:cNvGrpSpPr>
          <p:nvPr/>
        </p:nvGrpSpPr>
        <p:grpSpPr bwMode="auto">
          <a:xfrm>
            <a:off x="1650830" y="1704270"/>
            <a:ext cx="367041" cy="368120"/>
            <a:chOff x="6522" y="1505"/>
            <a:chExt cx="340" cy="341"/>
          </a:xfrm>
          <a:solidFill>
            <a:schemeClr val="accent3"/>
          </a:solidFill>
        </p:grpSpPr>
        <p:sp>
          <p:nvSpPr>
            <p:cNvPr id="275" name="Freeform 274"/>
            <p:cNvSpPr>
              <a:spLocks noEditPoints="1"/>
            </p:cNvSpPr>
            <p:nvPr/>
          </p:nvSpPr>
          <p:spPr bwMode="auto">
            <a:xfrm>
              <a:off x="6522" y="15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275"/>
            <p:cNvSpPr>
              <a:spLocks noEditPoints="1"/>
            </p:cNvSpPr>
            <p:nvPr/>
          </p:nvSpPr>
          <p:spPr bwMode="auto">
            <a:xfrm>
              <a:off x="6584" y="1576"/>
              <a:ext cx="216" cy="185"/>
            </a:xfrm>
            <a:custGeom>
              <a:avLst/>
              <a:gdLst>
                <a:gd name="T0" fmla="*/ 314 w 326"/>
                <a:gd name="T1" fmla="*/ 175 h 278"/>
                <a:gd name="T2" fmla="*/ 291 w 326"/>
                <a:gd name="T3" fmla="*/ 154 h 278"/>
                <a:gd name="T4" fmla="*/ 248 w 326"/>
                <a:gd name="T5" fmla="*/ 44 h 278"/>
                <a:gd name="T6" fmla="*/ 231 w 326"/>
                <a:gd name="T7" fmla="*/ 29 h 278"/>
                <a:gd name="T8" fmla="*/ 195 w 326"/>
                <a:gd name="T9" fmla="*/ 11 h 278"/>
                <a:gd name="T10" fmla="*/ 141 w 326"/>
                <a:gd name="T11" fmla="*/ 0 h 278"/>
                <a:gd name="T12" fmla="*/ 131 w 326"/>
                <a:gd name="T13" fmla="*/ 14 h 278"/>
                <a:gd name="T14" fmla="*/ 83 w 326"/>
                <a:gd name="T15" fmla="*/ 35 h 278"/>
                <a:gd name="T16" fmla="*/ 77 w 326"/>
                <a:gd name="T17" fmla="*/ 50 h 278"/>
                <a:gd name="T18" fmla="*/ 35 w 326"/>
                <a:gd name="T19" fmla="*/ 167 h 278"/>
                <a:gd name="T20" fmla="*/ 4 w 326"/>
                <a:gd name="T21" fmla="*/ 183 h 278"/>
                <a:gd name="T22" fmla="*/ 24 w 326"/>
                <a:gd name="T23" fmla="*/ 262 h 278"/>
                <a:gd name="T24" fmla="*/ 163 w 326"/>
                <a:gd name="T25" fmla="*/ 278 h 278"/>
                <a:gd name="T26" fmla="*/ 301 w 326"/>
                <a:gd name="T27" fmla="*/ 262 h 278"/>
                <a:gd name="T28" fmla="*/ 321 w 326"/>
                <a:gd name="T29" fmla="*/ 183 h 278"/>
                <a:gd name="T30" fmla="*/ 77 w 326"/>
                <a:gd name="T31" fmla="*/ 86 h 278"/>
                <a:gd name="T32" fmla="*/ 88 w 326"/>
                <a:gd name="T33" fmla="*/ 155 h 278"/>
                <a:gd name="T34" fmla="*/ 99 w 326"/>
                <a:gd name="T35" fmla="*/ 51 h 278"/>
                <a:gd name="T36" fmla="*/ 131 w 326"/>
                <a:gd name="T37" fmla="*/ 36 h 278"/>
                <a:gd name="T38" fmla="*/ 124 w 326"/>
                <a:gd name="T39" fmla="*/ 91 h 278"/>
                <a:gd name="T40" fmla="*/ 142 w 326"/>
                <a:gd name="T41" fmla="*/ 102 h 278"/>
                <a:gd name="T42" fmla="*/ 152 w 326"/>
                <a:gd name="T43" fmla="*/ 83 h 278"/>
                <a:gd name="T44" fmla="*/ 152 w 326"/>
                <a:gd name="T45" fmla="*/ 22 h 278"/>
                <a:gd name="T46" fmla="*/ 173 w 326"/>
                <a:gd name="T47" fmla="*/ 22 h 278"/>
                <a:gd name="T48" fmla="*/ 173 w 326"/>
                <a:gd name="T49" fmla="*/ 83 h 278"/>
                <a:gd name="T50" fmla="*/ 184 w 326"/>
                <a:gd name="T51" fmla="*/ 102 h 278"/>
                <a:gd name="T52" fmla="*/ 202 w 326"/>
                <a:gd name="T53" fmla="*/ 91 h 278"/>
                <a:gd name="T54" fmla="*/ 195 w 326"/>
                <a:gd name="T55" fmla="*/ 36 h 278"/>
                <a:gd name="T56" fmla="*/ 227 w 326"/>
                <a:gd name="T57" fmla="*/ 51 h 278"/>
                <a:gd name="T58" fmla="*/ 237 w 326"/>
                <a:gd name="T59" fmla="*/ 155 h 278"/>
                <a:gd name="T60" fmla="*/ 248 w 326"/>
                <a:gd name="T61" fmla="*/ 86 h 278"/>
                <a:gd name="T62" fmla="*/ 269 w 326"/>
                <a:gd name="T63" fmla="*/ 188 h 278"/>
                <a:gd name="T64" fmla="*/ 227 w 326"/>
                <a:gd name="T65" fmla="*/ 182 h 278"/>
                <a:gd name="T66" fmla="*/ 99 w 326"/>
                <a:gd name="T67" fmla="*/ 182 h 278"/>
                <a:gd name="T68" fmla="*/ 56 w 326"/>
                <a:gd name="T69" fmla="*/ 188 h 278"/>
                <a:gd name="T70" fmla="*/ 205 w 326"/>
                <a:gd name="T71" fmla="*/ 182 h 278"/>
                <a:gd name="T72" fmla="*/ 120 w 326"/>
                <a:gd name="T73" fmla="*/ 182 h 278"/>
                <a:gd name="T74" fmla="*/ 205 w 326"/>
                <a:gd name="T75" fmla="*/ 182 h 278"/>
                <a:gd name="T76" fmla="*/ 284 w 326"/>
                <a:gd name="T77" fmla="*/ 249 h 278"/>
                <a:gd name="T78" fmla="*/ 41 w 326"/>
                <a:gd name="T79" fmla="*/ 249 h 278"/>
                <a:gd name="T80" fmla="*/ 24 w 326"/>
                <a:gd name="T81" fmla="*/ 193 h 278"/>
                <a:gd name="T82" fmla="*/ 35 w 326"/>
                <a:gd name="T83" fmla="*/ 192 h 278"/>
                <a:gd name="T84" fmla="*/ 114 w 326"/>
                <a:gd name="T85" fmla="*/ 224 h 278"/>
                <a:gd name="T86" fmla="*/ 115 w 326"/>
                <a:gd name="T87" fmla="*/ 224 h 278"/>
                <a:gd name="T88" fmla="*/ 210 w 326"/>
                <a:gd name="T89" fmla="*/ 224 h 278"/>
                <a:gd name="T90" fmla="*/ 212 w 326"/>
                <a:gd name="T91" fmla="*/ 224 h 278"/>
                <a:gd name="T92" fmla="*/ 291 w 326"/>
                <a:gd name="T93" fmla="*/ 192 h 278"/>
                <a:gd name="T94" fmla="*/ 302 w 326"/>
                <a:gd name="T95" fmla="*/ 193 h 278"/>
                <a:gd name="T96" fmla="*/ 131 w 326"/>
                <a:gd name="T97" fmla="*/ 182 h 278"/>
                <a:gd name="T98" fmla="*/ 195 w 326"/>
                <a:gd name="T99" fmla="*/ 182 h 278"/>
                <a:gd name="T100" fmla="*/ 131 w 326"/>
                <a:gd name="T101" fmla="*/ 182 h 278"/>
                <a:gd name="T102" fmla="*/ 163 w 326"/>
                <a:gd name="T103" fmla="*/ 192 h 278"/>
                <a:gd name="T104" fmla="*/ 163 w 326"/>
                <a:gd name="T105" fmla="*/ 17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278">
                  <a:moveTo>
                    <a:pt x="321" y="183"/>
                  </a:moveTo>
                  <a:cubicBezTo>
                    <a:pt x="321" y="179"/>
                    <a:pt x="318" y="176"/>
                    <a:pt x="314" y="175"/>
                  </a:cubicBezTo>
                  <a:cubicBezTo>
                    <a:pt x="291" y="167"/>
                    <a:pt x="291" y="167"/>
                    <a:pt x="291" y="167"/>
                  </a:cubicBezTo>
                  <a:cubicBezTo>
                    <a:pt x="291" y="154"/>
                    <a:pt x="291" y="154"/>
                    <a:pt x="291" y="154"/>
                  </a:cubicBezTo>
                  <a:cubicBezTo>
                    <a:pt x="291" y="119"/>
                    <a:pt x="275" y="80"/>
                    <a:pt x="248" y="50"/>
                  </a:cubicBezTo>
                  <a:cubicBezTo>
                    <a:pt x="248" y="44"/>
                    <a:pt x="248" y="44"/>
                    <a:pt x="248" y="44"/>
                  </a:cubicBezTo>
                  <a:cubicBezTo>
                    <a:pt x="248" y="40"/>
                    <a:pt x="246" y="37"/>
                    <a:pt x="242" y="35"/>
                  </a:cubicBezTo>
                  <a:cubicBezTo>
                    <a:pt x="238" y="33"/>
                    <a:pt x="234" y="31"/>
                    <a:pt x="231" y="29"/>
                  </a:cubicBezTo>
                  <a:cubicBezTo>
                    <a:pt x="219" y="23"/>
                    <a:pt x="209" y="17"/>
                    <a:pt x="195" y="14"/>
                  </a:cubicBezTo>
                  <a:cubicBezTo>
                    <a:pt x="195" y="11"/>
                    <a:pt x="195" y="11"/>
                    <a:pt x="195" y="11"/>
                  </a:cubicBezTo>
                  <a:cubicBezTo>
                    <a:pt x="195" y="5"/>
                    <a:pt x="190" y="0"/>
                    <a:pt x="184" y="0"/>
                  </a:cubicBezTo>
                  <a:cubicBezTo>
                    <a:pt x="141" y="0"/>
                    <a:pt x="141" y="0"/>
                    <a:pt x="141" y="0"/>
                  </a:cubicBezTo>
                  <a:cubicBezTo>
                    <a:pt x="135" y="0"/>
                    <a:pt x="131" y="5"/>
                    <a:pt x="131" y="11"/>
                  </a:cubicBezTo>
                  <a:cubicBezTo>
                    <a:pt x="131" y="14"/>
                    <a:pt x="131" y="14"/>
                    <a:pt x="131" y="14"/>
                  </a:cubicBezTo>
                  <a:cubicBezTo>
                    <a:pt x="117" y="17"/>
                    <a:pt x="107" y="23"/>
                    <a:pt x="94" y="29"/>
                  </a:cubicBezTo>
                  <a:cubicBezTo>
                    <a:pt x="91" y="31"/>
                    <a:pt x="87" y="33"/>
                    <a:pt x="83" y="35"/>
                  </a:cubicBezTo>
                  <a:cubicBezTo>
                    <a:pt x="80" y="37"/>
                    <a:pt x="77" y="40"/>
                    <a:pt x="77" y="44"/>
                  </a:cubicBezTo>
                  <a:cubicBezTo>
                    <a:pt x="77" y="50"/>
                    <a:pt x="77" y="50"/>
                    <a:pt x="77" y="50"/>
                  </a:cubicBezTo>
                  <a:cubicBezTo>
                    <a:pt x="51" y="80"/>
                    <a:pt x="35" y="119"/>
                    <a:pt x="35" y="154"/>
                  </a:cubicBezTo>
                  <a:cubicBezTo>
                    <a:pt x="35" y="167"/>
                    <a:pt x="35" y="167"/>
                    <a:pt x="35" y="167"/>
                  </a:cubicBezTo>
                  <a:cubicBezTo>
                    <a:pt x="11" y="175"/>
                    <a:pt x="11" y="175"/>
                    <a:pt x="11" y="175"/>
                  </a:cubicBezTo>
                  <a:cubicBezTo>
                    <a:pt x="7" y="176"/>
                    <a:pt x="5" y="179"/>
                    <a:pt x="4" y="183"/>
                  </a:cubicBezTo>
                  <a:cubicBezTo>
                    <a:pt x="3" y="185"/>
                    <a:pt x="0" y="204"/>
                    <a:pt x="3" y="218"/>
                  </a:cubicBezTo>
                  <a:cubicBezTo>
                    <a:pt x="7" y="232"/>
                    <a:pt x="22" y="259"/>
                    <a:pt x="24" y="262"/>
                  </a:cubicBezTo>
                  <a:cubicBezTo>
                    <a:pt x="25" y="263"/>
                    <a:pt x="25" y="263"/>
                    <a:pt x="26" y="264"/>
                  </a:cubicBezTo>
                  <a:cubicBezTo>
                    <a:pt x="36" y="275"/>
                    <a:pt x="106" y="278"/>
                    <a:pt x="163" y="278"/>
                  </a:cubicBezTo>
                  <a:cubicBezTo>
                    <a:pt x="219" y="278"/>
                    <a:pt x="289" y="275"/>
                    <a:pt x="300" y="264"/>
                  </a:cubicBezTo>
                  <a:cubicBezTo>
                    <a:pt x="300" y="263"/>
                    <a:pt x="301" y="263"/>
                    <a:pt x="301" y="262"/>
                  </a:cubicBezTo>
                  <a:cubicBezTo>
                    <a:pt x="303" y="259"/>
                    <a:pt x="318" y="232"/>
                    <a:pt x="322" y="218"/>
                  </a:cubicBezTo>
                  <a:cubicBezTo>
                    <a:pt x="326" y="204"/>
                    <a:pt x="322" y="185"/>
                    <a:pt x="321" y="183"/>
                  </a:cubicBezTo>
                  <a:close/>
                  <a:moveTo>
                    <a:pt x="56" y="154"/>
                  </a:moveTo>
                  <a:cubicBezTo>
                    <a:pt x="56" y="126"/>
                    <a:pt x="67" y="103"/>
                    <a:pt x="77" y="86"/>
                  </a:cubicBezTo>
                  <a:cubicBezTo>
                    <a:pt x="77" y="144"/>
                    <a:pt x="77" y="144"/>
                    <a:pt x="77" y="144"/>
                  </a:cubicBezTo>
                  <a:cubicBezTo>
                    <a:pt x="77" y="150"/>
                    <a:pt x="82" y="155"/>
                    <a:pt x="88" y="155"/>
                  </a:cubicBezTo>
                  <a:cubicBezTo>
                    <a:pt x="94" y="155"/>
                    <a:pt x="99" y="150"/>
                    <a:pt x="99" y="144"/>
                  </a:cubicBezTo>
                  <a:cubicBezTo>
                    <a:pt x="99" y="51"/>
                    <a:pt x="99" y="51"/>
                    <a:pt x="99" y="51"/>
                  </a:cubicBezTo>
                  <a:cubicBezTo>
                    <a:pt x="101" y="50"/>
                    <a:pt x="102" y="49"/>
                    <a:pt x="104" y="48"/>
                  </a:cubicBezTo>
                  <a:cubicBezTo>
                    <a:pt x="114" y="43"/>
                    <a:pt x="122" y="39"/>
                    <a:pt x="131" y="36"/>
                  </a:cubicBezTo>
                  <a:cubicBezTo>
                    <a:pt x="131" y="80"/>
                    <a:pt x="131" y="80"/>
                    <a:pt x="131" y="80"/>
                  </a:cubicBezTo>
                  <a:cubicBezTo>
                    <a:pt x="124" y="91"/>
                    <a:pt x="124" y="91"/>
                    <a:pt x="124" y="91"/>
                  </a:cubicBezTo>
                  <a:cubicBezTo>
                    <a:pt x="121" y="96"/>
                    <a:pt x="122" y="102"/>
                    <a:pt x="127" y="105"/>
                  </a:cubicBezTo>
                  <a:cubicBezTo>
                    <a:pt x="132" y="108"/>
                    <a:pt x="139" y="107"/>
                    <a:pt x="142" y="102"/>
                  </a:cubicBezTo>
                  <a:cubicBezTo>
                    <a:pt x="150" y="88"/>
                    <a:pt x="150" y="88"/>
                    <a:pt x="150" y="88"/>
                  </a:cubicBezTo>
                  <a:cubicBezTo>
                    <a:pt x="151" y="87"/>
                    <a:pt x="152" y="85"/>
                    <a:pt x="152" y="83"/>
                  </a:cubicBezTo>
                  <a:cubicBezTo>
                    <a:pt x="152" y="23"/>
                    <a:pt x="152" y="23"/>
                    <a:pt x="152" y="23"/>
                  </a:cubicBezTo>
                  <a:cubicBezTo>
                    <a:pt x="152" y="23"/>
                    <a:pt x="152" y="23"/>
                    <a:pt x="152" y="22"/>
                  </a:cubicBezTo>
                  <a:cubicBezTo>
                    <a:pt x="152" y="22"/>
                    <a:pt x="152" y="22"/>
                    <a:pt x="152" y="22"/>
                  </a:cubicBezTo>
                  <a:cubicBezTo>
                    <a:pt x="173" y="22"/>
                    <a:pt x="173" y="22"/>
                    <a:pt x="173" y="22"/>
                  </a:cubicBezTo>
                  <a:cubicBezTo>
                    <a:pt x="173" y="23"/>
                    <a:pt x="173" y="23"/>
                    <a:pt x="173" y="23"/>
                  </a:cubicBezTo>
                  <a:cubicBezTo>
                    <a:pt x="173" y="83"/>
                    <a:pt x="173" y="83"/>
                    <a:pt x="173" y="83"/>
                  </a:cubicBezTo>
                  <a:cubicBezTo>
                    <a:pt x="173" y="85"/>
                    <a:pt x="174" y="87"/>
                    <a:pt x="175" y="88"/>
                  </a:cubicBezTo>
                  <a:cubicBezTo>
                    <a:pt x="184" y="102"/>
                    <a:pt x="184" y="102"/>
                    <a:pt x="184" y="102"/>
                  </a:cubicBezTo>
                  <a:cubicBezTo>
                    <a:pt x="187" y="107"/>
                    <a:pt x="193" y="108"/>
                    <a:pt x="198" y="105"/>
                  </a:cubicBezTo>
                  <a:cubicBezTo>
                    <a:pt x="203" y="102"/>
                    <a:pt x="205" y="96"/>
                    <a:pt x="202" y="91"/>
                  </a:cubicBezTo>
                  <a:cubicBezTo>
                    <a:pt x="195" y="80"/>
                    <a:pt x="195" y="80"/>
                    <a:pt x="195" y="80"/>
                  </a:cubicBezTo>
                  <a:cubicBezTo>
                    <a:pt x="195" y="36"/>
                    <a:pt x="195" y="36"/>
                    <a:pt x="195" y="36"/>
                  </a:cubicBezTo>
                  <a:cubicBezTo>
                    <a:pt x="204" y="39"/>
                    <a:pt x="211" y="43"/>
                    <a:pt x="221" y="48"/>
                  </a:cubicBezTo>
                  <a:cubicBezTo>
                    <a:pt x="223" y="49"/>
                    <a:pt x="225" y="50"/>
                    <a:pt x="227" y="51"/>
                  </a:cubicBezTo>
                  <a:cubicBezTo>
                    <a:pt x="227" y="144"/>
                    <a:pt x="227" y="144"/>
                    <a:pt x="227" y="144"/>
                  </a:cubicBezTo>
                  <a:cubicBezTo>
                    <a:pt x="227" y="150"/>
                    <a:pt x="231" y="155"/>
                    <a:pt x="237" y="155"/>
                  </a:cubicBezTo>
                  <a:cubicBezTo>
                    <a:pt x="243" y="155"/>
                    <a:pt x="248" y="150"/>
                    <a:pt x="248" y="144"/>
                  </a:cubicBezTo>
                  <a:cubicBezTo>
                    <a:pt x="248" y="86"/>
                    <a:pt x="248" y="86"/>
                    <a:pt x="248" y="86"/>
                  </a:cubicBezTo>
                  <a:cubicBezTo>
                    <a:pt x="259" y="103"/>
                    <a:pt x="269" y="126"/>
                    <a:pt x="269" y="154"/>
                  </a:cubicBezTo>
                  <a:cubicBezTo>
                    <a:pt x="269" y="188"/>
                    <a:pt x="269" y="188"/>
                    <a:pt x="269" y="188"/>
                  </a:cubicBezTo>
                  <a:cubicBezTo>
                    <a:pt x="265" y="191"/>
                    <a:pt x="252" y="197"/>
                    <a:pt x="224" y="201"/>
                  </a:cubicBezTo>
                  <a:cubicBezTo>
                    <a:pt x="226" y="195"/>
                    <a:pt x="227" y="189"/>
                    <a:pt x="227" y="182"/>
                  </a:cubicBezTo>
                  <a:cubicBezTo>
                    <a:pt x="227" y="146"/>
                    <a:pt x="198" y="118"/>
                    <a:pt x="163" y="118"/>
                  </a:cubicBezTo>
                  <a:cubicBezTo>
                    <a:pt x="127" y="118"/>
                    <a:pt x="99" y="146"/>
                    <a:pt x="99" y="182"/>
                  </a:cubicBezTo>
                  <a:cubicBezTo>
                    <a:pt x="99" y="189"/>
                    <a:pt x="100" y="195"/>
                    <a:pt x="102" y="201"/>
                  </a:cubicBezTo>
                  <a:cubicBezTo>
                    <a:pt x="73" y="197"/>
                    <a:pt x="60" y="191"/>
                    <a:pt x="56" y="188"/>
                  </a:cubicBezTo>
                  <a:lnTo>
                    <a:pt x="56" y="154"/>
                  </a:lnTo>
                  <a:close/>
                  <a:moveTo>
                    <a:pt x="205" y="182"/>
                  </a:moveTo>
                  <a:cubicBezTo>
                    <a:pt x="205" y="205"/>
                    <a:pt x="186" y="224"/>
                    <a:pt x="163" y="224"/>
                  </a:cubicBezTo>
                  <a:cubicBezTo>
                    <a:pt x="139" y="224"/>
                    <a:pt x="120" y="205"/>
                    <a:pt x="120" y="182"/>
                  </a:cubicBezTo>
                  <a:cubicBezTo>
                    <a:pt x="120" y="158"/>
                    <a:pt x="139" y="139"/>
                    <a:pt x="163" y="139"/>
                  </a:cubicBezTo>
                  <a:cubicBezTo>
                    <a:pt x="186" y="139"/>
                    <a:pt x="205" y="158"/>
                    <a:pt x="205" y="182"/>
                  </a:cubicBezTo>
                  <a:close/>
                  <a:moveTo>
                    <a:pt x="301" y="213"/>
                  </a:moveTo>
                  <a:cubicBezTo>
                    <a:pt x="299" y="221"/>
                    <a:pt x="289" y="239"/>
                    <a:pt x="284" y="249"/>
                  </a:cubicBezTo>
                  <a:cubicBezTo>
                    <a:pt x="278" y="251"/>
                    <a:pt x="252" y="256"/>
                    <a:pt x="163" y="256"/>
                  </a:cubicBezTo>
                  <a:cubicBezTo>
                    <a:pt x="74" y="256"/>
                    <a:pt x="47" y="251"/>
                    <a:pt x="41" y="249"/>
                  </a:cubicBezTo>
                  <a:cubicBezTo>
                    <a:pt x="36" y="239"/>
                    <a:pt x="26" y="221"/>
                    <a:pt x="24" y="213"/>
                  </a:cubicBezTo>
                  <a:cubicBezTo>
                    <a:pt x="23" y="207"/>
                    <a:pt x="23" y="199"/>
                    <a:pt x="24" y="193"/>
                  </a:cubicBezTo>
                  <a:cubicBezTo>
                    <a:pt x="35" y="190"/>
                    <a:pt x="35" y="190"/>
                    <a:pt x="35" y="190"/>
                  </a:cubicBezTo>
                  <a:cubicBezTo>
                    <a:pt x="35" y="192"/>
                    <a:pt x="35" y="192"/>
                    <a:pt x="35" y="192"/>
                  </a:cubicBezTo>
                  <a:cubicBezTo>
                    <a:pt x="35" y="195"/>
                    <a:pt x="35" y="197"/>
                    <a:pt x="37" y="198"/>
                  </a:cubicBezTo>
                  <a:cubicBezTo>
                    <a:pt x="39" y="202"/>
                    <a:pt x="53" y="218"/>
                    <a:pt x="114" y="224"/>
                  </a:cubicBezTo>
                  <a:cubicBezTo>
                    <a:pt x="114" y="224"/>
                    <a:pt x="115" y="224"/>
                    <a:pt x="115" y="224"/>
                  </a:cubicBezTo>
                  <a:cubicBezTo>
                    <a:pt x="115" y="224"/>
                    <a:pt x="115" y="224"/>
                    <a:pt x="115" y="224"/>
                  </a:cubicBezTo>
                  <a:cubicBezTo>
                    <a:pt x="127" y="237"/>
                    <a:pt x="144" y="246"/>
                    <a:pt x="163" y="246"/>
                  </a:cubicBezTo>
                  <a:cubicBezTo>
                    <a:pt x="182" y="246"/>
                    <a:pt x="199" y="237"/>
                    <a:pt x="210" y="224"/>
                  </a:cubicBezTo>
                  <a:cubicBezTo>
                    <a:pt x="210" y="224"/>
                    <a:pt x="210" y="224"/>
                    <a:pt x="210" y="224"/>
                  </a:cubicBezTo>
                  <a:cubicBezTo>
                    <a:pt x="211" y="224"/>
                    <a:pt x="211" y="224"/>
                    <a:pt x="212" y="224"/>
                  </a:cubicBezTo>
                  <a:cubicBezTo>
                    <a:pt x="272" y="218"/>
                    <a:pt x="286" y="202"/>
                    <a:pt x="289" y="198"/>
                  </a:cubicBezTo>
                  <a:cubicBezTo>
                    <a:pt x="290" y="197"/>
                    <a:pt x="291" y="195"/>
                    <a:pt x="291" y="192"/>
                  </a:cubicBezTo>
                  <a:cubicBezTo>
                    <a:pt x="291" y="190"/>
                    <a:pt x="291" y="190"/>
                    <a:pt x="291" y="190"/>
                  </a:cubicBezTo>
                  <a:cubicBezTo>
                    <a:pt x="302" y="193"/>
                    <a:pt x="302" y="193"/>
                    <a:pt x="302" y="193"/>
                  </a:cubicBezTo>
                  <a:cubicBezTo>
                    <a:pt x="302" y="199"/>
                    <a:pt x="303" y="207"/>
                    <a:pt x="301" y="213"/>
                  </a:cubicBezTo>
                  <a:close/>
                  <a:moveTo>
                    <a:pt x="131" y="182"/>
                  </a:moveTo>
                  <a:cubicBezTo>
                    <a:pt x="131" y="199"/>
                    <a:pt x="145" y="214"/>
                    <a:pt x="163" y="214"/>
                  </a:cubicBezTo>
                  <a:cubicBezTo>
                    <a:pt x="180" y="214"/>
                    <a:pt x="195" y="199"/>
                    <a:pt x="195" y="182"/>
                  </a:cubicBezTo>
                  <a:cubicBezTo>
                    <a:pt x="195" y="164"/>
                    <a:pt x="180" y="150"/>
                    <a:pt x="163" y="150"/>
                  </a:cubicBezTo>
                  <a:cubicBezTo>
                    <a:pt x="145" y="150"/>
                    <a:pt x="131" y="164"/>
                    <a:pt x="131" y="182"/>
                  </a:cubicBezTo>
                  <a:close/>
                  <a:moveTo>
                    <a:pt x="173" y="182"/>
                  </a:moveTo>
                  <a:cubicBezTo>
                    <a:pt x="173" y="188"/>
                    <a:pt x="169" y="192"/>
                    <a:pt x="163" y="192"/>
                  </a:cubicBezTo>
                  <a:cubicBezTo>
                    <a:pt x="157" y="192"/>
                    <a:pt x="152" y="188"/>
                    <a:pt x="152" y="182"/>
                  </a:cubicBezTo>
                  <a:cubicBezTo>
                    <a:pt x="152" y="176"/>
                    <a:pt x="157" y="171"/>
                    <a:pt x="163" y="171"/>
                  </a:cubicBezTo>
                  <a:cubicBezTo>
                    <a:pt x="169" y="171"/>
                    <a:pt x="173" y="176"/>
                    <a:pt x="173"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7" name="Freeform 279"/>
          <p:cNvSpPr>
            <a:spLocks noChangeAspect="1" noEditPoints="1"/>
          </p:cNvSpPr>
          <p:nvPr/>
        </p:nvSpPr>
        <p:spPr bwMode="auto">
          <a:xfrm>
            <a:off x="2071016" y="1705349"/>
            <a:ext cx="367041" cy="367041"/>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8" name="Group 282"/>
          <p:cNvGrpSpPr>
            <a:grpSpLocks noChangeAspect="1"/>
          </p:cNvGrpSpPr>
          <p:nvPr/>
        </p:nvGrpSpPr>
        <p:grpSpPr bwMode="auto">
          <a:xfrm>
            <a:off x="2491202" y="1705349"/>
            <a:ext cx="367041" cy="367041"/>
            <a:chOff x="7007" y="1580"/>
            <a:chExt cx="340" cy="340"/>
          </a:xfrm>
          <a:solidFill>
            <a:schemeClr val="accent3"/>
          </a:solidFill>
        </p:grpSpPr>
        <p:sp>
          <p:nvSpPr>
            <p:cNvPr id="279" name="Freeform 278"/>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279"/>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1" name="Group 911"/>
          <p:cNvGrpSpPr>
            <a:grpSpLocks noChangeAspect="1"/>
          </p:cNvGrpSpPr>
          <p:nvPr/>
        </p:nvGrpSpPr>
        <p:grpSpPr bwMode="auto">
          <a:xfrm>
            <a:off x="3333554" y="1703369"/>
            <a:ext cx="369021" cy="369021"/>
            <a:chOff x="2629" y="3468"/>
            <a:chExt cx="340" cy="340"/>
          </a:xfrm>
          <a:solidFill>
            <a:schemeClr val="accent4"/>
          </a:solidFill>
        </p:grpSpPr>
        <p:sp>
          <p:nvSpPr>
            <p:cNvPr id="282" name="Freeform 912"/>
            <p:cNvSpPr>
              <a:spLocks noEditPoints="1"/>
            </p:cNvSpPr>
            <p:nvPr/>
          </p:nvSpPr>
          <p:spPr bwMode="auto">
            <a:xfrm>
              <a:off x="2629"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913"/>
            <p:cNvSpPr>
              <a:spLocks noEditPoints="1"/>
            </p:cNvSpPr>
            <p:nvPr/>
          </p:nvSpPr>
          <p:spPr bwMode="auto">
            <a:xfrm>
              <a:off x="2770" y="3532"/>
              <a:ext cx="57" cy="212"/>
            </a:xfrm>
            <a:custGeom>
              <a:avLst/>
              <a:gdLst>
                <a:gd name="T0" fmla="*/ 43 w 85"/>
                <a:gd name="T1" fmla="*/ 0 h 320"/>
                <a:gd name="T2" fmla="*/ 0 w 85"/>
                <a:gd name="T3" fmla="*/ 42 h 320"/>
                <a:gd name="T4" fmla="*/ 0 w 85"/>
                <a:gd name="T5" fmla="*/ 160 h 320"/>
                <a:gd name="T6" fmla="*/ 11 w 85"/>
                <a:gd name="T7" fmla="*/ 170 h 320"/>
                <a:gd name="T8" fmla="*/ 32 w 85"/>
                <a:gd name="T9" fmla="*/ 170 h 320"/>
                <a:gd name="T10" fmla="*/ 32 w 85"/>
                <a:gd name="T11" fmla="*/ 277 h 320"/>
                <a:gd name="T12" fmla="*/ 23 w 85"/>
                <a:gd name="T13" fmla="*/ 282 h 320"/>
                <a:gd name="T14" fmla="*/ 22 w 85"/>
                <a:gd name="T15" fmla="*/ 292 h 320"/>
                <a:gd name="T16" fmla="*/ 33 w 85"/>
                <a:gd name="T17" fmla="*/ 314 h 320"/>
                <a:gd name="T18" fmla="*/ 43 w 85"/>
                <a:gd name="T19" fmla="*/ 320 h 320"/>
                <a:gd name="T20" fmla="*/ 52 w 85"/>
                <a:gd name="T21" fmla="*/ 314 h 320"/>
                <a:gd name="T22" fmla="*/ 63 w 85"/>
                <a:gd name="T23" fmla="*/ 292 h 320"/>
                <a:gd name="T24" fmla="*/ 62 w 85"/>
                <a:gd name="T25" fmla="*/ 282 h 320"/>
                <a:gd name="T26" fmla="*/ 53 w 85"/>
                <a:gd name="T27" fmla="*/ 277 h 320"/>
                <a:gd name="T28" fmla="*/ 53 w 85"/>
                <a:gd name="T29" fmla="*/ 170 h 320"/>
                <a:gd name="T30" fmla="*/ 75 w 85"/>
                <a:gd name="T31" fmla="*/ 170 h 320"/>
                <a:gd name="T32" fmla="*/ 85 w 85"/>
                <a:gd name="T33" fmla="*/ 160 h 320"/>
                <a:gd name="T34" fmla="*/ 85 w 85"/>
                <a:gd name="T35" fmla="*/ 42 h 320"/>
                <a:gd name="T36" fmla="*/ 43 w 85"/>
                <a:gd name="T37" fmla="*/ 0 h 320"/>
                <a:gd name="T38" fmla="*/ 64 w 85"/>
                <a:gd name="T39" fmla="*/ 149 h 320"/>
                <a:gd name="T40" fmla="*/ 21 w 85"/>
                <a:gd name="T41" fmla="*/ 149 h 320"/>
                <a:gd name="T42" fmla="*/ 21 w 85"/>
                <a:gd name="T43" fmla="*/ 42 h 320"/>
                <a:gd name="T44" fmla="*/ 43 w 85"/>
                <a:gd name="T45" fmla="*/ 21 h 320"/>
                <a:gd name="T46" fmla="*/ 64 w 85"/>
                <a:gd name="T47" fmla="*/ 42 h 320"/>
                <a:gd name="T48" fmla="*/ 64 w 85"/>
                <a:gd name="T4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320">
                  <a:moveTo>
                    <a:pt x="43" y="0"/>
                  </a:moveTo>
                  <a:cubicBezTo>
                    <a:pt x="19" y="0"/>
                    <a:pt x="0" y="19"/>
                    <a:pt x="0" y="42"/>
                  </a:cubicBezTo>
                  <a:cubicBezTo>
                    <a:pt x="0" y="160"/>
                    <a:pt x="0" y="160"/>
                    <a:pt x="0" y="160"/>
                  </a:cubicBezTo>
                  <a:cubicBezTo>
                    <a:pt x="0" y="166"/>
                    <a:pt x="5" y="170"/>
                    <a:pt x="11" y="170"/>
                  </a:cubicBezTo>
                  <a:cubicBezTo>
                    <a:pt x="32" y="170"/>
                    <a:pt x="32" y="170"/>
                    <a:pt x="32" y="170"/>
                  </a:cubicBezTo>
                  <a:cubicBezTo>
                    <a:pt x="32" y="277"/>
                    <a:pt x="32" y="277"/>
                    <a:pt x="32" y="277"/>
                  </a:cubicBezTo>
                  <a:cubicBezTo>
                    <a:pt x="28" y="277"/>
                    <a:pt x="25" y="279"/>
                    <a:pt x="23" y="282"/>
                  </a:cubicBezTo>
                  <a:cubicBezTo>
                    <a:pt x="21" y="285"/>
                    <a:pt x="21" y="289"/>
                    <a:pt x="22" y="292"/>
                  </a:cubicBezTo>
                  <a:cubicBezTo>
                    <a:pt x="33" y="314"/>
                    <a:pt x="33" y="314"/>
                    <a:pt x="33" y="314"/>
                  </a:cubicBezTo>
                  <a:cubicBezTo>
                    <a:pt x="35" y="317"/>
                    <a:pt x="39" y="320"/>
                    <a:pt x="43" y="320"/>
                  </a:cubicBezTo>
                  <a:cubicBezTo>
                    <a:pt x="47" y="320"/>
                    <a:pt x="50" y="317"/>
                    <a:pt x="52" y="314"/>
                  </a:cubicBezTo>
                  <a:cubicBezTo>
                    <a:pt x="63" y="292"/>
                    <a:pt x="63" y="292"/>
                    <a:pt x="63" y="292"/>
                  </a:cubicBezTo>
                  <a:cubicBezTo>
                    <a:pt x="65" y="289"/>
                    <a:pt x="64" y="285"/>
                    <a:pt x="62" y="282"/>
                  </a:cubicBezTo>
                  <a:cubicBezTo>
                    <a:pt x="60" y="279"/>
                    <a:pt x="57" y="277"/>
                    <a:pt x="53" y="277"/>
                  </a:cubicBezTo>
                  <a:cubicBezTo>
                    <a:pt x="53" y="170"/>
                    <a:pt x="53" y="170"/>
                    <a:pt x="53" y="170"/>
                  </a:cubicBezTo>
                  <a:cubicBezTo>
                    <a:pt x="75" y="170"/>
                    <a:pt x="75" y="170"/>
                    <a:pt x="75" y="170"/>
                  </a:cubicBezTo>
                  <a:cubicBezTo>
                    <a:pt x="81" y="170"/>
                    <a:pt x="85" y="166"/>
                    <a:pt x="85" y="160"/>
                  </a:cubicBezTo>
                  <a:cubicBezTo>
                    <a:pt x="85" y="42"/>
                    <a:pt x="85" y="42"/>
                    <a:pt x="85" y="42"/>
                  </a:cubicBezTo>
                  <a:cubicBezTo>
                    <a:pt x="85" y="19"/>
                    <a:pt x="66" y="0"/>
                    <a:pt x="43" y="0"/>
                  </a:cubicBezTo>
                  <a:close/>
                  <a:moveTo>
                    <a:pt x="64" y="149"/>
                  </a:moveTo>
                  <a:cubicBezTo>
                    <a:pt x="21" y="149"/>
                    <a:pt x="21" y="149"/>
                    <a:pt x="21" y="149"/>
                  </a:cubicBezTo>
                  <a:cubicBezTo>
                    <a:pt x="21" y="42"/>
                    <a:pt x="21" y="42"/>
                    <a:pt x="21" y="42"/>
                  </a:cubicBezTo>
                  <a:cubicBezTo>
                    <a:pt x="21" y="31"/>
                    <a:pt x="31" y="21"/>
                    <a:pt x="43" y="21"/>
                  </a:cubicBezTo>
                  <a:cubicBezTo>
                    <a:pt x="54" y="21"/>
                    <a:pt x="64" y="31"/>
                    <a:pt x="64" y="42"/>
                  </a:cubicBezTo>
                  <a:lnTo>
                    <a:pt x="64"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4" name="Freeform 917"/>
          <p:cNvSpPr>
            <a:spLocks noChangeAspect="1" noEditPoints="1"/>
          </p:cNvSpPr>
          <p:nvPr/>
        </p:nvSpPr>
        <p:spPr bwMode="auto">
          <a:xfrm>
            <a:off x="2911388" y="1702284"/>
            <a:ext cx="369021" cy="370106"/>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5" name="Freeform 75"/>
          <p:cNvSpPr>
            <a:spLocks noChangeAspect="1" noEditPoints="1"/>
          </p:cNvSpPr>
          <p:nvPr/>
        </p:nvSpPr>
        <p:spPr bwMode="auto">
          <a:xfrm>
            <a:off x="3755720" y="1704759"/>
            <a:ext cx="367631" cy="367631"/>
          </a:xfrm>
          <a:custGeom>
            <a:avLst/>
            <a:gdLst>
              <a:gd name="T0" fmla="*/ 267 w 512"/>
              <a:gd name="T1" fmla="*/ 200 h 512"/>
              <a:gd name="T2" fmla="*/ 290 w 512"/>
              <a:gd name="T3" fmla="*/ 256 h 512"/>
              <a:gd name="T4" fmla="*/ 266 w 512"/>
              <a:gd name="T5" fmla="*/ 256 h 512"/>
              <a:gd name="T6" fmla="*/ 266 w 512"/>
              <a:gd name="T7" fmla="*/ 245 h 512"/>
              <a:gd name="T8" fmla="*/ 256 w 512"/>
              <a:gd name="T9" fmla="*/ 234 h 512"/>
              <a:gd name="T10" fmla="*/ 245 w 512"/>
              <a:gd name="T11" fmla="*/ 245 h 512"/>
              <a:gd name="T12" fmla="*/ 245 w 512"/>
              <a:gd name="T13" fmla="*/ 256 h 512"/>
              <a:gd name="T14" fmla="*/ 222 w 512"/>
              <a:gd name="T15" fmla="*/ 256 h 512"/>
              <a:gd name="T16" fmla="*/ 244 w 512"/>
              <a:gd name="T17" fmla="*/ 200 h 512"/>
              <a:gd name="T18" fmla="*/ 238 w 512"/>
              <a:gd name="T19" fmla="*/ 187 h 512"/>
              <a:gd name="T20" fmla="*/ 224 w 512"/>
              <a:gd name="T21" fmla="*/ 192 h 512"/>
              <a:gd name="T22" fmla="*/ 224 w 512"/>
              <a:gd name="T23" fmla="*/ 194 h 512"/>
              <a:gd name="T24" fmla="*/ 220 w 512"/>
              <a:gd name="T25" fmla="*/ 178 h 512"/>
              <a:gd name="T26" fmla="*/ 256 w 512"/>
              <a:gd name="T27" fmla="*/ 143 h 512"/>
              <a:gd name="T28" fmla="*/ 291 w 512"/>
              <a:gd name="T29" fmla="*/ 178 h 512"/>
              <a:gd name="T30" fmla="*/ 287 w 512"/>
              <a:gd name="T31" fmla="*/ 194 h 512"/>
              <a:gd name="T32" fmla="*/ 287 w 512"/>
              <a:gd name="T33" fmla="*/ 192 h 512"/>
              <a:gd name="T34" fmla="*/ 273 w 512"/>
              <a:gd name="T35" fmla="*/ 187 h 512"/>
              <a:gd name="T36" fmla="*/ 267 w 512"/>
              <a:gd name="T37" fmla="*/ 20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2 w 512"/>
              <a:gd name="T49" fmla="*/ 401 h 512"/>
              <a:gd name="T50" fmla="*/ 321 w 512"/>
              <a:gd name="T51" fmla="*/ 277 h 512"/>
              <a:gd name="T52" fmla="*/ 341 w 512"/>
              <a:gd name="T53" fmla="*/ 277 h 512"/>
              <a:gd name="T54" fmla="*/ 352 w 512"/>
              <a:gd name="T55" fmla="*/ 266 h 512"/>
              <a:gd name="T56" fmla="*/ 341 w 512"/>
              <a:gd name="T57" fmla="*/ 256 h 512"/>
              <a:gd name="T58" fmla="*/ 313 w 512"/>
              <a:gd name="T59" fmla="*/ 256 h 512"/>
              <a:gd name="T60" fmla="*/ 297 w 512"/>
              <a:gd name="T61" fmla="*/ 217 h 512"/>
              <a:gd name="T62" fmla="*/ 312 w 512"/>
              <a:gd name="T63" fmla="*/ 178 h 512"/>
              <a:gd name="T64" fmla="*/ 266 w 512"/>
              <a:gd name="T65" fmla="*/ 123 h 512"/>
              <a:gd name="T66" fmla="*/ 266 w 512"/>
              <a:gd name="T67" fmla="*/ 106 h 512"/>
              <a:gd name="T68" fmla="*/ 256 w 512"/>
              <a:gd name="T69" fmla="*/ 96 h 512"/>
              <a:gd name="T70" fmla="*/ 245 w 512"/>
              <a:gd name="T71" fmla="*/ 106 h 512"/>
              <a:gd name="T72" fmla="*/ 245 w 512"/>
              <a:gd name="T73" fmla="*/ 123 h 512"/>
              <a:gd name="T74" fmla="*/ 199 w 512"/>
              <a:gd name="T75" fmla="*/ 178 h 512"/>
              <a:gd name="T76" fmla="*/ 214 w 512"/>
              <a:gd name="T77" fmla="*/ 217 h 512"/>
              <a:gd name="T78" fmla="*/ 199 w 512"/>
              <a:gd name="T79" fmla="*/ 256 h 512"/>
              <a:gd name="T80" fmla="*/ 170 w 512"/>
              <a:gd name="T81" fmla="*/ 256 h 512"/>
              <a:gd name="T82" fmla="*/ 160 w 512"/>
              <a:gd name="T83" fmla="*/ 266 h 512"/>
              <a:gd name="T84" fmla="*/ 170 w 512"/>
              <a:gd name="T85" fmla="*/ 277 h 512"/>
              <a:gd name="T86" fmla="*/ 190 w 512"/>
              <a:gd name="T87" fmla="*/ 277 h 512"/>
              <a:gd name="T88" fmla="*/ 139 w 512"/>
              <a:gd name="T89" fmla="*/ 401 h 512"/>
              <a:gd name="T90" fmla="*/ 145 w 512"/>
              <a:gd name="T91" fmla="*/ 415 h 512"/>
              <a:gd name="T92" fmla="*/ 149 w 512"/>
              <a:gd name="T93" fmla="*/ 416 h 512"/>
              <a:gd name="T94" fmla="*/ 159 w 512"/>
              <a:gd name="T95" fmla="*/ 409 h 512"/>
              <a:gd name="T96" fmla="*/ 213 w 512"/>
              <a:gd name="T97" fmla="*/ 277 h 512"/>
              <a:gd name="T98" fmla="*/ 245 w 512"/>
              <a:gd name="T99" fmla="*/ 277 h 512"/>
              <a:gd name="T100" fmla="*/ 245 w 512"/>
              <a:gd name="T101" fmla="*/ 288 h 512"/>
              <a:gd name="T102" fmla="*/ 256 w 512"/>
              <a:gd name="T103" fmla="*/ 298 h 512"/>
              <a:gd name="T104" fmla="*/ 266 w 512"/>
              <a:gd name="T105" fmla="*/ 288 h 512"/>
              <a:gd name="T106" fmla="*/ 266 w 512"/>
              <a:gd name="T107" fmla="*/ 277 h 512"/>
              <a:gd name="T108" fmla="*/ 298 w 512"/>
              <a:gd name="T109" fmla="*/ 277 h 512"/>
              <a:gd name="T110" fmla="*/ 352 w 512"/>
              <a:gd name="T111" fmla="*/ 409 h 512"/>
              <a:gd name="T112" fmla="*/ 362 w 512"/>
              <a:gd name="T113" fmla="*/ 416 h 512"/>
              <a:gd name="T114" fmla="*/ 366 w 512"/>
              <a:gd name="T115" fmla="*/ 415 h 512"/>
              <a:gd name="T116" fmla="*/ 372 w 512"/>
              <a:gd name="T117" fmla="*/ 40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00"/>
                </a:moveTo>
                <a:cubicBezTo>
                  <a:pt x="290" y="256"/>
                  <a:pt x="290" y="256"/>
                  <a:pt x="290" y="256"/>
                </a:cubicBezTo>
                <a:cubicBezTo>
                  <a:pt x="266" y="256"/>
                  <a:pt x="266" y="256"/>
                  <a:pt x="266" y="256"/>
                </a:cubicBez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401"/>
                </a:moveTo>
                <a:cubicBezTo>
                  <a:pt x="321" y="277"/>
                  <a:pt x="321" y="277"/>
                  <a:pt x="321" y="277"/>
                </a:cubicBez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6" name="Freeform 79"/>
          <p:cNvSpPr>
            <a:spLocks noChangeAspect="1" noEditPoints="1"/>
          </p:cNvSpPr>
          <p:nvPr/>
        </p:nvSpPr>
        <p:spPr bwMode="auto">
          <a:xfrm>
            <a:off x="4176496" y="170475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7" name="Freeform 134"/>
          <p:cNvSpPr>
            <a:spLocks noChangeAspect="1" noEditPoints="1"/>
          </p:cNvSpPr>
          <p:nvPr/>
        </p:nvSpPr>
        <p:spPr bwMode="auto">
          <a:xfrm>
            <a:off x="4597272" y="1704270"/>
            <a:ext cx="367041" cy="368120"/>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8" name="Group 137"/>
          <p:cNvGrpSpPr>
            <a:grpSpLocks noChangeAspect="1"/>
          </p:cNvGrpSpPr>
          <p:nvPr/>
        </p:nvGrpSpPr>
        <p:grpSpPr bwMode="auto">
          <a:xfrm>
            <a:off x="5017458" y="1705349"/>
            <a:ext cx="367041" cy="367041"/>
            <a:chOff x="4032" y="1187"/>
            <a:chExt cx="340" cy="340"/>
          </a:xfrm>
          <a:solidFill>
            <a:schemeClr val="accent2"/>
          </a:solidFill>
        </p:grpSpPr>
        <p:sp>
          <p:nvSpPr>
            <p:cNvPr id="289"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1" name="Freeform 566"/>
          <p:cNvSpPr>
            <a:spLocks noChangeAspect="1" noEditPoints="1"/>
          </p:cNvSpPr>
          <p:nvPr/>
        </p:nvSpPr>
        <p:spPr bwMode="auto">
          <a:xfrm>
            <a:off x="5437644" y="1704759"/>
            <a:ext cx="367631" cy="367631"/>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2" name="Group 569"/>
          <p:cNvGrpSpPr>
            <a:grpSpLocks noChangeAspect="1"/>
          </p:cNvGrpSpPr>
          <p:nvPr/>
        </p:nvGrpSpPr>
        <p:grpSpPr bwMode="auto">
          <a:xfrm>
            <a:off x="5858420" y="1704759"/>
            <a:ext cx="367631" cy="367631"/>
            <a:chOff x="5648" y="3248"/>
            <a:chExt cx="340" cy="340"/>
          </a:xfrm>
          <a:solidFill>
            <a:schemeClr val="accent6"/>
          </a:solidFill>
        </p:grpSpPr>
        <p:sp>
          <p:nvSpPr>
            <p:cNvPr id="293"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5" name="Freeform 105"/>
          <p:cNvSpPr>
            <a:spLocks noChangeAspect="1" noEditPoints="1"/>
          </p:cNvSpPr>
          <p:nvPr/>
        </p:nvSpPr>
        <p:spPr bwMode="auto">
          <a:xfrm>
            <a:off x="385233" y="2518923"/>
            <a:ext cx="367631" cy="367631"/>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6" name="Group 108"/>
          <p:cNvGrpSpPr>
            <a:grpSpLocks noChangeAspect="1"/>
          </p:cNvGrpSpPr>
          <p:nvPr/>
        </p:nvGrpSpPr>
        <p:grpSpPr bwMode="auto">
          <a:xfrm>
            <a:off x="805780" y="2518923"/>
            <a:ext cx="367631" cy="367631"/>
            <a:chOff x="655" y="442"/>
            <a:chExt cx="340" cy="340"/>
          </a:xfrm>
          <a:solidFill>
            <a:schemeClr val="accent2"/>
          </a:solidFill>
        </p:grpSpPr>
        <p:sp>
          <p:nvSpPr>
            <p:cNvPr id="297" name="Freeform 109"/>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110"/>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9" name="Group 285"/>
          <p:cNvGrpSpPr>
            <a:grpSpLocks noChangeAspect="1"/>
          </p:cNvGrpSpPr>
          <p:nvPr/>
        </p:nvGrpSpPr>
        <p:grpSpPr bwMode="auto">
          <a:xfrm>
            <a:off x="7543780" y="1702714"/>
            <a:ext cx="370763" cy="369676"/>
            <a:chOff x="388" y="758"/>
            <a:chExt cx="341" cy="340"/>
          </a:xfrm>
          <a:solidFill>
            <a:schemeClr val="accent3"/>
          </a:solidFill>
        </p:grpSpPr>
        <p:sp>
          <p:nvSpPr>
            <p:cNvPr id="300"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2" name="Freeform 5"/>
          <p:cNvSpPr>
            <a:spLocks noChangeAspect="1" noEditPoints="1"/>
          </p:cNvSpPr>
          <p:nvPr/>
        </p:nvSpPr>
        <p:spPr bwMode="auto">
          <a:xfrm>
            <a:off x="7120748" y="1702502"/>
            <a:ext cx="369887" cy="369888"/>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07" name="Freeform 575"/>
          <p:cNvSpPr>
            <a:spLocks noChangeAspect="1" noEditPoints="1"/>
          </p:cNvSpPr>
          <p:nvPr/>
        </p:nvSpPr>
        <p:spPr bwMode="auto">
          <a:xfrm>
            <a:off x="6279196" y="1704759"/>
            <a:ext cx="367631" cy="367631"/>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8" name="Group 578"/>
          <p:cNvGrpSpPr>
            <a:grpSpLocks noChangeAspect="1"/>
          </p:cNvGrpSpPr>
          <p:nvPr/>
        </p:nvGrpSpPr>
        <p:grpSpPr bwMode="auto">
          <a:xfrm>
            <a:off x="6699972" y="1703677"/>
            <a:ext cx="367631" cy="368713"/>
            <a:chOff x="399" y="2382"/>
            <a:chExt cx="340" cy="341"/>
          </a:xfrm>
          <a:solidFill>
            <a:schemeClr val="accent1"/>
          </a:solidFill>
        </p:grpSpPr>
        <p:sp>
          <p:nvSpPr>
            <p:cNvPr id="309" name="Freeform 579"/>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580"/>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581"/>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582"/>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3" name="Freeform 933"/>
          <p:cNvSpPr>
            <a:spLocks noChangeAspect="1" noEditPoints="1"/>
          </p:cNvSpPr>
          <p:nvPr/>
        </p:nvSpPr>
        <p:spPr bwMode="auto">
          <a:xfrm>
            <a:off x="1226327" y="2518923"/>
            <a:ext cx="367631" cy="367631"/>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4" name="Group 936"/>
          <p:cNvGrpSpPr>
            <a:grpSpLocks noChangeAspect="1"/>
          </p:cNvGrpSpPr>
          <p:nvPr/>
        </p:nvGrpSpPr>
        <p:grpSpPr bwMode="auto">
          <a:xfrm>
            <a:off x="1646874" y="2518923"/>
            <a:ext cx="367631" cy="367631"/>
            <a:chOff x="4256" y="3585"/>
            <a:chExt cx="340" cy="340"/>
          </a:xfrm>
          <a:solidFill>
            <a:schemeClr val="accent4"/>
          </a:solidFill>
        </p:grpSpPr>
        <p:sp>
          <p:nvSpPr>
            <p:cNvPr id="315" name="Freeform 937"/>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938"/>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7" name="Freeform 751"/>
          <p:cNvSpPr>
            <a:spLocks noChangeAspect="1" noEditPoints="1"/>
          </p:cNvSpPr>
          <p:nvPr/>
        </p:nvSpPr>
        <p:spPr bwMode="auto">
          <a:xfrm>
            <a:off x="2913692" y="2518923"/>
            <a:ext cx="367982" cy="367982"/>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8" name="Group 754"/>
          <p:cNvGrpSpPr>
            <a:grpSpLocks noChangeAspect="1"/>
          </p:cNvGrpSpPr>
          <p:nvPr/>
        </p:nvGrpSpPr>
        <p:grpSpPr bwMode="auto">
          <a:xfrm>
            <a:off x="3334592" y="2518923"/>
            <a:ext cx="367983" cy="369064"/>
            <a:chOff x="2832" y="3277"/>
            <a:chExt cx="340" cy="341"/>
          </a:xfrm>
          <a:solidFill>
            <a:schemeClr val="accent3"/>
          </a:solidFill>
        </p:grpSpPr>
        <p:sp>
          <p:nvSpPr>
            <p:cNvPr id="319" name="Freeform 755"/>
            <p:cNvSpPr>
              <a:spLocks noEditPoints="1"/>
            </p:cNvSpPr>
            <p:nvPr/>
          </p:nvSpPr>
          <p:spPr bwMode="auto">
            <a:xfrm>
              <a:off x="2832" y="32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756"/>
            <p:cNvSpPr>
              <a:spLocks noEditPoints="1"/>
            </p:cNvSpPr>
            <p:nvPr/>
          </p:nvSpPr>
          <p:spPr bwMode="auto">
            <a:xfrm>
              <a:off x="2902" y="3355"/>
              <a:ext cx="199" cy="199"/>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6" name="Group 574"/>
          <p:cNvGrpSpPr>
            <a:grpSpLocks noChangeAspect="1"/>
          </p:cNvGrpSpPr>
          <p:nvPr/>
        </p:nvGrpSpPr>
        <p:grpSpPr bwMode="auto">
          <a:xfrm>
            <a:off x="2491100" y="2518923"/>
            <a:ext cx="369676" cy="370763"/>
            <a:chOff x="1921" y="1949"/>
            <a:chExt cx="340" cy="341"/>
          </a:xfrm>
          <a:solidFill>
            <a:schemeClr val="accent6"/>
          </a:solidFill>
        </p:grpSpPr>
        <p:sp>
          <p:nvSpPr>
            <p:cNvPr id="217"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9" name="Freeform 580"/>
          <p:cNvSpPr>
            <a:spLocks noChangeAspect="1" noEditPoints="1"/>
          </p:cNvSpPr>
          <p:nvPr/>
        </p:nvSpPr>
        <p:spPr bwMode="auto">
          <a:xfrm>
            <a:off x="2067421" y="2518923"/>
            <a:ext cx="370763" cy="369676"/>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27912434"/>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Travel</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85134" y="2116138"/>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nchor</a:t>
            </a:r>
          </a:p>
        </p:txBody>
      </p:sp>
      <p:sp>
        <p:nvSpPr>
          <p:cNvPr id="423" name="TextBox 422"/>
          <p:cNvSpPr txBox="1"/>
          <p:nvPr/>
        </p:nvSpPr>
        <p:spPr>
          <a:xfrm>
            <a:off x="1214525" y="211613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cycle</a:t>
            </a:r>
          </a:p>
        </p:txBody>
      </p:sp>
      <p:sp>
        <p:nvSpPr>
          <p:cNvPr id="424" name="TextBox 423"/>
          <p:cNvSpPr txBox="1"/>
          <p:nvPr/>
        </p:nvSpPr>
        <p:spPr>
          <a:xfrm>
            <a:off x="2058733"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dge 1</a:t>
            </a:r>
          </a:p>
        </p:txBody>
      </p:sp>
      <p:sp>
        <p:nvSpPr>
          <p:cNvPr id="425" name="TextBox 424"/>
          <p:cNvSpPr txBox="1"/>
          <p:nvPr/>
        </p:nvSpPr>
        <p:spPr>
          <a:xfrm>
            <a:off x="3740799" y="2116138"/>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dge 1 over water</a:t>
            </a:r>
          </a:p>
        </p:txBody>
      </p:sp>
      <p:sp>
        <p:nvSpPr>
          <p:cNvPr id="427" name="TextBox 426"/>
          <p:cNvSpPr txBox="1"/>
          <p:nvPr/>
        </p:nvSpPr>
        <p:spPr>
          <a:xfrm>
            <a:off x="2899766"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dge 2</a:t>
            </a:r>
          </a:p>
        </p:txBody>
      </p:sp>
      <p:sp>
        <p:nvSpPr>
          <p:cNvPr id="429" name="TextBox 428"/>
          <p:cNvSpPr txBox="1"/>
          <p:nvPr/>
        </p:nvSpPr>
        <p:spPr>
          <a:xfrm>
            <a:off x="7937500"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n’t walk</a:t>
            </a:r>
          </a:p>
        </p:txBody>
      </p:sp>
      <p:sp>
        <p:nvSpPr>
          <p:cNvPr id="430" name="TextBox 429"/>
          <p:cNvSpPr txBox="1"/>
          <p:nvPr/>
        </p:nvSpPr>
        <p:spPr>
          <a:xfrm>
            <a:off x="7096464"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alk</a:t>
            </a:r>
          </a:p>
        </p:txBody>
      </p:sp>
      <p:sp>
        <p:nvSpPr>
          <p:cNvPr id="472" name="TextBox 471"/>
          <p:cNvSpPr txBox="1"/>
          <p:nvPr/>
        </p:nvSpPr>
        <p:spPr>
          <a:xfrm>
            <a:off x="406400" y="2959761"/>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ffic signal EU</a:t>
            </a:r>
          </a:p>
        </p:txBody>
      </p:sp>
      <p:sp>
        <p:nvSpPr>
          <p:cNvPr id="473" name="TextBox 472"/>
          <p:cNvSpPr txBox="1"/>
          <p:nvPr/>
        </p:nvSpPr>
        <p:spPr>
          <a:xfrm>
            <a:off x="1232488" y="2959761"/>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ffic signal</a:t>
            </a:r>
          </a:p>
        </p:txBody>
      </p:sp>
      <p:sp>
        <p:nvSpPr>
          <p:cNvPr id="474" name="TextBox 473"/>
          <p:cNvSpPr txBox="1"/>
          <p:nvPr/>
        </p:nvSpPr>
        <p:spPr>
          <a:xfrm>
            <a:off x="207339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ain</a:t>
            </a:r>
          </a:p>
        </p:txBody>
      </p:sp>
      <p:sp>
        <p:nvSpPr>
          <p:cNvPr id="475" name="TextBox 474"/>
          <p:cNvSpPr txBox="1"/>
          <p:nvPr/>
        </p:nvSpPr>
        <p:spPr>
          <a:xfrm>
            <a:off x="374885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efcase</a:t>
            </a:r>
          </a:p>
        </p:txBody>
      </p:sp>
      <p:sp>
        <p:nvSpPr>
          <p:cNvPr id="476" name="TextBox 475"/>
          <p:cNvSpPr txBox="1"/>
          <p:nvPr/>
        </p:nvSpPr>
        <p:spPr>
          <a:xfrm>
            <a:off x="458658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r</a:t>
            </a:r>
          </a:p>
        </p:txBody>
      </p:sp>
      <p:sp>
        <p:nvSpPr>
          <p:cNvPr id="477" name="TextBox 476"/>
          <p:cNvSpPr txBox="1"/>
          <p:nvPr/>
        </p:nvSpPr>
        <p:spPr>
          <a:xfrm>
            <a:off x="2911123" y="295976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dge 2 over water</a:t>
            </a:r>
          </a:p>
        </p:txBody>
      </p:sp>
      <p:sp>
        <p:nvSpPr>
          <p:cNvPr id="478" name="TextBox 477"/>
          <p:cNvSpPr txBox="1"/>
          <p:nvPr/>
        </p:nvSpPr>
        <p:spPr>
          <a:xfrm>
            <a:off x="542431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ar share</a:t>
            </a:r>
          </a:p>
        </p:txBody>
      </p:sp>
      <p:sp>
        <p:nvSpPr>
          <p:cNvPr id="479" name="TextBox 478"/>
          <p:cNvSpPr txBox="1"/>
          <p:nvPr/>
        </p:nvSpPr>
        <p:spPr>
          <a:xfrm>
            <a:off x="7937500"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p pin</a:t>
            </a:r>
          </a:p>
        </p:txBody>
      </p:sp>
      <p:sp>
        <p:nvSpPr>
          <p:cNvPr id="480" name="TextBox 479"/>
          <p:cNvSpPr txBox="1"/>
          <p:nvPr/>
        </p:nvSpPr>
        <p:spPr>
          <a:xfrm>
            <a:off x="7099773" y="2959761"/>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irection sign</a:t>
            </a:r>
          </a:p>
        </p:txBody>
      </p:sp>
      <p:sp>
        <p:nvSpPr>
          <p:cNvPr id="481" name="TextBox 480"/>
          <p:cNvSpPr txBox="1"/>
          <p:nvPr/>
        </p:nvSpPr>
        <p:spPr>
          <a:xfrm>
            <a:off x="6262043" y="295976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ed</a:t>
            </a:r>
          </a:p>
        </p:txBody>
      </p:sp>
      <p:sp>
        <p:nvSpPr>
          <p:cNvPr id="522" name="TextBox 521"/>
          <p:cNvSpPr txBox="1"/>
          <p:nvPr/>
        </p:nvSpPr>
        <p:spPr>
          <a:xfrm>
            <a:off x="406400" y="3762440"/>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lane </a:t>
            </a:r>
          </a:p>
        </p:txBody>
      </p:sp>
      <p:sp>
        <p:nvSpPr>
          <p:cNvPr id="523" name="TextBox 522"/>
          <p:cNvSpPr txBox="1"/>
          <p:nvPr/>
        </p:nvSpPr>
        <p:spPr>
          <a:xfrm>
            <a:off x="1233355" y="3762440"/>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ail boat</a:t>
            </a:r>
          </a:p>
        </p:txBody>
      </p:sp>
      <p:sp>
        <p:nvSpPr>
          <p:cNvPr id="524" name="TextBox 523"/>
          <p:cNvSpPr txBox="1"/>
          <p:nvPr/>
        </p:nvSpPr>
        <p:spPr>
          <a:xfrm>
            <a:off x="2075127" y="3762440"/>
            <a:ext cx="830792" cy="307777"/>
          </a:xfrm>
          <a:prstGeom prst="rect">
            <a:avLst/>
          </a:prstGeom>
          <a:noFill/>
        </p:spPr>
        <p:txBody>
          <a:bodyPr wrap="square" lIns="0" tIns="0" rIns="0" bIns="0" rtlCol="0">
            <a:spAutoFit/>
          </a:bodyPr>
          <a:lstStyle/>
          <a:p>
            <a:pPr algn="ctr">
              <a:spcBef>
                <a:spcPts val="600"/>
              </a:spcBef>
              <a:buSzPct val="100000"/>
            </a:pPr>
            <a:r>
              <a:rPr lang="en-US" sz="1000" dirty="0" err="1">
                <a:solidFill>
                  <a:srgbClr val="313131"/>
                </a:solidFill>
              </a:rPr>
              <a:t>Chequered</a:t>
            </a:r>
            <a:r>
              <a:rPr lang="en-US" sz="1000" dirty="0">
                <a:solidFill>
                  <a:srgbClr val="313131"/>
                </a:solidFill>
              </a:rPr>
              <a:t> flag</a:t>
            </a:r>
          </a:p>
        </p:txBody>
      </p:sp>
      <p:sp>
        <p:nvSpPr>
          <p:cNvPr id="525" name="TextBox 524"/>
          <p:cNvSpPr txBox="1"/>
          <p:nvPr/>
        </p:nvSpPr>
        <p:spPr>
          <a:xfrm>
            <a:off x="3752321" y="376244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etrol can</a:t>
            </a:r>
          </a:p>
        </p:txBody>
      </p:sp>
      <p:sp>
        <p:nvSpPr>
          <p:cNvPr id="526" name="TextBox 525"/>
          <p:cNvSpPr txBox="1"/>
          <p:nvPr/>
        </p:nvSpPr>
        <p:spPr>
          <a:xfrm>
            <a:off x="4590918" y="3762440"/>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lf drive car</a:t>
            </a:r>
          </a:p>
        </p:txBody>
      </p:sp>
      <p:sp>
        <p:nvSpPr>
          <p:cNvPr id="527" name="TextBox 526"/>
          <p:cNvSpPr txBox="1"/>
          <p:nvPr/>
        </p:nvSpPr>
        <p:spPr>
          <a:xfrm>
            <a:off x="2913724" y="376244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hip</a:t>
            </a:r>
          </a:p>
        </p:txBody>
      </p:sp>
      <p:sp>
        <p:nvSpPr>
          <p:cNvPr id="528" name="TextBox 527"/>
          <p:cNvSpPr txBox="1"/>
          <p:nvPr/>
        </p:nvSpPr>
        <p:spPr>
          <a:xfrm>
            <a:off x="5429515" y="376244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Truck</a:t>
            </a:r>
          </a:p>
        </p:txBody>
      </p:sp>
      <p:sp>
        <p:nvSpPr>
          <p:cNvPr id="530" name="TextBox 529"/>
          <p:cNvSpPr txBox="1"/>
          <p:nvPr/>
        </p:nvSpPr>
        <p:spPr>
          <a:xfrm>
            <a:off x="7106708" y="3762440"/>
            <a:ext cx="8815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peedometer</a:t>
            </a:r>
          </a:p>
        </p:txBody>
      </p:sp>
      <p:sp>
        <p:nvSpPr>
          <p:cNvPr id="531" name="TextBox 530"/>
          <p:cNvSpPr txBox="1"/>
          <p:nvPr/>
        </p:nvSpPr>
        <p:spPr>
          <a:xfrm>
            <a:off x="6268112" y="376244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inoculars</a:t>
            </a:r>
          </a:p>
        </p:txBody>
      </p:sp>
      <p:sp>
        <p:nvSpPr>
          <p:cNvPr id="622" name="TextBox 621"/>
          <p:cNvSpPr txBox="1"/>
          <p:nvPr/>
        </p:nvSpPr>
        <p:spPr>
          <a:xfrm>
            <a:off x="365078" y="4625086"/>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uitcase</a:t>
            </a:r>
          </a:p>
        </p:txBody>
      </p:sp>
      <p:sp>
        <p:nvSpPr>
          <p:cNvPr id="623" name="TextBox 622"/>
          <p:cNvSpPr txBox="1"/>
          <p:nvPr/>
        </p:nvSpPr>
        <p:spPr>
          <a:xfrm>
            <a:off x="1205410" y="4625086"/>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ap</a:t>
            </a:r>
          </a:p>
        </p:txBody>
      </p:sp>
      <p:sp>
        <p:nvSpPr>
          <p:cNvPr id="624" name="TextBox 623"/>
          <p:cNvSpPr txBox="1"/>
          <p:nvPr/>
        </p:nvSpPr>
        <p:spPr>
          <a:xfrm>
            <a:off x="2060559" y="462508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GV</a:t>
            </a:r>
          </a:p>
        </p:txBody>
      </p:sp>
      <p:sp>
        <p:nvSpPr>
          <p:cNvPr id="627" name="TextBox 626"/>
          <p:cNvSpPr txBox="1"/>
          <p:nvPr/>
        </p:nvSpPr>
        <p:spPr>
          <a:xfrm>
            <a:off x="2912533" y="462508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mpass</a:t>
            </a:r>
          </a:p>
        </p:txBody>
      </p:sp>
      <p:sp>
        <p:nvSpPr>
          <p:cNvPr id="256" name="Freeform 55"/>
          <p:cNvSpPr>
            <a:spLocks noChangeAspect="1" noEditPoints="1"/>
          </p:cNvSpPr>
          <p:nvPr/>
        </p:nvSpPr>
        <p:spPr bwMode="auto">
          <a:xfrm>
            <a:off x="406400" y="1697038"/>
            <a:ext cx="368253" cy="368152"/>
          </a:xfrm>
          <a:custGeom>
            <a:avLst/>
            <a:gdLst>
              <a:gd name="T0" fmla="*/ 256 w 512"/>
              <a:gd name="T1" fmla="*/ 160 h 512"/>
              <a:gd name="T2" fmla="*/ 234 w 512"/>
              <a:gd name="T3" fmla="*/ 138 h 512"/>
              <a:gd name="T4" fmla="*/ 256 w 512"/>
              <a:gd name="T5" fmla="*/ 117 h 512"/>
              <a:gd name="T6" fmla="*/ 277 w 512"/>
              <a:gd name="T7" fmla="*/ 138 h 512"/>
              <a:gd name="T8" fmla="*/ 256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3 w 512"/>
              <a:gd name="T21" fmla="*/ 347 h 512"/>
              <a:gd name="T22" fmla="*/ 383 w 512"/>
              <a:gd name="T23" fmla="*/ 326 h 512"/>
              <a:gd name="T24" fmla="*/ 373 w 512"/>
              <a:gd name="T25" fmla="*/ 320 h 512"/>
              <a:gd name="T26" fmla="*/ 352 w 512"/>
              <a:gd name="T27" fmla="*/ 320 h 512"/>
              <a:gd name="T28" fmla="*/ 341 w 512"/>
              <a:gd name="T29" fmla="*/ 330 h 512"/>
              <a:gd name="T30" fmla="*/ 352 w 512"/>
              <a:gd name="T31" fmla="*/ 341 h 512"/>
              <a:gd name="T32" fmla="*/ 354 w 512"/>
              <a:gd name="T33" fmla="*/ 341 h 512"/>
              <a:gd name="T34" fmla="*/ 266 w 512"/>
              <a:gd name="T35" fmla="*/ 394 h 512"/>
              <a:gd name="T36" fmla="*/ 266 w 512"/>
              <a:gd name="T37" fmla="*/ 234 h 512"/>
              <a:gd name="T38" fmla="*/ 288 w 512"/>
              <a:gd name="T39" fmla="*/ 234 h 512"/>
              <a:gd name="T40" fmla="*/ 298 w 512"/>
              <a:gd name="T41" fmla="*/ 224 h 512"/>
              <a:gd name="T42" fmla="*/ 288 w 512"/>
              <a:gd name="T43" fmla="*/ 213 h 512"/>
              <a:gd name="T44" fmla="*/ 266 w 512"/>
              <a:gd name="T45" fmla="*/ 213 h 512"/>
              <a:gd name="T46" fmla="*/ 266 w 512"/>
              <a:gd name="T47" fmla="*/ 179 h 512"/>
              <a:gd name="T48" fmla="*/ 298 w 512"/>
              <a:gd name="T49" fmla="*/ 138 h 512"/>
              <a:gd name="T50" fmla="*/ 256 w 512"/>
              <a:gd name="T51" fmla="*/ 96 h 512"/>
              <a:gd name="T52" fmla="*/ 213 w 512"/>
              <a:gd name="T53" fmla="*/ 138 h 512"/>
              <a:gd name="T54" fmla="*/ 245 w 512"/>
              <a:gd name="T55" fmla="*/ 179 h 512"/>
              <a:gd name="T56" fmla="*/ 245 w 512"/>
              <a:gd name="T57" fmla="*/ 213 h 512"/>
              <a:gd name="T58" fmla="*/ 224 w 512"/>
              <a:gd name="T59" fmla="*/ 213 h 512"/>
              <a:gd name="T60" fmla="*/ 213 w 512"/>
              <a:gd name="T61" fmla="*/ 224 h 512"/>
              <a:gd name="T62" fmla="*/ 224 w 512"/>
              <a:gd name="T63" fmla="*/ 234 h 512"/>
              <a:gd name="T64" fmla="*/ 245 w 512"/>
              <a:gd name="T65" fmla="*/ 234 h 512"/>
              <a:gd name="T66" fmla="*/ 245 w 512"/>
              <a:gd name="T67" fmla="*/ 394 h 512"/>
              <a:gd name="T68" fmla="*/ 157 w 512"/>
              <a:gd name="T69" fmla="*/ 341 h 512"/>
              <a:gd name="T70" fmla="*/ 160 w 512"/>
              <a:gd name="T71" fmla="*/ 341 h 512"/>
              <a:gd name="T72" fmla="*/ 170 w 512"/>
              <a:gd name="T73" fmla="*/ 330 h 512"/>
              <a:gd name="T74" fmla="*/ 160 w 512"/>
              <a:gd name="T75" fmla="*/ 320 h 512"/>
              <a:gd name="T76" fmla="*/ 139 w 512"/>
              <a:gd name="T77" fmla="*/ 320 h 512"/>
              <a:gd name="T78" fmla="*/ 139 w 512"/>
              <a:gd name="T79" fmla="*/ 320 h 512"/>
              <a:gd name="T80" fmla="*/ 138 w 512"/>
              <a:gd name="T81" fmla="*/ 320 h 512"/>
              <a:gd name="T82" fmla="*/ 129 w 512"/>
              <a:gd name="T83" fmla="*/ 326 h 512"/>
              <a:gd name="T84" fmla="*/ 118 w 512"/>
              <a:gd name="T85" fmla="*/ 347 h 512"/>
              <a:gd name="T86" fmla="*/ 123 w 512"/>
              <a:gd name="T87" fmla="*/ 361 h 512"/>
              <a:gd name="T88" fmla="*/ 128 w 512"/>
              <a:gd name="T89" fmla="*/ 362 h 512"/>
              <a:gd name="T90" fmla="*/ 137 w 512"/>
              <a:gd name="T91" fmla="*/ 356 h 512"/>
              <a:gd name="T92" fmla="*/ 139 w 512"/>
              <a:gd name="T93" fmla="*/ 352 h 512"/>
              <a:gd name="T94" fmla="*/ 256 w 512"/>
              <a:gd name="T95" fmla="*/ 416 h 512"/>
              <a:gd name="T96" fmla="*/ 372 w 512"/>
              <a:gd name="T97" fmla="*/ 352 h 512"/>
              <a:gd name="T98" fmla="*/ 374 w 512"/>
              <a:gd name="T99" fmla="*/ 356 h 512"/>
              <a:gd name="T100" fmla="*/ 384 w 512"/>
              <a:gd name="T101" fmla="*/ 362 h 512"/>
              <a:gd name="T102" fmla="*/ 388 w 512"/>
              <a:gd name="T103" fmla="*/ 361 h 512"/>
              <a:gd name="T104" fmla="*/ 393 w 512"/>
              <a:gd name="T105"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160"/>
                </a:moveTo>
                <a:cubicBezTo>
                  <a:pt x="244" y="160"/>
                  <a:pt x="234" y="150"/>
                  <a:pt x="234" y="138"/>
                </a:cubicBezTo>
                <a:cubicBezTo>
                  <a:pt x="234" y="127"/>
                  <a:pt x="244" y="117"/>
                  <a:pt x="256" y="117"/>
                </a:cubicBezTo>
                <a:cubicBezTo>
                  <a:pt x="267" y="117"/>
                  <a:pt x="277" y="127"/>
                  <a:pt x="277" y="138"/>
                </a:cubicBezTo>
                <a:cubicBezTo>
                  <a:pt x="277" y="150"/>
                  <a:pt x="267"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3" y="347"/>
                </a:moveTo>
                <a:cubicBezTo>
                  <a:pt x="383" y="326"/>
                  <a:pt x="383" y="326"/>
                  <a:pt x="383" y="326"/>
                </a:cubicBezTo>
                <a:cubicBezTo>
                  <a:pt x="381" y="322"/>
                  <a:pt x="377" y="320"/>
                  <a:pt x="373" y="320"/>
                </a:cubicBezTo>
                <a:cubicBezTo>
                  <a:pt x="352" y="320"/>
                  <a:pt x="352" y="320"/>
                  <a:pt x="352" y="320"/>
                </a:cubicBezTo>
                <a:cubicBezTo>
                  <a:pt x="346" y="320"/>
                  <a:pt x="341" y="324"/>
                  <a:pt x="341" y="330"/>
                </a:cubicBezTo>
                <a:cubicBezTo>
                  <a:pt x="341" y="336"/>
                  <a:pt x="346" y="341"/>
                  <a:pt x="352" y="341"/>
                </a:cubicBezTo>
                <a:cubicBezTo>
                  <a:pt x="354" y="341"/>
                  <a:pt x="354" y="341"/>
                  <a:pt x="354" y="341"/>
                </a:cubicBezTo>
                <a:cubicBezTo>
                  <a:pt x="334" y="371"/>
                  <a:pt x="302" y="390"/>
                  <a:pt x="266" y="394"/>
                </a:cubicBezTo>
                <a:cubicBezTo>
                  <a:pt x="266" y="234"/>
                  <a:pt x="266" y="234"/>
                  <a:pt x="266" y="234"/>
                </a:cubicBezTo>
                <a:cubicBezTo>
                  <a:pt x="288" y="234"/>
                  <a:pt x="288" y="234"/>
                  <a:pt x="288" y="234"/>
                </a:cubicBezTo>
                <a:cubicBezTo>
                  <a:pt x="294" y="234"/>
                  <a:pt x="298" y="230"/>
                  <a:pt x="298" y="224"/>
                </a:cubicBezTo>
                <a:cubicBezTo>
                  <a:pt x="298" y="218"/>
                  <a:pt x="294" y="213"/>
                  <a:pt x="288" y="213"/>
                </a:cubicBezTo>
                <a:cubicBezTo>
                  <a:pt x="266" y="213"/>
                  <a:pt x="266" y="213"/>
                  <a:pt x="266" y="213"/>
                </a:cubicBezTo>
                <a:cubicBezTo>
                  <a:pt x="266" y="179"/>
                  <a:pt x="266" y="179"/>
                  <a:pt x="266" y="179"/>
                </a:cubicBezTo>
                <a:cubicBezTo>
                  <a:pt x="285" y="175"/>
                  <a:pt x="298" y="158"/>
                  <a:pt x="298" y="138"/>
                </a:cubicBezTo>
                <a:cubicBezTo>
                  <a:pt x="298" y="115"/>
                  <a:pt x="279" y="96"/>
                  <a:pt x="256" y="96"/>
                </a:cubicBezTo>
                <a:cubicBezTo>
                  <a:pt x="232" y="96"/>
                  <a:pt x="213" y="115"/>
                  <a:pt x="213" y="138"/>
                </a:cubicBezTo>
                <a:cubicBezTo>
                  <a:pt x="213" y="158"/>
                  <a:pt x="226" y="175"/>
                  <a:pt x="245" y="179"/>
                </a:cubicBezTo>
                <a:cubicBezTo>
                  <a:pt x="245" y="213"/>
                  <a:pt x="245" y="213"/>
                  <a:pt x="245" y="213"/>
                </a:cubicBezTo>
                <a:cubicBezTo>
                  <a:pt x="224" y="213"/>
                  <a:pt x="224" y="213"/>
                  <a:pt x="224" y="213"/>
                </a:cubicBezTo>
                <a:cubicBezTo>
                  <a:pt x="218" y="213"/>
                  <a:pt x="213" y="218"/>
                  <a:pt x="213" y="224"/>
                </a:cubicBezTo>
                <a:cubicBezTo>
                  <a:pt x="213" y="230"/>
                  <a:pt x="218" y="234"/>
                  <a:pt x="224" y="234"/>
                </a:cubicBezTo>
                <a:cubicBezTo>
                  <a:pt x="245" y="234"/>
                  <a:pt x="245" y="234"/>
                  <a:pt x="245" y="234"/>
                </a:cubicBezTo>
                <a:cubicBezTo>
                  <a:pt x="245" y="394"/>
                  <a:pt x="245" y="394"/>
                  <a:pt x="245" y="394"/>
                </a:cubicBezTo>
                <a:cubicBezTo>
                  <a:pt x="209" y="390"/>
                  <a:pt x="177" y="371"/>
                  <a:pt x="157" y="341"/>
                </a:cubicBezTo>
                <a:cubicBezTo>
                  <a:pt x="160" y="341"/>
                  <a:pt x="160" y="341"/>
                  <a:pt x="160" y="341"/>
                </a:cubicBezTo>
                <a:cubicBezTo>
                  <a:pt x="166" y="341"/>
                  <a:pt x="170" y="336"/>
                  <a:pt x="170" y="330"/>
                </a:cubicBezTo>
                <a:cubicBezTo>
                  <a:pt x="170" y="324"/>
                  <a:pt x="166" y="320"/>
                  <a:pt x="160" y="320"/>
                </a:cubicBezTo>
                <a:cubicBezTo>
                  <a:pt x="139" y="320"/>
                  <a:pt x="139" y="320"/>
                  <a:pt x="139" y="320"/>
                </a:cubicBezTo>
                <a:cubicBezTo>
                  <a:pt x="139" y="320"/>
                  <a:pt x="139" y="320"/>
                  <a:pt x="139" y="320"/>
                </a:cubicBezTo>
                <a:cubicBezTo>
                  <a:pt x="138" y="320"/>
                  <a:pt x="138" y="320"/>
                  <a:pt x="138" y="320"/>
                </a:cubicBezTo>
                <a:cubicBezTo>
                  <a:pt x="134" y="320"/>
                  <a:pt x="131" y="322"/>
                  <a:pt x="129" y="326"/>
                </a:cubicBezTo>
                <a:cubicBezTo>
                  <a:pt x="118" y="347"/>
                  <a:pt x="118" y="347"/>
                  <a:pt x="118" y="347"/>
                </a:cubicBezTo>
                <a:cubicBezTo>
                  <a:pt x="115" y="352"/>
                  <a:pt x="118" y="359"/>
                  <a:pt x="123" y="361"/>
                </a:cubicBezTo>
                <a:cubicBezTo>
                  <a:pt x="124" y="362"/>
                  <a:pt x="126" y="362"/>
                  <a:pt x="128" y="362"/>
                </a:cubicBezTo>
                <a:cubicBezTo>
                  <a:pt x="132" y="362"/>
                  <a:pt x="135" y="360"/>
                  <a:pt x="137" y="356"/>
                </a:cubicBezTo>
                <a:cubicBezTo>
                  <a:pt x="139" y="352"/>
                  <a:pt x="139" y="352"/>
                  <a:pt x="139" y="352"/>
                </a:cubicBezTo>
                <a:cubicBezTo>
                  <a:pt x="165" y="391"/>
                  <a:pt x="208" y="416"/>
                  <a:pt x="256" y="416"/>
                </a:cubicBezTo>
                <a:cubicBezTo>
                  <a:pt x="303" y="416"/>
                  <a:pt x="347" y="391"/>
                  <a:pt x="372" y="352"/>
                </a:cubicBezTo>
                <a:cubicBezTo>
                  <a:pt x="374" y="356"/>
                  <a:pt x="374" y="356"/>
                  <a:pt x="374" y="356"/>
                </a:cubicBezTo>
                <a:cubicBezTo>
                  <a:pt x="376" y="360"/>
                  <a:pt x="380" y="362"/>
                  <a:pt x="384" y="362"/>
                </a:cubicBezTo>
                <a:cubicBezTo>
                  <a:pt x="385" y="362"/>
                  <a:pt x="387" y="362"/>
                  <a:pt x="388" y="361"/>
                </a:cubicBezTo>
                <a:cubicBezTo>
                  <a:pt x="394" y="359"/>
                  <a:pt x="396" y="352"/>
                  <a:pt x="393" y="34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57" name="Group 58"/>
          <p:cNvGrpSpPr>
            <a:grpSpLocks noChangeAspect="1"/>
          </p:cNvGrpSpPr>
          <p:nvPr/>
        </p:nvGrpSpPr>
        <p:grpSpPr bwMode="auto">
          <a:xfrm>
            <a:off x="826149" y="1697038"/>
            <a:ext cx="368254" cy="368152"/>
            <a:chOff x="1785" y="567"/>
            <a:chExt cx="3636" cy="3635"/>
          </a:xfrm>
          <a:solidFill>
            <a:schemeClr val="accent1"/>
          </a:solidFill>
        </p:grpSpPr>
        <p:sp>
          <p:nvSpPr>
            <p:cNvPr id="258" name="Freeform 257"/>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258"/>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Freeform 498"/>
          <p:cNvSpPr>
            <a:spLocks noChangeAspect="1" noEditPoints="1"/>
          </p:cNvSpPr>
          <p:nvPr/>
        </p:nvSpPr>
        <p:spPr bwMode="auto">
          <a:xfrm>
            <a:off x="1245899" y="1697038"/>
            <a:ext cx="367982" cy="367982"/>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1" name="Group 501"/>
          <p:cNvGrpSpPr>
            <a:grpSpLocks noChangeAspect="1"/>
          </p:cNvGrpSpPr>
          <p:nvPr/>
        </p:nvGrpSpPr>
        <p:grpSpPr bwMode="auto">
          <a:xfrm>
            <a:off x="1665377" y="1697038"/>
            <a:ext cx="367982" cy="367982"/>
            <a:chOff x="3419" y="2995"/>
            <a:chExt cx="340" cy="340"/>
          </a:xfrm>
          <a:solidFill>
            <a:schemeClr val="accent6"/>
          </a:solidFill>
        </p:grpSpPr>
        <p:sp>
          <p:nvSpPr>
            <p:cNvPr id="26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4" name="Freeform 633"/>
          <p:cNvSpPr>
            <a:spLocks noChangeAspect="1" noEditPoints="1"/>
          </p:cNvSpPr>
          <p:nvPr/>
        </p:nvSpPr>
        <p:spPr bwMode="auto">
          <a:xfrm>
            <a:off x="2084855" y="1697038"/>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77 h 512"/>
              <a:gd name="T12" fmla="*/ 416 w 512"/>
              <a:gd name="T13" fmla="*/ 288 h 512"/>
              <a:gd name="T14" fmla="*/ 405 w 512"/>
              <a:gd name="T15" fmla="*/ 298 h 512"/>
              <a:gd name="T16" fmla="*/ 362 w 512"/>
              <a:gd name="T17" fmla="*/ 298 h 512"/>
              <a:gd name="T18" fmla="*/ 362 w 512"/>
              <a:gd name="T19" fmla="*/ 341 h 512"/>
              <a:gd name="T20" fmla="*/ 351 w 512"/>
              <a:gd name="T21" fmla="*/ 352 h 512"/>
              <a:gd name="T22" fmla="*/ 340 w 512"/>
              <a:gd name="T23" fmla="*/ 341 h 512"/>
              <a:gd name="T24" fmla="*/ 340 w 512"/>
              <a:gd name="T25" fmla="*/ 298 h 512"/>
              <a:gd name="T26" fmla="*/ 170 w 512"/>
              <a:gd name="T27" fmla="*/ 298 h 512"/>
              <a:gd name="T28" fmla="*/ 170 w 512"/>
              <a:gd name="T29" fmla="*/ 341 h 512"/>
              <a:gd name="T30" fmla="*/ 159 w 512"/>
              <a:gd name="T31" fmla="*/ 352 h 512"/>
              <a:gd name="T32" fmla="*/ 148 w 512"/>
              <a:gd name="T33" fmla="*/ 341 h 512"/>
              <a:gd name="T34" fmla="*/ 148 w 512"/>
              <a:gd name="T35" fmla="*/ 298 h 512"/>
              <a:gd name="T36" fmla="*/ 106 w 512"/>
              <a:gd name="T37" fmla="*/ 298 h 512"/>
              <a:gd name="T38" fmla="*/ 96 w 512"/>
              <a:gd name="T39" fmla="*/ 288 h 512"/>
              <a:gd name="T40" fmla="*/ 106 w 512"/>
              <a:gd name="T41" fmla="*/ 277 h 512"/>
              <a:gd name="T42" fmla="*/ 148 w 512"/>
              <a:gd name="T43" fmla="*/ 277 h 512"/>
              <a:gd name="T44" fmla="*/ 148 w 512"/>
              <a:gd name="T45" fmla="*/ 218 h 512"/>
              <a:gd name="T46" fmla="*/ 110 w 512"/>
              <a:gd name="T47" fmla="*/ 242 h 512"/>
              <a:gd name="T48" fmla="*/ 106 w 512"/>
              <a:gd name="T49" fmla="*/ 242 h 512"/>
              <a:gd name="T50" fmla="*/ 96 w 512"/>
              <a:gd name="T51" fmla="*/ 236 h 512"/>
              <a:gd name="T52" fmla="*/ 102 w 512"/>
              <a:gd name="T53" fmla="*/ 222 h 512"/>
              <a:gd name="T54" fmla="*/ 148 w 512"/>
              <a:gd name="T55" fmla="*/ 188 h 512"/>
              <a:gd name="T56" fmla="*/ 148 w 512"/>
              <a:gd name="T57" fmla="*/ 170 h 512"/>
              <a:gd name="T58" fmla="*/ 159 w 512"/>
              <a:gd name="T59" fmla="*/ 160 h 512"/>
              <a:gd name="T60" fmla="*/ 170 w 512"/>
              <a:gd name="T61" fmla="*/ 170 h 512"/>
              <a:gd name="T62" fmla="*/ 170 w 512"/>
              <a:gd name="T63" fmla="*/ 188 h 512"/>
              <a:gd name="T64" fmla="*/ 255 w 512"/>
              <a:gd name="T65" fmla="*/ 229 h 512"/>
              <a:gd name="T66" fmla="*/ 340 w 512"/>
              <a:gd name="T67" fmla="*/ 188 h 512"/>
              <a:gd name="T68" fmla="*/ 340 w 512"/>
              <a:gd name="T69" fmla="*/ 170 h 512"/>
              <a:gd name="T70" fmla="*/ 351 w 512"/>
              <a:gd name="T71" fmla="*/ 160 h 512"/>
              <a:gd name="T72" fmla="*/ 362 w 512"/>
              <a:gd name="T73" fmla="*/ 170 h 512"/>
              <a:gd name="T74" fmla="*/ 362 w 512"/>
              <a:gd name="T75" fmla="*/ 188 h 512"/>
              <a:gd name="T76" fmla="*/ 409 w 512"/>
              <a:gd name="T77" fmla="*/ 222 h 512"/>
              <a:gd name="T78" fmla="*/ 415 w 512"/>
              <a:gd name="T79" fmla="*/ 236 h 512"/>
              <a:gd name="T80" fmla="*/ 405 w 512"/>
              <a:gd name="T81" fmla="*/ 242 h 512"/>
              <a:gd name="T82" fmla="*/ 401 w 512"/>
              <a:gd name="T83" fmla="*/ 242 h 512"/>
              <a:gd name="T84" fmla="*/ 362 w 512"/>
              <a:gd name="T85" fmla="*/ 219 h 512"/>
              <a:gd name="T86" fmla="*/ 362 w 512"/>
              <a:gd name="T87" fmla="*/ 277 h 512"/>
              <a:gd name="T88" fmla="*/ 405 w 512"/>
              <a:gd name="T89" fmla="*/ 277 h 512"/>
              <a:gd name="T90" fmla="*/ 255 w 512"/>
              <a:gd name="T91" fmla="*/ 250 h 512"/>
              <a:gd name="T92" fmla="*/ 340 w 512"/>
              <a:gd name="T93" fmla="*/ 219 h 512"/>
              <a:gd name="T94" fmla="*/ 340 w 512"/>
              <a:gd name="T95" fmla="*/ 277 h 512"/>
              <a:gd name="T96" fmla="*/ 170 w 512"/>
              <a:gd name="T97" fmla="*/ 277 h 512"/>
              <a:gd name="T98" fmla="*/ 170 w 512"/>
              <a:gd name="T99" fmla="*/ 219 h 512"/>
              <a:gd name="T100" fmla="*/ 255 w 512"/>
              <a:gd name="T101"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77"/>
                </a:moveTo>
                <a:cubicBezTo>
                  <a:pt x="411" y="277"/>
                  <a:pt x="416" y="282"/>
                  <a:pt x="416" y="288"/>
                </a:cubicBezTo>
                <a:cubicBezTo>
                  <a:pt x="416" y="294"/>
                  <a:pt x="411" y="298"/>
                  <a:pt x="405" y="298"/>
                </a:cubicBezTo>
                <a:cubicBezTo>
                  <a:pt x="362" y="298"/>
                  <a:pt x="362" y="298"/>
                  <a:pt x="362" y="298"/>
                </a:cubicBezTo>
                <a:cubicBezTo>
                  <a:pt x="362" y="341"/>
                  <a:pt x="362" y="341"/>
                  <a:pt x="362" y="341"/>
                </a:cubicBezTo>
                <a:cubicBezTo>
                  <a:pt x="362" y="347"/>
                  <a:pt x="357" y="352"/>
                  <a:pt x="351" y="352"/>
                </a:cubicBezTo>
                <a:cubicBezTo>
                  <a:pt x="345" y="352"/>
                  <a:pt x="340" y="347"/>
                  <a:pt x="340" y="341"/>
                </a:cubicBezTo>
                <a:cubicBezTo>
                  <a:pt x="340" y="298"/>
                  <a:pt x="340" y="298"/>
                  <a:pt x="340" y="298"/>
                </a:cubicBezTo>
                <a:cubicBezTo>
                  <a:pt x="170" y="298"/>
                  <a:pt x="170" y="298"/>
                  <a:pt x="170" y="298"/>
                </a:cubicBezTo>
                <a:cubicBezTo>
                  <a:pt x="170" y="341"/>
                  <a:pt x="170" y="341"/>
                  <a:pt x="170" y="341"/>
                </a:cubicBezTo>
                <a:cubicBezTo>
                  <a:pt x="170" y="347"/>
                  <a:pt x="165" y="352"/>
                  <a:pt x="159" y="352"/>
                </a:cubicBezTo>
                <a:cubicBezTo>
                  <a:pt x="153" y="352"/>
                  <a:pt x="148" y="347"/>
                  <a:pt x="148" y="341"/>
                </a:cubicBezTo>
                <a:cubicBezTo>
                  <a:pt x="148" y="298"/>
                  <a:pt x="148" y="298"/>
                  <a:pt x="148" y="298"/>
                </a:cubicBezTo>
                <a:cubicBezTo>
                  <a:pt x="106" y="298"/>
                  <a:pt x="106" y="298"/>
                  <a:pt x="106" y="298"/>
                </a:cubicBezTo>
                <a:cubicBezTo>
                  <a:pt x="100" y="298"/>
                  <a:pt x="96" y="294"/>
                  <a:pt x="96" y="288"/>
                </a:cubicBezTo>
                <a:cubicBezTo>
                  <a:pt x="96" y="282"/>
                  <a:pt x="100" y="277"/>
                  <a:pt x="106" y="277"/>
                </a:cubicBezTo>
                <a:cubicBezTo>
                  <a:pt x="148" y="277"/>
                  <a:pt x="148" y="277"/>
                  <a:pt x="148" y="277"/>
                </a:cubicBezTo>
                <a:cubicBezTo>
                  <a:pt x="148" y="218"/>
                  <a:pt x="148" y="218"/>
                  <a:pt x="148" y="218"/>
                </a:cubicBezTo>
                <a:cubicBezTo>
                  <a:pt x="138" y="228"/>
                  <a:pt x="124" y="236"/>
                  <a:pt x="110" y="242"/>
                </a:cubicBezTo>
                <a:cubicBezTo>
                  <a:pt x="109" y="242"/>
                  <a:pt x="107" y="242"/>
                  <a:pt x="106" y="242"/>
                </a:cubicBezTo>
                <a:cubicBezTo>
                  <a:pt x="102" y="242"/>
                  <a:pt x="98" y="240"/>
                  <a:pt x="96" y="236"/>
                </a:cubicBezTo>
                <a:cubicBezTo>
                  <a:pt x="94" y="230"/>
                  <a:pt x="97" y="224"/>
                  <a:pt x="102" y="222"/>
                </a:cubicBezTo>
                <a:cubicBezTo>
                  <a:pt x="121" y="214"/>
                  <a:pt x="138" y="202"/>
                  <a:pt x="148" y="188"/>
                </a:cubicBezTo>
                <a:cubicBezTo>
                  <a:pt x="148" y="170"/>
                  <a:pt x="148" y="170"/>
                  <a:pt x="148" y="170"/>
                </a:cubicBezTo>
                <a:cubicBezTo>
                  <a:pt x="148" y="164"/>
                  <a:pt x="153" y="160"/>
                  <a:pt x="159" y="160"/>
                </a:cubicBezTo>
                <a:cubicBezTo>
                  <a:pt x="165" y="160"/>
                  <a:pt x="170" y="164"/>
                  <a:pt x="170" y="170"/>
                </a:cubicBezTo>
                <a:cubicBezTo>
                  <a:pt x="170" y="188"/>
                  <a:pt x="170" y="188"/>
                  <a:pt x="170" y="188"/>
                </a:cubicBezTo>
                <a:cubicBezTo>
                  <a:pt x="190" y="214"/>
                  <a:pt x="220" y="229"/>
                  <a:pt x="255" y="229"/>
                </a:cubicBezTo>
                <a:cubicBezTo>
                  <a:pt x="289" y="229"/>
                  <a:pt x="320" y="214"/>
                  <a:pt x="340" y="188"/>
                </a:cubicBezTo>
                <a:cubicBezTo>
                  <a:pt x="340" y="170"/>
                  <a:pt x="340" y="170"/>
                  <a:pt x="340" y="170"/>
                </a:cubicBezTo>
                <a:cubicBezTo>
                  <a:pt x="340" y="164"/>
                  <a:pt x="345" y="160"/>
                  <a:pt x="351" y="160"/>
                </a:cubicBezTo>
                <a:cubicBezTo>
                  <a:pt x="357" y="160"/>
                  <a:pt x="362" y="164"/>
                  <a:pt x="362" y="170"/>
                </a:cubicBezTo>
                <a:cubicBezTo>
                  <a:pt x="362" y="188"/>
                  <a:pt x="362" y="188"/>
                  <a:pt x="362" y="188"/>
                </a:cubicBezTo>
                <a:cubicBezTo>
                  <a:pt x="374" y="202"/>
                  <a:pt x="389" y="214"/>
                  <a:pt x="409" y="222"/>
                </a:cubicBezTo>
                <a:cubicBezTo>
                  <a:pt x="414" y="224"/>
                  <a:pt x="417" y="230"/>
                  <a:pt x="415" y="236"/>
                </a:cubicBezTo>
                <a:cubicBezTo>
                  <a:pt x="413" y="240"/>
                  <a:pt x="409" y="242"/>
                  <a:pt x="405" y="242"/>
                </a:cubicBezTo>
                <a:cubicBezTo>
                  <a:pt x="404" y="242"/>
                  <a:pt x="402" y="242"/>
                  <a:pt x="401" y="242"/>
                </a:cubicBezTo>
                <a:cubicBezTo>
                  <a:pt x="386" y="236"/>
                  <a:pt x="374" y="228"/>
                  <a:pt x="362" y="219"/>
                </a:cubicBezTo>
                <a:cubicBezTo>
                  <a:pt x="362" y="277"/>
                  <a:pt x="362" y="277"/>
                  <a:pt x="362" y="277"/>
                </a:cubicBezTo>
                <a:lnTo>
                  <a:pt x="405" y="277"/>
                </a:lnTo>
                <a:close/>
                <a:moveTo>
                  <a:pt x="255" y="250"/>
                </a:moveTo>
                <a:cubicBezTo>
                  <a:pt x="287" y="250"/>
                  <a:pt x="318" y="239"/>
                  <a:pt x="340" y="219"/>
                </a:cubicBezTo>
                <a:cubicBezTo>
                  <a:pt x="340" y="277"/>
                  <a:pt x="340" y="277"/>
                  <a:pt x="340" y="277"/>
                </a:cubicBezTo>
                <a:cubicBezTo>
                  <a:pt x="170" y="277"/>
                  <a:pt x="170" y="277"/>
                  <a:pt x="170" y="277"/>
                </a:cubicBezTo>
                <a:cubicBezTo>
                  <a:pt x="170" y="219"/>
                  <a:pt x="170" y="219"/>
                  <a:pt x="170" y="219"/>
                </a:cubicBezTo>
                <a:cubicBezTo>
                  <a:pt x="194" y="239"/>
                  <a:pt x="222" y="250"/>
                  <a:pt x="255" y="25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5" name="Group 636"/>
          <p:cNvGrpSpPr>
            <a:grpSpLocks noChangeAspect="1"/>
          </p:cNvGrpSpPr>
          <p:nvPr/>
        </p:nvGrpSpPr>
        <p:grpSpPr bwMode="auto">
          <a:xfrm>
            <a:off x="2504333" y="1697038"/>
            <a:ext cx="367982" cy="369064"/>
            <a:chOff x="5261" y="2857"/>
            <a:chExt cx="340" cy="341"/>
          </a:xfrm>
          <a:solidFill>
            <a:schemeClr val="accent1"/>
          </a:solidFill>
        </p:grpSpPr>
        <p:sp>
          <p:nvSpPr>
            <p:cNvPr id="266" name="Freeform 637"/>
            <p:cNvSpPr>
              <a:spLocks noEditPoints="1"/>
            </p:cNvSpPr>
            <p:nvPr/>
          </p:nvSpPr>
          <p:spPr bwMode="auto">
            <a:xfrm>
              <a:off x="5261" y="28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638"/>
            <p:cNvSpPr>
              <a:spLocks noEditPoints="1"/>
            </p:cNvSpPr>
            <p:nvPr/>
          </p:nvSpPr>
          <p:spPr bwMode="auto">
            <a:xfrm>
              <a:off x="5323" y="2964"/>
              <a:ext cx="215" cy="127"/>
            </a:xfrm>
            <a:custGeom>
              <a:avLst/>
              <a:gdLst>
                <a:gd name="T0" fmla="*/ 311 w 323"/>
                <a:gd name="T1" fmla="*/ 117 h 192"/>
                <a:gd name="T2" fmla="*/ 268 w 323"/>
                <a:gd name="T3" fmla="*/ 117 h 192"/>
                <a:gd name="T4" fmla="*/ 268 w 323"/>
                <a:gd name="T5" fmla="*/ 59 h 192"/>
                <a:gd name="T6" fmla="*/ 307 w 323"/>
                <a:gd name="T7" fmla="*/ 82 h 192"/>
                <a:gd name="T8" fmla="*/ 311 w 323"/>
                <a:gd name="T9" fmla="*/ 82 h 192"/>
                <a:gd name="T10" fmla="*/ 321 w 323"/>
                <a:gd name="T11" fmla="*/ 76 h 192"/>
                <a:gd name="T12" fmla="*/ 315 w 323"/>
                <a:gd name="T13" fmla="*/ 62 h 192"/>
                <a:gd name="T14" fmla="*/ 268 w 323"/>
                <a:gd name="T15" fmla="*/ 28 h 192"/>
                <a:gd name="T16" fmla="*/ 268 w 323"/>
                <a:gd name="T17" fmla="*/ 10 h 192"/>
                <a:gd name="T18" fmla="*/ 257 w 323"/>
                <a:gd name="T19" fmla="*/ 0 h 192"/>
                <a:gd name="T20" fmla="*/ 246 w 323"/>
                <a:gd name="T21" fmla="*/ 10 h 192"/>
                <a:gd name="T22" fmla="*/ 246 w 323"/>
                <a:gd name="T23" fmla="*/ 28 h 192"/>
                <a:gd name="T24" fmla="*/ 161 w 323"/>
                <a:gd name="T25" fmla="*/ 69 h 192"/>
                <a:gd name="T26" fmla="*/ 76 w 323"/>
                <a:gd name="T27" fmla="*/ 28 h 192"/>
                <a:gd name="T28" fmla="*/ 76 w 323"/>
                <a:gd name="T29" fmla="*/ 10 h 192"/>
                <a:gd name="T30" fmla="*/ 65 w 323"/>
                <a:gd name="T31" fmla="*/ 0 h 192"/>
                <a:gd name="T32" fmla="*/ 54 w 323"/>
                <a:gd name="T33" fmla="*/ 10 h 192"/>
                <a:gd name="T34" fmla="*/ 54 w 323"/>
                <a:gd name="T35" fmla="*/ 28 h 192"/>
                <a:gd name="T36" fmla="*/ 8 w 323"/>
                <a:gd name="T37" fmla="*/ 62 h 192"/>
                <a:gd name="T38" fmla="*/ 2 w 323"/>
                <a:gd name="T39" fmla="*/ 76 h 192"/>
                <a:gd name="T40" fmla="*/ 12 w 323"/>
                <a:gd name="T41" fmla="*/ 82 h 192"/>
                <a:gd name="T42" fmla="*/ 16 w 323"/>
                <a:gd name="T43" fmla="*/ 82 h 192"/>
                <a:gd name="T44" fmla="*/ 54 w 323"/>
                <a:gd name="T45" fmla="*/ 58 h 192"/>
                <a:gd name="T46" fmla="*/ 54 w 323"/>
                <a:gd name="T47" fmla="*/ 117 h 192"/>
                <a:gd name="T48" fmla="*/ 12 w 323"/>
                <a:gd name="T49" fmla="*/ 117 h 192"/>
                <a:gd name="T50" fmla="*/ 2 w 323"/>
                <a:gd name="T51" fmla="*/ 128 h 192"/>
                <a:gd name="T52" fmla="*/ 12 w 323"/>
                <a:gd name="T53" fmla="*/ 138 h 192"/>
                <a:gd name="T54" fmla="*/ 54 w 323"/>
                <a:gd name="T55" fmla="*/ 138 h 192"/>
                <a:gd name="T56" fmla="*/ 54 w 323"/>
                <a:gd name="T57" fmla="*/ 181 h 192"/>
                <a:gd name="T58" fmla="*/ 65 w 323"/>
                <a:gd name="T59" fmla="*/ 192 h 192"/>
                <a:gd name="T60" fmla="*/ 76 w 323"/>
                <a:gd name="T61" fmla="*/ 181 h 192"/>
                <a:gd name="T62" fmla="*/ 76 w 323"/>
                <a:gd name="T63" fmla="*/ 138 h 192"/>
                <a:gd name="T64" fmla="*/ 246 w 323"/>
                <a:gd name="T65" fmla="*/ 138 h 192"/>
                <a:gd name="T66" fmla="*/ 246 w 323"/>
                <a:gd name="T67" fmla="*/ 181 h 192"/>
                <a:gd name="T68" fmla="*/ 257 w 323"/>
                <a:gd name="T69" fmla="*/ 192 h 192"/>
                <a:gd name="T70" fmla="*/ 268 w 323"/>
                <a:gd name="T71" fmla="*/ 181 h 192"/>
                <a:gd name="T72" fmla="*/ 268 w 323"/>
                <a:gd name="T73" fmla="*/ 138 h 192"/>
                <a:gd name="T74" fmla="*/ 311 w 323"/>
                <a:gd name="T75" fmla="*/ 138 h 192"/>
                <a:gd name="T76" fmla="*/ 322 w 323"/>
                <a:gd name="T77" fmla="*/ 128 h 192"/>
                <a:gd name="T78" fmla="*/ 311 w 323"/>
                <a:gd name="T79" fmla="*/ 117 h 192"/>
                <a:gd name="T80" fmla="*/ 76 w 323"/>
                <a:gd name="T81" fmla="*/ 117 h 192"/>
                <a:gd name="T82" fmla="*/ 76 w 323"/>
                <a:gd name="T83" fmla="*/ 59 h 192"/>
                <a:gd name="T84" fmla="*/ 161 w 323"/>
                <a:gd name="T85" fmla="*/ 90 h 192"/>
                <a:gd name="T86" fmla="*/ 246 w 323"/>
                <a:gd name="T87" fmla="*/ 59 h 192"/>
                <a:gd name="T88" fmla="*/ 246 w 323"/>
                <a:gd name="T89" fmla="*/ 117 h 192"/>
                <a:gd name="T90" fmla="*/ 76 w 323"/>
                <a:gd name="T91" fmla="*/ 1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3" h="192">
                  <a:moveTo>
                    <a:pt x="311" y="117"/>
                  </a:moveTo>
                  <a:cubicBezTo>
                    <a:pt x="268" y="117"/>
                    <a:pt x="268" y="117"/>
                    <a:pt x="268" y="117"/>
                  </a:cubicBezTo>
                  <a:cubicBezTo>
                    <a:pt x="268" y="59"/>
                    <a:pt x="268" y="59"/>
                    <a:pt x="268" y="59"/>
                  </a:cubicBezTo>
                  <a:cubicBezTo>
                    <a:pt x="280" y="68"/>
                    <a:pt x="292" y="76"/>
                    <a:pt x="307" y="82"/>
                  </a:cubicBezTo>
                  <a:cubicBezTo>
                    <a:pt x="308" y="82"/>
                    <a:pt x="310" y="82"/>
                    <a:pt x="311" y="82"/>
                  </a:cubicBezTo>
                  <a:cubicBezTo>
                    <a:pt x="315" y="82"/>
                    <a:pt x="319" y="80"/>
                    <a:pt x="321" y="76"/>
                  </a:cubicBezTo>
                  <a:cubicBezTo>
                    <a:pt x="323" y="70"/>
                    <a:pt x="320" y="64"/>
                    <a:pt x="315" y="62"/>
                  </a:cubicBezTo>
                  <a:cubicBezTo>
                    <a:pt x="295" y="54"/>
                    <a:pt x="280" y="42"/>
                    <a:pt x="268" y="28"/>
                  </a:cubicBezTo>
                  <a:cubicBezTo>
                    <a:pt x="268" y="10"/>
                    <a:pt x="268" y="10"/>
                    <a:pt x="268" y="10"/>
                  </a:cubicBezTo>
                  <a:cubicBezTo>
                    <a:pt x="268" y="4"/>
                    <a:pt x="263" y="0"/>
                    <a:pt x="257" y="0"/>
                  </a:cubicBezTo>
                  <a:cubicBezTo>
                    <a:pt x="251" y="0"/>
                    <a:pt x="246" y="4"/>
                    <a:pt x="246" y="10"/>
                  </a:cubicBezTo>
                  <a:cubicBezTo>
                    <a:pt x="246" y="28"/>
                    <a:pt x="246" y="28"/>
                    <a:pt x="246" y="28"/>
                  </a:cubicBezTo>
                  <a:cubicBezTo>
                    <a:pt x="226" y="54"/>
                    <a:pt x="195" y="69"/>
                    <a:pt x="161" y="69"/>
                  </a:cubicBezTo>
                  <a:cubicBezTo>
                    <a:pt x="126" y="69"/>
                    <a:pt x="96" y="54"/>
                    <a:pt x="76" y="28"/>
                  </a:cubicBezTo>
                  <a:cubicBezTo>
                    <a:pt x="76" y="10"/>
                    <a:pt x="76" y="10"/>
                    <a:pt x="76" y="10"/>
                  </a:cubicBezTo>
                  <a:cubicBezTo>
                    <a:pt x="76" y="4"/>
                    <a:pt x="71" y="0"/>
                    <a:pt x="65" y="0"/>
                  </a:cubicBezTo>
                  <a:cubicBezTo>
                    <a:pt x="59" y="0"/>
                    <a:pt x="54" y="4"/>
                    <a:pt x="54" y="10"/>
                  </a:cubicBezTo>
                  <a:cubicBezTo>
                    <a:pt x="54" y="28"/>
                    <a:pt x="54" y="28"/>
                    <a:pt x="54" y="28"/>
                  </a:cubicBezTo>
                  <a:cubicBezTo>
                    <a:pt x="44" y="42"/>
                    <a:pt x="27" y="54"/>
                    <a:pt x="8" y="62"/>
                  </a:cubicBezTo>
                  <a:cubicBezTo>
                    <a:pt x="3" y="64"/>
                    <a:pt x="0" y="70"/>
                    <a:pt x="2" y="76"/>
                  </a:cubicBezTo>
                  <a:cubicBezTo>
                    <a:pt x="4" y="80"/>
                    <a:pt x="8" y="82"/>
                    <a:pt x="12" y="82"/>
                  </a:cubicBezTo>
                  <a:cubicBezTo>
                    <a:pt x="14" y="82"/>
                    <a:pt x="15" y="82"/>
                    <a:pt x="16" y="82"/>
                  </a:cubicBezTo>
                  <a:cubicBezTo>
                    <a:pt x="30" y="76"/>
                    <a:pt x="44" y="68"/>
                    <a:pt x="54" y="58"/>
                  </a:cubicBezTo>
                  <a:cubicBezTo>
                    <a:pt x="54" y="117"/>
                    <a:pt x="54" y="117"/>
                    <a:pt x="54" y="117"/>
                  </a:cubicBezTo>
                  <a:cubicBezTo>
                    <a:pt x="12" y="117"/>
                    <a:pt x="12" y="117"/>
                    <a:pt x="12" y="117"/>
                  </a:cubicBezTo>
                  <a:cubicBezTo>
                    <a:pt x="6" y="117"/>
                    <a:pt x="2" y="122"/>
                    <a:pt x="2" y="128"/>
                  </a:cubicBezTo>
                  <a:cubicBezTo>
                    <a:pt x="2" y="134"/>
                    <a:pt x="6" y="138"/>
                    <a:pt x="12" y="138"/>
                  </a:cubicBezTo>
                  <a:cubicBezTo>
                    <a:pt x="54" y="138"/>
                    <a:pt x="54" y="138"/>
                    <a:pt x="54" y="138"/>
                  </a:cubicBezTo>
                  <a:cubicBezTo>
                    <a:pt x="54" y="181"/>
                    <a:pt x="54" y="181"/>
                    <a:pt x="54" y="181"/>
                  </a:cubicBezTo>
                  <a:cubicBezTo>
                    <a:pt x="54" y="187"/>
                    <a:pt x="59" y="192"/>
                    <a:pt x="65" y="192"/>
                  </a:cubicBezTo>
                  <a:cubicBezTo>
                    <a:pt x="71" y="192"/>
                    <a:pt x="76" y="187"/>
                    <a:pt x="76" y="181"/>
                  </a:cubicBezTo>
                  <a:cubicBezTo>
                    <a:pt x="76" y="138"/>
                    <a:pt x="76" y="138"/>
                    <a:pt x="76" y="138"/>
                  </a:cubicBezTo>
                  <a:cubicBezTo>
                    <a:pt x="246" y="138"/>
                    <a:pt x="246" y="138"/>
                    <a:pt x="246" y="138"/>
                  </a:cubicBezTo>
                  <a:cubicBezTo>
                    <a:pt x="246" y="181"/>
                    <a:pt x="246" y="181"/>
                    <a:pt x="246" y="181"/>
                  </a:cubicBezTo>
                  <a:cubicBezTo>
                    <a:pt x="246" y="187"/>
                    <a:pt x="251" y="192"/>
                    <a:pt x="257" y="192"/>
                  </a:cubicBezTo>
                  <a:cubicBezTo>
                    <a:pt x="263" y="192"/>
                    <a:pt x="268" y="187"/>
                    <a:pt x="268" y="181"/>
                  </a:cubicBezTo>
                  <a:cubicBezTo>
                    <a:pt x="268" y="138"/>
                    <a:pt x="268" y="138"/>
                    <a:pt x="268" y="138"/>
                  </a:cubicBezTo>
                  <a:cubicBezTo>
                    <a:pt x="311" y="138"/>
                    <a:pt x="311" y="138"/>
                    <a:pt x="311" y="138"/>
                  </a:cubicBezTo>
                  <a:cubicBezTo>
                    <a:pt x="317" y="138"/>
                    <a:pt x="322" y="134"/>
                    <a:pt x="322" y="128"/>
                  </a:cubicBezTo>
                  <a:cubicBezTo>
                    <a:pt x="322" y="122"/>
                    <a:pt x="317" y="117"/>
                    <a:pt x="311" y="117"/>
                  </a:cubicBezTo>
                  <a:close/>
                  <a:moveTo>
                    <a:pt x="76" y="117"/>
                  </a:moveTo>
                  <a:cubicBezTo>
                    <a:pt x="76" y="59"/>
                    <a:pt x="76" y="59"/>
                    <a:pt x="76" y="59"/>
                  </a:cubicBezTo>
                  <a:cubicBezTo>
                    <a:pt x="100" y="79"/>
                    <a:pt x="128" y="90"/>
                    <a:pt x="161" y="90"/>
                  </a:cubicBezTo>
                  <a:cubicBezTo>
                    <a:pt x="193" y="90"/>
                    <a:pt x="224" y="79"/>
                    <a:pt x="246" y="59"/>
                  </a:cubicBezTo>
                  <a:cubicBezTo>
                    <a:pt x="246" y="117"/>
                    <a:pt x="246" y="117"/>
                    <a:pt x="246" y="117"/>
                  </a:cubicBezTo>
                  <a:lnTo>
                    <a:pt x="76"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Freeform 642"/>
          <p:cNvSpPr>
            <a:spLocks noChangeAspect="1" noEditPoints="1"/>
          </p:cNvSpPr>
          <p:nvPr/>
        </p:nvSpPr>
        <p:spPr bwMode="auto">
          <a:xfrm>
            <a:off x="2923811" y="1697038"/>
            <a:ext cx="367982" cy="367982"/>
          </a:xfrm>
          <a:custGeom>
            <a:avLst/>
            <a:gdLst>
              <a:gd name="T0" fmla="*/ 213 w 512"/>
              <a:gd name="T1" fmla="*/ 202 h 512"/>
              <a:gd name="T2" fmla="*/ 213 w 512"/>
              <a:gd name="T3" fmla="*/ 245 h 512"/>
              <a:gd name="T4" fmla="*/ 245 w 512"/>
              <a:gd name="T5" fmla="*/ 245 h 512"/>
              <a:gd name="T6" fmla="*/ 245 w 512"/>
              <a:gd name="T7" fmla="*/ 192 h 512"/>
              <a:gd name="T8" fmla="*/ 213 w 512"/>
              <a:gd name="T9" fmla="*/ 202 h 512"/>
              <a:gd name="T10" fmla="*/ 213 w 512"/>
              <a:gd name="T11" fmla="*/ 202 h 512"/>
              <a:gd name="T12" fmla="*/ 159 w 512"/>
              <a:gd name="T13" fmla="*/ 245 h 512"/>
              <a:gd name="T14" fmla="*/ 192 w 512"/>
              <a:gd name="T15" fmla="*/ 245 h 512"/>
              <a:gd name="T16" fmla="*/ 192 w 512"/>
              <a:gd name="T17" fmla="*/ 214 h 512"/>
              <a:gd name="T18" fmla="*/ 159 w 512"/>
              <a:gd name="T19" fmla="*/ 245 h 512"/>
              <a:gd name="T20" fmla="*/ 266 w 512"/>
              <a:gd name="T21" fmla="*/ 245 h 512"/>
              <a:gd name="T22" fmla="*/ 298 w 512"/>
              <a:gd name="T23" fmla="*/ 245 h 512"/>
              <a:gd name="T24" fmla="*/ 298 w 512"/>
              <a:gd name="T25" fmla="*/ 202 h 512"/>
              <a:gd name="T26" fmla="*/ 298 w 512"/>
              <a:gd name="T27" fmla="*/ 202 h 512"/>
              <a:gd name="T28" fmla="*/ 266 w 512"/>
              <a:gd name="T29" fmla="*/ 192 h 512"/>
              <a:gd name="T30" fmla="*/ 266 w 512"/>
              <a:gd name="T31" fmla="*/ 245 h 512"/>
              <a:gd name="T32" fmla="*/ 320 w 512"/>
              <a:gd name="T33" fmla="*/ 214 h 512"/>
              <a:gd name="T34" fmla="*/ 320 w 512"/>
              <a:gd name="T35" fmla="*/ 245 h 512"/>
              <a:gd name="T36" fmla="*/ 352 w 512"/>
              <a:gd name="T37" fmla="*/ 245 h 512"/>
              <a:gd name="T38" fmla="*/ 320 w 512"/>
              <a:gd name="T39" fmla="*/ 214 h 512"/>
              <a:gd name="T40" fmla="*/ 256 w 512"/>
              <a:gd name="T41" fmla="*/ 0 h 512"/>
              <a:gd name="T42" fmla="*/ 0 w 512"/>
              <a:gd name="T43" fmla="*/ 256 h 512"/>
              <a:gd name="T44" fmla="*/ 256 w 512"/>
              <a:gd name="T45" fmla="*/ 512 h 512"/>
              <a:gd name="T46" fmla="*/ 512 w 512"/>
              <a:gd name="T47" fmla="*/ 256 h 512"/>
              <a:gd name="T48" fmla="*/ 256 w 512"/>
              <a:gd name="T49" fmla="*/ 0 h 512"/>
              <a:gd name="T50" fmla="*/ 405 w 512"/>
              <a:gd name="T51" fmla="*/ 266 h 512"/>
              <a:gd name="T52" fmla="*/ 394 w 512"/>
              <a:gd name="T53" fmla="*/ 266 h 512"/>
              <a:gd name="T54" fmla="*/ 394 w 512"/>
              <a:gd name="T55" fmla="*/ 309 h 512"/>
              <a:gd name="T56" fmla="*/ 384 w 512"/>
              <a:gd name="T57" fmla="*/ 320 h 512"/>
              <a:gd name="T58" fmla="*/ 373 w 512"/>
              <a:gd name="T59" fmla="*/ 309 h 512"/>
              <a:gd name="T60" fmla="*/ 373 w 512"/>
              <a:gd name="T61" fmla="*/ 266 h 512"/>
              <a:gd name="T62" fmla="*/ 138 w 512"/>
              <a:gd name="T63" fmla="*/ 266 h 512"/>
              <a:gd name="T64" fmla="*/ 138 w 512"/>
              <a:gd name="T65" fmla="*/ 309 h 512"/>
              <a:gd name="T66" fmla="*/ 128 w 512"/>
              <a:gd name="T67" fmla="*/ 320 h 512"/>
              <a:gd name="T68" fmla="*/ 117 w 512"/>
              <a:gd name="T69" fmla="*/ 309 h 512"/>
              <a:gd name="T70" fmla="*/ 117 w 512"/>
              <a:gd name="T71" fmla="*/ 266 h 512"/>
              <a:gd name="T72" fmla="*/ 106 w 512"/>
              <a:gd name="T73" fmla="*/ 266 h 512"/>
              <a:gd name="T74" fmla="*/ 96 w 512"/>
              <a:gd name="T75" fmla="*/ 256 h 512"/>
              <a:gd name="T76" fmla="*/ 106 w 512"/>
              <a:gd name="T77" fmla="*/ 245 h 512"/>
              <a:gd name="T78" fmla="*/ 117 w 512"/>
              <a:gd name="T79" fmla="*/ 245 h 512"/>
              <a:gd name="T80" fmla="*/ 117 w 512"/>
              <a:gd name="T81" fmla="*/ 224 h 512"/>
              <a:gd name="T82" fmla="*/ 128 w 512"/>
              <a:gd name="T83" fmla="*/ 213 h 512"/>
              <a:gd name="T84" fmla="*/ 138 w 512"/>
              <a:gd name="T85" fmla="*/ 224 h 512"/>
              <a:gd name="T86" fmla="*/ 138 w 512"/>
              <a:gd name="T87" fmla="*/ 237 h 512"/>
              <a:gd name="T88" fmla="*/ 256 w 512"/>
              <a:gd name="T89" fmla="*/ 170 h 512"/>
              <a:gd name="T90" fmla="*/ 373 w 512"/>
              <a:gd name="T91" fmla="*/ 237 h 512"/>
              <a:gd name="T92" fmla="*/ 373 w 512"/>
              <a:gd name="T93" fmla="*/ 224 h 512"/>
              <a:gd name="T94" fmla="*/ 384 w 512"/>
              <a:gd name="T95" fmla="*/ 213 h 512"/>
              <a:gd name="T96" fmla="*/ 394 w 512"/>
              <a:gd name="T97" fmla="*/ 224 h 512"/>
              <a:gd name="T98" fmla="*/ 394 w 512"/>
              <a:gd name="T99" fmla="*/ 245 h 512"/>
              <a:gd name="T100" fmla="*/ 405 w 512"/>
              <a:gd name="T101" fmla="*/ 245 h 512"/>
              <a:gd name="T102" fmla="*/ 416 w 512"/>
              <a:gd name="T103" fmla="*/ 256 h 512"/>
              <a:gd name="T104" fmla="*/ 405 w 512"/>
              <a:gd name="T10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3" y="202"/>
                </a:moveTo>
                <a:cubicBezTo>
                  <a:pt x="213" y="245"/>
                  <a:pt x="213" y="245"/>
                  <a:pt x="213" y="245"/>
                </a:cubicBezTo>
                <a:cubicBezTo>
                  <a:pt x="245" y="245"/>
                  <a:pt x="245" y="245"/>
                  <a:pt x="245" y="245"/>
                </a:cubicBezTo>
                <a:cubicBezTo>
                  <a:pt x="245" y="192"/>
                  <a:pt x="245" y="192"/>
                  <a:pt x="245" y="192"/>
                </a:cubicBezTo>
                <a:cubicBezTo>
                  <a:pt x="234" y="194"/>
                  <a:pt x="223" y="197"/>
                  <a:pt x="213" y="202"/>
                </a:cubicBezTo>
                <a:cubicBezTo>
                  <a:pt x="213" y="202"/>
                  <a:pt x="213" y="202"/>
                  <a:pt x="213" y="202"/>
                </a:cubicBezTo>
                <a:close/>
                <a:moveTo>
                  <a:pt x="159" y="245"/>
                </a:moveTo>
                <a:cubicBezTo>
                  <a:pt x="192" y="245"/>
                  <a:pt x="192" y="245"/>
                  <a:pt x="192" y="245"/>
                </a:cubicBezTo>
                <a:cubicBezTo>
                  <a:pt x="192" y="214"/>
                  <a:pt x="192" y="214"/>
                  <a:pt x="192" y="214"/>
                </a:cubicBezTo>
                <a:cubicBezTo>
                  <a:pt x="180" y="222"/>
                  <a:pt x="169" y="233"/>
                  <a:pt x="159" y="245"/>
                </a:cubicBezTo>
                <a:close/>
                <a:moveTo>
                  <a:pt x="266" y="245"/>
                </a:moveTo>
                <a:cubicBezTo>
                  <a:pt x="298" y="245"/>
                  <a:pt x="298" y="245"/>
                  <a:pt x="298" y="245"/>
                </a:cubicBezTo>
                <a:cubicBezTo>
                  <a:pt x="298" y="202"/>
                  <a:pt x="298" y="202"/>
                  <a:pt x="298" y="202"/>
                </a:cubicBezTo>
                <a:cubicBezTo>
                  <a:pt x="298" y="202"/>
                  <a:pt x="298" y="202"/>
                  <a:pt x="298" y="202"/>
                </a:cubicBezTo>
                <a:cubicBezTo>
                  <a:pt x="288" y="197"/>
                  <a:pt x="277" y="194"/>
                  <a:pt x="266" y="192"/>
                </a:cubicBezTo>
                <a:lnTo>
                  <a:pt x="266" y="245"/>
                </a:lnTo>
                <a:close/>
                <a:moveTo>
                  <a:pt x="320" y="214"/>
                </a:moveTo>
                <a:cubicBezTo>
                  <a:pt x="320" y="245"/>
                  <a:pt x="320" y="245"/>
                  <a:pt x="320" y="245"/>
                </a:cubicBezTo>
                <a:cubicBezTo>
                  <a:pt x="352" y="245"/>
                  <a:pt x="352" y="245"/>
                  <a:pt x="352" y="245"/>
                </a:cubicBezTo>
                <a:cubicBezTo>
                  <a:pt x="342" y="233"/>
                  <a:pt x="331" y="222"/>
                  <a:pt x="320" y="21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94" y="266"/>
                  <a:pt x="394" y="266"/>
                  <a:pt x="394" y="266"/>
                </a:cubicBezTo>
                <a:cubicBezTo>
                  <a:pt x="394" y="309"/>
                  <a:pt x="394" y="309"/>
                  <a:pt x="394" y="309"/>
                </a:cubicBezTo>
                <a:cubicBezTo>
                  <a:pt x="394" y="315"/>
                  <a:pt x="390" y="320"/>
                  <a:pt x="384" y="320"/>
                </a:cubicBezTo>
                <a:cubicBezTo>
                  <a:pt x="378" y="320"/>
                  <a:pt x="373" y="315"/>
                  <a:pt x="373" y="309"/>
                </a:cubicBezTo>
                <a:cubicBezTo>
                  <a:pt x="373" y="266"/>
                  <a:pt x="373" y="266"/>
                  <a:pt x="373" y="266"/>
                </a:cubicBezTo>
                <a:cubicBezTo>
                  <a:pt x="138" y="266"/>
                  <a:pt x="138" y="266"/>
                  <a:pt x="138" y="266"/>
                </a:cubicBezTo>
                <a:cubicBezTo>
                  <a:pt x="138" y="309"/>
                  <a:pt x="138" y="309"/>
                  <a:pt x="138" y="309"/>
                </a:cubicBezTo>
                <a:cubicBezTo>
                  <a:pt x="138" y="315"/>
                  <a:pt x="134" y="320"/>
                  <a:pt x="128" y="320"/>
                </a:cubicBezTo>
                <a:cubicBezTo>
                  <a:pt x="122" y="320"/>
                  <a:pt x="117" y="315"/>
                  <a:pt x="117" y="309"/>
                </a:cubicBezTo>
                <a:cubicBezTo>
                  <a:pt x="117" y="266"/>
                  <a:pt x="117" y="266"/>
                  <a:pt x="117" y="266"/>
                </a:cubicBezTo>
                <a:cubicBezTo>
                  <a:pt x="106" y="266"/>
                  <a:pt x="106" y="266"/>
                  <a:pt x="106" y="266"/>
                </a:cubicBezTo>
                <a:cubicBezTo>
                  <a:pt x="100" y="266"/>
                  <a:pt x="96" y="262"/>
                  <a:pt x="96" y="256"/>
                </a:cubicBezTo>
                <a:cubicBezTo>
                  <a:pt x="96" y="250"/>
                  <a:pt x="100" y="245"/>
                  <a:pt x="106" y="245"/>
                </a:cubicBezTo>
                <a:cubicBezTo>
                  <a:pt x="117" y="245"/>
                  <a:pt x="117" y="245"/>
                  <a:pt x="117" y="245"/>
                </a:cubicBezTo>
                <a:cubicBezTo>
                  <a:pt x="117" y="224"/>
                  <a:pt x="117" y="224"/>
                  <a:pt x="117" y="224"/>
                </a:cubicBezTo>
                <a:cubicBezTo>
                  <a:pt x="117" y="218"/>
                  <a:pt x="122" y="213"/>
                  <a:pt x="128" y="213"/>
                </a:cubicBezTo>
                <a:cubicBezTo>
                  <a:pt x="134" y="213"/>
                  <a:pt x="138" y="218"/>
                  <a:pt x="138" y="224"/>
                </a:cubicBezTo>
                <a:cubicBezTo>
                  <a:pt x="138" y="237"/>
                  <a:pt x="138" y="237"/>
                  <a:pt x="138" y="237"/>
                </a:cubicBezTo>
                <a:cubicBezTo>
                  <a:pt x="172" y="194"/>
                  <a:pt x="213" y="170"/>
                  <a:pt x="256" y="170"/>
                </a:cubicBezTo>
                <a:cubicBezTo>
                  <a:pt x="298" y="170"/>
                  <a:pt x="340" y="194"/>
                  <a:pt x="373" y="237"/>
                </a:cubicBezTo>
                <a:cubicBezTo>
                  <a:pt x="373" y="224"/>
                  <a:pt x="373" y="224"/>
                  <a:pt x="373" y="224"/>
                </a:cubicBezTo>
                <a:cubicBezTo>
                  <a:pt x="373" y="218"/>
                  <a:pt x="378" y="213"/>
                  <a:pt x="384" y="213"/>
                </a:cubicBezTo>
                <a:cubicBezTo>
                  <a:pt x="390" y="213"/>
                  <a:pt x="394" y="218"/>
                  <a:pt x="394" y="224"/>
                </a:cubicBezTo>
                <a:cubicBezTo>
                  <a:pt x="394" y="245"/>
                  <a:pt x="394" y="245"/>
                  <a:pt x="39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9" name="Group 645"/>
          <p:cNvGrpSpPr>
            <a:grpSpLocks noChangeAspect="1"/>
          </p:cNvGrpSpPr>
          <p:nvPr/>
        </p:nvGrpSpPr>
        <p:grpSpPr bwMode="auto">
          <a:xfrm>
            <a:off x="3343289" y="1697038"/>
            <a:ext cx="367982" cy="367982"/>
            <a:chOff x="5306" y="3201"/>
            <a:chExt cx="340" cy="340"/>
          </a:xfrm>
          <a:solidFill>
            <a:schemeClr val="accent1"/>
          </a:solidFill>
        </p:grpSpPr>
        <p:sp>
          <p:nvSpPr>
            <p:cNvPr id="270" name="Freeform 646"/>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647"/>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651"/>
          <p:cNvSpPr>
            <a:spLocks noChangeAspect="1" noEditPoints="1"/>
          </p:cNvSpPr>
          <p:nvPr/>
        </p:nvSpPr>
        <p:spPr bwMode="auto">
          <a:xfrm>
            <a:off x="3762767" y="1697038"/>
            <a:ext cx="367982" cy="367982"/>
          </a:xfrm>
          <a:custGeom>
            <a:avLst/>
            <a:gdLst>
              <a:gd name="T0" fmla="*/ 341 w 512"/>
              <a:gd name="T1" fmla="*/ 219 h 512"/>
              <a:gd name="T2" fmla="*/ 170 w 512"/>
              <a:gd name="T3" fmla="*/ 277 h 512"/>
              <a:gd name="T4" fmla="*/ 256 w 512"/>
              <a:gd name="T5" fmla="*/ 250 h 512"/>
              <a:gd name="T6" fmla="*/ 170 w 512"/>
              <a:gd name="T7" fmla="*/ 341 h 512"/>
              <a:gd name="T8" fmla="*/ 184 w 512"/>
              <a:gd name="T9" fmla="*/ 333 h 512"/>
              <a:gd name="T10" fmla="*/ 200 w 512"/>
              <a:gd name="T11" fmla="*/ 334 h 512"/>
              <a:gd name="T12" fmla="*/ 248 w 512"/>
              <a:gd name="T13" fmla="*/ 333 h 512"/>
              <a:gd name="T14" fmla="*/ 264 w 512"/>
              <a:gd name="T15" fmla="*/ 334 h 512"/>
              <a:gd name="T16" fmla="*/ 312 w 512"/>
              <a:gd name="T17" fmla="*/ 333 h 512"/>
              <a:gd name="T18" fmla="*/ 328 w 512"/>
              <a:gd name="T19" fmla="*/ 334 h 512"/>
              <a:gd name="T20" fmla="*/ 341 w 512"/>
              <a:gd name="T21" fmla="*/ 341 h 512"/>
              <a:gd name="T22" fmla="*/ 341 w 512"/>
              <a:gd name="T23" fmla="*/ 298 h 512"/>
              <a:gd name="T24" fmla="*/ 170 w 512"/>
              <a:gd name="T25" fmla="*/ 320 h 512"/>
              <a:gd name="T26" fmla="*/ 256 w 512"/>
              <a:gd name="T27" fmla="*/ 512 h 512"/>
              <a:gd name="T28" fmla="*/ 256 w 512"/>
              <a:gd name="T29" fmla="*/ 0 h 512"/>
              <a:gd name="T30" fmla="*/ 362 w 512"/>
              <a:gd name="T31" fmla="*/ 277 h 512"/>
              <a:gd name="T32" fmla="*/ 401 w 512"/>
              <a:gd name="T33" fmla="*/ 242 h 512"/>
              <a:gd name="T34" fmla="*/ 415 w 512"/>
              <a:gd name="T35" fmla="*/ 236 h 512"/>
              <a:gd name="T36" fmla="*/ 362 w 512"/>
              <a:gd name="T37" fmla="*/ 188 h 512"/>
              <a:gd name="T38" fmla="*/ 352 w 512"/>
              <a:gd name="T39" fmla="*/ 160 h 512"/>
              <a:gd name="T40" fmla="*/ 341 w 512"/>
              <a:gd name="T41" fmla="*/ 188 h 512"/>
              <a:gd name="T42" fmla="*/ 170 w 512"/>
              <a:gd name="T43" fmla="*/ 188 h 512"/>
              <a:gd name="T44" fmla="*/ 160 w 512"/>
              <a:gd name="T45" fmla="*/ 160 h 512"/>
              <a:gd name="T46" fmla="*/ 149 w 512"/>
              <a:gd name="T47" fmla="*/ 188 h 512"/>
              <a:gd name="T48" fmla="*/ 96 w 512"/>
              <a:gd name="T49" fmla="*/ 236 h 512"/>
              <a:gd name="T50" fmla="*/ 110 w 512"/>
              <a:gd name="T51" fmla="*/ 242 h 512"/>
              <a:gd name="T52" fmla="*/ 149 w 512"/>
              <a:gd name="T53" fmla="*/ 277 h 512"/>
              <a:gd name="T54" fmla="*/ 96 w 512"/>
              <a:gd name="T55" fmla="*/ 288 h 512"/>
              <a:gd name="T56" fmla="*/ 149 w 512"/>
              <a:gd name="T57" fmla="*/ 298 h 512"/>
              <a:gd name="T58" fmla="*/ 149 w 512"/>
              <a:gd name="T59" fmla="*/ 341 h 512"/>
              <a:gd name="T60" fmla="*/ 136 w 512"/>
              <a:gd name="T61" fmla="*/ 334 h 512"/>
              <a:gd name="T62" fmla="*/ 120 w 512"/>
              <a:gd name="T63" fmla="*/ 333 h 512"/>
              <a:gd name="T64" fmla="*/ 96 w 512"/>
              <a:gd name="T65" fmla="*/ 358 h 512"/>
              <a:gd name="T66" fmla="*/ 127 w 512"/>
              <a:gd name="T67" fmla="*/ 355 h 512"/>
              <a:gd name="T68" fmla="*/ 191 w 512"/>
              <a:gd name="T69" fmla="*/ 356 h 512"/>
              <a:gd name="T70" fmla="*/ 255 w 512"/>
              <a:gd name="T71" fmla="*/ 356 h 512"/>
              <a:gd name="T72" fmla="*/ 319 w 512"/>
              <a:gd name="T73" fmla="*/ 356 h 512"/>
              <a:gd name="T74" fmla="*/ 351 w 512"/>
              <a:gd name="T75" fmla="*/ 368 h 512"/>
              <a:gd name="T76" fmla="*/ 402 w 512"/>
              <a:gd name="T77" fmla="*/ 366 h 512"/>
              <a:gd name="T78" fmla="*/ 408 w 512"/>
              <a:gd name="T79" fmla="*/ 345 h 512"/>
              <a:gd name="T80" fmla="*/ 384 w 512"/>
              <a:gd name="T81" fmla="*/ 330 h 512"/>
              <a:gd name="T82" fmla="*/ 362 w 512"/>
              <a:gd name="T83" fmla="*/ 343 h 512"/>
              <a:gd name="T84" fmla="*/ 362 w 512"/>
              <a:gd name="T85" fmla="*/ 330 h 512"/>
              <a:gd name="T86" fmla="*/ 405 w 512"/>
              <a:gd name="T87" fmla="*/ 298 h 512"/>
              <a:gd name="T88" fmla="*/ 405 w 512"/>
              <a:gd name="T8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50"/>
                </a:moveTo>
                <a:cubicBezTo>
                  <a:pt x="287" y="250"/>
                  <a:pt x="318" y="239"/>
                  <a:pt x="341" y="219"/>
                </a:cubicBezTo>
                <a:cubicBezTo>
                  <a:pt x="341" y="277"/>
                  <a:pt x="341" y="277"/>
                  <a:pt x="341" y="277"/>
                </a:cubicBezTo>
                <a:cubicBezTo>
                  <a:pt x="170" y="277"/>
                  <a:pt x="170" y="277"/>
                  <a:pt x="170" y="277"/>
                </a:cubicBezTo>
                <a:cubicBezTo>
                  <a:pt x="170" y="219"/>
                  <a:pt x="170" y="219"/>
                  <a:pt x="170" y="219"/>
                </a:cubicBezTo>
                <a:cubicBezTo>
                  <a:pt x="193" y="239"/>
                  <a:pt x="223" y="250"/>
                  <a:pt x="256" y="250"/>
                </a:cubicBezTo>
                <a:close/>
                <a:moveTo>
                  <a:pt x="170" y="320"/>
                </a:moveTo>
                <a:cubicBezTo>
                  <a:pt x="170" y="341"/>
                  <a:pt x="170" y="341"/>
                  <a:pt x="170" y="341"/>
                </a:cubicBezTo>
                <a:cubicBezTo>
                  <a:pt x="170" y="343"/>
                  <a:pt x="170" y="343"/>
                  <a:pt x="170" y="343"/>
                </a:cubicBezTo>
                <a:cubicBezTo>
                  <a:pt x="175" y="341"/>
                  <a:pt x="179" y="338"/>
                  <a:pt x="184" y="333"/>
                </a:cubicBezTo>
                <a:cubicBezTo>
                  <a:pt x="186" y="331"/>
                  <a:pt x="189" y="330"/>
                  <a:pt x="192" y="330"/>
                </a:cubicBezTo>
                <a:cubicBezTo>
                  <a:pt x="195" y="331"/>
                  <a:pt x="198" y="332"/>
                  <a:pt x="200" y="334"/>
                </a:cubicBezTo>
                <a:cubicBezTo>
                  <a:pt x="200" y="334"/>
                  <a:pt x="209" y="346"/>
                  <a:pt x="222" y="346"/>
                </a:cubicBezTo>
                <a:cubicBezTo>
                  <a:pt x="230" y="347"/>
                  <a:pt x="239" y="342"/>
                  <a:pt x="248" y="333"/>
                </a:cubicBezTo>
                <a:cubicBezTo>
                  <a:pt x="250" y="331"/>
                  <a:pt x="253" y="330"/>
                  <a:pt x="256" y="330"/>
                </a:cubicBezTo>
                <a:cubicBezTo>
                  <a:pt x="259" y="331"/>
                  <a:pt x="262" y="332"/>
                  <a:pt x="264" y="334"/>
                </a:cubicBezTo>
                <a:cubicBezTo>
                  <a:pt x="264" y="334"/>
                  <a:pt x="273" y="346"/>
                  <a:pt x="286" y="346"/>
                </a:cubicBezTo>
                <a:cubicBezTo>
                  <a:pt x="294" y="347"/>
                  <a:pt x="303" y="342"/>
                  <a:pt x="312" y="333"/>
                </a:cubicBezTo>
                <a:cubicBezTo>
                  <a:pt x="314" y="331"/>
                  <a:pt x="317" y="330"/>
                  <a:pt x="320" y="330"/>
                </a:cubicBezTo>
                <a:cubicBezTo>
                  <a:pt x="323" y="331"/>
                  <a:pt x="326" y="332"/>
                  <a:pt x="328" y="334"/>
                </a:cubicBezTo>
                <a:cubicBezTo>
                  <a:pt x="328" y="334"/>
                  <a:pt x="333" y="341"/>
                  <a:pt x="341" y="344"/>
                </a:cubicBezTo>
                <a:cubicBezTo>
                  <a:pt x="341" y="341"/>
                  <a:pt x="341" y="341"/>
                  <a:pt x="341" y="341"/>
                </a:cubicBezTo>
                <a:cubicBezTo>
                  <a:pt x="341" y="330"/>
                  <a:pt x="341" y="330"/>
                  <a:pt x="341" y="330"/>
                </a:cubicBezTo>
                <a:cubicBezTo>
                  <a:pt x="341" y="298"/>
                  <a:pt x="341" y="298"/>
                  <a:pt x="341" y="298"/>
                </a:cubicBezTo>
                <a:cubicBezTo>
                  <a:pt x="170" y="298"/>
                  <a:pt x="170" y="298"/>
                  <a:pt x="170" y="298"/>
                </a:cubicBezTo>
                <a:lnTo>
                  <a:pt x="170"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77"/>
                </a:moveTo>
                <a:cubicBezTo>
                  <a:pt x="362" y="219"/>
                  <a:pt x="362" y="219"/>
                  <a:pt x="362" y="219"/>
                </a:cubicBezTo>
                <a:cubicBezTo>
                  <a:pt x="373" y="228"/>
                  <a:pt x="386" y="236"/>
                  <a:pt x="401" y="242"/>
                </a:cubicBezTo>
                <a:cubicBezTo>
                  <a:pt x="402" y="242"/>
                  <a:pt x="404" y="242"/>
                  <a:pt x="405" y="242"/>
                </a:cubicBezTo>
                <a:cubicBezTo>
                  <a:pt x="409" y="242"/>
                  <a:pt x="413" y="240"/>
                  <a:pt x="415" y="236"/>
                </a:cubicBezTo>
                <a:cubicBezTo>
                  <a:pt x="417" y="230"/>
                  <a:pt x="414" y="224"/>
                  <a:pt x="409" y="222"/>
                </a:cubicBezTo>
                <a:cubicBezTo>
                  <a:pt x="389" y="214"/>
                  <a:pt x="373" y="202"/>
                  <a:pt x="362" y="188"/>
                </a:cubicBezTo>
                <a:cubicBezTo>
                  <a:pt x="362" y="170"/>
                  <a:pt x="362" y="170"/>
                  <a:pt x="362" y="170"/>
                </a:cubicBezTo>
                <a:cubicBezTo>
                  <a:pt x="362" y="164"/>
                  <a:pt x="358" y="160"/>
                  <a:pt x="352" y="160"/>
                </a:cubicBezTo>
                <a:cubicBezTo>
                  <a:pt x="346" y="160"/>
                  <a:pt x="341" y="164"/>
                  <a:pt x="341" y="170"/>
                </a:cubicBezTo>
                <a:cubicBezTo>
                  <a:pt x="341" y="188"/>
                  <a:pt x="341" y="188"/>
                  <a:pt x="341" y="188"/>
                </a:cubicBezTo>
                <a:cubicBezTo>
                  <a:pt x="321" y="214"/>
                  <a:pt x="289" y="229"/>
                  <a:pt x="256" y="229"/>
                </a:cubicBezTo>
                <a:cubicBezTo>
                  <a:pt x="221" y="229"/>
                  <a:pt x="190" y="214"/>
                  <a:pt x="170" y="188"/>
                </a:cubicBezTo>
                <a:cubicBezTo>
                  <a:pt x="170" y="170"/>
                  <a:pt x="170" y="170"/>
                  <a:pt x="170" y="170"/>
                </a:cubicBezTo>
                <a:cubicBezTo>
                  <a:pt x="170" y="164"/>
                  <a:pt x="166" y="160"/>
                  <a:pt x="160" y="160"/>
                </a:cubicBezTo>
                <a:cubicBezTo>
                  <a:pt x="154" y="160"/>
                  <a:pt x="149" y="164"/>
                  <a:pt x="149" y="170"/>
                </a:cubicBezTo>
                <a:cubicBezTo>
                  <a:pt x="149" y="188"/>
                  <a:pt x="149" y="188"/>
                  <a:pt x="149" y="188"/>
                </a:cubicBezTo>
                <a:cubicBezTo>
                  <a:pt x="138" y="202"/>
                  <a:pt x="121" y="214"/>
                  <a:pt x="102" y="222"/>
                </a:cubicBezTo>
                <a:cubicBezTo>
                  <a:pt x="97" y="224"/>
                  <a:pt x="94" y="230"/>
                  <a:pt x="96" y="236"/>
                </a:cubicBezTo>
                <a:cubicBezTo>
                  <a:pt x="98" y="240"/>
                  <a:pt x="102" y="242"/>
                  <a:pt x="106" y="242"/>
                </a:cubicBezTo>
                <a:cubicBezTo>
                  <a:pt x="108" y="242"/>
                  <a:pt x="109" y="242"/>
                  <a:pt x="110" y="242"/>
                </a:cubicBezTo>
                <a:cubicBezTo>
                  <a:pt x="125" y="236"/>
                  <a:pt x="138" y="228"/>
                  <a:pt x="149" y="218"/>
                </a:cubicBezTo>
                <a:cubicBezTo>
                  <a:pt x="149" y="277"/>
                  <a:pt x="149" y="277"/>
                  <a:pt x="149" y="277"/>
                </a:cubicBezTo>
                <a:cubicBezTo>
                  <a:pt x="106" y="277"/>
                  <a:pt x="106" y="277"/>
                  <a:pt x="106" y="277"/>
                </a:cubicBezTo>
                <a:cubicBezTo>
                  <a:pt x="100" y="277"/>
                  <a:pt x="96" y="282"/>
                  <a:pt x="96" y="288"/>
                </a:cubicBezTo>
                <a:cubicBezTo>
                  <a:pt x="96" y="294"/>
                  <a:pt x="100" y="298"/>
                  <a:pt x="106" y="298"/>
                </a:cubicBezTo>
                <a:cubicBezTo>
                  <a:pt x="149" y="298"/>
                  <a:pt x="149" y="298"/>
                  <a:pt x="149" y="298"/>
                </a:cubicBezTo>
                <a:cubicBezTo>
                  <a:pt x="149" y="320"/>
                  <a:pt x="149" y="320"/>
                  <a:pt x="149" y="320"/>
                </a:cubicBezTo>
                <a:cubicBezTo>
                  <a:pt x="149" y="341"/>
                  <a:pt x="149" y="341"/>
                  <a:pt x="149" y="341"/>
                </a:cubicBezTo>
                <a:cubicBezTo>
                  <a:pt x="149" y="344"/>
                  <a:pt x="149" y="344"/>
                  <a:pt x="149" y="344"/>
                </a:cubicBezTo>
                <a:cubicBezTo>
                  <a:pt x="141" y="341"/>
                  <a:pt x="136" y="334"/>
                  <a:pt x="136" y="334"/>
                </a:cubicBezTo>
                <a:cubicBezTo>
                  <a:pt x="134" y="332"/>
                  <a:pt x="131" y="331"/>
                  <a:pt x="128" y="330"/>
                </a:cubicBezTo>
                <a:cubicBezTo>
                  <a:pt x="125" y="330"/>
                  <a:pt x="122" y="331"/>
                  <a:pt x="120" y="333"/>
                </a:cubicBezTo>
                <a:cubicBezTo>
                  <a:pt x="114" y="339"/>
                  <a:pt x="109" y="343"/>
                  <a:pt x="103" y="345"/>
                </a:cubicBezTo>
                <a:cubicBezTo>
                  <a:pt x="97" y="347"/>
                  <a:pt x="94" y="353"/>
                  <a:pt x="96" y="358"/>
                </a:cubicBezTo>
                <a:cubicBezTo>
                  <a:pt x="98" y="364"/>
                  <a:pt x="104" y="367"/>
                  <a:pt x="110" y="365"/>
                </a:cubicBezTo>
                <a:cubicBezTo>
                  <a:pt x="116" y="363"/>
                  <a:pt x="122" y="360"/>
                  <a:pt x="127" y="355"/>
                </a:cubicBezTo>
                <a:cubicBezTo>
                  <a:pt x="134" y="361"/>
                  <a:pt x="144" y="367"/>
                  <a:pt x="156" y="368"/>
                </a:cubicBezTo>
                <a:cubicBezTo>
                  <a:pt x="168" y="368"/>
                  <a:pt x="180" y="364"/>
                  <a:pt x="191" y="356"/>
                </a:cubicBezTo>
                <a:cubicBezTo>
                  <a:pt x="198" y="361"/>
                  <a:pt x="208" y="367"/>
                  <a:pt x="220" y="368"/>
                </a:cubicBezTo>
                <a:cubicBezTo>
                  <a:pt x="232" y="368"/>
                  <a:pt x="244" y="364"/>
                  <a:pt x="255" y="356"/>
                </a:cubicBezTo>
                <a:cubicBezTo>
                  <a:pt x="262" y="361"/>
                  <a:pt x="272" y="367"/>
                  <a:pt x="284" y="368"/>
                </a:cubicBezTo>
                <a:cubicBezTo>
                  <a:pt x="296" y="368"/>
                  <a:pt x="308" y="364"/>
                  <a:pt x="319" y="356"/>
                </a:cubicBezTo>
                <a:cubicBezTo>
                  <a:pt x="326" y="361"/>
                  <a:pt x="336" y="367"/>
                  <a:pt x="348" y="368"/>
                </a:cubicBezTo>
                <a:cubicBezTo>
                  <a:pt x="349" y="368"/>
                  <a:pt x="350" y="368"/>
                  <a:pt x="351" y="368"/>
                </a:cubicBezTo>
                <a:cubicBezTo>
                  <a:pt x="362" y="368"/>
                  <a:pt x="373" y="364"/>
                  <a:pt x="383" y="356"/>
                </a:cubicBezTo>
                <a:cubicBezTo>
                  <a:pt x="388" y="359"/>
                  <a:pt x="394" y="363"/>
                  <a:pt x="402" y="366"/>
                </a:cubicBezTo>
                <a:cubicBezTo>
                  <a:pt x="408" y="367"/>
                  <a:pt x="413" y="364"/>
                  <a:pt x="415" y="358"/>
                </a:cubicBezTo>
                <a:cubicBezTo>
                  <a:pt x="417" y="353"/>
                  <a:pt x="414" y="347"/>
                  <a:pt x="408" y="345"/>
                </a:cubicBezTo>
                <a:cubicBezTo>
                  <a:pt x="398" y="342"/>
                  <a:pt x="392" y="334"/>
                  <a:pt x="392" y="334"/>
                </a:cubicBezTo>
                <a:cubicBezTo>
                  <a:pt x="390" y="332"/>
                  <a:pt x="387" y="331"/>
                  <a:pt x="384" y="330"/>
                </a:cubicBezTo>
                <a:cubicBezTo>
                  <a:pt x="381" y="330"/>
                  <a:pt x="378" y="331"/>
                  <a:pt x="376" y="333"/>
                </a:cubicBezTo>
                <a:cubicBezTo>
                  <a:pt x="371" y="338"/>
                  <a:pt x="367" y="341"/>
                  <a:pt x="362" y="343"/>
                </a:cubicBezTo>
                <a:cubicBezTo>
                  <a:pt x="362" y="341"/>
                  <a:pt x="362" y="341"/>
                  <a:pt x="362" y="341"/>
                </a:cubicBezTo>
                <a:cubicBezTo>
                  <a:pt x="362" y="330"/>
                  <a:pt x="362" y="330"/>
                  <a:pt x="362" y="330"/>
                </a:cubicBezTo>
                <a:cubicBezTo>
                  <a:pt x="362" y="298"/>
                  <a:pt x="362" y="298"/>
                  <a:pt x="362" y="298"/>
                </a:cubicBezTo>
                <a:cubicBezTo>
                  <a:pt x="405" y="298"/>
                  <a:pt x="405" y="298"/>
                  <a:pt x="405" y="298"/>
                </a:cubicBezTo>
                <a:cubicBezTo>
                  <a:pt x="411" y="298"/>
                  <a:pt x="416" y="294"/>
                  <a:pt x="416" y="288"/>
                </a:cubicBezTo>
                <a:cubicBezTo>
                  <a:pt x="416" y="282"/>
                  <a:pt x="411" y="277"/>
                  <a:pt x="405" y="277"/>
                </a:cubicBezTo>
                <a:lnTo>
                  <a:pt x="362" y="27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73" name="Group 654"/>
          <p:cNvGrpSpPr>
            <a:grpSpLocks noChangeAspect="1"/>
          </p:cNvGrpSpPr>
          <p:nvPr/>
        </p:nvGrpSpPr>
        <p:grpSpPr bwMode="auto">
          <a:xfrm>
            <a:off x="4182245" y="1697038"/>
            <a:ext cx="367982" cy="369064"/>
            <a:chOff x="6105" y="3542"/>
            <a:chExt cx="340" cy="341"/>
          </a:xfrm>
          <a:solidFill>
            <a:schemeClr val="accent1"/>
          </a:solidFill>
        </p:grpSpPr>
        <p:sp>
          <p:nvSpPr>
            <p:cNvPr id="274" name="Freeform 273"/>
            <p:cNvSpPr>
              <a:spLocks noEditPoints="1"/>
            </p:cNvSpPr>
            <p:nvPr/>
          </p:nvSpPr>
          <p:spPr bwMode="auto">
            <a:xfrm>
              <a:off x="6105" y="35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274"/>
            <p:cNvSpPr>
              <a:spLocks noEditPoints="1"/>
            </p:cNvSpPr>
            <p:nvPr/>
          </p:nvSpPr>
          <p:spPr bwMode="auto">
            <a:xfrm>
              <a:off x="6167" y="3649"/>
              <a:ext cx="215" cy="138"/>
            </a:xfrm>
            <a:custGeom>
              <a:avLst/>
              <a:gdLst>
                <a:gd name="T0" fmla="*/ 268 w 323"/>
                <a:gd name="T1" fmla="*/ 138 h 208"/>
                <a:gd name="T2" fmla="*/ 322 w 323"/>
                <a:gd name="T3" fmla="*/ 128 h 208"/>
                <a:gd name="T4" fmla="*/ 268 w 323"/>
                <a:gd name="T5" fmla="*/ 117 h 208"/>
                <a:gd name="T6" fmla="*/ 307 w 323"/>
                <a:gd name="T7" fmla="*/ 82 h 208"/>
                <a:gd name="T8" fmla="*/ 321 w 323"/>
                <a:gd name="T9" fmla="*/ 76 h 208"/>
                <a:gd name="T10" fmla="*/ 268 w 323"/>
                <a:gd name="T11" fmla="*/ 28 h 208"/>
                <a:gd name="T12" fmla="*/ 258 w 323"/>
                <a:gd name="T13" fmla="*/ 0 h 208"/>
                <a:gd name="T14" fmla="*/ 247 w 323"/>
                <a:gd name="T15" fmla="*/ 28 h 208"/>
                <a:gd name="T16" fmla="*/ 76 w 323"/>
                <a:gd name="T17" fmla="*/ 28 h 208"/>
                <a:gd name="T18" fmla="*/ 66 w 323"/>
                <a:gd name="T19" fmla="*/ 0 h 208"/>
                <a:gd name="T20" fmla="*/ 55 w 323"/>
                <a:gd name="T21" fmla="*/ 28 h 208"/>
                <a:gd name="T22" fmla="*/ 2 w 323"/>
                <a:gd name="T23" fmla="*/ 76 h 208"/>
                <a:gd name="T24" fmla="*/ 16 w 323"/>
                <a:gd name="T25" fmla="*/ 82 h 208"/>
                <a:gd name="T26" fmla="*/ 55 w 323"/>
                <a:gd name="T27" fmla="*/ 117 h 208"/>
                <a:gd name="T28" fmla="*/ 2 w 323"/>
                <a:gd name="T29" fmla="*/ 128 h 208"/>
                <a:gd name="T30" fmla="*/ 55 w 323"/>
                <a:gd name="T31" fmla="*/ 138 h 208"/>
                <a:gd name="T32" fmla="*/ 55 w 323"/>
                <a:gd name="T33" fmla="*/ 181 h 208"/>
                <a:gd name="T34" fmla="*/ 42 w 323"/>
                <a:gd name="T35" fmla="*/ 174 h 208"/>
                <a:gd name="T36" fmla="*/ 26 w 323"/>
                <a:gd name="T37" fmla="*/ 173 h 208"/>
                <a:gd name="T38" fmla="*/ 2 w 323"/>
                <a:gd name="T39" fmla="*/ 198 h 208"/>
                <a:gd name="T40" fmla="*/ 33 w 323"/>
                <a:gd name="T41" fmla="*/ 195 h 208"/>
                <a:gd name="T42" fmla="*/ 97 w 323"/>
                <a:gd name="T43" fmla="*/ 196 h 208"/>
                <a:gd name="T44" fmla="*/ 161 w 323"/>
                <a:gd name="T45" fmla="*/ 196 h 208"/>
                <a:gd name="T46" fmla="*/ 225 w 323"/>
                <a:gd name="T47" fmla="*/ 196 h 208"/>
                <a:gd name="T48" fmla="*/ 257 w 323"/>
                <a:gd name="T49" fmla="*/ 208 h 208"/>
                <a:gd name="T50" fmla="*/ 308 w 323"/>
                <a:gd name="T51" fmla="*/ 206 h 208"/>
                <a:gd name="T52" fmla="*/ 314 w 323"/>
                <a:gd name="T53" fmla="*/ 185 h 208"/>
                <a:gd name="T54" fmla="*/ 290 w 323"/>
                <a:gd name="T55" fmla="*/ 170 h 208"/>
                <a:gd name="T56" fmla="*/ 268 w 323"/>
                <a:gd name="T57" fmla="*/ 183 h 208"/>
                <a:gd name="T58" fmla="*/ 268 w 323"/>
                <a:gd name="T59" fmla="*/ 170 h 208"/>
                <a:gd name="T60" fmla="*/ 162 w 323"/>
                <a:gd name="T61" fmla="*/ 90 h 208"/>
                <a:gd name="T62" fmla="*/ 247 w 323"/>
                <a:gd name="T63" fmla="*/ 117 h 208"/>
                <a:gd name="T64" fmla="*/ 76 w 323"/>
                <a:gd name="T65" fmla="*/ 59 h 208"/>
                <a:gd name="T66" fmla="*/ 226 w 323"/>
                <a:gd name="T67" fmla="*/ 170 h 208"/>
                <a:gd name="T68" fmla="*/ 192 w 323"/>
                <a:gd name="T69" fmla="*/ 186 h 208"/>
                <a:gd name="T70" fmla="*/ 162 w 323"/>
                <a:gd name="T71" fmla="*/ 170 h 208"/>
                <a:gd name="T72" fmla="*/ 128 w 323"/>
                <a:gd name="T73" fmla="*/ 186 h 208"/>
                <a:gd name="T74" fmla="*/ 98 w 323"/>
                <a:gd name="T75" fmla="*/ 170 h 208"/>
                <a:gd name="T76" fmla="*/ 76 w 323"/>
                <a:gd name="T77" fmla="*/ 183 h 208"/>
                <a:gd name="T78" fmla="*/ 76 w 323"/>
                <a:gd name="T79" fmla="*/ 170 h 208"/>
                <a:gd name="T80" fmla="*/ 247 w 323"/>
                <a:gd name="T81" fmla="*/ 138 h 208"/>
                <a:gd name="T82" fmla="*/ 247 w 323"/>
                <a:gd name="T83" fmla="*/ 181 h 208"/>
                <a:gd name="T84" fmla="*/ 234 w 323"/>
                <a:gd name="T85" fmla="*/ 17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208">
                  <a:moveTo>
                    <a:pt x="268" y="170"/>
                  </a:moveTo>
                  <a:cubicBezTo>
                    <a:pt x="268" y="138"/>
                    <a:pt x="268" y="138"/>
                    <a:pt x="268" y="138"/>
                  </a:cubicBezTo>
                  <a:cubicBezTo>
                    <a:pt x="311" y="138"/>
                    <a:pt x="311" y="138"/>
                    <a:pt x="311" y="138"/>
                  </a:cubicBezTo>
                  <a:cubicBezTo>
                    <a:pt x="317" y="138"/>
                    <a:pt x="322" y="134"/>
                    <a:pt x="322" y="128"/>
                  </a:cubicBezTo>
                  <a:cubicBezTo>
                    <a:pt x="322" y="122"/>
                    <a:pt x="317" y="117"/>
                    <a:pt x="311" y="117"/>
                  </a:cubicBezTo>
                  <a:cubicBezTo>
                    <a:pt x="268" y="117"/>
                    <a:pt x="268" y="117"/>
                    <a:pt x="268" y="117"/>
                  </a:cubicBezTo>
                  <a:cubicBezTo>
                    <a:pt x="268" y="59"/>
                    <a:pt x="268" y="59"/>
                    <a:pt x="268" y="59"/>
                  </a:cubicBezTo>
                  <a:cubicBezTo>
                    <a:pt x="279" y="68"/>
                    <a:pt x="292" y="76"/>
                    <a:pt x="307" y="82"/>
                  </a:cubicBezTo>
                  <a:cubicBezTo>
                    <a:pt x="308" y="82"/>
                    <a:pt x="310" y="82"/>
                    <a:pt x="311" y="82"/>
                  </a:cubicBezTo>
                  <a:cubicBezTo>
                    <a:pt x="315" y="82"/>
                    <a:pt x="319" y="80"/>
                    <a:pt x="321" y="76"/>
                  </a:cubicBezTo>
                  <a:cubicBezTo>
                    <a:pt x="323" y="70"/>
                    <a:pt x="320" y="64"/>
                    <a:pt x="315" y="62"/>
                  </a:cubicBezTo>
                  <a:cubicBezTo>
                    <a:pt x="295" y="54"/>
                    <a:pt x="279" y="42"/>
                    <a:pt x="268" y="28"/>
                  </a:cubicBezTo>
                  <a:cubicBezTo>
                    <a:pt x="268" y="10"/>
                    <a:pt x="268" y="10"/>
                    <a:pt x="268" y="10"/>
                  </a:cubicBezTo>
                  <a:cubicBezTo>
                    <a:pt x="268" y="4"/>
                    <a:pt x="264" y="0"/>
                    <a:pt x="258" y="0"/>
                  </a:cubicBezTo>
                  <a:cubicBezTo>
                    <a:pt x="252" y="0"/>
                    <a:pt x="247" y="4"/>
                    <a:pt x="247" y="10"/>
                  </a:cubicBezTo>
                  <a:cubicBezTo>
                    <a:pt x="247" y="28"/>
                    <a:pt x="247" y="28"/>
                    <a:pt x="247" y="28"/>
                  </a:cubicBezTo>
                  <a:cubicBezTo>
                    <a:pt x="227" y="54"/>
                    <a:pt x="195" y="69"/>
                    <a:pt x="162" y="69"/>
                  </a:cubicBezTo>
                  <a:cubicBezTo>
                    <a:pt x="127" y="69"/>
                    <a:pt x="96" y="54"/>
                    <a:pt x="76" y="28"/>
                  </a:cubicBezTo>
                  <a:cubicBezTo>
                    <a:pt x="76" y="10"/>
                    <a:pt x="76" y="10"/>
                    <a:pt x="76" y="10"/>
                  </a:cubicBezTo>
                  <a:cubicBezTo>
                    <a:pt x="76" y="4"/>
                    <a:pt x="72" y="0"/>
                    <a:pt x="66" y="0"/>
                  </a:cubicBezTo>
                  <a:cubicBezTo>
                    <a:pt x="60" y="0"/>
                    <a:pt x="55" y="4"/>
                    <a:pt x="55" y="10"/>
                  </a:cubicBezTo>
                  <a:cubicBezTo>
                    <a:pt x="55" y="28"/>
                    <a:pt x="55" y="28"/>
                    <a:pt x="55" y="28"/>
                  </a:cubicBezTo>
                  <a:cubicBezTo>
                    <a:pt x="44" y="42"/>
                    <a:pt x="27" y="54"/>
                    <a:pt x="8" y="62"/>
                  </a:cubicBezTo>
                  <a:cubicBezTo>
                    <a:pt x="3" y="64"/>
                    <a:pt x="0" y="70"/>
                    <a:pt x="2" y="76"/>
                  </a:cubicBezTo>
                  <a:cubicBezTo>
                    <a:pt x="4" y="80"/>
                    <a:pt x="8" y="82"/>
                    <a:pt x="12" y="82"/>
                  </a:cubicBezTo>
                  <a:cubicBezTo>
                    <a:pt x="14" y="82"/>
                    <a:pt x="15" y="82"/>
                    <a:pt x="16" y="82"/>
                  </a:cubicBezTo>
                  <a:cubicBezTo>
                    <a:pt x="31" y="76"/>
                    <a:pt x="44" y="68"/>
                    <a:pt x="55" y="58"/>
                  </a:cubicBezTo>
                  <a:cubicBezTo>
                    <a:pt x="55" y="117"/>
                    <a:pt x="55" y="117"/>
                    <a:pt x="55" y="117"/>
                  </a:cubicBezTo>
                  <a:cubicBezTo>
                    <a:pt x="12" y="117"/>
                    <a:pt x="12" y="117"/>
                    <a:pt x="12" y="117"/>
                  </a:cubicBezTo>
                  <a:cubicBezTo>
                    <a:pt x="6" y="117"/>
                    <a:pt x="2" y="122"/>
                    <a:pt x="2" y="128"/>
                  </a:cubicBezTo>
                  <a:cubicBezTo>
                    <a:pt x="2" y="134"/>
                    <a:pt x="6" y="138"/>
                    <a:pt x="12" y="138"/>
                  </a:cubicBezTo>
                  <a:cubicBezTo>
                    <a:pt x="55" y="138"/>
                    <a:pt x="55" y="138"/>
                    <a:pt x="55" y="138"/>
                  </a:cubicBezTo>
                  <a:cubicBezTo>
                    <a:pt x="55" y="170"/>
                    <a:pt x="55" y="170"/>
                    <a:pt x="55" y="170"/>
                  </a:cubicBezTo>
                  <a:cubicBezTo>
                    <a:pt x="55" y="181"/>
                    <a:pt x="55" y="181"/>
                    <a:pt x="55" y="181"/>
                  </a:cubicBezTo>
                  <a:cubicBezTo>
                    <a:pt x="55" y="184"/>
                    <a:pt x="55" y="184"/>
                    <a:pt x="55" y="184"/>
                  </a:cubicBezTo>
                  <a:cubicBezTo>
                    <a:pt x="47" y="181"/>
                    <a:pt x="42" y="174"/>
                    <a:pt x="42" y="174"/>
                  </a:cubicBezTo>
                  <a:cubicBezTo>
                    <a:pt x="40" y="172"/>
                    <a:pt x="37" y="171"/>
                    <a:pt x="34" y="170"/>
                  </a:cubicBezTo>
                  <a:cubicBezTo>
                    <a:pt x="31" y="170"/>
                    <a:pt x="28" y="171"/>
                    <a:pt x="26" y="173"/>
                  </a:cubicBezTo>
                  <a:cubicBezTo>
                    <a:pt x="20" y="179"/>
                    <a:pt x="15" y="183"/>
                    <a:pt x="9" y="185"/>
                  </a:cubicBezTo>
                  <a:cubicBezTo>
                    <a:pt x="3" y="187"/>
                    <a:pt x="0" y="193"/>
                    <a:pt x="2" y="198"/>
                  </a:cubicBezTo>
                  <a:cubicBezTo>
                    <a:pt x="4" y="204"/>
                    <a:pt x="10" y="207"/>
                    <a:pt x="16" y="205"/>
                  </a:cubicBezTo>
                  <a:cubicBezTo>
                    <a:pt x="22" y="203"/>
                    <a:pt x="28" y="200"/>
                    <a:pt x="33" y="195"/>
                  </a:cubicBezTo>
                  <a:cubicBezTo>
                    <a:pt x="40" y="201"/>
                    <a:pt x="50" y="207"/>
                    <a:pt x="62" y="208"/>
                  </a:cubicBezTo>
                  <a:cubicBezTo>
                    <a:pt x="74" y="208"/>
                    <a:pt x="86" y="204"/>
                    <a:pt x="97" y="196"/>
                  </a:cubicBezTo>
                  <a:cubicBezTo>
                    <a:pt x="104" y="201"/>
                    <a:pt x="114" y="207"/>
                    <a:pt x="126" y="208"/>
                  </a:cubicBezTo>
                  <a:cubicBezTo>
                    <a:pt x="138" y="208"/>
                    <a:pt x="150" y="204"/>
                    <a:pt x="161" y="196"/>
                  </a:cubicBezTo>
                  <a:cubicBezTo>
                    <a:pt x="168" y="201"/>
                    <a:pt x="178" y="207"/>
                    <a:pt x="190" y="208"/>
                  </a:cubicBezTo>
                  <a:cubicBezTo>
                    <a:pt x="202" y="208"/>
                    <a:pt x="214" y="204"/>
                    <a:pt x="225" y="196"/>
                  </a:cubicBezTo>
                  <a:cubicBezTo>
                    <a:pt x="232" y="201"/>
                    <a:pt x="242" y="207"/>
                    <a:pt x="254" y="208"/>
                  </a:cubicBezTo>
                  <a:cubicBezTo>
                    <a:pt x="255" y="208"/>
                    <a:pt x="256" y="208"/>
                    <a:pt x="257" y="208"/>
                  </a:cubicBezTo>
                  <a:cubicBezTo>
                    <a:pt x="268" y="208"/>
                    <a:pt x="279" y="204"/>
                    <a:pt x="289" y="196"/>
                  </a:cubicBezTo>
                  <a:cubicBezTo>
                    <a:pt x="294" y="199"/>
                    <a:pt x="300" y="203"/>
                    <a:pt x="308" y="206"/>
                  </a:cubicBezTo>
                  <a:cubicBezTo>
                    <a:pt x="314" y="207"/>
                    <a:pt x="319" y="204"/>
                    <a:pt x="321" y="198"/>
                  </a:cubicBezTo>
                  <a:cubicBezTo>
                    <a:pt x="323" y="193"/>
                    <a:pt x="320" y="187"/>
                    <a:pt x="314" y="185"/>
                  </a:cubicBezTo>
                  <a:cubicBezTo>
                    <a:pt x="304" y="182"/>
                    <a:pt x="298" y="174"/>
                    <a:pt x="298" y="174"/>
                  </a:cubicBezTo>
                  <a:cubicBezTo>
                    <a:pt x="296" y="172"/>
                    <a:pt x="293" y="171"/>
                    <a:pt x="290" y="170"/>
                  </a:cubicBezTo>
                  <a:cubicBezTo>
                    <a:pt x="287" y="170"/>
                    <a:pt x="284" y="171"/>
                    <a:pt x="282" y="173"/>
                  </a:cubicBezTo>
                  <a:cubicBezTo>
                    <a:pt x="277" y="178"/>
                    <a:pt x="273" y="181"/>
                    <a:pt x="268" y="183"/>
                  </a:cubicBezTo>
                  <a:cubicBezTo>
                    <a:pt x="268" y="181"/>
                    <a:pt x="268" y="181"/>
                    <a:pt x="268" y="181"/>
                  </a:cubicBezTo>
                  <a:lnTo>
                    <a:pt x="268" y="170"/>
                  </a:lnTo>
                  <a:close/>
                  <a:moveTo>
                    <a:pt x="76" y="59"/>
                  </a:moveTo>
                  <a:cubicBezTo>
                    <a:pt x="99" y="79"/>
                    <a:pt x="129" y="90"/>
                    <a:pt x="162" y="90"/>
                  </a:cubicBezTo>
                  <a:cubicBezTo>
                    <a:pt x="193" y="90"/>
                    <a:pt x="224" y="79"/>
                    <a:pt x="247" y="59"/>
                  </a:cubicBezTo>
                  <a:cubicBezTo>
                    <a:pt x="247" y="117"/>
                    <a:pt x="247" y="117"/>
                    <a:pt x="247" y="117"/>
                  </a:cubicBezTo>
                  <a:cubicBezTo>
                    <a:pt x="76" y="117"/>
                    <a:pt x="76" y="117"/>
                    <a:pt x="76" y="117"/>
                  </a:cubicBezTo>
                  <a:lnTo>
                    <a:pt x="76" y="59"/>
                  </a:lnTo>
                  <a:close/>
                  <a:moveTo>
                    <a:pt x="234" y="174"/>
                  </a:moveTo>
                  <a:cubicBezTo>
                    <a:pt x="232" y="172"/>
                    <a:pt x="229" y="171"/>
                    <a:pt x="226" y="170"/>
                  </a:cubicBezTo>
                  <a:cubicBezTo>
                    <a:pt x="223" y="170"/>
                    <a:pt x="220" y="171"/>
                    <a:pt x="218" y="173"/>
                  </a:cubicBezTo>
                  <a:cubicBezTo>
                    <a:pt x="209" y="182"/>
                    <a:pt x="200" y="187"/>
                    <a:pt x="192" y="186"/>
                  </a:cubicBezTo>
                  <a:cubicBezTo>
                    <a:pt x="179" y="186"/>
                    <a:pt x="170" y="174"/>
                    <a:pt x="170" y="174"/>
                  </a:cubicBezTo>
                  <a:cubicBezTo>
                    <a:pt x="168" y="172"/>
                    <a:pt x="165" y="171"/>
                    <a:pt x="162" y="170"/>
                  </a:cubicBezTo>
                  <a:cubicBezTo>
                    <a:pt x="159" y="170"/>
                    <a:pt x="156" y="171"/>
                    <a:pt x="154" y="173"/>
                  </a:cubicBezTo>
                  <a:cubicBezTo>
                    <a:pt x="145" y="182"/>
                    <a:pt x="136" y="187"/>
                    <a:pt x="128" y="186"/>
                  </a:cubicBezTo>
                  <a:cubicBezTo>
                    <a:pt x="115" y="186"/>
                    <a:pt x="106" y="174"/>
                    <a:pt x="106" y="174"/>
                  </a:cubicBezTo>
                  <a:cubicBezTo>
                    <a:pt x="104" y="172"/>
                    <a:pt x="101" y="171"/>
                    <a:pt x="98" y="170"/>
                  </a:cubicBezTo>
                  <a:cubicBezTo>
                    <a:pt x="95" y="170"/>
                    <a:pt x="92" y="171"/>
                    <a:pt x="90" y="173"/>
                  </a:cubicBezTo>
                  <a:cubicBezTo>
                    <a:pt x="85" y="178"/>
                    <a:pt x="81" y="181"/>
                    <a:pt x="76" y="183"/>
                  </a:cubicBezTo>
                  <a:cubicBezTo>
                    <a:pt x="76" y="181"/>
                    <a:pt x="76" y="181"/>
                    <a:pt x="76" y="181"/>
                  </a:cubicBezTo>
                  <a:cubicBezTo>
                    <a:pt x="76" y="170"/>
                    <a:pt x="76" y="170"/>
                    <a:pt x="76" y="170"/>
                  </a:cubicBezTo>
                  <a:cubicBezTo>
                    <a:pt x="76" y="138"/>
                    <a:pt x="76" y="138"/>
                    <a:pt x="76" y="138"/>
                  </a:cubicBezTo>
                  <a:cubicBezTo>
                    <a:pt x="247" y="138"/>
                    <a:pt x="247" y="138"/>
                    <a:pt x="247" y="138"/>
                  </a:cubicBezTo>
                  <a:cubicBezTo>
                    <a:pt x="247" y="170"/>
                    <a:pt x="247" y="170"/>
                    <a:pt x="247" y="170"/>
                  </a:cubicBezTo>
                  <a:cubicBezTo>
                    <a:pt x="247" y="181"/>
                    <a:pt x="247" y="181"/>
                    <a:pt x="247" y="181"/>
                  </a:cubicBezTo>
                  <a:cubicBezTo>
                    <a:pt x="247" y="184"/>
                    <a:pt x="247" y="184"/>
                    <a:pt x="247" y="184"/>
                  </a:cubicBezTo>
                  <a:cubicBezTo>
                    <a:pt x="239" y="181"/>
                    <a:pt x="234" y="174"/>
                    <a:pt x="234" y="1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TextBox 275"/>
          <p:cNvSpPr txBox="1"/>
          <p:nvPr/>
        </p:nvSpPr>
        <p:spPr>
          <a:xfrm>
            <a:off x="4581832" y="2116138"/>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ail bridge</a:t>
            </a:r>
          </a:p>
        </p:txBody>
      </p:sp>
      <p:sp>
        <p:nvSpPr>
          <p:cNvPr id="277" name="TextBox 276"/>
          <p:cNvSpPr txBox="1"/>
          <p:nvPr/>
        </p:nvSpPr>
        <p:spPr>
          <a:xfrm>
            <a:off x="5411223" y="2116138"/>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iver bridge</a:t>
            </a:r>
          </a:p>
        </p:txBody>
      </p:sp>
      <p:grpSp>
        <p:nvGrpSpPr>
          <p:cNvPr id="278" name="Group 620"/>
          <p:cNvGrpSpPr>
            <a:grpSpLocks noChangeAspect="1"/>
          </p:cNvGrpSpPr>
          <p:nvPr/>
        </p:nvGrpSpPr>
        <p:grpSpPr bwMode="auto">
          <a:xfrm>
            <a:off x="5023325" y="1697038"/>
            <a:ext cx="369021" cy="369021"/>
            <a:chOff x="3459" y="2357"/>
            <a:chExt cx="340" cy="340"/>
          </a:xfrm>
          <a:solidFill>
            <a:schemeClr val="accent1"/>
          </a:solidFill>
        </p:grpSpPr>
        <p:sp>
          <p:nvSpPr>
            <p:cNvPr id="279" name="Freeform 621"/>
            <p:cNvSpPr>
              <a:spLocks noEditPoints="1"/>
            </p:cNvSpPr>
            <p:nvPr/>
          </p:nvSpPr>
          <p:spPr bwMode="auto">
            <a:xfrm>
              <a:off x="3459" y="235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622"/>
            <p:cNvSpPr>
              <a:spLocks noEditPoints="1"/>
            </p:cNvSpPr>
            <p:nvPr/>
          </p:nvSpPr>
          <p:spPr bwMode="auto">
            <a:xfrm>
              <a:off x="3523" y="2448"/>
              <a:ext cx="85" cy="157"/>
            </a:xfrm>
            <a:custGeom>
              <a:avLst/>
              <a:gdLst>
                <a:gd name="T0" fmla="*/ 93 w 128"/>
                <a:gd name="T1" fmla="*/ 4 h 236"/>
                <a:gd name="T2" fmla="*/ 77 w 128"/>
                <a:gd name="T3" fmla="*/ 4 h 236"/>
                <a:gd name="T4" fmla="*/ 77 w 128"/>
                <a:gd name="T5" fmla="*/ 20 h 236"/>
                <a:gd name="T6" fmla="*/ 106 w 128"/>
                <a:gd name="T7" fmla="*/ 48 h 236"/>
                <a:gd name="T8" fmla="*/ 106 w 128"/>
                <a:gd name="T9" fmla="*/ 76 h 236"/>
                <a:gd name="T10" fmla="*/ 85 w 128"/>
                <a:gd name="T11" fmla="*/ 76 h 236"/>
                <a:gd name="T12" fmla="*/ 74 w 128"/>
                <a:gd name="T13" fmla="*/ 65 h 236"/>
                <a:gd name="T14" fmla="*/ 64 w 128"/>
                <a:gd name="T15" fmla="*/ 76 h 236"/>
                <a:gd name="T16" fmla="*/ 42 w 128"/>
                <a:gd name="T17" fmla="*/ 76 h 236"/>
                <a:gd name="T18" fmla="*/ 32 w 128"/>
                <a:gd name="T19" fmla="*/ 65 h 236"/>
                <a:gd name="T20" fmla="*/ 21 w 128"/>
                <a:gd name="T21" fmla="*/ 76 h 236"/>
                <a:gd name="T22" fmla="*/ 10 w 128"/>
                <a:gd name="T23" fmla="*/ 76 h 236"/>
                <a:gd name="T24" fmla="*/ 0 w 128"/>
                <a:gd name="T25" fmla="*/ 87 h 236"/>
                <a:gd name="T26" fmla="*/ 10 w 128"/>
                <a:gd name="T27" fmla="*/ 97 h 236"/>
                <a:gd name="T28" fmla="*/ 21 w 128"/>
                <a:gd name="T29" fmla="*/ 97 h 236"/>
                <a:gd name="T30" fmla="*/ 21 w 128"/>
                <a:gd name="T31" fmla="*/ 140 h 236"/>
                <a:gd name="T32" fmla="*/ 10 w 128"/>
                <a:gd name="T33" fmla="*/ 140 h 236"/>
                <a:gd name="T34" fmla="*/ 0 w 128"/>
                <a:gd name="T35" fmla="*/ 151 h 236"/>
                <a:gd name="T36" fmla="*/ 10 w 128"/>
                <a:gd name="T37" fmla="*/ 161 h 236"/>
                <a:gd name="T38" fmla="*/ 21 w 128"/>
                <a:gd name="T39" fmla="*/ 161 h 236"/>
                <a:gd name="T40" fmla="*/ 32 w 128"/>
                <a:gd name="T41" fmla="*/ 172 h 236"/>
                <a:gd name="T42" fmla="*/ 42 w 128"/>
                <a:gd name="T43" fmla="*/ 161 h 236"/>
                <a:gd name="T44" fmla="*/ 64 w 128"/>
                <a:gd name="T45" fmla="*/ 161 h 236"/>
                <a:gd name="T46" fmla="*/ 74 w 128"/>
                <a:gd name="T47" fmla="*/ 172 h 236"/>
                <a:gd name="T48" fmla="*/ 85 w 128"/>
                <a:gd name="T49" fmla="*/ 161 h 236"/>
                <a:gd name="T50" fmla="*/ 106 w 128"/>
                <a:gd name="T51" fmla="*/ 161 h 236"/>
                <a:gd name="T52" fmla="*/ 106 w 128"/>
                <a:gd name="T53" fmla="*/ 189 h 236"/>
                <a:gd name="T54" fmla="*/ 77 w 128"/>
                <a:gd name="T55" fmla="*/ 218 h 236"/>
                <a:gd name="T56" fmla="*/ 77 w 128"/>
                <a:gd name="T57" fmla="*/ 233 h 236"/>
                <a:gd name="T58" fmla="*/ 85 w 128"/>
                <a:gd name="T59" fmla="*/ 236 h 236"/>
                <a:gd name="T60" fmla="*/ 93 w 128"/>
                <a:gd name="T61" fmla="*/ 233 h 236"/>
                <a:gd name="T62" fmla="*/ 125 w 128"/>
                <a:gd name="T63" fmla="*/ 201 h 236"/>
                <a:gd name="T64" fmla="*/ 128 w 128"/>
                <a:gd name="T65" fmla="*/ 193 h 236"/>
                <a:gd name="T66" fmla="*/ 128 w 128"/>
                <a:gd name="T67" fmla="*/ 44 h 236"/>
                <a:gd name="T68" fmla="*/ 125 w 128"/>
                <a:gd name="T69" fmla="*/ 36 h 236"/>
                <a:gd name="T70" fmla="*/ 93 w 128"/>
                <a:gd name="T71" fmla="*/ 4 h 236"/>
                <a:gd name="T72" fmla="*/ 42 w 128"/>
                <a:gd name="T73" fmla="*/ 140 h 236"/>
                <a:gd name="T74" fmla="*/ 42 w 128"/>
                <a:gd name="T75" fmla="*/ 97 h 236"/>
                <a:gd name="T76" fmla="*/ 64 w 128"/>
                <a:gd name="T77" fmla="*/ 97 h 236"/>
                <a:gd name="T78" fmla="*/ 64 w 128"/>
                <a:gd name="T79" fmla="*/ 140 h 236"/>
                <a:gd name="T80" fmla="*/ 42 w 128"/>
                <a:gd name="T81" fmla="*/ 140 h 236"/>
                <a:gd name="T82" fmla="*/ 85 w 128"/>
                <a:gd name="T83" fmla="*/ 140 h 236"/>
                <a:gd name="T84" fmla="*/ 85 w 128"/>
                <a:gd name="T85" fmla="*/ 97 h 236"/>
                <a:gd name="T86" fmla="*/ 106 w 128"/>
                <a:gd name="T87" fmla="*/ 97 h 236"/>
                <a:gd name="T88" fmla="*/ 106 w 128"/>
                <a:gd name="T89" fmla="*/ 140 h 236"/>
                <a:gd name="T90" fmla="*/ 85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93" y="4"/>
                  </a:moveTo>
                  <a:cubicBezTo>
                    <a:pt x="88" y="0"/>
                    <a:pt x="82" y="0"/>
                    <a:pt x="77" y="4"/>
                  </a:cubicBezTo>
                  <a:cubicBezTo>
                    <a:pt x="73" y="9"/>
                    <a:pt x="73" y="15"/>
                    <a:pt x="77" y="20"/>
                  </a:cubicBezTo>
                  <a:cubicBezTo>
                    <a:pt x="106" y="48"/>
                    <a:pt x="106" y="48"/>
                    <a:pt x="106" y="48"/>
                  </a:cubicBezTo>
                  <a:cubicBezTo>
                    <a:pt x="106" y="76"/>
                    <a:pt x="106" y="76"/>
                    <a:pt x="106" y="76"/>
                  </a:cubicBezTo>
                  <a:cubicBezTo>
                    <a:pt x="85" y="76"/>
                    <a:pt x="85" y="76"/>
                    <a:pt x="85" y="76"/>
                  </a:cubicBezTo>
                  <a:cubicBezTo>
                    <a:pt x="85" y="70"/>
                    <a:pt x="80" y="65"/>
                    <a:pt x="74" y="65"/>
                  </a:cubicBezTo>
                  <a:cubicBezTo>
                    <a:pt x="68" y="65"/>
                    <a:pt x="64" y="70"/>
                    <a:pt x="64" y="76"/>
                  </a:cubicBezTo>
                  <a:cubicBezTo>
                    <a:pt x="42" y="76"/>
                    <a:pt x="42" y="76"/>
                    <a:pt x="42" y="76"/>
                  </a:cubicBezTo>
                  <a:cubicBezTo>
                    <a:pt x="42" y="70"/>
                    <a:pt x="38" y="65"/>
                    <a:pt x="32" y="65"/>
                  </a:cubicBezTo>
                  <a:cubicBezTo>
                    <a:pt x="26" y="65"/>
                    <a:pt x="21" y="70"/>
                    <a:pt x="21" y="76"/>
                  </a:cubicBezTo>
                  <a:cubicBezTo>
                    <a:pt x="10" y="76"/>
                    <a:pt x="10" y="76"/>
                    <a:pt x="10" y="76"/>
                  </a:cubicBezTo>
                  <a:cubicBezTo>
                    <a:pt x="4" y="76"/>
                    <a:pt x="0" y="81"/>
                    <a:pt x="0" y="87"/>
                  </a:cubicBezTo>
                  <a:cubicBezTo>
                    <a:pt x="0" y="93"/>
                    <a:pt x="4" y="97"/>
                    <a:pt x="10" y="97"/>
                  </a:cubicBezTo>
                  <a:cubicBezTo>
                    <a:pt x="21" y="97"/>
                    <a:pt x="21" y="97"/>
                    <a:pt x="21" y="97"/>
                  </a:cubicBezTo>
                  <a:cubicBezTo>
                    <a:pt x="21" y="140"/>
                    <a:pt x="21" y="140"/>
                    <a:pt x="21" y="140"/>
                  </a:cubicBezTo>
                  <a:cubicBezTo>
                    <a:pt x="10" y="140"/>
                    <a:pt x="10" y="140"/>
                    <a:pt x="10" y="140"/>
                  </a:cubicBezTo>
                  <a:cubicBezTo>
                    <a:pt x="4" y="140"/>
                    <a:pt x="0" y="145"/>
                    <a:pt x="0" y="151"/>
                  </a:cubicBezTo>
                  <a:cubicBezTo>
                    <a:pt x="0" y="157"/>
                    <a:pt x="4" y="161"/>
                    <a:pt x="10" y="161"/>
                  </a:cubicBezTo>
                  <a:cubicBezTo>
                    <a:pt x="21" y="161"/>
                    <a:pt x="21" y="161"/>
                    <a:pt x="21" y="161"/>
                  </a:cubicBezTo>
                  <a:cubicBezTo>
                    <a:pt x="21" y="167"/>
                    <a:pt x="26" y="172"/>
                    <a:pt x="32" y="172"/>
                  </a:cubicBezTo>
                  <a:cubicBezTo>
                    <a:pt x="38" y="172"/>
                    <a:pt x="42" y="167"/>
                    <a:pt x="42" y="161"/>
                  </a:cubicBezTo>
                  <a:cubicBezTo>
                    <a:pt x="64" y="161"/>
                    <a:pt x="64" y="161"/>
                    <a:pt x="64" y="161"/>
                  </a:cubicBezTo>
                  <a:cubicBezTo>
                    <a:pt x="64" y="167"/>
                    <a:pt x="68" y="172"/>
                    <a:pt x="74" y="172"/>
                  </a:cubicBezTo>
                  <a:cubicBezTo>
                    <a:pt x="80" y="172"/>
                    <a:pt x="85" y="167"/>
                    <a:pt x="85" y="161"/>
                  </a:cubicBezTo>
                  <a:cubicBezTo>
                    <a:pt x="106" y="161"/>
                    <a:pt x="106" y="161"/>
                    <a:pt x="106" y="161"/>
                  </a:cubicBezTo>
                  <a:cubicBezTo>
                    <a:pt x="106" y="189"/>
                    <a:pt x="106" y="189"/>
                    <a:pt x="106" y="189"/>
                  </a:cubicBezTo>
                  <a:cubicBezTo>
                    <a:pt x="77" y="218"/>
                    <a:pt x="77" y="218"/>
                    <a:pt x="77" y="218"/>
                  </a:cubicBezTo>
                  <a:cubicBezTo>
                    <a:pt x="73" y="222"/>
                    <a:pt x="73" y="229"/>
                    <a:pt x="77" y="233"/>
                  </a:cubicBezTo>
                  <a:cubicBezTo>
                    <a:pt x="80" y="235"/>
                    <a:pt x="82" y="236"/>
                    <a:pt x="85" y="236"/>
                  </a:cubicBezTo>
                  <a:cubicBezTo>
                    <a:pt x="88" y="236"/>
                    <a:pt x="90" y="235"/>
                    <a:pt x="93" y="233"/>
                  </a:cubicBezTo>
                  <a:cubicBezTo>
                    <a:pt x="125" y="201"/>
                    <a:pt x="125" y="201"/>
                    <a:pt x="125" y="201"/>
                  </a:cubicBezTo>
                  <a:cubicBezTo>
                    <a:pt x="127" y="199"/>
                    <a:pt x="128" y="196"/>
                    <a:pt x="128" y="193"/>
                  </a:cubicBezTo>
                  <a:cubicBezTo>
                    <a:pt x="128" y="44"/>
                    <a:pt x="128" y="44"/>
                    <a:pt x="128" y="44"/>
                  </a:cubicBezTo>
                  <a:cubicBezTo>
                    <a:pt x="128" y="41"/>
                    <a:pt x="127" y="38"/>
                    <a:pt x="125" y="36"/>
                  </a:cubicBezTo>
                  <a:lnTo>
                    <a:pt x="93" y="4"/>
                  </a:lnTo>
                  <a:close/>
                  <a:moveTo>
                    <a:pt x="42" y="140"/>
                  </a:moveTo>
                  <a:cubicBezTo>
                    <a:pt x="42" y="97"/>
                    <a:pt x="42" y="97"/>
                    <a:pt x="42" y="97"/>
                  </a:cubicBezTo>
                  <a:cubicBezTo>
                    <a:pt x="64" y="97"/>
                    <a:pt x="64" y="97"/>
                    <a:pt x="64" y="97"/>
                  </a:cubicBezTo>
                  <a:cubicBezTo>
                    <a:pt x="64" y="140"/>
                    <a:pt x="64" y="140"/>
                    <a:pt x="64" y="140"/>
                  </a:cubicBezTo>
                  <a:lnTo>
                    <a:pt x="42" y="140"/>
                  </a:lnTo>
                  <a:close/>
                  <a:moveTo>
                    <a:pt x="85" y="140"/>
                  </a:moveTo>
                  <a:cubicBezTo>
                    <a:pt x="85" y="97"/>
                    <a:pt x="85" y="97"/>
                    <a:pt x="85" y="97"/>
                  </a:cubicBezTo>
                  <a:cubicBezTo>
                    <a:pt x="106" y="97"/>
                    <a:pt x="106" y="97"/>
                    <a:pt x="106" y="97"/>
                  </a:cubicBezTo>
                  <a:cubicBezTo>
                    <a:pt x="106" y="140"/>
                    <a:pt x="106" y="140"/>
                    <a:pt x="106" y="140"/>
                  </a:cubicBezTo>
                  <a:lnTo>
                    <a:pt x="85" y="1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623"/>
            <p:cNvSpPr>
              <a:spLocks noEditPoints="1"/>
            </p:cNvSpPr>
            <p:nvPr/>
          </p:nvSpPr>
          <p:spPr bwMode="auto">
            <a:xfrm>
              <a:off x="3650" y="2448"/>
              <a:ext cx="85" cy="157"/>
            </a:xfrm>
            <a:custGeom>
              <a:avLst/>
              <a:gdLst>
                <a:gd name="T0" fmla="*/ 117 w 128"/>
                <a:gd name="T1" fmla="*/ 140 h 236"/>
                <a:gd name="T2" fmla="*/ 106 w 128"/>
                <a:gd name="T3" fmla="*/ 140 h 236"/>
                <a:gd name="T4" fmla="*/ 106 w 128"/>
                <a:gd name="T5" fmla="*/ 97 h 236"/>
                <a:gd name="T6" fmla="*/ 117 w 128"/>
                <a:gd name="T7" fmla="*/ 97 h 236"/>
                <a:gd name="T8" fmla="*/ 128 w 128"/>
                <a:gd name="T9" fmla="*/ 87 h 236"/>
                <a:gd name="T10" fmla="*/ 117 w 128"/>
                <a:gd name="T11" fmla="*/ 76 h 236"/>
                <a:gd name="T12" fmla="*/ 106 w 128"/>
                <a:gd name="T13" fmla="*/ 76 h 236"/>
                <a:gd name="T14" fmla="*/ 96 w 128"/>
                <a:gd name="T15" fmla="*/ 65 h 236"/>
                <a:gd name="T16" fmla="*/ 85 w 128"/>
                <a:gd name="T17" fmla="*/ 76 h 236"/>
                <a:gd name="T18" fmla="*/ 64 w 128"/>
                <a:gd name="T19" fmla="*/ 76 h 236"/>
                <a:gd name="T20" fmla="*/ 53 w 128"/>
                <a:gd name="T21" fmla="*/ 65 h 236"/>
                <a:gd name="T22" fmla="*/ 42 w 128"/>
                <a:gd name="T23" fmla="*/ 76 h 236"/>
                <a:gd name="T24" fmla="*/ 21 w 128"/>
                <a:gd name="T25" fmla="*/ 76 h 236"/>
                <a:gd name="T26" fmla="*/ 21 w 128"/>
                <a:gd name="T27" fmla="*/ 48 h 236"/>
                <a:gd name="T28" fmla="*/ 50 w 128"/>
                <a:gd name="T29" fmla="*/ 20 h 236"/>
                <a:gd name="T30" fmla="*/ 50 w 128"/>
                <a:gd name="T31" fmla="*/ 4 h 236"/>
                <a:gd name="T32" fmla="*/ 35 w 128"/>
                <a:gd name="T33" fmla="*/ 4 h 236"/>
                <a:gd name="T34" fmla="*/ 3 w 128"/>
                <a:gd name="T35" fmla="*/ 36 h 236"/>
                <a:gd name="T36" fmla="*/ 0 w 128"/>
                <a:gd name="T37" fmla="*/ 44 h 236"/>
                <a:gd name="T38" fmla="*/ 0 w 128"/>
                <a:gd name="T39" fmla="*/ 193 h 236"/>
                <a:gd name="T40" fmla="*/ 3 w 128"/>
                <a:gd name="T41" fmla="*/ 201 h 236"/>
                <a:gd name="T42" fmla="*/ 35 w 128"/>
                <a:gd name="T43" fmla="*/ 233 h 236"/>
                <a:gd name="T44" fmla="*/ 42 w 128"/>
                <a:gd name="T45" fmla="*/ 236 h 236"/>
                <a:gd name="T46" fmla="*/ 50 w 128"/>
                <a:gd name="T47" fmla="*/ 233 h 236"/>
                <a:gd name="T48" fmla="*/ 50 w 128"/>
                <a:gd name="T49" fmla="*/ 218 h 236"/>
                <a:gd name="T50" fmla="*/ 21 w 128"/>
                <a:gd name="T51" fmla="*/ 189 h 236"/>
                <a:gd name="T52" fmla="*/ 21 w 128"/>
                <a:gd name="T53" fmla="*/ 161 h 236"/>
                <a:gd name="T54" fmla="*/ 42 w 128"/>
                <a:gd name="T55" fmla="*/ 161 h 236"/>
                <a:gd name="T56" fmla="*/ 53 w 128"/>
                <a:gd name="T57" fmla="*/ 172 h 236"/>
                <a:gd name="T58" fmla="*/ 64 w 128"/>
                <a:gd name="T59" fmla="*/ 161 h 236"/>
                <a:gd name="T60" fmla="*/ 85 w 128"/>
                <a:gd name="T61" fmla="*/ 161 h 236"/>
                <a:gd name="T62" fmla="*/ 96 w 128"/>
                <a:gd name="T63" fmla="*/ 172 h 236"/>
                <a:gd name="T64" fmla="*/ 106 w 128"/>
                <a:gd name="T65" fmla="*/ 161 h 236"/>
                <a:gd name="T66" fmla="*/ 117 w 128"/>
                <a:gd name="T67" fmla="*/ 161 h 236"/>
                <a:gd name="T68" fmla="*/ 128 w 128"/>
                <a:gd name="T69" fmla="*/ 151 h 236"/>
                <a:gd name="T70" fmla="*/ 117 w 128"/>
                <a:gd name="T71" fmla="*/ 140 h 236"/>
                <a:gd name="T72" fmla="*/ 21 w 128"/>
                <a:gd name="T73" fmla="*/ 140 h 236"/>
                <a:gd name="T74" fmla="*/ 21 w 128"/>
                <a:gd name="T75" fmla="*/ 97 h 236"/>
                <a:gd name="T76" fmla="*/ 42 w 128"/>
                <a:gd name="T77" fmla="*/ 97 h 236"/>
                <a:gd name="T78" fmla="*/ 42 w 128"/>
                <a:gd name="T79" fmla="*/ 140 h 236"/>
                <a:gd name="T80" fmla="*/ 21 w 128"/>
                <a:gd name="T81" fmla="*/ 140 h 236"/>
                <a:gd name="T82" fmla="*/ 64 w 128"/>
                <a:gd name="T83" fmla="*/ 140 h 236"/>
                <a:gd name="T84" fmla="*/ 64 w 128"/>
                <a:gd name="T85" fmla="*/ 97 h 236"/>
                <a:gd name="T86" fmla="*/ 85 w 128"/>
                <a:gd name="T87" fmla="*/ 97 h 236"/>
                <a:gd name="T88" fmla="*/ 85 w 128"/>
                <a:gd name="T89" fmla="*/ 140 h 236"/>
                <a:gd name="T90" fmla="*/ 64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117" y="140"/>
                  </a:moveTo>
                  <a:cubicBezTo>
                    <a:pt x="106" y="140"/>
                    <a:pt x="106" y="140"/>
                    <a:pt x="106" y="140"/>
                  </a:cubicBezTo>
                  <a:cubicBezTo>
                    <a:pt x="106" y="97"/>
                    <a:pt x="106" y="97"/>
                    <a:pt x="106" y="97"/>
                  </a:cubicBezTo>
                  <a:cubicBezTo>
                    <a:pt x="117" y="97"/>
                    <a:pt x="117" y="97"/>
                    <a:pt x="117" y="97"/>
                  </a:cubicBezTo>
                  <a:cubicBezTo>
                    <a:pt x="123" y="97"/>
                    <a:pt x="128" y="93"/>
                    <a:pt x="128" y="87"/>
                  </a:cubicBezTo>
                  <a:cubicBezTo>
                    <a:pt x="128" y="81"/>
                    <a:pt x="123" y="76"/>
                    <a:pt x="117" y="76"/>
                  </a:cubicBezTo>
                  <a:cubicBezTo>
                    <a:pt x="106" y="76"/>
                    <a:pt x="106" y="76"/>
                    <a:pt x="106" y="76"/>
                  </a:cubicBezTo>
                  <a:cubicBezTo>
                    <a:pt x="106" y="70"/>
                    <a:pt x="102" y="65"/>
                    <a:pt x="96" y="65"/>
                  </a:cubicBezTo>
                  <a:cubicBezTo>
                    <a:pt x="90" y="65"/>
                    <a:pt x="85" y="70"/>
                    <a:pt x="85" y="76"/>
                  </a:cubicBezTo>
                  <a:cubicBezTo>
                    <a:pt x="64" y="76"/>
                    <a:pt x="64" y="76"/>
                    <a:pt x="64" y="76"/>
                  </a:cubicBezTo>
                  <a:cubicBezTo>
                    <a:pt x="64" y="70"/>
                    <a:pt x="59" y="65"/>
                    <a:pt x="53" y="65"/>
                  </a:cubicBezTo>
                  <a:cubicBezTo>
                    <a:pt x="47" y="65"/>
                    <a:pt x="42" y="70"/>
                    <a:pt x="42" y="76"/>
                  </a:cubicBezTo>
                  <a:cubicBezTo>
                    <a:pt x="21" y="76"/>
                    <a:pt x="21" y="76"/>
                    <a:pt x="21" y="76"/>
                  </a:cubicBezTo>
                  <a:cubicBezTo>
                    <a:pt x="21" y="48"/>
                    <a:pt x="21" y="48"/>
                    <a:pt x="21" y="48"/>
                  </a:cubicBezTo>
                  <a:cubicBezTo>
                    <a:pt x="50" y="20"/>
                    <a:pt x="50" y="20"/>
                    <a:pt x="50" y="20"/>
                  </a:cubicBezTo>
                  <a:cubicBezTo>
                    <a:pt x="54" y="15"/>
                    <a:pt x="54" y="9"/>
                    <a:pt x="50" y="4"/>
                  </a:cubicBezTo>
                  <a:cubicBezTo>
                    <a:pt x="46" y="0"/>
                    <a:pt x="39" y="0"/>
                    <a:pt x="35" y="4"/>
                  </a:cubicBezTo>
                  <a:cubicBezTo>
                    <a:pt x="3" y="36"/>
                    <a:pt x="3" y="36"/>
                    <a:pt x="3" y="36"/>
                  </a:cubicBezTo>
                  <a:cubicBezTo>
                    <a:pt x="1" y="38"/>
                    <a:pt x="0" y="41"/>
                    <a:pt x="0" y="44"/>
                  </a:cubicBezTo>
                  <a:cubicBezTo>
                    <a:pt x="0" y="193"/>
                    <a:pt x="0" y="193"/>
                    <a:pt x="0" y="193"/>
                  </a:cubicBezTo>
                  <a:cubicBezTo>
                    <a:pt x="0" y="196"/>
                    <a:pt x="1" y="199"/>
                    <a:pt x="3" y="201"/>
                  </a:cubicBezTo>
                  <a:cubicBezTo>
                    <a:pt x="35" y="233"/>
                    <a:pt x="35" y="233"/>
                    <a:pt x="35" y="233"/>
                  </a:cubicBezTo>
                  <a:cubicBezTo>
                    <a:pt x="37" y="235"/>
                    <a:pt x="40" y="236"/>
                    <a:pt x="42" y="236"/>
                  </a:cubicBezTo>
                  <a:cubicBezTo>
                    <a:pt x="45" y="236"/>
                    <a:pt x="48" y="235"/>
                    <a:pt x="50" y="233"/>
                  </a:cubicBezTo>
                  <a:cubicBezTo>
                    <a:pt x="54" y="229"/>
                    <a:pt x="54" y="222"/>
                    <a:pt x="50" y="218"/>
                  </a:cubicBezTo>
                  <a:cubicBezTo>
                    <a:pt x="21" y="189"/>
                    <a:pt x="21" y="189"/>
                    <a:pt x="21" y="189"/>
                  </a:cubicBezTo>
                  <a:cubicBezTo>
                    <a:pt x="21" y="161"/>
                    <a:pt x="21" y="161"/>
                    <a:pt x="21" y="161"/>
                  </a:cubicBezTo>
                  <a:cubicBezTo>
                    <a:pt x="42" y="161"/>
                    <a:pt x="42" y="161"/>
                    <a:pt x="42" y="161"/>
                  </a:cubicBezTo>
                  <a:cubicBezTo>
                    <a:pt x="42" y="167"/>
                    <a:pt x="47" y="172"/>
                    <a:pt x="53" y="172"/>
                  </a:cubicBezTo>
                  <a:cubicBezTo>
                    <a:pt x="59" y="172"/>
                    <a:pt x="64" y="167"/>
                    <a:pt x="64" y="161"/>
                  </a:cubicBezTo>
                  <a:cubicBezTo>
                    <a:pt x="85" y="161"/>
                    <a:pt x="85" y="161"/>
                    <a:pt x="85" y="161"/>
                  </a:cubicBezTo>
                  <a:cubicBezTo>
                    <a:pt x="85" y="167"/>
                    <a:pt x="90" y="172"/>
                    <a:pt x="96" y="172"/>
                  </a:cubicBezTo>
                  <a:cubicBezTo>
                    <a:pt x="102" y="172"/>
                    <a:pt x="106" y="167"/>
                    <a:pt x="106" y="161"/>
                  </a:cubicBezTo>
                  <a:cubicBezTo>
                    <a:pt x="117" y="161"/>
                    <a:pt x="117" y="161"/>
                    <a:pt x="117" y="161"/>
                  </a:cubicBezTo>
                  <a:cubicBezTo>
                    <a:pt x="123" y="161"/>
                    <a:pt x="128" y="157"/>
                    <a:pt x="128" y="151"/>
                  </a:cubicBezTo>
                  <a:cubicBezTo>
                    <a:pt x="128" y="145"/>
                    <a:pt x="123" y="140"/>
                    <a:pt x="117" y="140"/>
                  </a:cubicBezTo>
                  <a:close/>
                  <a:moveTo>
                    <a:pt x="21" y="140"/>
                  </a:moveTo>
                  <a:cubicBezTo>
                    <a:pt x="21" y="97"/>
                    <a:pt x="21" y="97"/>
                    <a:pt x="21" y="97"/>
                  </a:cubicBezTo>
                  <a:cubicBezTo>
                    <a:pt x="42" y="97"/>
                    <a:pt x="42" y="97"/>
                    <a:pt x="42" y="97"/>
                  </a:cubicBezTo>
                  <a:cubicBezTo>
                    <a:pt x="42" y="140"/>
                    <a:pt x="42" y="140"/>
                    <a:pt x="42" y="140"/>
                  </a:cubicBezTo>
                  <a:lnTo>
                    <a:pt x="21" y="140"/>
                  </a:lnTo>
                  <a:close/>
                  <a:moveTo>
                    <a:pt x="64" y="140"/>
                  </a:moveTo>
                  <a:cubicBezTo>
                    <a:pt x="64" y="97"/>
                    <a:pt x="64" y="97"/>
                    <a:pt x="64" y="97"/>
                  </a:cubicBezTo>
                  <a:cubicBezTo>
                    <a:pt x="85" y="97"/>
                    <a:pt x="85" y="97"/>
                    <a:pt x="85" y="97"/>
                  </a:cubicBezTo>
                  <a:cubicBezTo>
                    <a:pt x="85" y="140"/>
                    <a:pt x="85" y="140"/>
                    <a:pt x="85" y="140"/>
                  </a:cubicBezTo>
                  <a:lnTo>
                    <a:pt x="64" y="1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2" name="Freeform 627"/>
          <p:cNvSpPr>
            <a:spLocks noChangeAspect="1" noEditPoints="1"/>
          </p:cNvSpPr>
          <p:nvPr/>
        </p:nvSpPr>
        <p:spPr bwMode="auto">
          <a:xfrm>
            <a:off x="4601723" y="1697038"/>
            <a:ext cx="370106" cy="369021"/>
          </a:xfrm>
          <a:custGeom>
            <a:avLst/>
            <a:gdLst>
              <a:gd name="T0" fmla="*/ 202 w 512"/>
              <a:gd name="T1" fmla="*/ 234 h 512"/>
              <a:gd name="T2" fmla="*/ 181 w 512"/>
              <a:gd name="T3" fmla="*/ 277 h 512"/>
              <a:gd name="T4" fmla="*/ 352 w 512"/>
              <a:gd name="T5" fmla="*/ 277 h 512"/>
              <a:gd name="T6" fmla="*/ 373 w 512"/>
              <a:gd name="T7" fmla="*/ 234 h 512"/>
              <a:gd name="T8" fmla="*/ 352 w 512"/>
              <a:gd name="T9" fmla="*/ 277 h 512"/>
              <a:gd name="T10" fmla="*/ 330 w 512"/>
              <a:gd name="T11" fmla="*/ 277 h 512"/>
              <a:gd name="T12" fmla="*/ 309 w 512"/>
              <a:gd name="T13" fmla="*/ 234 h 512"/>
              <a:gd name="T14" fmla="*/ 512 w 512"/>
              <a:gd name="T15" fmla="*/ 256 h 512"/>
              <a:gd name="T16" fmla="*/ 0 w 512"/>
              <a:gd name="T17" fmla="*/ 256 h 512"/>
              <a:gd name="T18" fmla="*/ 512 w 512"/>
              <a:gd name="T19" fmla="*/ 256 h 512"/>
              <a:gd name="T20" fmla="*/ 221 w 512"/>
              <a:gd name="T21" fmla="*/ 173 h 512"/>
              <a:gd name="T22" fmla="*/ 173 w 512"/>
              <a:gd name="T23" fmla="*/ 141 h 512"/>
              <a:gd name="T24" fmla="*/ 202 w 512"/>
              <a:gd name="T25" fmla="*/ 185 h 512"/>
              <a:gd name="T26" fmla="*/ 181 w 512"/>
              <a:gd name="T27" fmla="*/ 213 h 512"/>
              <a:gd name="T28" fmla="*/ 160 w 512"/>
              <a:gd name="T29" fmla="*/ 213 h 512"/>
              <a:gd name="T30" fmla="*/ 128 w 512"/>
              <a:gd name="T31" fmla="*/ 202 h 512"/>
              <a:gd name="T32" fmla="*/ 106 w 512"/>
              <a:gd name="T33" fmla="*/ 213 h 512"/>
              <a:gd name="T34" fmla="*/ 106 w 512"/>
              <a:gd name="T35" fmla="*/ 234 h 512"/>
              <a:gd name="T36" fmla="*/ 117 w 512"/>
              <a:gd name="T37" fmla="*/ 277 h 512"/>
              <a:gd name="T38" fmla="*/ 96 w 512"/>
              <a:gd name="T39" fmla="*/ 288 h 512"/>
              <a:gd name="T40" fmla="*/ 117 w 512"/>
              <a:gd name="T41" fmla="*/ 298 h 512"/>
              <a:gd name="T42" fmla="*/ 138 w 512"/>
              <a:gd name="T43" fmla="*/ 298 h 512"/>
              <a:gd name="T44" fmla="*/ 170 w 512"/>
              <a:gd name="T45" fmla="*/ 309 h 512"/>
              <a:gd name="T46" fmla="*/ 202 w 512"/>
              <a:gd name="T47" fmla="*/ 298 h 512"/>
              <a:gd name="T48" fmla="*/ 173 w 512"/>
              <a:gd name="T49" fmla="*/ 355 h 512"/>
              <a:gd name="T50" fmla="*/ 181 w 512"/>
              <a:gd name="T51" fmla="*/ 373 h 512"/>
              <a:gd name="T52" fmla="*/ 221 w 512"/>
              <a:gd name="T53" fmla="*/ 338 h 512"/>
              <a:gd name="T54" fmla="*/ 224 w 512"/>
              <a:gd name="T55" fmla="*/ 181 h 512"/>
              <a:gd name="T56" fmla="*/ 394 w 512"/>
              <a:gd name="T57" fmla="*/ 234 h 512"/>
              <a:gd name="T58" fmla="*/ 416 w 512"/>
              <a:gd name="T59" fmla="*/ 224 h 512"/>
              <a:gd name="T60" fmla="*/ 394 w 512"/>
              <a:gd name="T61" fmla="*/ 213 h 512"/>
              <a:gd name="T62" fmla="*/ 373 w 512"/>
              <a:gd name="T63" fmla="*/ 213 h 512"/>
              <a:gd name="T64" fmla="*/ 341 w 512"/>
              <a:gd name="T65" fmla="*/ 202 h 512"/>
              <a:gd name="T66" fmla="*/ 309 w 512"/>
              <a:gd name="T67" fmla="*/ 213 h 512"/>
              <a:gd name="T68" fmla="*/ 338 w 512"/>
              <a:gd name="T69" fmla="*/ 157 h 512"/>
              <a:gd name="T70" fmla="*/ 323 w 512"/>
              <a:gd name="T71" fmla="*/ 141 h 512"/>
              <a:gd name="T72" fmla="*/ 288 w 512"/>
              <a:gd name="T73" fmla="*/ 181 h 512"/>
              <a:gd name="T74" fmla="*/ 291 w 512"/>
              <a:gd name="T75" fmla="*/ 338 h 512"/>
              <a:gd name="T76" fmla="*/ 330 w 512"/>
              <a:gd name="T77" fmla="*/ 373 h 512"/>
              <a:gd name="T78" fmla="*/ 338 w 512"/>
              <a:gd name="T79" fmla="*/ 355 h 512"/>
              <a:gd name="T80" fmla="*/ 309 w 512"/>
              <a:gd name="T81" fmla="*/ 298 h 512"/>
              <a:gd name="T82" fmla="*/ 341 w 512"/>
              <a:gd name="T83" fmla="*/ 309 h 512"/>
              <a:gd name="T84" fmla="*/ 373 w 512"/>
              <a:gd name="T85" fmla="*/ 298 h 512"/>
              <a:gd name="T86" fmla="*/ 394 w 512"/>
              <a:gd name="T87" fmla="*/ 298 h 512"/>
              <a:gd name="T88" fmla="*/ 416 w 512"/>
              <a:gd name="T89" fmla="*/ 288 h 512"/>
              <a:gd name="T90" fmla="*/ 394 w 512"/>
              <a:gd name="T91" fmla="*/ 277 h 512"/>
              <a:gd name="T92" fmla="*/ 160 w 512"/>
              <a:gd name="T93" fmla="*/ 277 h 512"/>
              <a:gd name="T94" fmla="*/ 138 w 512"/>
              <a:gd name="T9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81" y="234"/>
                </a:moveTo>
                <a:cubicBezTo>
                  <a:pt x="202" y="234"/>
                  <a:pt x="202" y="234"/>
                  <a:pt x="202" y="234"/>
                </a:cubicBezTo>
                <a:cubicBezTo>
                  <a:pt x="202" y="277"/>
                  <a:pt x="202" y="277"/>
                  <a:pt x="202" y="277"/>
                </a:cubicBezTo>
                <a:cubicBezTo>
                  <a:pt x="181" y="277"/>
                  <a:pt x="181" y="277"/>
                  <a:pt x="181" y="277"/>
                </a:cubicBezTo>
                <a:lnTo>
                  <a:pt x="181" y="234"/>
                </a:lnTo>
                <a:close/>
                <a:moveTo>
                  <a:pt x="352" y="277"/>
                </a:moveTo>
                <a:cubicBezTo>
                  <a:pt x="373" y="277"/>
                  <a:pt x="373" y="277"/>
                  <a:pt x="373" y="277"/>
                </a:cubicBezTo>
                <a:cubicBezTo>
                  <a:pt x="373" y="234"/>
                  <a:pt x="373" y="234"/>
                  <a:pt x="373" y="234"/>
                </a:cubicBezTo>
                <a:cubicBezTo>
                  <a:pt x="352" y="234"/>
                  <a:pt x="352" y="234"/>
                  <a:pt x="352" y="234"/>
                </a:cubicBezTo>
                <a:lnTo>
                  <a:pt x="352" y="277"/>
                </a:lnTo>
                <a:close/>
                <a:moveTo>
                  <a:pt x="309" y="277"/>
                </a:moveTo>
                <a:cubicBezTo>
                  <a:pt x="330" y="277"/>
                  <a:pt x="330" y="277"/>
                  <a:pt x="330" y="277"/>
                </a:cubicBezTo>
                <a:cubicBezTo>
                  <a:pt x="330" y="234"/>
                  <a:pt x="330" y="234"/>
                  <a:pt x="330" y="234"/>
                </a:cubicBezTo>
                <a:cubicBezTo>
                  <a:pt x="309" y="234"/>
                  <a:pt x="309" y="234"/>
                  <a:pt x="309" y="234"/>
                </a:cubicBezTo>
                <a:lnTo>
                  <a:pt x="309"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81"/>
                </a:moveTo>
                <a:cubicBezTo>
                  <a:pt x="224" y="178"/>
                  <a:pt x="223" y="175"/>
                  <a:pt x="221" y="173"/>
                </a:cubicBezTo>
                <a:cubicBezTo>
                  <a:pt x="189" y="141"/>
                  <a:pt x="189" y="141"/>
                  <a:pt x="189" y="141"/>
                </a:cubicBezTo>
                <a:cubicBezTo>
                  <a:pt x="184" y="137"/>
                  <a:pt x="178" y="137"/>
                  <a:pt x="173" y="141"/>
                </a:cubicBezTo>
                <a:cubicBezTo>
                  <a:pt x="169" y="146"/>
                  <a:pt x="169" y="152"/>
                  <a:pt x="173" y="157"/>
                </a:cubicBezTo>
                <a:cubicBezTo>
                  <a:pt x="202" y="185"/>
                  <a:pt x="202" y="185"/>
                  <a:pt x="202" y="185"/>
                </a:cubicBezTo>
                <a:cubicBezTo>
                  <a:pt x="202" y="213"/>
                  <a:pt x="202" y="213"/>
                  <a:pt x="202" y="213"/>
                </a:cubicBezTo>
                <a:cubicBezTo>
                  <a:pt x="181" y="213"/>
                  <a:pt x="181" y="213"/>
                  <a:pt x="181" y="213"/>
                </a:cubicBezTo>
                <a:cubicBezTo>
                  <a:pt x="181" y="207"/>
                  <a:pt x="176" y="202"/>
                  <a:pt x="170" y="202"/>
                </a:cubicBezTo>
                <a:cubicBezTo>
                  <a:pt x="164" y="202"/>
                  <a:pt x="160" y="207"/>
                  <a:pt x="160" y="213"/>
                </a:cubicBezTo>
                <a:cubicBezTo>
                  <a:pt x="138" y="213"/>
                  <a:pt x="138" y="213"/>
                  <a:pt x="138" y="213"/>
                </a:cubicBezTo>
                <a:cubicBezTo>
                  <a:pt x="138" y="207"/>
                  <a:pt x="134" y="202"/>
                  <a:pt x="128" y="202"/>
                </a:cubicBezTo>
                <a:cubicBezTo>
                  <a:pt x="122" y="202"/>
                  <a:pt x="117" y="207"/>
                  <a:pt x="117" y="213"/>
                </a:cubicBezTo>
                <a:cubicBezTo>
                  <a:pt x="106" y="213"/>
                  <a:pt x="106" y="213"/>
                  <a:pt x="106" y="213"/>
                </a:cubicBezTo>
                <a:cubicBezTo>
                  <a:pt x="100" y="213"/>
                  <a:pt x="96" y="218"/>
                  <a:pt x="96" y="224"/>
                </a:cubicBezTo>
                <a:cubicBezTo>
                  <a:pt x="96" y="230"/>
                  <a:pt x="100" y="234"/>
                  <a:pt x="106" y="234"/>
                </a:cubicBezTo>
                <a:cubicBezTo>
                  <a:pt x="117" y="234"/>
                  <a:pt x="117" y="234"/>
                  <a:pt x="117" y="234"/>
                </a:cubicBezTo>
                <a:cubicBezTo>
                  <a:pt x="117" y="277"/>
                  <a:pt x="117" y="277"/>
                  <a:pt x="117" y="277"/>
                </a:cubicBezTo>
                <a:cubicBezTo>
                  <a:pt x="106" y="277"/>
                  <a:pt x="106" y="277"/>
                  <a:pt x="106" y="277"/>
                </a:cubicBezTo>
                <a:cubicBezTo>
                  <a:pt x="100" y="277"/>
                  <a:pt x="96" y="282"/>
                  <a:pt x="96" y="288"/>
                </a:cubicBezTo>
                <a:cubicBezTo>
                  <a:pt x="96" y="294"/>
                  <a:pt x="100" y="298"/>
                  <a:pt x="106" y="298"/>
                </a:cubicBezTo>
                <a:cubicBezTo>
                  <a:pt x="117" y="298"/>
                  <a:pt x="117" y="298"/>
                  <a:pt x="117" y="298"/>
                </a:cubicBezTo>
                <a:cubicBezTo>
                  <a:pt x="117" y="304"/>
                  <a:pt x="122" y="309"/>
                  <a:pt x="128" y="309"/>
                </a:cubicBezTo>
                <a:cubicBezTo>
                  <a:pt x="134" y="309"/>
                  <a:pt x="138" y="304"/>
                  <a:pt x="138" y="298"/>
                </a:cubicBezTo>
                <a:cubicBezTo>
                  <a:pt x="160" y="298"/>
                  <a:pt x="160" y="298"/>
                  <a:pt x="160" y="298"/>
                </a:cubicBezTo>
                <a:cubicBezTo>
                  <a:pt x="160" y="304"/>
                  <a:pt x="164" y="309"/>
                  <a:pt x="170" y="309"/>
                </a:cubicBezTo>
                <a:cubicBezTo>
                  <a:pt x="176" y="309"/>
                  <a:pt x="181" y="304"/>
                  <a:pt x="181" y="298"/>
                </a:cubicBezTo>
                <a:cubicBezTo>
                  <a:pt x="202" y="298"/>
                  <a:pt x="202" y="298"/>
                  <a:pt x="202" y="298"/>
                </a:cubicBezTo>
                <a:cubicBezTo>
                  <a:pt x="202" y="326"/>
                  <a:pt x="202" y="326"/>
                  <a:pt x="202" y="326"/>
                </a:cubicBezTo>
                <a:cubicBezTo>
                  <a:pt x="173" y="355"/>
                  <a:pt x="173" y="355"/>
                  <a:pt x="173" y="355"/>
                </a:cubicBezTo>
                <a:cubicBezTo>
                  <a:pt x="169" y="359"/>
                  <a:pt x="169" y="366"/>
                  <a:pt x="173" y="370"/>
                </a:cubicBezTo>
                <a:cubicBezTo>
                  <a:pt x="176" y="372"/>
                  <a:pt x="178" y="373"/>
                  <a:pt x="181" y="373"/>
                </a:cubicBezTo>
                <a:cubicBezTo>
                  <a:pt x="184" y="373"/>
                  <a:pt x="186" y="372"/>
                  <a:pt x="189" y="370"/>
                </a:cubicBezTo>
                <a:cubicBezTo>
                  <a:pt x="221" y="338"/>
                  <a:pt x="221" y="338"/>
                  <a:pt x="221" y="338"/>
                </a:cubicBezTo>
                <a:cubicBezTo>
                  <a:pt x="223" y="336"/>
                  <a:pt x="224" y="333"/>
                  <a:pt x="224" y="330"/>
                </a:cubicBezTo>
                <a:lnTo>
                  <a:pt x="224" y="181"/>
                </a:lnTo>
                <a:close/>
                <a:moveTo>
                  <a:pt x="394" y="277"/>
                </a:moveTo>
                <a:cubicBezTo>
                  <a:pt x="394" y="234"/>
                  <a:pt x="394" y="234"/>
                  <a:pt x="394" y="234"/>
                </a:cubicBezTo>
                <a:cubicBezTo>
                  <a:pt x="405" y="234"/>
                  <a:pt x="405" y="234"/>
                  <a:pt x="405" y="234"/>
                </a:cubicBezTo>
                <a:cubicBezTo>
                  <a:pt x="411" y="234"/>
                  <a:pt x="416" y="230"/>
                  <a:pt x="416" y="224"/>
                </a:cubicBezTo>
                <a:cubicBezTo>
                  <a:pt x="416" y="218"/>
                  <a:pt x="411" y="213"/>
                  <a:pt x="405" y="213"/>
                </a:cubicBezTo>
                <a:cubicBezTo>
                  <a:pt x="394" y="213"/>
                  <a:pt x="394" y="213"/>
                  <a:pt x="394" y="213"/>
                </a:cubicBezTo>
                <a:cubicBezTo>
                  <a:pt x="394" y="207"/>
                  <a:pt x="390" y="202"/>
                  <a:pt x="384" y="202"/>
                </a:cubicBezTo>
                <a:cubicBezTo>
                  <a:pt x="378" y="202"/>
                  <a:pt x="373" y="207"/>
                  <a:pt x="373" y="213"/>
                </a:cubicBezTo>
                <a:cubicBezTo>
                  <a:pt x="352" y="213"/>
                  <a:pt x="352" y="213"/>
                  <a:pt x="352" y="213"/>
                </a:cubicBezTo>
                <a:cubicBezTo>
                  <a:pt x="352" y="207"/>
                  <a:pt x="347" y="202"/>
                  <a:pt x="341" y="202"/>
                </a:cubicBezTo>
                <a:cubicBezTo>
                  <a:pt x="335" y="202"/>
                  <a:pt x="330" y="207"/>
                  <a:pt x="330" y="213"/>
                </a:cubicBezTo>
                <a:cubicBezTo>
                  <a:pt x="309" y="213"/>
                  <a:pt x="309" y="213"/>
                  <a:pt x="309" y="213"/>
                </a:cubicBezTo>
                <a:cubicBezTo>
                  <a:pt x="309" y="185"/>
                  <a:pt x="309" y="185"/>
                  <a:pt x="309" y="185"/>
                </a:cubicBezTo>
                <a:cubicBezTo>
                  <a:pt x="338" y="157"/>
                  <a:pt x="338" y="157"/>
                  <a:pt x="338" y="157"/>
                </a:cubicBezTo>
                <a:cubicBezTo>
                  <a:pt x="342" y="152"/>
                  <a:pt x="342" y="146"/>
                  <a:pt x="338" y="141"/>
                </a:cubicBezTo>
                <a:cubicBezTo>
                  <a:pt x="334" y="137"/>
                  <a:pt x="327" y="137"/>
                  <a:pt x="323" y="141"/>
                </a:cubicBezTo>
                <a:cubicBezTo>
                  <a:pt x="291" y="173"/>
                  <a:pt x="291" y="173"/>
                  <a:pt x="291" y="173"/>
                </a:cubicBezTo>
                <a:cubicBezTo>
                  <a:pt x="289" y="175"/>
                  <a:pt x="288" y="178"/>
                  <a:pt x="288" y="181"/>
                </a:cubicBezTo>
                <a:cubicBezTo>
                  <a:pt x="288" y="330"/>
                  <a:pt x="288" y="330"/>
                  <a:pt x="288" y="330"/>
                </a:cubicBezTo>
                <a:cubicBezTo>
                  <a:pt x="288" y="333"/>
                  <a:pt x="289" y="336"/>
                  <a:pt x="291" y="338"/>
                </a:cubicBezTo>
                <a:cubicBezTo>
                  <a:pt x="323" y="370"/>
                  <a:pt x="323" y="370"/>
                  <a:pt x="323" y="370"/>
                </a:cubicBezTo>
                <a:cubicBezTo>
                  <a:pt x="325" y="372"/>
                  <a:pt x="328" y="373"/>
                  <a:pt x="330" y="373"/>
                </a:cubicBezTo>
                <a:cubicBezTo>
                  <a:pt x="333" y="373"/>
                  <a:pt x="336" y="372"/>
                  <a:pt x="338" y="370"/>
                </a:cubicBezTo>
                <a:cubicBezTo>
                  <a:pt x="342" y="366"/>
                  <a:pt x="342" y="359"/>
                  <a:pt x="338" y="355"/>
                </a:cubicBezTo>
                <a:cubicBezTo>
                  <a:pt x="309" y="326"/>
                  <a:pt x="309" y="326"/>
                  <a:pt x="309" y="326"/>
                </a:cubicBezTo>
                <a:cubicBezTo>
                  <a:pt x="309" y="298"/>
                  <a:pt x="309" y="298"/>
                  <a:pt x="309" y="298"/>
                </a:cubicBezTo>
                <a:cubicBezTo>
                  <a:pt x="330" y="298"/>
                  <a:pt x="330" y="298"/>
                  <a:pt x="330" y="298"/>
                </a:cubicBezTo>
                <a:cubicBezTo>
                  <a:pt x="330" y="304"/>
                  <a:pt x="335" y="309"/>
                  <a:pt x="341" y="309"/>
                </a:cubicBezTo>
                <a:cubicBezTo>
                  <a:pt x="347" y="309"/>
                  <a:pt x="352" y="304"/>
                  <a:pt x="352" y="298"/>
                </a:cubicBezTo>
                <a:cubicBezTo>
                  <a:pt x="373" y="298"/>
                  <a:pt x="373" y="298"/>
                  <a:pt x="373" y="298"/>
                </a:cubicBezTo>
                <a:cubicBezTo>
                  <a:pt x="373" y="304"/>
                  <a:pt x="378" y="309"/>
                  <a:pt x="384" y="309"/>
                </a:cubicBezTo>
                <a:cubicBezTo>
                  <a:pt x="390" y="309"/>
                  <a:pt x="394" y="304"/>
                  <a:pt x="394" y="298"/>
                </a:cubicBezTo>
                <a:cubicBezTo>
                  <a:pt x="405" y="298"/>
                  <a:pt x="405" y="298"/>
                  <a:pt x="405" y="298"/>
                </a:cubicBezTo>
                <a:cubicBezTo>
                  <a:pt x="411" y="298"/>
                  <a:pt x="416" y="294"/>
                  <a:pt x="416" y="288"/>
                </a:cubicBezTo>
                <a:cubicBezTo>
                  <a:pt x="416" y="282"/>
                  <a:pt x="411" y="277"/>
                  <a:pt x="405" y="277"/>
                </a:cubicBezTo>
                <a:lnTo>
                  <a:pt x="394" y="277"/>
                </a:lnTo>
                <a:close/>
                <a:moveTo>
                  <a:pt x="138" y="277"/>
                </a:moveTo>
                <a:cubicBezTo>
                  <a:pt x="160" y="277"/>
                  <a:pt x="160" y="277"/>
                  <a:pt x="160" y="277"/>
                </a:cubicBezTo>
                <a:cubicBezTo>
                  <a:pt x="160" y="234"/>
                  <a:pt x="160" y="234"/>
                  <a:pt x="160" y="234"/>
                </a:cubicBezTo>
                <a:cubicBezTo>
                  <a:pt x="138" y="234"/>
                  <a:pt x="138" y="234"/>
                  <a:pt x="138" y="234"/>
                </a:cubicBezTo>
                <a:lnTo>
                  <a:pt x="138" y="27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3" name="Group 706"/>
          <p:cNvGrpSpPr>
            <a:grpSpLocks noChangeAspect="1"/>
          </p:cNvGrpSpPr>
          <p:nvPr/>
        </p:nvGrpSpPr>
        <p:grpSpPr bwMode="auto">
          <a:xfrm>
            <a:off x="5864359" y="1697038"/>
            <a:ext cx="369021" cy="369021"/>
            <a:chOff x="4298" y="2709"/>
            <a:chExt cx="340" cy="340"/>
          </a:xfrm>
          <a:solidFill>
            <a:schemeClr val="accent2"/>
          </a:solidFill>
        </p:grpSpPr>
        <p:sp>
          <p:nvSpPr>
            <p:cNvPr id="284" name="Freeform 707"/>
            <p:cNvSpPr>
              <a:spLocks noEditPoints="1"/>
            </p:cNvSpPr>
            <p:nvPr/>
          </p:nvSpPr>
          <p:spPr bwMode="auto">
            <a:xfrm>
              <a:off x="4298" y="2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708"/>
            <p:cNvSpPr>
              <a:spLocks noEditPoints="1"/>
            </p:cNvSpPr>
            <p:nvPr/>
          </p:nvSpPr>
          <p:spPr bwMode="auto">
            <a:xfrm>
              <a:off x="4362" y="2800"/>
              <a:ext cx="212" cy="157"/>
            </a:xfrm>
            <a:custGeom>
              <a:avLst/>
              <a:gdLst>
                <a:gd name="T0" fmla="*/ 128 w 320"/>
                <a:gd name="T1" fmla="*/ 44 h 236"/>
                <a:gd name="T2" fmla="*/ 125 w 320"/>
                <a:gd name="T3" fmla="*/ 201 h 236"/>
                <a:gd name="T4" fmla="*/ 85 w 320"/>
                <a:gd name="T5" fmla="*/ 236 h 236"/>
                <a:gd name="T6" fmla="*/ 77 w 320"/>
                <a:gd name="T7" fmla="*/ 218 h 236"/>
                <a:gd name="T8" fmla="*/ 106 w 320"/>
                <a:gd name="T9" fmla="*/ 181 h 236"/>
                <a:gd name="T10" fmla="*/ 81 w 320"/>
                <a:gd name="T11" fmla="*/ 161 h 236"/>
                <a:gd name="T12" fmla="*/ 46 w 320"/>
                <a:gd name="T13" fmla="*/ 183 h 236"/>
                <a:gd name="T14" fmla="*/ 10 w 320"/>
                <a:gd name="T15" fmla="*/ 161 h 236"/>
                <a:gd name="T16" fmla="*/ 10 w 320"/>
                <a:gd name="T17" fmla="*/ 140 h 236"/>
                <a:gd name="T18" fmla="*/ 46 w 320"/>
                <a:gd name="T19" fmla="*/ 161 h 236"/>
                <a:gd name="T20" fmla="*/ 81 w 320"/>
                <a:gd name="T21" fmla="*/ 140 h 236"/>
                <a:gd name="T22" fmla="*/ 106 w 320"/>
                <a:gd name="T23" fmla="*/ 138 h 236"/>
                <a:gd name="T24" fmla="*/ 81 w 320"/>
                <a:gd name="T25" fmla="*/ 119 h 236"/>
                <a:gd name="T26" fmla="*/ 46 w 320"/>
                <a:gd name="T27" fmla="*/ 140 h 236"/>
                <a:gd name="T28" fmla="*/ 10 w 320"/>
                <a:gd name="T29" fmla="*/ 119 h 236"/>
                <a:gd name="T30" fmla="*/ 10 w 320"/>
                <a:gd name="T31" fmla="*/ 97 h 236"/>
                <a:gd name="T32" fmla="*/ 46 w 320"/>
                <a:gd name="T33" fmla="*/ 119 h 236"/>
                <a:gd name="T34" fmla="*/ 81 w 320"/>
                <a:gd name="T35" fmla="*/ 97 h 236"/>
                <a:gd name="T36" fmla="*/ 106 w 320"/>
                <a:gd name="T37" fmla="*/ 95 h 236"/>
                <a:gd name="T38" fmla="*/ 81 w 320"/>
                <a:gd name="T39" fmla="*/ 76 h 236"/>
                <a:gd name="T40" fmla="*/ 46 w 320"/>
                <a:gd name="T41" fmla="*/ 97 h 236"/>
                <a:gd name="T42" fmla="*/ 10 w 320"/>
                <a:gd name="T43" fmla="*/ 76 h 236"/>
                <a:gd name="T44" fmla="*/ 10 w 320"/>
                <a:gd name="T45" fmla="*/ 55 h 236"/>
                <a:gd name="T46" fmla="*/ 46 w 320"/>
                <a:gd name="T47" fmla="*/ 76 h 236"/>
                <a:gd name="T48" fmla="*/ 81 w 320"/>
                <a:gd name="T49" fmla="*/ 55 h 236"/>
                <a:gd name="T50" fmla="*/ 106 w 320"/>
                <a:gd name="T51" fmla="*/ 48 h 236"/>
                <a:gd name="T52" fmla="*/ 77 w 320"/>
                <a:gd name="T53" fmla="*/ 4 h 236"/>
                <a:gd name="T54" fmla="*/ 125 w 320"/>
                <a:gd name="T55" fmla="*/ 36 h 236"/>
                <a:gd name="T56" fmla="*/ 264 w 320"/>
                <a:gd name="T57" fmla="*/ 126 h 236"/>
                <a:gd name="T58" fmla="*/ 283 w 320"/>
                <a:gd name="T59" fmla="*/ 125 h 236"/>
                <a:gd name="T60" fmla="*/ 320 w 320"/>
                <a:gd name="T61" fmla="*/ 129 h 236"/>
                <a:gd name="T62" fmla="*/ 299 w 320"/>
                <a:gd name="T63" fmla="*/ 112 h 236"/>
                <a:gd name="T64" fmla="*/ 248 w 320"/>
                <a:gd name="T65" fmla="*/ 112 h 236"/>
                <a:gd name="T66" fmla="*/ 228 w 320"/>
                <a:gd name="T67" fmla="*/ 112 h 236"/>
                <a:gd name="T68" fmla="*/ 213 w 320"/>
                <a:gd name="T69" fmla="*/ 84 h 236"/>
                <a:gd name="T70" fmla="*/ 264 w 320"/>
                <a:gd name="T71" fmla="*/ 83 h 236"/>
                <a:gd name="T72" fmla="*/ 283 w 320"/>
                <a:gd name="T73" fmla="*/ 83 h 236"/>
                <a:gd name="T74" fmla="*/ 320 w 320"/>
                <a:gd name="T75" fmla="*/ 87 h 236"/>
                <a:gd name="T76" fmla="*/ 299 w 320"/>
                <a:gd name="T77" fmla="*/ 69 h 236"/>
                <a:gd name="T78" fmla="*/ 248 w 320"/>
                <a:gd name="T79" fmla="*/ 69 h 236"/>
                <a:gd name="T80" fmla="*/ 228 w 320"/>
                <a:gd name="T81" fmla="*/ 69 h 236"/>
                <a:gd name="T82" fmla="*/ 213 w 320"/>
                <a:gd name="T83" fmla="*/ 48 h 236"/>
                <a:gd name="T84" fmla="*/ 242 w 320"/>
                <a:gd name="T85" fmla="*/ 4 h 236"/>
                <a:gd name="T86" fmla="*/ 195 w 320"/>
                <a:gd name="T87" fmla="*/ 36 h 236"/>
                <a:gd name="T88" fmla="*/ 192 w 320"/>
                <a:gd name="T89" fmla="*/ 193 h 236"/>
                <a:gd name="T90" fmla="*/ 227 w 320"/>
                <a:gd name="T91" fmla="*/ 233 h 236"/>
                <a:gd name="T92" fmla="*/ 242 w 320"/>
                <a:gd name="T93" fmla="*/ 233 h 236"/>
                <a:gd name="T94" fmla="*/ 213 w 320"/>
                <a:gd name="T95" fmla="*/ 189 h 236"/>
                <a:gd name="T96" fmla="*/ 238 w 320"/>
                <a:gd name="T97" fmla="*/ 183 h 236"/>
                <a:gd name="T98" fmla="*/ 273 w 320"/>
                <a:gd name="T99" fmla="*/ 161 h 236"/>
                <a:gd name="T100" fmla="*/ 309 w 320"/>
                <a:gd name="T101" fmla="*/ 183 h 236"/>
                <a:gd name="T102" fmla="*/ 309 w 320"/>
                <a:gd name="T103" fmla="*/ 161 h 236"/>
                <a:gd name="T104" fmla="*/ 273 w 320"/>
                <a:gd name="T105" fmla="*/ 140 h 236"/>
                <a:gd name="T106" fmla="*/ 238 w 320"/>
                <a:gd name="T107" fmla="*/ 161 h 236"/>
                <a:gd name="T108" fmla="*/ 213 w 320"/>
                <a:gd name="T109" fmla="*/ 142 h 236"/>
                <a:gd name="T110" fmla="*/ 238 w 320"/>
                <a:gd name="T11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81"/>
                    <a:pt x="106" y="181"/>
                    <a:pt x="106" y="181"/>
                  </a:cubicBezTo>
                  <a:cubicBezTo>
                    <a:pt x="99" y="178"/>
                    <a:pt x="94" y="172"/>
                    <a:pt x="91" y="168"/>
                  </a:cubicBezTo>
                  <a:cubicBezTo>
                    <a:pt x="87" y="163"/>
                    <a:pt x="85" y="161"/>
                    <a:pt x="81" y="161"/>
                  </a:cubicBezTo>
                  <a:cubicBezTo>
                    <a:pt x="78" y="161"/>
                    <a:pt x="76" y="163"/>
                    <a:pt x="72" y="168"/>
                  </a:cubicBezTo>
                  <a:cubicBezTo>
                    <a:pt x="67" y="174"/>
                    <a:pt x="60" y="183"/>
                    <a:pt x="46" y="183"/>
                  </a:cubicBezTo>
                  <a:cubicBezTo>
                    <a:pt x="32" y="183"/>
                    <a:pt x="25" y="174"/>
                    <a:pt x="20" y="168"/>
                  </a:cubicBezTo>
                  <a:cubicBezTo>
                    <a:pt x="16" y="163"/>
                    <a:pt x="14" y="161"/>
                    <a:pt x="10" y="161"/>
                  </a:cubicBezTo>
                  <a:cubicBezTo>
                    <a:pt x="4" y="161"/>
                    <a:pt x="0" y="157"/>
                    <a:pt x="0" y="151"/>
                  </a:cubicBezTo>
                  <a:cubicBezTo>
                    <a:pt x="0" y="145"/>
                    <a:pt x="4" y="140"/>
                    <a:pt x="10" y="140"/>
                  </a:cubicBezTo>
                  <a:cubicBezTo>
                    <a:pt x="24" y="140"/>
                    <a:pt x="31" y="149"/>
                    <a:pt x="36" y="155"/>
                  </a:cubicBezTo>
                  <a:cubicBezTo>
                    <a:pt x="41" y="160"/>
                    <a:pt x="42" y="161"/>
                    <a:pt x="46" y="161"/>
                  </a:cubicBezTo>
                  <a:cubicBezTo>
                    <a:pt x="49" y="161"/>
                    <a:pt x="51" y="160"/>
                    <a:pt x="55" y="155"/>
                  </a:cubicBezTo>
                  <a:cubicBezTo>
                    <a:pt x="60" y="149"/>
                    <a:pt x="68" y="140"/>
                    <a:pt x="81" y="140"/>
                  </a:cubicBezTo>
                  <a:cubicBezTo>
                    <a:pt x="94" y="140"/>
                    <a:pt x="102" y="147"/>
                    <a:pt x="106" y="153"/>
                  </a:cubicBezTo>
                  <a:cubicBezTo>
                    <a:pt x="106" y="138"/>
                    <a:pt x="106" y="138"/>
                    <a:pt x="106" y="138"/>
                  </a:cubicBezTo>
                  <a:cubicBezTo>
                    <a:pt x="99" y="135"/>
                    <a:pt x="94" y="130"/>
                    <a:pt x="91" y="125"/>
                  </a:cubicBezTo>
                  <a:cubicBezTo>
                    <a:pt x="87" y="120"/>
                    <a:pt x="85" y="119"/>
                    <a:pt x="81" y="119"/>
                  </a:cubicBezTo>
                  <a:cubicBezTo>
                    <a:pt x="78" y="119"/>
                    <a:pt x="76" y="120"/>
                    <a:pt x="72" y="126"/>
                  </a:cubicBezTo>
                  <a:cubicBezTo>
                    <a:pt x="67" y="131"/>
                    <a:pt x="60" y="140"/>
                    <a:pt x="46" y="140"/>
                  </a:cubicBezTo>
                  <a:cubicBezTo>
                    <a:pt x="32" y="140"/>
                    <a:pt x="25" y="131"/>
                    <a:pt x="20" y="126"/>
                  </a:cubicBezTo>
                  <a:cubicBezTo>
                    <a:pt x="16" y="120"/>
                    <a:pt x="14" y="119"/>
                    <a:pt x="10" y="119"/>
                  </a:cubicBezTo>
                  <a:cubicBezTo>
                    <a:pt x="4" y="119"/>
                    <a:pt x="0" y="114"/>
                    <a:pt x="0" y="108"/>
                  </a:cubicBezTo>
                  <a:cubicBezTo>
                    <a:pt x="0" y="102"/>
                    <a:pt x="4" y="97"/>
                    <a:pt x="10" y="97"/>
                  </a:cubicBezTo>
                  <a:cubicBezTo>
                    <a:pt x="24" y="97"/>
                    <a:pt x="31" y="106"/>
                    <a:pt x="36" y="112"/>
                  </a:cubicBezTo>
                  <a:cubicBezTo>
                    <a:pt x="41" y="117"/>
                    <a:pt x="42" y="119"/>
                    <a:pt x="46" y="119"/>
                  </a:cubicBezTo>
                  <a:cubicBezTo>
                    <a:pt x="49" y="119"/>
                    <a:pt x="51" y="117"/>
                    <a:pt x="55" y="112"/>
                  </a:cubicBezTo>
                  <a:cubicBezTo>
                    <a:pt x="60" y="106"/>
                    <a:pt x="68" y="97"/>
                    <a:pt x="81" y="97"/>
                  </a:cubicBezTo>
                  <a:cubicBezTo>
                    <a:pt x="94" y="97"/>
                    <a:pt x="102" y="105"/>
                    <a:pt x="106" y="111"/>
                  </a:cubicBezTo>
                  <a:cubicBezTo>
                    <a:pt x="106" y="95"/>
                    <a:pt x="106" y="95"/>
                    <a:pt x="106" y="95"/>
                  </a:cubicBezTo>
                  <a:cubicBezTo>
                    <a:pt x="99" y="92"/>
                    <a:pt x="94" y="87"/>
                    <a:pt x="91" y="83"/>
                  </a:cubicBezTo>
                  <a:cubicBezTo>
                    <a:pt x="87" y="77"/>
                    <a:pt x="85" y="76"/>
                    <a:pt x="81" y="76"/>
                  </a:cubicBezTo>
                  <a:cubicBezTo>
                    <a:pt x="78" y="76"/>
                    <a:pt x="76" y="78"/>
                    <a:pt x="72" y="83"/>
                  </a:cubicBezTo>
                  <a:cubicBezTo>
                    <a:pt x="67" y="89"/>
                    <a:pt x="60" y="97"/>
                    <a:pt x="46" y="97"/>
                  </a:cubicBezTo>
                  <a:cubicBezTo>
                    <a:pt x="32" y="97"/>
                    <a:pt x="25" y="89"/>
                    <a:pt x="20" y="83"/>
                  </a:cubicBezTo>
                  <a:cubicBezTo>
                    <a:pt x="16" y="78"/>
                    <a:pt x="14" y="76"/>
                    <a:pt x="10" y="76"/>
                  </a:cubicBezTo>
                  <a:cubicBezTo>
                    <a:pt x="4" y="76"/>
                    <a:pt x="0" y="71"/>
                    <a:pt x="0" y="65"/>
                  </a:cubicBezTo>
                  <a:cubicBezTo>
                    <a:pt x="0" y="59"/>
                    <a:pt x="4" y="55"/>
                    <a:pt x="10" y="55"/>
                  </a:cubicBezTo>
                  <a:cubicBezTo>
                    <a:pt x="24" y="55"/>
                    <a:pt x="31" y="63"/>
                    <a:pt x="36" y="69"/>
                  </a:cubicBezTo>
                  <a:cubicBezTo>
                    <a:pt x="41" y="74"/>
                    <a:pt x="42" y="76"/>
                    <a:pt x="46" y="76"/>
                  </a:cubicBezTo>
                  <a:cubicBezTo>
                    <a:pt x="49" y="76"/>
                    <a:pt x="51" y="74"/>
                    <a:pt x="55" y="69"/>
                  </a:cubicBezTo>
                  <a:cubicBezTo>
                    <a:pt x="60" y="63"/>
                    <a:pt x="68" y="55"/>
                    <a:pt x="81" y="55"/>
                  </a:cubicBezTo>
                  <a:cubicBezTo>
                    <a:pt x="94" y="55"/>
                    <a:pt x="102" y="62"/>
                    <a:pt x="106" y="68"/>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238" y="140"/>
                  </a:moveTo>
                  <a:cubicBezTo>
                    <a:pt x="252" y="140"/>
                    <a:pt x="259" y="131"/>
                    <a:pt x="264" y="126"/>
                  </a:cubicBezTo>
                  <a:cubicBezTo>
                    <a:pt x="268" y="120"/>
                    <a:pt x="270" y="119"/>
                    <a:pt x="273" y="119"/>
                  </a:cubicBezTo>
                  <a:cubicBezTo>
                    <a:pt x="277" y="119"/>
                    <a:pt x="279" y="120"/>
                    <a:pt x="283" y="125"/>
                  </a:cubicBezTo>
                  <a:cubicBezTo>
                    <a:pt x="288" y="131"/>
                    <a:pt x="295" y="140"/>
                    <a:pt x="309" y="140"/>
                  </a:cubicBezTo>
                  <a:cubicBezTo>
                    <a:pt x="315" y="140"/>
                    <a:pt x="320" y="135"/>
                    <a:pt x="320" y="129"/>
                  </a:cubicBezTo>
                  <a:cubicBezTo>
                    <a:pt x="320" y="123"/>
                    <a:pt x="315" y="119"/>
                    <a:pt x="309" y="119"/>
                  </a:cubicBezTo>
                  <a:cubicBezTo>
                    <a:pt x="306" y="119"/>
                    <a:pt x="304" y="117"/>
                    <a:pt x="299" y="112"/>
                  </a:cubicBezTo>
                  <a:cubicBezTo>
                    <a:pt x="295" y="106"/>
                    <a:pt x="287" y="97"/>
                    <a:pt x="273" y="97"/>
                  </a:cubicBezTo>
                  <a:cubicBezTo>
                    <a:pt x="260" y="97"/>
                    <a:pt x="252" y="106"/>
                    <a:pt x="248" y="112"/>
                  </a:cubicBezTo>
                  <a:cubicBezTo>
                    <a:pt x="243" y="117"/>
                    <a:pt x="242" y="119"/>
                    <a:pt x="238" y="119"/>
                  </a:cubicBezTo>
                  <a:cubicBezTo>
                    <a:pt x="234" y="119"/>
                    <a:pt x="233" y="117"/>
                    <a:pt x="228" y="112"/>
                  </a:cubicBezTo>
                  <a:cubicBezTo>
                    <a:pt x="225" y="108"/>
                    <a:pt x="220" y="102"/>
                    <a:pt x="213" y="99"/>
                  </a:cubicBezTo>
                  <a:cubicBezTo>
                    <a:pt x="213" y="84"/>
                    <a:pt x="213" y="84"/>
                    <a:pt x="213" y="84"/>
                  </a:cubicBezTo>
                  <a:cubicBezTo>
                    <a:pt x="218" y="90"/>
                    <a:pt x="225" y="97"/>
                    <a:pt x="238" y="97"/>
                  </a:cubicBezTo>
                  <a:cubicBezTo>
                    <a:pt x="252" y="97"/>
                    <a:pt x="259" y="89"/>
                    <a:pt x="264" y="83"/>
                  </a:cubicBezTo>
                  <a:cubicBezTo>
                    <a:pt x="268" y="78"/>
                    <a:pt x="270" y="76"/>
                    <a:pt x="273" y="76"/>
                  </a:cubicBezTo>
                  <a:cubicBezTo>
                    <a:pt x="277" y="76"/>
                    <a:pt x="279" y="77"/>
                    <a:pt x="283" y="83"/>
                  </a:cubicBezTo>
                  <a:cubicBezTo>
                    <a:pt x="288" y="89"/>
                    <a:pt x="295" y="97"/>
                    <a:pt x="309" y="97"/>
                  </a:cubicBezTo>
                  <a:cubicBezTo>
                    <a:pt x="315" y="97"/>
                    <a:pt x="320" y="93"/>
                    <a:pt x="320" y="87"/>
                  </a:cubicBezTo>
                  <a:cubicBezTo>
                    <a:pt x="320" y="81"/>
                    <a:pt x="315" y="76"/>
                    <a:pt x="309" y="76"/>
                  </a:cubicBezTo>
                  <a:cubicBezTo>
                    <a:pt x="306" y="76"/>
                    <a:pt x="304" y="75"/>
                    <a:pt x="299" y="69"/>
                  </a:cubicBezTo>
                  <a:cubicBezTo>
                    <a:pt x="295" y="63"/>
                    <a:pt x="287" y="55"/>
                    <a:pt x="273" y="55"/>
                  </a:cubicBezTo>
                  <a:cubicBezTo>
                    <a:pt x="260" y="55"/>
                    <a:pt x="252" y="63"/>
                    <a:pt x="248" y="69"/>
                  </a:cubicBezTo>
                  <a:cubicBezTo>
                    <a:pt x="243" y="74"/>
                    <a:pt x="242" y="76"/>
                    <a:pt x="238" y="76"/>
                  </a:cubicBezTo>
                  <a:cubicBezTo>
                    <a:pt x="234" y="76"/>
                    <a:pt x="233" y="74"/>
                    <a:pt x="228" y="69"/>
                  </a:cubicBezTo>
                  <a:cubicBezTo>
                    <a:pt x="225" y="65"/>
                    <a:pt x="220" y="60"/>
                    <a:pt x="213" y="57"/>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9"/>
                    <a:pt x="213" y="169"/>
                    <a:pt x="213" y="169"/>
                  </a:cubicBezTo>
                  <a:cubicBezTo>
                    <a:pt x="218" y="175"/>
                    <a:pt x="225" y="183"/>
                    <a:pt x="238" y="183"/>
                  </a:cubicBezTo>
                  <a:cubicBezTo>
                    <a:pt x="252" y="183"/>
                    <a:pt x="259" y="174"/>
                    <a:pt x="264" y="168"/>
                  </a:cubicBezTo>
                  <a:cubicBezTo>
                    <a:pt x="268" y="163"/>
                    <a:pt x="270" y="161"/>
                    <a:pt x="273" y="161"/>
                  </a:cubicBezTo>
                  <a:cubicBezTo>
                    <a:pt x="277" y="161"/>
                    <a:pt x="279" y="163"/>
                    <a:pt x="283" y="168"/>
                  </a:cubicBezTo>
                  <a:cubicBezTo>
                    <a:pt x="288" y="174"/>
                    <a:pt x="295" y="183"/>
                    <a:pt x="309" y="183"/>
                  </a:cubicBezTo>
                  <a:cubicBezTo>
                    <a:pt x="315" y="183"/>
                    <a:pt x="320" y="178"/>
                    <a:pt x="320" y="172"/>
                  </a:cubicBezTo>
                  <a:cubicBezTo>
                    <a:pt x="320" y="166"/>
                    <a:pt x="315" y="161"/>
                    <a:pt x="309" y="161"/>
                  </a:cubicBezTo>
                  <a:cubicBezTo>
                    <a:pt x="306" y="161"/>
                    <a:pt x="304" y="160"/>
                    <a:pt x="299" y="155"/>
                  </a:cubicBezTo>
                  <a:cubicBezTo>
                    <a:pt x="295" y="149"/>
                    <a:pt x="287" y="140"/>
                    <a:pt x="273" y="140"/>
                  </a:cubicBezTo>
                  <a:cubicBezTo>
                    <a:pt x="260" y="140"/>
                    <a:pt x="252" y="149"/>
                    <a:pt x="248" y="155"/>
                  </a:cubicBezTo>
                  <a:cubicBezTo>
                    <a:pt x="243" y="160"/>
                    <a:pt x="242" y="161"/>
                    <a:pt x="238" y="161"/>
                  </a:cubicBezTo>
                  <a:cubicBezTo>
                    <a:pt x="234" y="161"/>
                    <a:pt x="233" y="160"/>
                    <a:pt x="228" y="155"/>
                  </a:cubicBezTo>
                  <a:cubicBezTo>
                    <a:pt x="225" y="150"/>
                    <a:pt x="220" y="145"/>
                    <a:pt x="213" y="142"/>
                  </a:cubicBezTo>
                  <a:cubicBezTo>
                    <a:pt x="213" y="127"/>
                    <a:pt x="213" y="127"/>
                    <a:pt x="213" y="127"/>
                  </a:cubicBezTo>
                  <a:cubicBezTo>
                    <a:pt x="218" y="132"/>
                    <a:pt x="225" y="140"/>
                    <a:pt x="238"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6" name="Freeform 712"/>
          <p:cNvSpPr>
            <a:spLocks noChangeAspect="1" noEditPoints="1"/>
          </p:cNvSpPr>
          <p:nvPr/>
        </p:nvSpPr>
        <p:spPr bwMode="auto">
          <a:xfrm>
            <a:off x="5443842" y="1697038"/>
            <a:ext cx="369021" cy="369021"/>
          </a:xfrm>
          <a:custGeom>
            <a:avLst/>
            <a:gdLst>
              <a:gd name="T0" fmla="*/ 0 w 512"/>
              <a:gd name="T1" fmla="*/ 256 h 512"/>
              <a:gd name="T2" fmla="*/ 512 w 512"/>
              <a:gd name="T3" fmla="*/ 256 h 512"/>
              <a:gd name="T4" fmla="*/ 224 w 512"/>
              <a:gd name="T5" fmla="*/ 330 h 512"/>
              <a:gd name="T6" fmla="*/ 189 w 512"/>
              <a:gd name="T7" fmla="*/ 370 h 512"/>
              <a:gd name="T8" fmla="*/ 173 w 512"/>
              <a:gd name="T9" fmla="*/ 370 h 512"/>
              <a:gd name="T10" fmla="*/ 202 w 512"/>
              <a:gd name="T11" fmla="*/ 326 h 512"/>
              <a:gd name="T12" fmla="*/ 187 w 512"/>
              <a:gd name="T13" fmla="*/ 305 h 512"/>
              <a:gd name="T14" fmla="*/ 168 w 512"/>
              <a:gd name="T15" fmla="*/ 305 h 512"/>
              <a:gd name="T16" fmla="*/ 116 w 512"/>
              <a:gd name="T17" fmla="*/ 305 h 512"/>
              <a:gd name="T18" fmla="*/ 96 w 512"/>
              <a:gd name="T19" fmla="*/ 288 h 512"/>
              <a:gd name="T20" fmla="*/ 132 w 512"/>
              <a:gd name="T21" fmla="*/ 292 h 512"/>
              <a:gd name="T22" fmla="*/ 151 w 512"/>
              <a:gd name="T23" fmla="*/ 292 h 512"/>
              <a:gd name="T24" fmla="*/ 202 w 512"/>
              <a:gd name="T25" fmla="*/ 290 h 512"/>
              <a:gd name="T26" fmla="*/ 187 w 512"/>
              <a:gd name="T27" fmla="*/ 262 h 512"/>
              <a:gd name="T28" fmla="*/ 168 w 512"/>
              <a:gd name="T29" fmla="*/ 263 h 512"/>
              <a:gd name="T30" fmla="*/ 116 w 512"/>
              <a:gd name="T31" fmla="*/ 263 h 512"/>
              <a:gd name="T32" fmla="*/ 96 w 512"/>
              <a:gd name="T33" fmla="*/ 245 h 512"/>
              <a:gd name="T34" fmla="*/ 132 w 512"/>
              <a:gd name="T35" fmla="*/ 249 h 512"/>
              <a:gd name="T36" fmla="*/ 151 w 512"/>
              <a:gd name="T37" fmla="*/ 249 h 512"/>
              <a:gd name="T38" fmla="*/ 202 w 512"/>
              <a:gd name="T39" fmla="*/ 248 h 512"/>
              <a:gd name="T40" fmla="*/ 187 w 512"/>
              <a:gd name="T41" fmla="*/ 220 h 512"/>
              <a:gd name="T42" fmla="*/ 168 w 512"/>
              <a:gd name="T43" fmla="*/ 220 h 512"/>
              <a:gd name="T44" fmla="*/ 116 w 512"/>
              <a:gd name="T45" fmla="*/ 220 h 512"/>
              <a:gd name="T46" fmla="*/ 96 w 512"/>
              <a:gd name="T47" fmla="*/ 202 h 512"/>
              <a:gd name="T48" fmla="*/ 132 w 512"/>
              <a:gd name="T49" fmla="*/ 206 h 512"/>
              <a:gd name="T50" fmla="*/ 151 w 512"/>
              <a:gd name="T51" fmla="*/ 206 h 512"/>
              <a:gd name="T52" fmla="*/ 202 w 512"/>
              <a:gd name="T53" fmla="*/ 205 h 512"/>
              <a:gd name="T54" fmla="*/ 173 w 512"/>
              <a:gd name="T55" fmla="*/ 157 h 512"/>
              <a:gd name="T56" fmla="*/ 189 w 512"/>
              <a:gd name="T57" fmla="*/ 141 h 512"/>
              <a:gd name="T58" fmla="*/ 224 w 512"/>
              <a:gd name="T59" fmla="*/ 181 h 512"/>
              <a:gd name="T60" fmla="*/ 324 w 512"/>
              <a:gd name="T61" fmla="*/ 249 h 512"/>
              <a:gd name="T62" fmla="*/ 344 w 512"/>
              <a:gd name="T63" fmla="*/ 249 h 512"/>
              <a:gd name="T64" fmla="*/ 395 w 512"/>
              <a:gd name="T65" fmla="*/ 249 h 512"/>
              <a:gd name="T66" fmla="*/ 416 w 512"/>
              <a:gd name="T67" fmla="*/ 266 h 512"/>
              <a:gd name="T68" fmla="*/ 379 w 512"/>
              <a:gd name="T69" fmla="*/ 262 h 512"/>
              <a:gd name="T70" fmla="*/ 360 w 512"/>
              <a:gd name="T71" fmla="*/ 263 h 512"/>
              <a:gd name="T72" fmla="*/ 309 w 512"/>
              <a:gd name="T73" fmla="*/ 264 h 512"/>
              <a:gd name="T74" fmla="*/ 324 w 512"/>
              <a:gd name="T75" fmla="*/ 292 h 512"/>
              <a:gd name="T76" fmla="*/ 344 w 512"/>
              <a:gd name="T77" fmla="*/ 292 h 512"/>
              <a:gd name="T78" fmla="*/ 395 w 512"/>
              <a:gd name="T79" fmla="*/ 292 h 512"/>
              <a:gd name="T80" fmla="*/ 416 w 512"/>
              <a:gd name="T81" fmla="*/ 309 h 512"/>
              <a:gd name="T82" fmla="*/ 379 w 512"/>
              <a:gd name="T83" fmla="*/ 305 h 512"/>
              <a:gd name="T84" fmla="*/ 360 w 512"/>
              <a:gd name="T85" fmla="*/ 305 h 512"/>
              <a:gd name="T86" fmla="*/ 309 w 512"/>
              <a:gd name="T87" fmla="*/ 306 h 512"/>
              <a:gd name="T88" fmla="*/ 338 w 512"/>
              <a:gd name="T89" fmla="*/ 355 h 512"/>
              <a:gd name="T90" fmla="*/ 330 w 512"/>
              <a:gd name="T91" fmla="*/ 373 h 512"/>
              <a:gd name="T92" fmla="*/ 291 w 512"/>
              <a:gd name="T93" fmla="*/ 338 h 512"/>
              <a:gd name="T94" fmla="*/ 288 w 512"/>
              <a:gd name="T95" fmla="*/ 181 h 512"/>
              <a:gd name="T96" fmla="*/ 323 w 512"/>
              <a:gd name="T97" fmla="*/ 141 h 512"/>
              <a:gd name="T98" fmla="*/ 338 w 512"/>
              <a:gd name="T99" fmla="*/ 157 h 512"/>
              <a:gd name="T100" fmla="*/ 309 w 512"/>
              <a:gd name="T101" fmla="*/ 194 h 512"/>
              <a:gd name="T102" fmla="*/ 334 w 512"/>
              <a:gd name="T103" fmla="*/ 213 h 512"/>
              <a:gd name="T104" fmla="*/ 369 w 512"/>
              <a:gd name="T105" fmla="*/ 192 h 512"/>
              <a:gd name="T106" fmla="*/ 405 w 512"/>
              <a:gd name="T107" fmla="*/ 213 h 512"/>
              <a:gd name="T108" fmla="*/ 405 w 512"/>
              <a:gd name="T109" fmla="*/ 234 h 512"/>
              <a:gd name="T110" fmla="*/ 369 w 512"/>
              <a:gd name="T111" fmla="*/ 213 h 512"/>
              <a:gd name="T112" fmla="*/ 334 w 512"/>
              <a:gd name="T113" fmla="*/ 234 h 512"/>
              <a:gd name="T114" fmla="*/ 309 w 512"/>
              <a:gd name="T115" fmla="*/ 2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318"/>
                  <a:pt x="202" y="318"/>
                  <a:pt x="202" y="318"/>
                </a:cubicBezTo>
                <a:cubicBezTo>
                  <a:pt x="195" y="315"/>
                  <a:pt x="190" y="309"/>
                  <a:pt x="187" y="305"/>
                </a:cubicBezTo>
                <a:cubicBezTo>
                  <a:pt x="183" y="300"/>
                  <a:pt x="181" y="298"/>
                  <a:pt x="177" y="298"/>
                </a:cubicBezTo>
                <a:cubicBezTo>
                  <a:pt x="174" y="298"/>
                  <a:pt x="172" y="300"/>
                  <a:pt x="168" y="305"/>
                </a:cubicBezTo>
                <a:cubicBezTo>
                  <a:pt x="163" y="311"/>
                  <a:pt x="156" y="320"/>
                  <a:pt x="142" y="320"/>
                </a:cubicBezTo>
                <a:cubicBezTo>
                  <a:pt x="128" y="320"/>
                  <a:pt x="121" y="311"/>
                  <a:pt x="116" y="305"/>
                </a:cubicBezTo>
                <a:cubicBezTo>
                  <a:pt x="112" y="300"/>
                  <a:pt x="110" y="298"/>
                  <a:pt x="106" y="298"/>
                </a:cubicBezTo>
                <a:cubicBezTo>
                  <a:pt x="100" y="298"/>
                  <a:pt x="96" y="294"/>
                  <a:pt x="96" y="288"/>
                </a:cubicBezTo>
                <a:cubicBezTo>
                  <a:pt x="96" y="282"/>
                  <a:pt x="100" y="277"/>
                  <a:pt x="106" y="277"/>
                </a:cubicBezTo>
                <a:cubicBezTo>
                  <a:pt x="120" y="277"/>
                  <a:pt x="127" y="286"/>
                  <a:pt x="132" y="292"/>
                </a:cubicBezTo>
                <a:cubicBezTo>
                  <a:pt x="137" y="297"/>
                  <a:pt x="138" y="298"/>
                  <a:pt x="142" y="298"/>
                </a:cubicBezTo>
                <a:cubicBezTo>
                  <a:pt x="145" y="298"/>
                  <a:pt x="147" y="297"/>
                  <a:pt x="151" y="292"/>
                </a:cubicBezTo>
                <a:cubicBezTo>
                  <a:pt x="156" y="286"/>
                  <a:pt x="164" y="277"/>
                  <a:pt x="177" y="277"/>
                </a:cubicBezTo>
                <a:cubicBezTo>
                  <a:pt x="190" y="277"/>
                  <a:pt x="198" y="284"/>
                  <a:pt x="202" y="290"/>
                </a:cubicBezTo>
                <a:cubicBezTo>
                  <a:pt x="202" y="275"/>
                  <a:pt x="202" y="275"/>
                  <a:pt x="202" y="275"/>
                </a:cubicBezTo>
                <a:cubicBezTo>
                  <a:pt x="195" y="272"/>
                  <a:pt x="190" y="267"/>
                  <a:pt x="187" y="262"/>
                </a:cubicBezTo>
                <a:cubicBezTo>
                  <a:pt x="183" y="257"/>
                  <a:pt x="181" y="256"/>
                  <a:pt x="177" y="256"/>
                </a:cubicBezTo>
                <a:cubicBezTo>
                  <a:pt x="174" y="256"/>
                  <a:pt x="172" y="257"/>
                  <a:pt x="168" y="263"/>
                </a:cubicBezTo>
                <a:cubicBezTo>
                  <a:pt x="163" y="268"/>
                  <a:pt x="156" y="277"/>
                  <a:pt x="142" y="277"/>
                </a:cubicBezTo>
                <a:cubicBezTo>
                  <a:pt x="128" y="277"/>
                  <a:pt x="121" y="268"/>
                  <a:pt x="116" y="263"/>
                </a:cubicBezTo>
                <a:cubicBezTo>
                  <a:pt x="112" y="257"/>
                  <a:pt x="110" y="256"/>
                  <a:pt x="106" y="256"/>
                </a:cubicBezTo>
                <a:cubicBezTo>
                  <a:pt x="100" y="256"/>
                  <a:pt x="96" y="251"/>
                  <a:pt x="96" y="245"/>
                </a:cubicBezTo>
                <a:cubicBezTo>
                  <a:pt x="96" y="239"/>
                  <a:pt x="100" y="234"/>
                  <a:pt x="106" y="234"/>
                </a:cubicBezTo>
                <a:cubicBezTo>
                  <a:pt x="120" y="234"/>
                  <a:pt x="127" y="243"/>
                  <a:pt x="132" y="249"/>
                </a:cubicBezTo>
                <a:cubicBezTo>
                  <a:pt x="137" y="254"/>
                  <a:pt x="138" y="256"/>
                  <a:pt x="142" y="256"/>
                </a:cubicBezTo>
                <a:cubicBezTo>
                  <a:pt x="145" y="256"/>
                  <a:pt x="147" y="254"/>
                  <a:pt x="151" y="249"/>
                </a:cubicBezTo>
                <a:cubicBezTo>
                  <a:pt x="156" y="243"/>
                  <a:pt x="164" y="234"/>
                  <a:pt x="177" y="234"/>
                </a:cubicBezTo>
                <a:cubicBezTo>
                  <a:pt x="190" y="234"/>
                  <a:pt x="198" y="242"/>
                  <a:pt x="202" y="248"/>
                </a:cubicBezTo>
                <a:cubicBezTo>
                  <a:pt x="202" y="232"/>
                  <a:pt x="202" y="232"/>
                  <a:pt x="202" y="232"/>
                </a:cubicBezTo>
                <a:cubicBezTo>
                  <a:pt x="195" y="229"/>
                  <a:pt x="190" y="224"/>
                  <a:pt x="187" y="220"/>
                </a:cubicBezTo>
                <a:cubicBezTo>
                  <a:pt x="183" y="214"/>
                  <a:pt x="181" y="213"/>
                  <a:pt x="177" y="213"/>
                </a:cubicBezTo>
                <a:cubicBezTo>
                  <a:pt x="174" y="213"/>
                  <a:pt x="172" y="215"/>
                  <a:pt x="168" y="220"/>
                </a:cubicBezTo>
                <a:cubicBezTo>
                  <a:pt x="163" y="226"/>
                  <a:pt x="156" y="234"/>
                  <a:pt x="142" y="234"/>
                </a:cubicBezTo>
                <a:cubicBezTo>
                  <a:pt x="128" y="234"/>
                  <a:pt x="121" y="226"/>
                  <a:pt x="116" y="220"/>
                </a:cubicBezTo>
                <a:cubicBezTo>
                  <a:pt x="112" y="215"/>
                  <a:pt x="110" y="213"/>
                  <a:pt x="106" y="213"/>
                </a:cubicBezTo>
                <a:cubicBezTo>
                  <a:pt x="100" y="213"/>
                  <a:pt x="96" y="208"/>
                  <a:pt x="96" y="202"/>
                </a:cubicBezTo>
                <a:cubicBezTo>
                  <a:pt x="96" y="196"/>
                  <a:pt x="100" y="192"/>
                  <a:pt x="106" y="192"/>
                </a:cubicBezTo>
                <a:cubicBezTo>
                  <a:pt x="120" y="192"/>
                  <a:pt x="127" y="200"/>
                  <a:pt x="132" y="206"/>
                </a:cubicBezTo>
                <a:cubicBezTo>
                  <a:pt x="137" y="211"/>
                  <a:pt x="138" y="213"/>
                  <a:pt x="142" y="213"/>
                </a:cubicBezTo>
                <a:cubicBezTo>
                  <a:pt x="145" y="213"/>
                  <a:pt x="147" y="211"/>
                  <a:pt x="151" y="206"/>
                </a:cubicBezTo>
                <a:cubicBezTo>
                  <a:pt x="156" y="200"/>
                  <a:pt x="164" y="192"/>
                  <a:pt x="177" y="192"/>
                </a:cubicBezTo>
                <a:cubicBezTo>
                  <a:pt x="190" y="192"/>
                  <a:pt x="198" y="199"/>
                  <a:pt x="202" y="205"/>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324" y="249"/>
                </a:moveTo>
                <a:cubicBezTo>
                  <a:pt x="329" y="254"/>
                  <a:pt x="330" y="256"/>
                  <a:pt x="334" y="256"/>
                </a:cubicBezTo>
                <a:cubicBezTo>
                  <a:pt x="338" y="256"/>
                  <a:pt x="339" y="254"/>
                  <a:pt x="344" y="249"/>
                </a:cubicBezTo>
                <a:cubicBezTo>
                  <a:pt x="348" y="243"/>
                  <a:pt x="356" y="234"/>
                  <a:pt x="369" y="234"/>
                </a:cubicBezTo>
                <a:cubicBezTo>
                  <a:pt x="383" y="234"/>
                  <a:pt x="391" y="243"/>
                  <a:pt x="395" y="249"/>
                </a:cubicBezTo>
                <a:cubicBezTo>
                  <a:pt x="400" y="254"/>
                  <a:pt x="402" y="256"/>
                  <a:pt x="405" y="256"/>
                </a:cubicBezTo>
                <a:cubicBezTo>
                  <a:pt x="411" y="256"/>
                  <a:pt x="416" y="260"/>
                  <a:pt x="416" y="266"/>
                </a:cubicBezTo>
                <a:cubicBezTo>
                  <a:pt x="416" y="272"/>
                  <a:pt x="411" y="277"/>
                  <a:pt x="405" y="277"/>
                </a:cubicBezTo>
                <a:cubicBezTo>
                  <a:pt x="391" y="277"/>
                  <a:pt x="384" y="268"/>
                  <a:pt x="379" y="262"/>
                </a:cubicBezTo>
                <a:cubicBezTo>
                  <a:pt x="375" y="257"/>
                  <a:pt x="373" y="256"/>
                  <a:pt x="369" y="256"/>
                </a:cubicBezTo>
                <a:cubicBezTo>
                  <a:pt x="366" y="256"/>
                  <a:pt x="364" y="257"/>
                  <a:pt x="360" y="263"/>
                </a:cubicBezTo>
                <a:cubicBezTo>
                  <a:pt x="355" y="268"/>
                  <a:pt x="348" y="277"/>
                  <a:pt x="334" y="277"/>
                </a:cubicBezTo>
                <a:cubicBezTo>
                  <a:pt x="321" y="277"/>
                  <a:pt x="314" y="269"/>
                  <a:pt x="309" y="264"/>
                </a:cubicBezTo>
                <a:cubicBezTo>
                  <a:pt x="309" y="279"/>
                  <a:pt x="309" y="279"/>
                  <a:pt x="309" y="279"/>
                </a:cubicBezTo>
                <a:cubicBezTo>
                  <a:pt x="316" y="282"/>
                  <a:pt x="321" y="287"/>
                  <a:pt x="324" y="292"/>
                </a:cubicBezTo>
                <a:cubicBezTo>
                  <a:pt x="329" y="297"/>
                  <a:pt x="330" y="298"/>
                  <a:pt x="334" y="298"/>
                </a:cubicBezTo>
                <a:cubicBezTo>
                  <a:pt x="338" y="298"/>
                  <a:pt x="339" y="297"/>
                  <a:pt x="344" y="292"/>
                </a:cubicBezTo>
                <a:cubicBezTo>
                  <a:pt x="348" y="286"/>
                  <a:pt x="356" y="277"/>
                  <a:pt x="369" y="277"/>
                </a:cubicBezTo>
                <a:cubicBezTo>
                  <a:pt x="383" y="277"/>
                  <a:pt x="391" y="286"/>
                  <a:pt x="395" y="292"/>
                </a:cubicBezTo>
                <a:cubicBezTo>
                  <a:pt x="400" y="297"/>
                  <a:pt x="402" y="298"/>
                  <a:pt x="405" y="298"/>
                </a:cubicBezTo>
                <a:cubicBezTo>
                  <a:pt x="411" y="298"/>
                  <a:pt x="416" y="303"/>
                  <a:pt x="416" y="309"/>
                </a:cubicBezTo>
                <a:cubicBezTo>
                  <a:pt x="416" y="315"/>
                  <a:pt x="411" y="320"/>
                  <a:pt x="405" y="320"/>
                </a:cubicBezTo>
                <a:cubicBezTo>
                  <a:pt x="391" y="320"/>
                  <a:pt x="384" y="311"/>
                  <a:pt x="379" y="305"/>
                </a:cubicBezTo>
                <a:cubicBezTo>
                  <a:pt x="375" y="300"/>
                  <a:pt x="373" y="298"/>
                  <a:pt x="369" y="298"/>
                </a:cubicBezTo>
                <a:cubicBezTo>
                  <a:pt x="366" y="298"/>
                  <a:pt x="364" y="300"/>
                  <a:pt x="360" y="305"/>
                </a:cubicBezTo>
                <a:cubicBezTo>
                  <a:pt x="355" y="311"/>
                  <a:pt x="348" y="320"/>
                  <a:pt x="334" y="320"/>
                </a:cubicBezTo>
                <a:cubicBezTo>
                  <a:pt x="321" y="320"/>
                  <a:pt x="314" y="312"/>
                  <a:pt x="309" y="306"/>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194"/>
                  <a:pt x="309" y="194"/>
                  <a:pt x="309" y="194"/>
                </a:cubicBezTo>
                <a:cubicBezTo>
                  <a:pt x="316" y="197"/>
                  <a:pt x="321" y="202"/>
                  <a:pt x="324" y="206"/>
                </a:cubicBezTo>
                <a:cubicBezTo>
                  <a:pt x="329" y="211"/>
                  <a:pt x="330" y="213"/>
                  <a:pt x="334" y="213"/>
                </a:cubicBezTo>
                <a:cubicBezTo>
                  <a:pt x="338" y="213"/>
                  <a:pt x="339" y="211"/>
                  <a:pt x="344" y="206"/>
                </a:cubicBezTo>
                <a:cubicBezTo>
                  <a:pt x="348" y="200"/>
                  <a:pt x="356" y="192"/>
                  <a:pt x="369" y="192"/>
                </a:cubicBezTo>
                <a:cubicBezTo>
                  <a:pt x="383" y="192"/>
                  <a:pt x="391" y="200"/>
                  <a:pt x="395" y="206"/>
                </a:cubicBezTo>
                <a:cubicBezTo>
                  <a:pt x="400" y="212"/>
                  <a:pt x="402" y="213"/>
                  <a:pt x="405" y="213"/>
                </a:cubicBezTo>
                <a:cubicBezTo>
                  <a:pt x="411" y="213"/>
                  <a:pt x="416" y="218"/>
                  <a:pt x="416" y="224"/>
                </a:cubicBezTo>
                <a:cubicBezTo>
                  <a:pt x="416" y="230"/>
                  <a:pt x="411" y="234"/>
                  <a:pt x="405" y="234"/>
                </a:cubicBezTo>
                <a:cubicBezTo>
                  <a:pt x="391" y="234"/>
                  <a:pt x="384" y="226"/>
                  <a:pt x="379" y="220"/>
                </a:cubicBezTo>
                <a:cubicBezTo>
                  <a:pt x="375" y="214"/>
                  <a:pt x="373" y="213"/>
                  <a:pt x="369" y="213"/>
                </a:cubicBezTo>
                <a:cubicBezTo>
                  <a:pt x="366" y="213"/>
                  <a:pt x="364" y="215"/>
                  <a:pt x="360" y="220"/>
                </a:cubicBezTo>
                <a:cubicBezTo>
                  <a:pt x="355" y="226"/>
                  <a:pt x="348" y="234"/>
                  <a:pt x="334" y="234"/>
                </a:cubicBezTo>
                <a:cubicBezTo>
                  <a:pt x="321" y="234"/>
                  <a:pt x="314" y="227"/>
                  <a:pt x="309" y="221"/>
                </a:cubicBezTo>
                <a:cubicBezTo>
                  <a:pt x="309" y="236"/>
                  <a:pt x="309" y="236"/>
                  <a:pt x="309" y="236"/>
                </a:cubicBezTo>
                <a:cubicBezTo>
                  <a:pt x="316" y="239"/>
                  <a:pt x="321" y="245"/>
                  <a:pt x="324" y="24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87" name="Group 697"/>
          <p:cNvGrpSpPr>
            <a:grpSpLocks noChangeAspect="1"/>
          </p:cNvGrpSpPr>
          <p:nvPr/>
        </p:nvGrpSpPr>
        <p:grpSpPr bwMode="auto">
          <a:xfrm>
            <a:off x="6705393" y="1697038"/>
            <a:ext cx="369021" cy="369021"/>
            <a:chOff x="5063" y="2703"/>
            <a:chExt cx="340" cy="340"/>
          </a:xfrm>
          <a:solidFill>
            <a:schemeClr val="accent2"/>
          </a:solidFill>
        </p:grpSpPr>
        <p:sp>
          <p:nvSpPr>
            <p:cNvPr id="288" name="Freeform 698"/>
            <p:cNvSpPr>
              <a:spLocks noEditPoints="1"/>
            </p:cNvSpPr>
            <p:nvPr/>
          </p:nvSpPr>
          <p:spPr bwMode="auto">
            <a:xfrm>
              <a:off x="5127" y="2794"/>
              <a:ext cx="212" cy="157"/>
            </a:xfrm>
            <a:custGeom>
              <a:avLst/>
              <a:gdLst>
                <a:gd name="T0" fmla="*/ 125 w 320"/>
                <a:gd name="T1" fmla="*/ 36 h 236"/>
                <a:gd name="T2" fmla="*/ 128 w 320"/>
                <a:gd name="T3" fmla="*/ 44 h 236"/>
                <a:gd name="T4" fmla="*/ 128 w 320"/>
                <a:gd name="T5" fmla="*/ 193 h 236"/>
                <a:gd name="T6" fmla="*/ 125 w 320"/>
                <a:gd name="T7" fmla="*/ 201 h 236"/>
                <a:gd name="T8" fmla="*/ 93 w 320"/>
                <a:gd name="T9" fmla="*/ 233 h 236"/>
                <a:gd name="T10" fmla="*/ 85 w 320"/>
                <a:gd name="T11" fmla="*/ 236 h 236"/>
                <a:gd name="T12" fmla="*/ 77 w 320"/>
                <a:gd name="T13" fmla="*/ 233 h 236"/>
                <a:gd name="T14" fmla="*/ 77 w 320"/>
                <a:gd name="T15" fmla="*/ 218 h 236"/>
                <a:gd name="T16" fmla="*/ 106 w 320"/>
                <a:gd name="T17" fmla="*/ 189 h 236"/>
                <a:gd name="T18" fmla="*/ 106 w 320"/>
                <a:gd name="T19" fmla="*/ 161 h 236"/>
                <a:gd name="T20" fmla="*/ 10 w 320"/>
                <a:gd name="T21" fmla="*/ 161 h 236"/>
                <a:gd name="T22" fmla="*/ 0 w 320"/>
                <a:gd name="T23" fmla="*/ 151 h 236"/>
                <a:gd name="T24" fmla="*/ 10 w 320"/>
                <a:gd name="T25" fmla="*/ 140 h 236"/>
                <a:gd name="T26" fmla="*/ 106 w 320"/>
                <a:gd name="T27" fmla="*/ 140 h 236"/>
                <a:gd name="T28" fmla="*/ 106 w 320"/>
                <a:gd name="T29" fmla="*/ 97 h 236"/>
                <a:gd name="T30" fmla="*/ 10 w 320"/>
                <a:gd name="T31" fmla="*/ 97 h 236"/>
                <a:gd name="T32" fmla="*/ 0 w 320"/>
                <a:gd name="T33" fmla="*/ 87 h 236"/>
                <a:gd name="T34" fmla="*/ 10 w 320"/>
                <a:gd name="T35" fmla="*/ 76 h 236"/>
                <a:gd name="T36" fmla="*/ 106 w 320"/>
                <a:gd name="T37" fmla="*/ 76 h 236"/>
                <a:gd name="T38" fmla="*/ 106 w 320"/>
                <a:gd name="T39" fmla="*/ 48 h 236"/>
                <a:gd name="T40" fmla="*/ 77 w 320"/>
                <a:gd name="T41" fmla="*/ 20 h 236"/>
                <a:gd name="T42" fmla="*/ 77 w 320"/>
                <a:gd name="T43" fmla="*/ 4 h 236"/>
                <a:gd name="T44" fmla="*/ 93 w 320"/>
                <a:gd name="T45" fmla="*/ 4 h 236"/>
                <a:gd name="T46" fmla="*/ 125 w 320"/>
                <a:gd name="T47" fmla="*/ 36 h 236"/>
                <a:gd name="T48" fmla="*/ 309 w 320"/>
                <a:gd name="T49" fmla="*/ 140 h 236"/>
                <a:gd name="T50" fmla="*/ 213 w 320"/>
                <a:gd name="T51" fmla="*/ 140 h 236"/>
                <a:gd name="T52" fmla="*/ 213 w 320"/>
                <a:gd name="T53" fmla="*/ 97 h 236"/>
                <a:gd name="T54" fmla="*/ 309 w 320"/>
                <a:gd name="T55" fmla="*/ 97 h 236"/>
                <a:gd name="T56" fmla="*/ 320 w 320"/>
                <a:gd name="T57" fmla="*/ 87 h 236"/>
                <a:gd name="T58" fmla="*/ 309 w 320"/>
                <a:gd name="T59" fmla="*/ 76 h 236"/>
                <a:gd name="T60" fmla="*/ 213 w 320"/>
                <a:gd name="T61" fmla="*/ 76 h 236"/>
                <a:gd name="T62" fmla="*/ 213 w 320"/>
                <a:gd name="T63" fmla="*/ 48 h 236"/>
                <a:gd name="T64" fmla="*/ 242 w 320"/>
                <a:gd name="T65" fmla="*/ 20 h 236"/>
                <a:gd name="T66" fmla="*/ 242 w 320"/>
                <a:gd name="T67" fmla="*/ 4 h 236"/>
                <a:gd name="T68" fmla="*/ 227 w 320"/>
                <a:gd name="T69" fmla="*/ 4 h 236"/>
                <a:gd name="T70" fmla="*/ 195 w 320"/>
                <a:gd name="T71" fmla="*/ 36 h 236"/>
                <a:gd name="T72" fmla="*/ 192 w 320"/>
                <a:gd name="T73" fmla="*/ 44 h 236"/>
                <a:gd name="T74" fmla="*/ 192 w 320"/>
                <a:gd name="T75" fmla="*/ 193 h 236"/>
                <a:gd name="T76" fmla="*/ 195 w 320"/>
                <a:gd name="T77" fmla="*/ 201 h 236"/>
                <a:gd name="T78" fmla="*/ 227 w 320"/>
                <a:gd name="T79" fmla="*/ 233 h 236"/>
                <a:gd name="T80" fmla="*/ 234 w 320"/>
                <a:gd name="T81" fmla="*/ 236 h 236"/>
                <a:gd name="T82" fmla="*/ 242 w 320"/>
                <a:gd name="T83" fmla="*/ 233 h 236"/>
                <a:gd name="T84" fmla="*/ 242 w 320"/>
                <a:gd name="T85" fmla="*/ 218 h 236"/>
                <a:gd name="T86" fmla="*/ 213 w 320"/>
                <a:gd name="T87" fmla="*/ 189 h 236"/>
                <a:gd name="T88" fmla="*/ 213 w 320"/>
                <a:gd name="T89" fmla="*/ 161 h 236"/>
                <a:gd name="T90" fmla="*/ 309 w 320"/>
                <a:gd name="T91" fmla="*/ 161 h 236"/>
                <a:gd name="T92" fmla="*/ 320 w 320"/>
                <a:gd name="T93" fmla="*/ 151 h 236"/>
                <a:gd name="T94" fmla="*/ 309 w 320"/>
                <a:gd name="T95"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61"/>
                    <a:pt x="106" y="161"/>
                    <a:pt x="106" y="161"/>
                  </a:cubicBezTo>
                  <a:cubicBezTo>
                    <a:pt x="10" y="161"/>
                    <a:pt x="10" y="161"/>
                    <a:pt x="10" y="161"/>
                  </a:cubicBezTo>
                  <a:cubicBezTo>
                    <a:pt x="4" y="161"/>
                    <a:pt x="0" y="157"/>
                    <a:pt x="0" y="151"/>
                  </a:cubicBezTo>
                  <a:cubicBezTo>
                    <a:pt x="0" y="145"/>
                    <a:pt x="4" y="140"/>
                    <a:pt x="10" y="140"/>
                  </a:cubicBezTo>
                  <a:cubicBezTo>
                    <a:pt x="106" y="140"/>
                    <a:pt x="106" y="140"/>
                    <a:pt x="106" y="140"/>
                  </a:cubicBezTo>
                  <a:cubicBezTo>
                    <a:pt x="106" y="97"/>
                    <a:pt x="106" y="97"/>
                    <a:pt x="106" y="97"/>
                  </a:cubicBezTo>
                  <a:cubicBezTo>
                    <a:pt x="10" y="97"/>
                    <a:pt x="10" y="97"/>
                    <a:pt x="10" y="97"/>
                  </a:cubicBezTo>
                  <a:cubicBezTo>
                    <a:pt x="4" y="97"/>
                    <a:pt x="0" y="93"/>
                    <a:pt x="0" y="87"/>
                  </a:cubicBezTo>
                  <a:cubicBezTo>
                    <a:pt x="0" y="81"/>
                    <a:pt x="4" y="76"/>
                    <a:pt x="10" y="76"/>
                  </a:cubicBezTo>
                  <a:cubicBezTo>
                    <a:pt x="106" y="76"/>
                    <a:pt x="106" y="76"/>
                    <a:pt x="106" y="76"/>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309" y="140"/>
                  </a:moveTo>
                  <a:cubicBezTo>
                    <a:pt x="213" y="140"/>
                    <a:pt x="213" y="140"/>
                    <a:pt x="213" y="140"/>
                  </a:cubicBezTo>
                  <a:cubicBezTo>
                    <a:pt x="213" y="97"/>
                    <a:pt x="213" y="97"/>
                    <a:pt x="213" y="97"/>
                  </a:cubicBezTo>
                  <a:cubicBezTo>
                    <a:pt x="309" y="97"/>
                    <a:pt x="309" y="97"/>
                    <a:pt x="309" y="97"/>
                  </a:cubicBezTo>
                  <a:cubicBezTo>
                    <a:pt x="315" y="97"/>
                    <a:pt x="320" y="93"/>
                    <a:pt x="320" y="87"/>
                  </a:cubicBezTo>
                  <a:cubicBezTo>
                    <a:pt x="320" y="81"/>
                    <a:pt x="315" y="76"/>
                    <a:pt x="309" y="76"/>
                  </a:cubicBezTo>
                  <a:cubicBezTo>
                    <a:pt x="213" y="76"/>
                    <a:pt x="213" y="76"/>
                    <a:pt x="213" y="76"/>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1"/>
                    <a:pt x="213" y="161"/>
                    <a:pt x="213" y="161"/>
                  </a:cubicBezTo>
                  <a:cubicBezTo>
                    <a:pt x="309" y="161"/>
                    <a:pt x="309" y="161"/>
                    <a:pt x="309" y="161"/>
                  </a:cubicBezTo>
                  <a:cubicBezTo>
                    <a:pt x="315" y="161"/>
                    <a:pt x="320" y="157"/>
                    <a:pt x="320" y="151"/>
                  </a:cubicBezTo>
                  <a:cubicBezTo>
                    <a:pt x="320" y="145"/>
                    <a:pt x="315" y="140"/>
                    <a:pt x="309"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699"/>
            <p:cNvSpPr>
              <a:spLocks noEditPoints="1"/>
            </p:cNvSpPr>
            <p:nvPr/>
          </p:nvSpPr>
          <p:spPr bwMode="auto">
            <a:xfrm>
              <a:off x="5063" y="27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0" name="Freeform 703"/>
          <p:cNvSpPr>
            <a:spLocks noChangeAspect="1" noEditPoints="1"/>
          </p:cNvSpPr>
          <p:nvPr/>
        </p:nvSpPr>
        <p:spPr bwMode="auto">
          <a:xfrm>
            <a:off x="6284876" y="1697038"/>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4 w 512"/>
              <a:gd name="T11" fmla="*/ 330 h 512"/>
              <a:gd name="T12" fmla="*/ 221 w 512"/>
              <a:gd name="T13" fmla="*/ 338 h 512"/>
              <a:gd name="T14" fmla="*/ 189 w 512"/>
              <a:gd name="T15" fmla="*/ 370 h 512"/>
              <a:gd name="T16" fmla="*/ 181 w 512"/>
              <a:gd name="T17" fmla="*/ 373 h 512"/>
              <a:gd name="T18" fmla="*/ 173 w 512"/>
              <a:gd name="T19" fmla="*/ 370 h 512"/>
              <a:gd name="T20" fmla="*/ 173 w 512"/>
              <a:gd name="T21" fmla="*/ 355 h 512"/>
              <a:gd name="T22" fmla="*/ 202 w 512"/>
              <a:gd name="T23" fmla="*/ 326 h 512"/>
              <a:gd name="T24" fmla="*/ 202 w 512"/>
              <a:gd name="T25" fmla="*/ 298 h 512"/>
              <a:gd name="T26" fmla="*/ 106 w 512"/>
              <a:gd name="T27" fmla="*/ 298 h 512"/>
              <a:gd name="T28" fmla="*/ 96 w 512"/>
              <a:gd name="T29" fmla="*/ 288 h 512"/>
              <a:gd name="T30" fmla="*/ 106 w 512"/>
              <a:gd name="T31" fmla="*/ 277 h 512"/>
              <a:gd name="T32" fmla="*/ 202 w 512"/>
              <a:gd name="T33" fmla="*/ 277 h 512"/>
              <a:gd name="T34" fmla="*/ 202 w 512"/>
              <a:gd name="T35" fmla="*/ 234 h 512"/>
              <a:gd name="T36" fmla="*/ 106 w 512"/>
              <a:gd name="T37" fmla="*/ 234 h 512"/>
              <a:gd name="T38" fmla="*/ 96 w 512"/>
              <a:gd name="T39" fmla="*/ 224 h 512"/>
              <a:gd name="T40" fmla="*/ 106 w 512"/>
              <a:gd name="T41" fmla="*/ 213 h 512"/>
              <a:gd name="T42" fmla="*/ 202 w 512"/>
              <a:gd name="T43" fmla="*/ 213 h 512"/>
              <a:gd name="T44" fmla="*/ 202 w 512"/>
              <a:gd name="T45" fmla="*/ 185 h 512"/>
              <a:gd name="T46" fmla="*/ 173 w 512"/>
              <a:gd name="T47" fmla="*/ 157 h 512"/>
              <a:gd name="T48" fmla="*/ 173 w 512"/>
              <a:gd name="T49" fmla="*/ 141 h 512"/>
              <a:gd name="T50" fmla="*/ 189 w 512"/>
              <a:gd name="T51" fmla="*/ 141 h 512"/>
              <a:gd name="T52" fmla="*/ 221 w 512"/>
              <a:gd name="T53" fmla="*/ 173 h 512"/>
              <a:gd name="T54" fmla="*/ 224 w 512"/>
              <a:gd name="T55" fmla="*/ 181 h 512"/>
              <a:gd name="T56" fmla="*/ 224 w 512"/>
              <a:gd name="T57" fmla="*/ 330 h 512"/>
              <a:gd name="T58" fmla="*/ 405 w 512"/>
              <a:gd name="T59" fmla="*/ 277 h 512"/>
              <a:gd name="T60" fmla="*/ 416 w 512"/>
              <a:gd name="T61" fmla="*/ 288 h 512"/>
              <a:gd name="T62" fmla="*/ 405 w 512"/>
              <a:gd name="T63" fmla="*/ 298 h 512"/>
              <a:gd name="T64" fmla="*/ 309 w 512"/>
              <a:gd name="T65" fmla="*/ 298 h 512"/>
              <a:gd name="T66" fmla="*/ 309 w 512"/>
              <a:gd name="T67" fmla="*/ 326 h 512"/>
              <a:gd name="T68" fmla="*/ 338 w 512"/>
              <a:gd name="T69" fmla="*/ 355 h 512"/>
              <a:gd name="T70" fmla="*/ 338 w 512"/>
              <a:gd name="T71" fmla="*/ 370 h 512"/>
              <a:gd name="T72" fmla="*/ 330 w 512"/>
              <a:gd name="T73" fmla="*/ 373 h 512"/>
              <a:gd name="T74" fmla="*/ 323 w 512"/>
              <a:gd name="T75" fmla="*/ 370 h 512"/>
              <a:gd name="T76" fmla="*/ 291 w 512"/>
              <a:gd name="T77" fmla="*/ 338 h 512"/>
              <a:gd name="T78" fmla="*/ 288 w 512"/>
              <a:gd name="T79" fmla="*/ 330 h 512"/>
              <a:gd name="T80" fmla="*/ 288 w 512"/>
              <a:gd name="T81" fmla="*/ 181 h 512"/>
              <a:gd name="T82" fmla="*/ 291 w 512"/>
              <a:gd name="T83" fmla="*/ 173 h 512"/>
              <a:gd name="T84" fmla="*/ 323 w 512"/>
              <a:gd name="T85" fmla="*/ 141 h 512"/>
              <a:gd name="T86" fmla="*/ 338 w 512"/>
              <a:gd name="T87" fmla="*/ 141 h 512"/>
              <a:gd name="T88" fmla="*/ 338 w 512"/>
              <a:gd name="T89" fmla="*/ 157 h 512"/>
              <a:gd name="T90" fmla="*/ 309 w 512"/>
              <a:gd name="T91" fmla="*/ 185 h 512"/>
              <a:gd name="T92" fmla="*/ 309 w 512"/>
              <a:gd name="T93" fmla="*/ 213 h 512"/>
              <a:gd name="T94" fmla="*/ 405 w 512"/>
              <a:gd name="T95" fmla="*/ 213 h 512"/>
              <a:gd name="T96" fmla="*/ 416 w 512"/>
              <a:gd name="T97" fmla="*/ 224 h 512"/>
              <a:gd name="T98" fmla="*/ 405 w 512"/>
              <a:gd name="T99" fmla="*/ 234 h 512"/>
              <a:gd name="T100" fmla="*/ 309 w 512"/>
              <a:gd name="T101" fmla="*/ 234 h 512"/>
              <a:gd name="T102" fmla="*/ 309 w 512"/>
              <a:gd name="T103" fmla="*/ 277 h 512"/>
              <a:gd name="T104" fmla="*/ 405 w 512"/>
              <a:gd name="T10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298"/>
                  <a:pt x="202" y="298"/>
                  <a:pt x="202" y="298"/>
                </a:cubicBezTo>
                <a:cubicBezTo>
                  <a:pt x="106" y="298"/>
                  <a:pt x="106" y="298"/>
                  <a:pt x="106" y="298"/>
                </a:cubicBezTo>
                <a:cubicBezTo>
                  <a:pt x="100" y="298"/>
                  <a:pt x="96" y="294"/>
                  <a:pt x="96" y="288"/>
                </a:cubicBezTo>
                <a:cubicBezTo>
                  <a:pt x="96" y="282"/>
                  <a:pt x="100" y="277"/>
                  <a:pt x="106" y="277"/>
                </a:cubicBezTo>
                <a:cubicBezTo>
                  <a:pt x="202" y="277"/>
                  <a:pt x="202" y="277"/>
                  <a:pt x="202" y="277"/>
                </a:cubicBezTo>
                <a:cubicBezTo>
                  <a:pt x="202" y="234"/>
                  <a:pt x="202" y="234"/>
                  <a:pt x="202" y="234"/>
                </a:cubicBezTo>
                <a:cubicBezTo>
                  <a:pt x="106" y="234"/>
                  <a:pt x="106" y="234"/>
                  <a:pt x="106" y="234"/>
                </a:cubicBezTo>
                <a:cubicBezTo>
                  <a:pt x="100" y="234"/>
                  <a:pt x="96" y="230"/>
                  <a:pt x="96" y="224"/>
                </a:cubicBezTo>
                <a:cubicBezTo>
                  <a:pt x="96" y="218"/>
                  <a:pt x="100" y="213"/>
                  <a:pt x="106" y="213"/>
                </a:cubicBezTo>
                <a:cubicBezTo>
                  <a:pt x="202" y="213"/>
                  <a:pt x="202" y="213"/>
                  <a:pt x="202" y="213"/>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405" y="277"/>
                </a:moveTo>
                <a:cubicBezTo>
                  <a:pt x="411" y="277"/>
                  <a:pt x="416" y="282"/>
                  <a:pt x="416" y="288"/>
                </a:cubicBezTo>
                <a:cubicBezTo>
                  <a:pt x="416" y="294"/>
                  <a:pt x="411" y="298"/>
                  <a:pt x="405" y="298"/>
                </a:cubicBezTo>
                <a:cubicBezTo>
                  <a:pt x="309" y="298"/>
                  <a:pt x="309" y="298"/>
                  <a:pt x="309" y="298"/>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213"/>
                  <a:pt x="309" y="213"/>
                  <a:pt x="309" y="213"/>
                </a:cubicBezTo>
                <a:cubicBezTo>
                  <a:pt x="405" y="213"/>
                  <a:pt x="405" y="213"/>
                  <a:pt x="405" y="213"/>
                </a:cubicBezTo>
                <a:cubicBezTo>
                  <a:pt x="411" y="213"/>
                  <a:pt x="416" y="218"/>
                  <a:pt x="416" y="224"/>
                </a:cubicBezTo>
                <a:cubicBezTo>
                  <a:pt x="416" y="230"/>
                  <a:pt x="411" y="234"/>
                  <a:pt x="405" y="234"/>
                </a:cubicBezTo>
                <a:cubicBezTo>
                  <a:pt x="309" y="234"/>
                  <a:pt x="309" y="234"/>
                  <a:pt x="309" y="234"/>
                </a:cubicBezTo>
                <a:cubicBezTo>
                  <a:pt x="309" y="277"/>
                  <a:pt x="309" y="277"/>
                  <a:pt x="309" y="277"/>
                </a:cubicBezTo>
                <a:lnTo>
                  <a:pt x="405" y="27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1" name="TextBox 290"/>
          <p:cNvSpPr txBox="1"/>
          <p:nvPr/>
        </p:nvSpPr>
        <p:spPr>
          <a:xfrm>
            <a:off x="6255431"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ad bridge</a:t>
            </a:r>
          </a:p>
        </p:txBody>
      </p:sp>
      <p:grpSp>
        <p:nvGrpSpPr>
          <p:cNvPr id="292" name="Group 504"/>
          <p:cNvGrpSpPr>
            <a:grpSpLocks noChangeAspect="1"/>
          </p:cNvGrpSpPr>
          <p:nvPr/>
        </p:nvGrpSpPr>
        <p:grpSpPr bwMode="auto">
          <a:xfrm>
            <a:off x="2514127" y="2514143"/>
            <a:ext cx="369676" cy="370763"/>
            <a:chOff x="6587" y="1881"/>
            <a:chExt cx="340" cy="341"/>
          </a:xfrm>
          <a:solidFill>
            <a:schemeClr val="accent6"/>
          </a:solidFill>
        </p:grpSpPr>
        <p:sp>
          <p:nvSpPr>
            <p:cNvPr id="293" name="Freeform 505"/>
            <p:cNvSpPr>
              <a:spLocks noEditPoints="1"/>
            </p:cNvSpPr>
            <p:nvPr/>
          </p:nvSpPr>
          <p:spPr bwMode="auto">
            <a:xfrm>
              <a:off x="6587" y="188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506"/>
            <p:cNvSpPr>
              <a:spLocks noEditPoints="1"/>
            </p:cNvSpPr>
            <p:nvPr/>
          </p:nvSpPr>
          <p:spPr bwMode="auto">
            <a:xfrm>
              <a:off x="6678" y="1959"/>
              <a:ext cx="157" cy="199"/>
            </a:xfrm>
            <a:custGeom>
              <a:avLst/>
              <a:gdLst>
                <a:gd name="T0" fmla="*/ 76 w 237"/>
                <a:gd name="T1" fmla="*/ 117 h 299"/>
                <a:gd name="T2" fmla="*/ 161 w 237"/>
                <a:gd name="T3" fmla="*/ 117 h 299"/>
                <a:gd name="T4" fmla="*/ 183 w 237"/>
                <a:gd name="T5" fmla="*/ 96 h 299"/>
                <a:gd name="T6" fmla="*/ 183 w 237"/>
                <a:gd name="T7" fmla="*/ 64 h 299"/>
                <a:gd name="T8" fmla="*/ 161 w 237"/>
                <a:gd name="T9" fmla="*/ 43 h 299"/>
                <a:gd name="T10" fmla="*/ 76 w 237"/>
                <a:gd name="T11" fmla="*/ 43 h 299"/>
                <a:gd name="T12" fmla="*/ 55 w 237"/>
                <a:gd name="T13" fmla="*/ 64 h 299"/>
                <a:gd name="T14" fmla="*/ 55 w 237"/>
                <a:gd name="T15" fmla="*/ 96 h 299"/>
                <a:gd name="T16" fmla="*/ 76 w 237"/>
                <a:gd name="T17" fmla="*/ 117 h 299"/>
                <a:gd name="T18" fmla="*/ 76 w 237"/>
                <a:gd name="T19" fmla="*/ 64 h 299"/>
                <a:gd name="T20" fmla="*/ 161 w 237"/>
                <a:gd name="T21" fmla="*/ 64 h 299"/>
                <a:gd name="T22" fmla="*/ 161 w 237"/>
                <a:gd name="T23" fmla="*/ 96 h 299"/>
                <a:gd name="T24" fmla="*/ 76 w 237"/>
                <a:gd name="T25" fmla="*/ 96 h 299"/>
                <a:gd name="T26" fmla="*/ 76 w 237"/>
                <a:gd name="T27" fmla="*/ 64 h 299"/>
                <a:gd name="T28" fmla="*/ 76 w 237"/>
                <a:gd name="T29" fmla="*/ 192 h 299"/>
                <a:gd name="T30" fmla="*/ 55 w 237"/>
                <a:gd name="T31" fmla="*/ 171 h 299"/>
                <a:gd name="T32" fmla="*/ 76 w 237"/>
                <a:gd name="T33" fmla="*/ 149 h 299"/>
                <a:gd name="T34" fmla="*/ 97 w 237"/>
                <a:gd name="T35" fmla="*/ 171 h 299"/>
                <a:gd name="T36" fmla="*/ 76 w 237"/>
                <a:gd name="T37" fmla="*/ 192 h 299"/>
                <a:gd name="T38" fmla="*/ 183 w 237"/>
                <a:gd name="T39" fmla="*/ 171 h 299"/>
                <a:gd name="T40" fmla="*/ 161 w 237"/>
                <a:gd name="T41" fmla="*/ 192 h 299"/>
                <a:gd name="T42" fmla="*/ 140 w 237"/>
                <a:gd name="T43" fmla="*/ 171 h 299"/>
                <a:gd name="T44" fmla="*/ 161 w 237"/>
                <a:gd name="T45" fmla="*/ 149 h 299"/>
                <a:gd name="T46" fmla="*/ 183 w 237"/>
                <a:gd name="T47" fmla="*/ 171 h 299"/>
                <a:gd name="T48" fmla="*/ 233 w 237"/>
                <a:gd name="T49" fmla="*/ 280 h 299"/>
                <a:gd name="T50" fmla="*/ 183 w 237"/>
                <a:gd name="T51" fmla="*/ 231 h 299"/>
                <a:gd name="T52" fmla="*/ 225 w 237"/>
                <a:gd name="T53" fmla="*/ 181 h 299"/>
                <a:gd name="T54" fmla="*/ 225 w 237"/>
                <a:gd name="T55" fmla="*/ 53 h 299"/>
                <a:gd name="T56" fmla="*/ 172 w 237"/>
                <a:gd name="T57" fmla="*/ 0 h 299"/>
                <a:gd name="T58" fmla="*/ 65 w 237"/>
                <a:gd name="T59" fmla="*/ 0 h 299"/>
                <a:gd name="T60" fmla="*/ 12 w 237"/>
                <a:gd name="T61" fmla="*/ 53 h 299"/>
                <a:gd name="T62" fmla="*/ 12 w 237"/>
                <a:gd name="T63" fmla="*/ 181 h 299"/>
                <a:gd name="T64" fmla="*/ 52 w 237"/>
                <a:gd name="T65" fmla="*/ 233 h 299"/>
                <a:gd name="T66" fmla="*/ 4 w 237"/>
                <a:gd name="T67" fmla="*/ 280 h 299"/>
                <a:gd name="T68" fmla="*/ 4 w 237"/>
                <a:gd name="T69" fmla="*/ 296 h 299"/>
                <a:gd name="T70" fmla="*/ 12 w 237"/>
                <a:gd name="T71" fmla="*/ 299 h 299"/>
                <a:gd name="T72" fmla="*/ 20 w 237"/>
                <a:gd name="T73" fmla="*/ 296 h 299"/>
                <a:gd name="T74" fmla="*/ 38 w 237"/>
                <a:gd name="T75" fmla="*/ 277 h 299"/>
                <a:gd name="T76" fmla="*/ 200 w 237"/>
                <a:gd name="T77" fmla="*/ 277 h 299"/>
                <a:gd name="T78" fmla="*/ 218 w 237"/>
                <a:gd name="T79" fmla="*/ 296 h 299"/>
                <a:gd name="T80" fmla="*/ 225 w 237"/>
                <a:gd name="T81" fmla="*/ 299 h 299"/>
                <a:gd name="T82" fmla="*/ 233 w 237"/>
                <a:gd name="T83" fmla="*/ 296 h 299"/>
                <a:gd name="T84" fmla="*/ 233 w 237"/>
                <a:gd name="T85" fmla="*/ 280 h 299"/>
                <a:gd name="T86" fmla="*/ 33 w 237"/>
                <a:gd name="T87" fmla="*/ 181 h 299"/>
                <a:gd name="T88" fmla="*/ 33 w 237"/>
                <a:gd name="T89" fmla="*/ 53 h 299"/>
                <a:gd name="T90" fmla="*/ 65 w 237"/>
                <a:gd name="T91" fmla="*/ 21 h 299"/>
                <a:gd name="T92" fmla="*/ 172 w 237"/>
                <a:gd name="T93" fmla="*/ 21 h 299"/>
                <a:gd name="T94" fmla="*/ 204 w 237"/>
                <a:gd name="T95" fmla="*/ 53 h 299"/>
                <a:gd name="T96" fmla="*/ 204 w 237"/>
                <a:gd name="T97" fmla="*/ 181 h 299"/>
                <a:gd name="T98" fmla="*/ 161 w 237"/>
                <a:gd name="T99" fmla="*/ 213 h 299"/>
                <a:gd name="T100" fmla="*/ 65 w 237"/>
                <a:gd name="T101" fmla="*/ 213 h 299"/>
                <a:gd name="T102" fmla="*/ 33 w 237"/>
                <a:gd name="T103" fmla="*/ 181 h 299"/>
                <a:gd name="T104" fmla="*/ 59 w 237"/>
                <a:gd name="T105" fmla="*/ 256 h 299"/>
                <a:gd name="T106" fmla="*/ 80 w 237"/>
                <a:gd name="T107" fmla="*/ 235 h 299"/>
                <a:gd name="T108" fmla="*/ 157 w 237"/>
                <a:gd name="T109" fmla="*/ 235 h 299"/>
                <a:gd name="T110" fmla="*/ 178 w 237"/>
                <a:gd name="T111" fmla="*/ 256 h 299"/>
                <a:gd name="T112" fmla="*/ 59 w 237"/>
                <a:gd name="T113"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299">
                  <a:moveTo>
                    <a:pt x="76" y="117"/>
                  </a:moveTo>
                  <a:cubicBezTo>
                    <a:pt x="161" y="117"/>
                    <a:pt x="161" y="117"/>
                    <a:pt x="161" y="117"/>
                  </a:cubicBezTo>
                  <a:cubicBezTo>
                    <a:pt x="173" y="117"/>
                    <a:pt x="183" y="108"/>
                    <a:pt x="183" y="96"/>
                  </a:cubicBezTo>
                  <a:cubicBezTo>
                    <a:pt x="183" y="64"/>
                    <a:pt x="183" y="64"/>
                    <a:pt x="183" y="64"/>
                  </a:cubicBezTo>
                  <a:cubicBezTo>
                    <a:pt x="183" y="52"/>
                    <a:pt x="173" y="43"/>
                    <a:pt x="161" y="43"/>
                  </a:cubicBezTo>
                  <a:cubicBezTo>
                    <a:pt x="76" y="43"/>
                    <a:pt x="76" y="43"/>
                    <a:pt x="76" y="43"/>
                  </a:cubicBezTo>
                  <a:cubicBezTo>
                    <a:pt x="64" y="43"/>
                    <a:pt x="55" y="52"/>
                    <a:pt x="55" y="64"/>
                  </a:cubicBezTo>
                  <a:cubicBezTo>
                    <a:pt x="55" y="96"/>
                    <a:pt x="55" y="96"/>
                    <a:pt x="55" y="96"/>
                  </a:cubicBezTo>
                  <a:cubicBezTo>
                    <a:pt x="55" y="108"/>
                    <a:pt x="64" y="117"/>
                    <a:pt x="76" y="117"/>
                  </a:cubicBezTo>
                  <a:close/>
                  <a:moveTo>
                    <a:pt x="76" y="64"/>
                  </a:moveTo>
                  <a:cubicBezTo>
                    <a:pt x="161" y="64"/>
                    <a:pt x="161" y="64"/>
                    <a:pt x="161" y="64"/>
                  </a:cubicBezTo>
                  <a:cubicBezTo>
                    <a:pt x="161" y="96"/>
                    <a:pt x="161" y="96"/>
                    <a:pt x="161" y="96"/>
                  </a:cubicBezTo>
                  <a:cubicBezTo>
                    <a:pt x="76" y="96"/>
                    <a:pt x="76" y="96"/>
                    <a:pt x="76" y="96"/>
                  </a:cubicBezTo>
                  <a:lnTo>
                    <a:pt x="76" y="64"/>
                  </a:lnTo>
                  <a:close/>
                  <a:moveTo>
                    <a:pt x="76" y="192"/>
                  </a:moveTo>
                  <a:cubicBezTo>
                    <a:pt x="64" y="192"/>
                    <a:pt x="55" y="182"/>
                    <a:pt x="55" y="171"/>
                  </a:cubicBezTo>
                  <a:cubicBezTo>
                    <a:pt x="55" y="159"/>
                    <a:pt x="64" y="149"/>
                    <a:pt x="76" y="149"/>
                  </a:cubicBezTo>
                  <a:cubicBezTo>
                    <a:pt x="88" y="149"/>
                    <a:pt x="97" y="159"/>
                    <a:pt x="97" y="171"/>
                  </a:cubicBezTo>
                  <a:cubicBezTo>
                    <a:pt x="97" y="182"/>
                    <a:pt x="88" y="192"/>
                    <a:pt x="76" y="192"/>
                  </a:cubicBezTo>
                  <a:close/>
                  <a:moveTo>
                    <a:pt x="183" y="171"/>
                  </a:moveTo>
                  <a:cubicBezTo>
                    <a:pt x="183" y="182"/>
                    <a:pt x="173" y="192"/>
                    <a:pt x="161" y="192"/>
                  </a:cubicBezTo>
                  <a:cubicBezTo>
                    <a:pt x="150" y="192"/>
                    <a:pt x="140" y="182"/>
                    <a:pt x="140" y="171"/>
                  </a:cubicBezTo>
                  <a:cubicBezTo>
                    <a:pt x="140" y="159"/>
                    <a:pt x="150" y="149"/>
                    <a:pt x="161" y="149"/>
                  </a:cubicBezTo>
                  <a:cubicBezTo>
                    <a:pt x="173" y="149"/>
                    <a:pt x="183" y="159"/>
                    <a:pt x="183" y="171"/>
                  </a:cubicBezTo>
                  <a:close/>
                  <a:moveTo>
                    <a:pt x="233" y="280"/>
                  </a:moveTo>
                  <a:cubicBezTo>
                    <a:pt x="183" y="231"/>
                    <a:pt x="183" y="231"/>
                    <a:pt x="183" y="231"/>
                  </a:cubicBezTo>
                  <a:cubicBezTo>
                    <a:pt x="205" y="223"/>
                    <a:pt x="225" y="204"/>
                    <a:pt x="225" y="181"/>
                  </a:cubicBezTo>
                  <a:cubicBezTo>
                    <a:pt x="225" y="53"/>
                    <a:pt x="225" y="53"/>
                    <a:pt x="225" y="53"/>
                  </a:cubicBezTo>
                  <a:cubicBezTo>
                    <a:pt x="225" y="24"/>
                    <a:pt x="201" y="0"/>
                    <a:pt x="172" y="0"/>
                  </a:cubicBezTo>
                  <a:cubicBezTo>
                    <a:pt x="65" y="0"/>
                    <a:pt x="65" y="0"/>
                    <a:pt x="65" y="0"/>
                  </a:cubicBezTo>
                  <a:cubicBezTo>
                    <a:pt x="36" y="0"/>
                    <a:pt x="12" y="24"/>
                    <a:pt x="12" y="53"/>
                  </a:cubicBezTo>
                  <a:cubicBezTo>
                    <a:pt x="12" y="181"/>
                    <a:pt x="12" y="181"/>
                    <a:pt x="12" y="181"/>
                  </a:cubicBezTo>
                  <a:cubicBezTo>
                    <a:pt x="12" y="206"/>
                    <a:pt x="29" y="227"/>
                    <a:pt x="52" y="233"/>
                  </a:cubicBezTo>
                  <a:cubicBezTo>
                    <a:pt x="4" y="280"/>
                    <a:pt x="4" y="280"/>
                    <a:pt x="4" y="280"/>
                  </a:cubicBezTo>
                  <a:cubicBezTo>
                    <a:pt x="0" y="285"/>
                    <a:pt x="0" y="291"/>
                    <a:pt x="4" y="296"/>
                  </a:cubicBezTo>
                  <a:cubicBezTo>
                    <a:pt x="7" y="298"/>
                    <a:pt x="9" y="299"/>
                    <a:pt x="12" y="299"/>
                  </a:cubicBezTo>
                  <a:cubicBezTo>
                    <a:pt x="15" y="299"/>
                    <a:pt x="17" y="298"/>
                    <a:pt x="20" y="296"/>
                  </a:cubicBezTo>
                  <a:cubicBezTo>
                    <a:pt x="38" y="277"/>
                    <a:pt x="38" y="277"/>
                    <a:pt x="38" y="277"/>
                  </a:cubicBezTo>
                  <a:cubicBezTo>
                    <a:pt x="200" y="277"/>
                    <a:pt x="200" y="277"/>
                    <a:pt x="200" y="277"/>
                  </a:cubicBezTo>
                  <a:cubicBezTo>
                    <a:pt x="218" y="296"/>
                    <a:pt x="218" y="296"/>
                    <a:pt x="218" y="296"/>
                  </a:cubicBezTo>
                  <a:cubicBezTo>
                    <a:pt x="220" y="298"/>
                    <a:pt x="223" y="299"/>
                    <a:pt x="225" y="299"/>
                  </a:cubicBezTo>
                  <a:cubicBezTo>
                    <a:pt x="228" y="299"/>
                    <a:pt x="231" y="298"/>
                    <a:pt x="233" y="296"/>
                  </a:cubicBezTo>
                  <a:cubicBezTo>
                    <a:pt x="237" y="291"/>
                    <a:pt x="237" y="285"/>
                    <a:pt x="233" y="280"/>
                  </a:cubicBezTo>
                  <a:close/>
                  <a:moveTo>
                    <a:pt x="33" y="181"/>
                  </a:moveTo>
                  <a:cubicBezTo>
                    <a:pt x="33" y="53"/>
                    <a:pt x="33" y="53"/>
                    <a:pt x="33" y="53"/>
                  </a:cubicBezTo>
                  <a:cubicBezTo>
                    <a:pt x="33" y="36"/>
                    <a:pt x="48" y="21"/>
                    <a:pt x="65" y="21"/>
                  </a:cubicBezTo>
                  <a:cubicBezTo>
                    <a:pt x="172" y="21"/>
                    <a:pt x="172" y="21"/>
                    <a:pt x="172" y="21"/>
                  </a:cubicBezTo>
                  <a:cubicBezTo>
                    <a:pt x="190" y="21"/>
                    <a:pt x="204" y="36"/>
                    <a:pt x="204" y="53"/>
                  </a:cubicBezTo>
                  <a:cubicBezTo>
                    <a:pt x="204" y="181"/>
                    <a:pt x="204" y="181"/>
                    <a:pt x="204" y="181"/>
                  </a:cubicBezTo>
                  <a:cubicBezTo>
                    <a:pt x="204" y="198"/>
                    <a:pt x="180" y="213"/>
                    <a:pt x="161" y="213"/>
                  </a:cubicBezTo>
                  <a:cubicBezTo>
                    <a:pt x="65" y="213"/>
                    <a:pt x="65" y="213"/>
                    <a:pt x="65" y="213"/>
                  </a:cubicBezTo>
                  <a:cubicBezTo>
                    <a:pt x="48" y="213"/>
                    <a:pt x="33" y="199"/>
                    <a:pt x="33" y="181"/>
                  </a:cubicBezTo>
                  <a:close/>
                  <a:moveTo>
                    <a:pt x="59" y="256"/>
                  </a:moveTo>
                  <a:cubicBezTo>
                    <a:pt x="80" y="235"/>
                    <a:pt x="80" y="235"/>
                    <a:pt x="80" y="235"/>
                  </a:cubicBezTo>
                  <a:cubicBezTo>
                    <a:pt x="157" y="235"/>
                    <a:pt x="157" y="235"/>
                    <a:pt x="157" y="235"/>
                  </a:cubicBezTo>
                  <a:cubicBezTo>
                    <a:pt x="178" y="256"/>
                    <a:pt x="178" y="256"/>
                    <a:pt x="178" y="256"/>
                  </a:cubicBezTo>
                  <a:lnTo>
                    <a:pt x="59"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5" name="Group 509"/>
          <p:cNvGrpSpPr>
            <a:grpSpLocks noChangeAspect="1"/>
          </p:cNvGrpSpPr>
          <p:nvPr/>
        </p:nvGrpSpPr>
        <p:grpSpPr bwMode="auto">
          <a:xfrm>
            <a:off x="2092799" y="2514143"/>
            <a:ext cx="369676" cy="369676"/>
            <a:chOff x="6208" y="1868"/>
            <a:chExt cx="340" cy="340"/>
          </a:xfrm>
          <a:solidFill>
            <a:schemeClr val="accent6"/>
          </a:solidFill>
        </p:grpSpPr>
        <p:sp>
          <p:nvSpPr>
            <p:cNvPr id="296" name="Freeform 510"/>
            <p:cNvSpPr>
              <a:spLocks/>
            </p:cNvSpPr>
            <p:nvPr/>
          </p:nvSpPr>
          <p:spPr bwMode="auto">
            <a:xfrm>
              <a:off x="6338" y="2102"/>
              <a:ext cx="79" cy="14"/>
            </a:xfrm>
            <a:custGeom>
              <a:avLst/>
              <a:gdLst>
                <a:gd name="T0" fmla="*/ 14 w 79"/>
                <a:gd name="T1" fmla="*/ 0 h 14"/>
                <a:gd name="T2" fmla="*/ 0 w 79"/>
                <a:gd name="T3" fmla="*/ 14 h 14"/>
                <a:gd name="T4" fmla="*/ 79 w 79"/>
                <a:gd name="T5" fmla="*/ 14 h 14"/>
                <a:gd name="T6" fmla="*/ 65 w 79"/>
                <a:gd name="T7" fmla="*/ 0 h 14"/>
                <a:gd name="T8" fmla="*/ 14 w 79"/>
                <a:gd name="T9" fmla="*/ 0 h 14"/>
              </a:gdLst>
              <a:ahLst/>
              <a:cxnLst>
                <a:cxn ang="0">
                  <a:pos x="T0" y="T1"/>
                </a:cxn>
                <a:cxn ang="0">
                  <a:pos x="T2" y="T3"/>
                </a:cxn>
                <a:cxn ang="0">
                  <a:pos x="T4" y="T5"/>
                </a:cxn>
                <a:cxn ang="0">
                  <a:pos x="T6" y="T7"/>
                </a:cxn>
                <a:cxn ang="0">
                  <a:pos x="T8" y="T9"/>
                </a:cxn>
              </a:cxnLst>
              <a:rect l="0" t="0" r="r" b="b"/>
              <a:pathLst>
                <a:path w="79" h="14">
                  <a:moveTo>
                    <a:pt x="14" y="0"/>
                  </a:moveTo>
                  <a:lnTo>
                    <a:pt x="0" y="14"/>
                  </a:lnTo>
                  <a:lnTo>
                    <a:pt x="79" y="14"/>
                  </a:lnTo>
                  <a:lnTo>
                    <a:pt x="65" y="0"/>
                  </a:lnTo>
                  <a:lnTo>
                    <a:pt x="1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511"/>
            <p:cNvSpPr>
              <a:spLocks noEditPoints="1"/>
            </p:cNvSpPr>
            <p:nvPr/>
          </p:nvSpPr>
          <p:spPr bwMode="auto">
            <a:xfrm>
              <a:off x="6321" y="1960"/>
              <a:ext cx="113" cy="127"/>
            </a:xfrm>
            <a:custGeom>
              <a:avLst/>
              <a:gdLst>
                <a:gd name="T0" fmla="*/ 128 w 171"/>
                <a:gd name="T1" fmla="*/ 192 h 192"/>
                <a:gd name="T2" fmla="*/ 171 w 171"/>
                <a:gd name="T3" fmla="*/ 160 h 192"/>
                <a:gd name="T4" fmla="*/ 171 w 171"/>
                <a:gd name="T5" fmla="*/ 32 h 192"/>
                <a:gd name="T6" fmla="*/ 139 w 171"/>
                <a:gd name="T7" fmla="*/ 0 h 192"/>
                <a:gd name="T8" fmla="*/ 32 w 171"/>
                <a:gd name="T9" fmla="*/ 0 h 192"/>
                <a:gd name="T10" fmla="*/ 0 w 171"/>
                <a:gd name="T11" fmla="*/ 32 h 192"/>
                <a:gd name="T12" fmla="*/ 0 w 171"/>
                <a:gd name="T13" fmla="*/ 160 h 192"/>
                <a:gd name="T14" fmla="*/ 32 w 171"/>
                <a:gd name="T15" fmla="*/ 192 h 192"/>
                <a:gd name="T16" fmla="*/ 128 w 171"/>
                <a:gd name="T17" fmla="*/ 192 h 192"/>
                <a:gd name="T18" fmla="*/ 128 w 171"/>
                <a:gd name="T19" fmla="*/ 171 h 192"/>
                <a:gd name="T20" fmla="*/ 107 w 171"/>
                <a:gd name="T21" fmla="*/ 150 h 192"/>
                <a:gd name="T22" fmla="*/ 128 w 171"/>
                <a:gd name="T23" fmla="*/ 128 h 192"/>
                <a:gd name="T24" fmla="*/ 150 w 171"/>
                <a:gd name="T25" fmla="*/ 150 h 192"/>
                <a:gd name="T26" fmla="*/ 128 w 171"/>
                <a:gd name="T27" fmla="*/ 171 h 192"/>
                <a:gd name="T28" fmla="*/ 22 w 171"/>
                <a:gd name="T29" fmla="*/ 43 h 192"/>
                <a:gd name="T30" fmla="*/ 43 w 171"/>
                <a:gd name="T31" fmla="*/ 22 h 192"/>
                <a:gd name="T32" fmla="*/ 128 w 171"/>
                <a:gd name="T33" fmla="*/ 22 h 192"/>
                <a:gd name="T34" fmla="*/ 150 w 171"/>
                <a:gd name="T35" fmla="*/ 43 h 192"/>
                <a:gd name="T36" fmla="*/ 150 w 171"/>
                <a:gd name="T37" fmla="*/ 75 h 192"/>
                <a:gd name="T38" fmla="*/ 128 w 171"/>
                <a:gd name="T39" fmla="*/ 96 h 192"/>
                <a:gd name="T40" fmla="*/ 43 w 171"/>
                <a:gd name="T41" fmla="*/ 96 h 192"/>
                <a:gd name="T42" fmla="*/ 22 w 171"/>
                <a:gd name="T43" fmla="*/ 75 h 192"/>
                <a:gd name="T44" fmla="*/ 22 w 171"/>
                <a:gd name="T45" fmla="*/ 43 h 192"/>
                <a:gd name="T46" fmla="*/ 22 w 171"/>
                <a:gd name="T47" fmla="*/ 150 h 192"/>
                <a:gd name="T48" fmla="*/ 43 w 171"/>
                <a:gd name="T49" fmla="*/ 128 h 192"/>
                <a:gd name="T50" fmla="*/ 64 w 171"/>
                <a:gd name="T51" fmla="*/ 150 h 192"/>
                <a:gd name="T52" fmla="*/ 43 w 171"/>
                <a:gd name="T53" fmla="*/ 171 h 192"/>
                <a:gd name="T54" fmla="*/ 22 w 171"/>
                <a:gd name="T55" fmla="*/ 15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92">
                  <a:moveTo>
                    <a:pt x="128" y="192"/>
                  </a:moveTo>
                  <a:cubicBezTo>
                    <a:pt x="147" y="192"/>
                    <a:pt x="171" y="177"/>
                    <a:pt x="171" y="160"/>
                  </a:cubicBezTo>
                  <a:cubicBezTo>
                    <a:pt x="171" y="32"/>
                    <a:pt x="171" y="32"/>
                    <a:pt x="171" y="32"/>
                  </a:cubicBezTo>
                  <a:cubicBezTo>
                    <a:pt x="171" y="15"/>
                    <a:pt x="157" y="0"/>
                    <a:pt x="139" y="0"/>
                  </a:cubicBezTo>
                  <a:cubicBezTo>
                    <a:pt x="32" y="0"/>
                    <a:pt x="32" y="0"/>
                    <a:pt x="32" y="0"/>
                  </a:cubicBezTo>
                  <a:cubicBezTo>
                    <a:pt x="15" y="0"/>
                    <a:pt x="0" y="15"/>
                    <a:pt x="0" y="32"/>
                  </a:cubicBezTo>
                  <a:cubicBezTo>
                    <a:pt x="0" y="160"/>
                    <a:pt x="0" y="160"/>
                    <a:pt x="0" y="160"/>
                  </a:cubicBezTo>
                  <a:cubicBezTo>
                    <a:pt x="0" y="178"/>
                    <a:pt x="15" y="192"/>
                    <a:pt x="32" y="192"/>
                  </a:cubicBezTo>
                  <a:lnTo>
                    <a:pt x="128" y="192"/>
                  </a:lnTo>
                  <a:close/>
                  <a:moveTo>
                    <a:pt x="128" y="171"/>
                  </a:moveTo>
                  <a:cubicBezTo>
                    <a:pt x="117" y="171"/>
                    <a:pt x="107" y="161"/>
                    <a:pt x="107" y="150"/>
                  </a:cubicBezTo>
                  <a:cubicBezTo>
                    <a:pt x="107" y="138"/>
                    <a:pt x="117" y="128"/>
                    <a:pt x="128" y="128"/>
                  </a:cubicBezTo>
                  <a:cubicBezTo>
                    <a:pt x="140" y="128"/>
                    <a:pt x="150" y="138"/>
                    <a:pt x="150" y="150"/>
                  </a:cubicBezTo>
                  <a:cubicBezTo>
                    <a:pt x="150" y="161"/>
                    <a:pt x="140" y="171"/>
                    <a:pt x="128" y="171"/>
                  </a:cubicBezTo>
                  <a:close/>
                  <a:moveTo>
                    <a:pt x="22" y="43"/>
                  </a:moveTo>
                  <a:cubicBezTo>
                    <a:pt x="22" y="31"/>
                    <a:pt x="31" y="22"/>
                    <a:pt x="43" y="22"/>
                  </a:cubicBezTo>
                  <a:cubicBezTo>
                    <a:pt x="128" y="22"/>
                    <a:pt x="128" y="22"/>
                    <a:pt x="128" y="22"/>
                  </a:cubicBezTo>
                  <a:cubicBezTo>
                    <a:pt x="140" y="22"/>
                    <a:pt x="150" y="31"/>
                    <a:pt x="150" y="43"/>
                  </a:cubicBezTo>
                  <a:cubicBezTo>
                    <a:pt x="150" y="75"/>
                    <a:pt x="150" y="75"/>
                    <a:pt x="150" y="75"/>
                  </a:cubicBezTo>
                  <a:cubicBezTo>
                    <a:pt x="150" y="87"/>
                    <a:pt x="140" y="96"/>
                    <a:pt x="128" y="96"/>
                  </a:cubicBezTo>
                  <a:cubicBezTo>
                    <a:pt x="43" y="96"/>
                    <a:pt x="43" y="96"/>
                    <a:pt x="43" y="96"/>
                  </a:cubicBezTo>
                  <a:cubicBezTo>
                    <a:pt x="31" y="96"/>
                    <a:pt x="22" y="87"/>
                    <a:pt x="22" y="75"/>
                  </a:cubicBezTo>
                  <a:lnTo>
                    <a:pt x="22" y="43"/>
                  </a:lnTo>
                  <a:close/>
                  <a:moveTo>
                    <a:pt x="22" y="150"/>
                  </a:moveTo>
                  <a:cubicBezTo>
                    <a:pt x="22" y="138"/>
                    <a:pt x="31" y="128"/>
                    <a:pt x="43" y="128"/>
                  </a:cubicBezTo>
                  <a:cubicBezTo>
                    <a:pt x="55" y="128"/>
                    <a:pt x="64" y="138"/>
                    <a:pt x="64" y="150"/>
                  </a:cubicBezTo>
                  <a:cubicBezTo>
                    <a:pt x="64" y="161"/>
                    <a:pt x="55" y="171"/>
                    <a:pt x="43" y="171"/>
                  </a:cubicBezTo>
                  <a:cubicBezTo>
                    <a:pt x="31" y="171"/>
                    <a:pt x="22" y="161"/>
                    <a:pt x="2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512"/>
            <p:cNvSpPr>
              <a:spLocks noEditPoints="1"/>
            </p:cNvSpPr>
            <p:nvPr/>
          </p:nvSpPr>
          <p:spPr bwMode="auto">
            <a:xfrm>
              <a:off x="6208" y="18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413 h 512"/>
                <a:gd name="T12" fmla="*/ 362 w 512"/>
                <a:gd name="T13" fmla="*/ 416 h 512"/>
                <a:gd name="T14" fmla="*/ 355 w 512"/>
                <a:gd name="T15" fmla="*/ 413 h 512"/>
                <a:gd name="T16" fmla="*/ 337 w 512"/>
                <a:gd name="T17" fmla="*/ 394 h 512"/>
                <a:gd name="T18" fmla="*/ 175 w 512"/>
                <a:gd name="T19" fmla="*/ 394 h 512"/>
                <a:gd name="T20" fmla="*/ 157 w 512"/>
                <a:gd name="T21" fmla="*/ 413 h 512"/>
                <a:gd name="T22" fmla="*/ 149 w 512"/>
                <a:gd name="T23" fmla="*/ 416 h 512"/>
                <a:gd name="T24" fmla="*/ 141 w 512"/>
                <a:gd name="T25" fmla="*/ 413 h 512"/>
                <a:gd name="T26" fmla="*/ 141 w 512"/>
                <a:gd name="T27" fmla="*/ 397 h 512"/>
                <a:gd name="T28" fmla="*/ 189 w 512"/>
                <a:gd name="T29" fmla="*/ 350 h 512"/>
                <a:gd name="T30" fmla="*/ 149 w 512"/>
                <a:gd name="T31" fmla="*/ 298 h 512"/>
                <a:gd name="T32" fmla="*/ 149 w 512"/>
                <a:gd name="T33" fmla="*/ 170 h 512"/>
                <a:gd name="T34" fmla="*/ 202 w 512"/>
                <a:gd name="T35" fmla="*/ 117 h 512"/>
                <a:gd name="T36" fmla="*/ 309 w 512"/>
                <a:gd name="T37" fmla="*/ 117 h 512"/>
                <a:gd name="T38" fmla="*/ 362 w 512"/>
                <a:gd name="T39" fmla="*/ 170 h 512"/>
                <a:gd name="T40" fmla="*/ 362 w 512"/>
                <a:gd name="T41" fmla="*/ 298 h 512"/>
                <a:gd name="T42" fmla="*/ 320 w 512"/>
                <a:gd name="T43" fmla="*/ 348 h 512"/>
                <a:gd name="T44" fmla="*/ 370 w 512"/>
                <a:gd name="T45" fmla="*/ 397 h 512"/>
                <a:gd name="T46" fmla="*/ 370 w 512"/>
                <a:gd name="T47" fmla="*/ 4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413"/>
                  </a:moveTo>
                  <a:cubicBezTo>
                    <a:pt x="368" y="415"/>
                    <a:pt x="365" y="416"/>
                    <a:pt x="362" y="416"/>
                  </a:cubicBezTo>
                  <a:cubicBezTo>
                    <a:pt x="360" y="416"/>
                    <a:pt x="357" y="415"/>
                    <a:pt x="355" y="413"/>
                  </a:cubicBezTo>
                  <a:cubicBezTo>
                    <a:pt x="337" y="394"/>
                    <a:pt x="337" y="394"/>
                    <a:pt x="337" y="394"/>
                  </a:cubicBezTo>
                  <a:cubicBezTo>
                    <a:pt x="175" y="394"/>
                    <a:pt x="175" y="394"/>
                    <a:pt x="175" y="394"/>
                  </a:cubicBez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189" y="350"/>
                    <a:pt x="189" y="350"/>
                    <a:pt x="189" y="350"/>
                  </a:cubicBezTo>
                  <a:cubicBezTo>
                    <a:pt x="166" y="344"/>
                    <a:pt x="149" y="323"/>
                    <a:pt x="149" y="298"/>
                  </a:cubicBezTo>
                  <a:cubicBezTo>
                    <a:pt x="149" y="170"/>
                    <a:pt x="149" y="170"/>
                    <a:pt x="149" y="170"/>
                  </a:cubicBezTo>
                  <a:cubicBezTo>
                    <a:pt x="149" y="141"/>
                    <a:pt x="173" y="117"/>
                    <a:pt x="202" y="117"/>
                  </a:cubicBezTo>
                  <a:cubicBezTo>
                    <a:pt x="309" y="117"/>
                    <a:pt x="309" y="117"/>
                    <a:pt x="309" y="117"/>
                  </a:cubicBezTo>
                  <a:cubicBezTo>
                    <a:pt x="338" y="117"/>
                    <a:pt x="362" y="141"/>
                    <a:pt x="362" y="170"/>
                  </a:cubicBezTo>
                  <a:cubicBezTo>
                    <a:pt x="362" y="298"/>
                    <a:pt x="362" y="298"/>
                    <a:pt x="362" y="298"/>
                  </a:cubicBezTo>
                  <a:cubicBezTo>
                    <a:pt x="362" y="321"/>
                    <a:pt x="342" y="340"/>
                    <a:pt x="320" y="348"/>
                  </a:cubicBezTo>
                  <a:cubicBezTo>
                    <a:pt x="370" y="397"/>
                    <a:pt x="370" y="397"/>
                    <a:pt x="370" y="397"/>
                  </a:cubicBezTo>
                  <a:cubicBezTo>
                    <a:pt x="374" y="402"/>
                    <a:pt x="374" y="408"/>
                    <a:pt x="370" y="4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Rectangle 513"/>
            <p:cNvSpPr>
              <a:spLocks noChangeArrowheads="1"/>
            </p:cNvSpPr>
            <p:nvPr/>
          </p:nvSpPr>
          <p:spPr bwMode="auto">
            <a:xfrm>
              <a:off x="6349" y="1988"/>
              <a:ext cx="57" cy="2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0" name="Group 516"/>
          <p:cNvGrpSpPr>
            <a:grpSpLocks noChangeAspect="1"/>
          </p:cNvGrpSpPr>
          <p:nvPr/>
        </p:nvGrpSpPr>
        <p:grpSpPr bwMode="auto">
          <a:xfrm>
            <a:off x="1671471" y="2514143"/>
            <a:ext cx="369676" cy="369676"/>
            <a:chOff x="5807" y="1879"/>
            <a:chExt cx="340" cy="340"/>
          </a:xfrm>
          <a:solidFill>
            <a:schemeClr val="accent6"/>
          </a:solidFill>
        </p:grpSpPr>
        <p:sp>
          <p:nvSpPr>
            <p:cNvPr id="301"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6" name="Group 524"/>
          <p:cNvGrpSpPr>
            <a:grpSpLocks noChangeAspect="1"/>
          </p:cNvGrpSpPr>
          <p:nvPr/>
        </p:nvGrpSpPr>
        <p:grpSpPr bwMode="auto">
          <a:xfrm>
            <a:off x="1249056" y="2514143"/>
            <a:ext cx="370763" cy="369676"/>
            <a:chOff x="5409" y="1864"/>
            <a:chExt cx="341" cy="340"/>
          </a:xfrm>
          <a:solidFill>
            <a:schemeClr val="accent6"/>
          </a:solidFill>
        </p:grpSpPr>
        <p:sp>
          <p:nvSpPr>
            <p:cNvPr id="307" name="Freeform 525"/>
            <p:cNvSpPr>
              <a:spLocks/>
            </p:cNvSpPr>
            <p:nvPr/>
          </p:nvSpPr>
          <p:spPr bwMode="auto">
            <a:xfrm>
              <a:off x="5509" y="1956"/>
              <a:ext cx="21" cy="20"/>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Oval 526"/>
            <p:cNvSpPr>
              <a:spLocks noChangeArrowheads="1"/>
            </p:cNvSpPr>
            <p:nvPr/>
          </p:nvSpPr>
          <p:spPr bwMode="auto">
            <a:xfrm>
              <a:off x="5572" y="202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527"/>
            <p:cNvSpPr>
              <a:spLocks/>
            </p:cNvSpPr>
            <p:nvPr/>
          </p:nvSpPr>
          <p:spPr bwMode="auto">
            <a:xfrm>
              <a:off x="5629" y="1956"/>
              <a:ext cx="20" cy="20"/>
            </a:xfrm>
            <a:custGeom>
              <a:avLst/>
              <a:gdLst>
                <a:gd name="T0" fmla="*/ 31 w 31"/>
                <a:gd name="T1" fmla="*/ 0 h 31"/>
                <a:gd name="T2" fmla="*/ 0 w 31"/>
                <a:gd name="T3" fmla="*/ 0 h 31"/>
                <a:gd name="T4" fmla="*/ 0 w 31"/>
                <a:gd name="T5" fmla="*/ 31 h 31"/>
                <a:gd name="T6" fmla="*/ 31 w 31"/>
                <a:gd name="T7" fmla="*/ 0 h 31"/>
              </a:gdLst>
              <a:ahLst/>
              <a:cxnLst>
                <a:cxn ang="0">
                  <a:pos x="T0" y="T1"/>
                </a:cxn>
                <a:cxn ang="0">
                  <a:pos x="T2" y="T3"/>
                </a:cxn>
                <a:cxn ang="0">
                  <a:pos x="T4" y="T5"/>
                </a:cxn>
                <a:cxn ang="0">
                  <a:pos x="T6" y="T7"/>
                </a:cxn>
              </a:cxnLst>
              <a:rect l="0" t="0" r="r" b="b"/>
              <a:pathLst>
                <a:path w="31" h="31">
                  <a:moveTo>
                    <a:pt x="31" y="0"/>
                  </a:moveTo>
                  <a:cubicBezTo>
                    <a:pt x="0" y="0"/>
                    <a:pt x="0" y="0"/>
                    <a:pt x="0" y="0"/>
                  </a:cubicBezTo>
                  <a:cubicBezTo>
                    <a:pt x="0" y="31"/>
                    <a:pt x="0" y="31"/>
                    <a:pt x="0" y="31"/>
                  </a:cubicBezTo>
                  <a:cubicBezTo>
                    <a:pt x="21" y="27"/>
                    <a:pt x="28" y="11"/>
                    <a:pt x="3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Oval 528"/>
            <p:cNvSpPr>
              <a:spLocks noChangeArrowheads="1"/>
            </p:cNvSpPr>
            <p:nvPr/>
          </p:nvSpPr>
          <p:spPr bwMode="auto">
            <a:xfrm>
              <a:off x="5572" y="2083"/>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529"/>
            <p:cNvSpPr>
              <a:spLocks/>
            </p:cNvSpPr>
            <p:nvPr/>
          </p:nvSpPr>
          <p:spPr bwMode="auto">
            <a:xfrm>
              <a:off x="5509" y="2083"/>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530"/>
            <p:cNvSpPr>
              <a:spLocks/>
            </p:cNvSpPr>
            <p:nvPr/>
          </p:nvSpPr>
          <p:spPr bwMode="auto">
            <a:xfrm>
              <a:off x="5509" y="2019"/>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531"/>
            <p:cNvSpPr>
              <a:spLocks/>
            </p:cNvSpPr>
            <p:nvPr/>
          </p:nvSpPr>
          <p:spPr bwMode="auto">
            <a:xfrm>
              <a:off x="5629" y="2083"/>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532"/>
            <p:cNvSpPr>
              <a:spLocks noEditPoints="1"/>
            </p:cNvSpPr>
            <p:nvPr/>
          </p:nvSpPr>
          <p:spPr bwMode="auto">
            <a:xfrm>
              <a:off x="5409" y="186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13 h 512"/>
                <a:gd name="T12" fmla="*/ 384 w 512"/>
                <a:gd name="T13" fmla="*/ 224 h 512"/>
                <a:gd name="T14" fmla="*/ 330 w 512"/>
                <a:gd name="T15" fmla="*/ 287 h 512"/>
                <a:gd name="T16" fmla="*/ 330 w 512"/>
                <a:gd name="T17" fmla="*/ 309 h 512"/>
                <a:gd name="T18" fmla="*/ 373 w 512"/>
                <a:gd name="T19" fmla="*/ 309 h 512"/>
                <a:gd name="T20" fmla="*/ 384 w 512"/>
                <a:gd name="T21" fmla="*/ 320 h 512"/>
                <a:gd name="T22" fmla="*/ 329 w 512"/>
                <a:gd name="T23" fmla="*/ 383 h 512"/>
                <a:gd name="T24" fmla="*/ 288 w 512"/>
                <a:gd name="T25" fmla="*/ 416 h 512"/>
                <a:gd name="T26" fmla="*/ 224 w 512"/>
                <a:gd name="T27" fmla="*/ 416 h 512"/>
                <a:gd name="T28" fmla="*/ 182 w 512"/>
                <a:gd name="T29" fmla="*/ 383 h 512"/>
                <a:gd name="T30" fmla="*/ 128 w 512"/>
                <a:gd name="T31" fmla="*/ 320 h 512"/>
                <a:gd name="T32" fmla="*/ 138 w 512"/>
                <a:gd name="T33" fmla="*/ 309 h 512"/>
                <a:gd name="T34" fmla="*/ 181 w 512"/>
                <a:gd name="T35" fmla="*/ 309 h 512"/>
                <a:gd name="T36" fmla="*/ 181 w 512"/>
                <a:gd name="T37" fmla="*/ 287 h 512"/>
                <a:gd name="T38" fmla="*/ 128 w 512"/>
                <a:gd name="T39" fmla="*/ 224 h 512"/>
                <a:gd name="T40" fmla="*/ 138 w 512"/>
                <a:gd name="T41" fmla="*/ 213 h 512"/>
                <a:gd name="T42" fmla="*/ 181 w 512"/>
                <a:gd name="T43" fmla="*/ 213 h 512"/>
                <a:gd name="T44" fmla="*/ 181 w 512"/>
                <a:gd name="T45" fmla="*/ 191 h 512"/>
                <a:gd name="T46" fmla="*/ 128 w 512"/>
                <a:gd name="T47" fmla="*/ 128 h 512"/>
                <a:gd name="T48" fmla="*/ 138 w 512"/>
                <a:gd name="T49" fmla="*/ 117 h 512"/>
                <a:gd name="T50" fmla="*/ 187 w 512"/>
                <a:gd name="T51" fmla="*/ 117 h 512"/>
                <a:gd name="T52" fmla="*/ 224 w 512"/>
                <a:gd name="T53" fmla="*/ 96 h 512"/>
                <a:gd name="T54" fmla="*/ 288 w 512"/>
                <a:gd name="T55" fmla="*/ 96 h 512"/>
                <a:gd name="T56" fmla="*/ 324 w 512"/>
                <a:gd name="T57" fmla="*/ 117 h 512"/>
                <a:gd name="T58" fmla="*/ 373 w 512"/>
                <a:gd name="T59" fmla="*/ 117 h 512"/>
                <a:gd name="T60" fmla="*/ 384 w 512"/>
                <a:gd name="T61" fmla="*/ 128 h 512"/>
                <a:gd name="T62" fmla="*/ 330 w 512"/>
                <a:gd name="T63" fmla="*/ 191 h 512"/>
                <a:gd name="T64" fmla="*/ 330 w 512"/>
                <a:gd name="T65" fmla="*/ 213 h 512"/>
                <a:gd name="T66" fmla="*/ 373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9" y="213"/>
                    <a:pt x="384" y="218"/>
                    <a:pt x="384" y="224"/>
                  </a:cubicBezTo>
                  <a:cubicBezTo>
                    <a:pt x="384" y="244"/>
                    <a:pt x="372" y="281"/>
                    <a:pt x="330" y="287"/>
                  </a:cubicBezTo>
                  <a:cubicBezTo>
                    <a:pt x="330" y="309"/>
                    <a:pt x="330" y="309"/>
                    <a:pt x="330" y="309"/>
                  </a:cubicBezTo>
                  <a:cubicBezTo>
                    <a:pt x="373" y="309"/>
                    <a:pt x="373" y="309"/>
                    <a:pt x="373" y="309"/>
                  </a:cubicBezTo>
                  <a:cubicBezTo>
                    <a:pt x="379" y="309"/>
                    <a:pt x="384" y="314"/>
                    <a:pt x="384" y="320"/>
                  </a:cubicBezTo>
                  <a:cubicBezTo>
                    <a:pt x="384" y="340"/>
                    <a:pt x="372" y="378"/>
                    <a:pt x="329" y="383"/>
                  </a:cubicBezTo>
                  <a:cubicBezTo>
                    <a:pt x="324" y="402"/>
                    <a:pt x="308" y="416"/>
                    <a:pt x="288" y="416"/>
                  </a:cubicBezTo>
                  <a:cubicBezTo>
                    <a:pt x="224" y="416"/>
                    <a:pt x="224" y="416"/>
                    <a:pt x="224" y="416"/>
                  </a:cubicBezTo>
                  <a:cubicBezTo>
                    <a:pt x="204" y="416"/>
                    <a:pt x="187" y="402"/>
                    <a:pt x="182" y="383"/>
                  </a:cubicBezTo>
                  <a:cubicBezTo>
                    <a:pt x="139" y="378"/>
                    <a:pt x="128" y="340"/>
                    <a:pt x="128" y="320"/>
                  </a:cubicBezTo>
                  <a:cubicBezTo>
                    <a:pt x="128" y="314"/>
                    <a:pt x="132" y="309"/>
                    <a:pt x="138" y="309"/>
                  </a:cubicBezTo>
                  <a:cubicBezTo>
                    <a:pt x="181" y="309"/>
                    <a:pt x="181" y="309"/>
                    <a:pt x="181" y="309"/>
                  </a:cubicBezTo>
                  <a:cubicBezTo>
                    <a:pt x="181" y="287"/>
                    <a:pt x="181" y="287"/>
                    <a:pt x="181" y="287"/>
                  </a:cubicBezTo>
                  <a:cubicBezTo>
                    <a:pt x="139" y="281"/>
                    <a:pt x="128" y="244"/>
                    <a:pt x="128" y="224"/>
                  </a:cubicBezTo>
                  <a:cubicBezTo>
                    <a:pt x="128" y="218"/>
                    <a:pt x="132" y="213"/>
                    <a:pt x="138" y="213"/>
                  </a:cubicBezTo>
                  <a:cubicBezTo>
                    <a:pt x="181" y="213"/>
                    <a:pt x="181" y="213"/>
                    <a:pt x="181" y="213"/>
                  </a:cubicBezTo>
                  <a:cubicBezTo>
                    <a:pt x="181" y="191"/>
                    <a:pt x="181" y="191"/>
                    <a:pt x="181" y="191"/>
                  </a:cubicBezTo>
                  <a:cubicBezTo>
                    <a:pt x="139" y="185"/>
                    <a:pt x="128" y="148"/>
                    <a:pt x="128" y="128"/>
                  </a:cubicBezTo>
                  <a:cubicBezTo>
                    <a:pt x="128" y="122"/>
                    <a:pt x="132" y="117"/>
                    <a:pt x="138" y="117"/>
                  </a:cubicBezTo>
                  <a:cubicBezTo>
                    <a:pt x="187" y="117"/>
                    <a:pt x="187" y="117"/>
                    <a:pt x="187" y="117"/>
                  </a:cubicBezTo>
                  <a:cubicBezTo>
                    <a:pt x="194" y="104"/>
                    <a:pt x="208" y="96"/>
                    <a:pt x="224" y="96"/>
                  </a:cubicBezTo>
                  <a:cubicBezTo>
                    <a:pt x="288" y="96"/>
                    <a:pt x="288" y="96"/>
                    <a:pt x="288" y="96"/>
                  </a:cubicBezTo>
                  <a:cubicBezTo>
                    <a:pt x="303" y="96"/>
                    <a:pt x="317" y="104"/>
                    <a:pt x="324" y="117"/>
                  </a:cubicBezTo>
                  <a:cubicBezTo>
                    <a:pt x="373" y="117"/>
                    <a:pt x="373" y="117"/>
                    <a:pt x="373" y="117"/>
                  </a:cubicBezTo>
                  <a:cubicBezTo>
                    <a:pt x="379" y="117"/>
                    <a:pt x="384" y="122"/>
                    <a:pt x="384" y="128"/>
                  </a:cubicBezTo>
                  <a:cubicBezTo>
                    <a:pt x="384" y="148"/>
                    <a:pt x="372" y="185"/>
                    <a:pt x="330" y="191"/>
                  </a:cubicBezTo>
                  <a:cubicBezTo>
                    <a:pt x="330" y="213"/>
                    <a:pt x="330" y="213"/>
                    <a:pt x="330" y="213"/>
                  </a:cubicBezTo>
                  <a:lnTo>
                    <a:pt x="373"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533"/>
            <p:cNvSpPr>
              <a:spLocks noEditPoints="1"/>
            </p:cNvSpPr>
            <p:nvPr/>
          </p:nvSpPr>
          <p:spPr bwMode="auto">
            <a:xfrm>
              <a:off x="5544" y="1942"/>
              <a:ext cx="71" cy="184"/>
            </a:xfrm>
            <a:custGeom>
              <a:avLst/>
              <a:gdLst>
                <a:gd name="T0" fmla="*/ 86 w 107"/>
                <a:gd name="T1" fmla="*/ 0 h 277"/>
                <a:gd name="T2" fmla="*/ 22 w 107"/>
                <a:gd name="T3" fmla="*/ 0 h 277"/>
                <a:gd name="T4" fmla="*/ 0 w 107"/>
                <a:gd name="T5" fmla="*/ 21 h 277"/>
                <a:gd name="T6" fmla="*/ 0 w 107"/>
                <a:gd name="T7" fmla="*/ 256 h 277"/>
                <a:gd name="T8" fmla="*/ 22 w 107"/>
                <a:gd name="T9" fmla="*/ 277 h 277"/>
                <a:gd name="T10" fmla="*/ 86 w 107"/>
                <a:gd name="T11" fmla="*/ 277 h 277"/>
                <a:gd name="T12" fmla="*/ 107 w 107"/>
                <a:gd name="T13" fmla="*/ 256 h 277"/>
                <a:gd name="T14" fmla="*/ 107 w 107"/>
                <a:gd name="T15" fmla="*/ 21 h 277"/>
                <a:gd name="T16" fmla="*/ 86 w 107"/>
                <a:gd name="T17" fmla="*/ 0 h 277"/>
                <a:gd name="T18" fmla="*/ 54 w 107"/>
                <a:gd name="T19" fmla="*/ 256 h 277"/>
                <a:gd name="T20" fmla="*/ 22 w 107"/>
                <a:gd name="T21" fmla="*/ 224 h 277"/>
                <a:gd name="T22" fmla="*/ 54 w 107"/>
                <a:gd name="T23" fmla="*/ 192 h 277"/>
                <a:gd name="T24" fmla="*/ 86 w 107"/>
                <a:gd name="T25" fmla="*/ 224 h 277"/>
                <a:gd name="T26" fmla="*/ 54 w 107"/>
                <a:gd name="T27" fmla="*/ 256 h 277"/>
                <a:gd name="T28" fmla="*/ 54 w 107"/>
                <a:gd name="T29" fmla="*/ 171 h 277"/>
                <a:gd name="T30" fmla="*/ 22 w 107"/>
                <a:gd name="T31" fmla="*/ 139 h 277"/>
                <a:gd name="T32" fmla="*/ 54 w 107"/>
                <a:gd name="T33" fmla="*/ 107 h 277"/>
                <a:gd name="T34" fmla="*/ 86 w 107"/>
                <a:gd name="T35" fmla="*/ 139 h 277"/>
                <a:gd name="T36" fmla="*/ 54 w 107"/>
                <a:gd name="T37" fmla="*/ 171 h 277"/>
                <a:gd name="T38" fmla="*/ 54 w 107"/>
                <a:gd name="T39" fmla="*/ 85 h 277"/>
                <a:gd name="T40" fmla="*/ 22 w 107"/>
                <a:gd name="T41" fmla="*/ 53 h 277"/>
                <a:gd name="T42" fmla="*/ 54 w 107"/>
                <a:gd name="T43" fmla="*/ 21 h 277"/>
                <a:gd name="T44" fmla="*/ 86 w 107"/>
                <a:gd name="T45" fmla="*/ 53 h 277"/>
                <a:gd name="T46" fmla="*/ 54 w 107"/>
                <a:gd name="T4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77">
                  <a:moveTo>
                    <a:pt x="86" y="0"/>
                  </a:moveTo>
                  <a:cubicBezTo>
                    <a:pt x="22" y="0"/>
                    <a:pt x="22" y="0"/>
                    <a:pt x="22" y="0"/>
                  </a:cubicBezTo>
                  <a:cubicBezTo>
                    <a:pt x="10" y="0"/>
                    <a:pt x="0" y="10"/>
                    <a:pt x="0" y="21"/>
                  </a:cubicBezTo>
                  <a:cubicBezTo>
                    <a:pt x="0" y="256"/>
                    <a:pt x="0" y="256"/>
                    <a:pt x="0" y="256"/>
                  </a:cubicBezTo>
                  <a:cubicBezTo>
                    <a:pt x="0" y="268"/>
                    <a:pt x="10" y="277"/>
                    <a:pt x="22" y="277"/>
                  </a:cubicBezTo>
                  <a:cubicBezTo>
                    <a:pt x="86" y="277"/>
                    <a:pt x="86" y="277"/>
                    <a:pt x="86" y="277"/>
                  </a:cubicBezTo>
                  <a:cubicBezTo>
                    <a:pt x="97" y="277"/>
                    <a:pt x="107" y="268"/>
                    <a:pt x="107" y="256"/>
                  </a:cubicBezTo>
                  <a:cubicBezTo>
                    <a:pt x="107" y="21"/>
                    <a:pt x="107" y="21"/>
                    <a:pt x="107" y="21"/>
                  </a:cubicBezTo>
                  <a:cubicBezTo>
                    <a:pt x="107" y="10"/>
                    <a:pt x="97" y="0"/>
                    <a:pt x="86" y="0"/>
                  </a:cubicBezTo>
                  <a:close/>
                  <a:moveTo>
                    <a:pt x="54" y="256"/>
                  </a:moveTo>
                  <a:cubicBezTo>
                    <a:pt x="36" y="256"/>
                    <a:pt x="22" y="242"/>
                    <a:pt x="22" y="224"/>
                  </a:cubicBezTo>
                  <a:cubicBezTo>
                    <a:pt x="22" y="206"/>
                    <a:pt x="36" y="192"/>
                    <a:pt x="54" y="192"/>
                  </a:cubicBezTo>
                  <a:cubicBezTo>
                    <a:pt x="71" y="192"/>
                    <a:pt x="86" y="206"/>
                    <a:pt x="86" y="224"/>
                  </a:cubicBezTo>
                  <a:cubicBezTo>
                    <a:pt x="86" y="242"/>
                    <a:pt x="71" y="256"/>
                    <a:pt x="54" y="256"/>
                  </a:cubicBezTo>
                  <a:close/>
                  <a:moveTo>
                    <a:pt x="54" y="171"/>
                  </a:moveTo>
                  <a:cubicBezTo>
                    <a:pt x="36" y="171"/>
                    <a:pt x="22" y="156"/>
                    <a:pt x="22" y="139"/>
                  </a:cubicBezTo>
                  <a:cubicBezTo>
                    <a:pt x="22" y="121"/>
                    <a:pt x="36" y="107"/>
                    <a:pt x="54" y="107"/>
                  </a:cubicBezTo>
                  <a:cubicBezTo>
                    <a:pt x="71" y="107"/>
                    <a:pt x="86" y="121"/>
                    <a:pt x="86" y="139"/>
                  </a:cubicBezTo>
                  <a:cubicBezTo>
                    <a:pt x="86" y="156"/>
                    <a:pt x="71" y="171"/>
                    <a:pt x="54" y="171"/>
                  </a:cubicBezTo>
                  <a:close/>
                  <a:moveTo>
                    <a:pt x="54" y="85"/>
                  </a:moveTo>
                  <a:cubicBezTo>
                    <a:pt x="36" y="85"/>
                    <a:pt x="22" y="71"/>
                    <a:pt x="22" y="53"/>
                  </a:cubicBezTo>
                  <a:cubicBezTo>
                    <a:pt x="22" y="36"/>
                    <a:pt x="36" y="21"/>
                    <a:pt x="54" y="21"/>
                  </a:cubicBezTo>
                  <a:cubicBezTo>
                    <a:pt x="71" y="21"/>
                    <a:pt x="86" y="36"/>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534"/>
            <p:cNvSpPr>
              <a:spLocks/>
            </p:cNvSpPr>
            <p:nvPr/>
          </p:nvSpPr>
          <p:spPr bwMode="auto">
            <a:xfrm>
              <a:off x="5629" y="2019"/>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Oval 535"/>
            <p:cNvSpPr>
              <a:spLocks noChangeArrowheads="1"/>
            </p:cNvSpPr>
            <p:nvPr/>
          </p:nvSpPr>
          <p:spPr bwMode="auto">
            <a:xfrm>
              <a:off x="5572" y="1970"/>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538"/>
          <p:cNvGrpSpPr>
            <a:grpSpLocks noChangeAspect="1"/>
          </p:cNvGrpSpPr>
          <p:nvPr/>
        </p:nvGrpSpPr>
        <p:grpSpPr bwMode="auto">
          <a:xfrm>
            <a:off x="827728" y="2514143"/>
            <a:ext cx="369676" cy="370763"/>
            <a:chOff x="5044" y="1889"/>
            <a:chExt cx="340" cy="341"/>
          </a:xfrm>
          <a:solidFill>
            <a:schemeClr val="accent6"/>
          </a:solidFill>
        </p:grpSpPr>
        <p:sp>
          <p:nvSpPr>
            <p:cNvPr id="319" name="Freeform 539"/>
            <p:cNvSpPr>
              <a:spLocks noEditPoints="1"/>
            </p:cNvSpPr>
            <p:nvPr/>
          </p:nvSpPr>
          <p:spPr bwMode="auto">
            <a:xfrm>
              <a:off x="5164" y="1953"/>
              <a:ext cx="99" cy="213"/>
            </a:xfrm>
            <a:custGeom>
              <a:avLst/>
              <a:gdLst>
                <a:gd name="T0" fmla="*/ 107 w 149"/>
                <a:gd name="T1" fmla="*/ 320 h 320"/>
                <a:gd name="T2" fmla="*/ 43 w 149"/>
                <a:gd name="T3" fmla="*/ 320 h 320"/>
                <a:gd name="T4" fmla="*/ 0 w 149"/>
                <a:gd name="T5" fmla="*/ 277 h 320"/>
                <a:gd name="T6" fmla="*/ 0 w 149"/>
                <a:gd name="T7" fmla="*/ 42 h 320"/>
                <a:gd name="T8" fmla="*/ 43 w 149"/>
                <a:gd name="T9" fmla="*/ 0 h 320"/>
                <a:gd name="T10" fmla="*/ 107 w 149"/>
                <a:gd name="T11" fmla="*/ 0 h 320"/>
                <a:gd name="T12" fmla="*/ 149 w 149"/>
                <a:gd name="T13" fmla="*/ 42 h 320"/>
                <a:gd name="T14" fmla="*/ 149 w 149"/>
                <a:gd name="T15" fmla="*/ 277 h 320"/>
                <a:gd name="T16" fmla="*/ 107 w 149"/>
                <a:gd name="T17" fmla="*/ 320 h 320"/>
                <a:gd name="T18" fmla="*/ 43 w 149"/>
                <a:gd name="T19" fmla="*/ 21 h 320"/>
                <a:gd name="T20" fmla="*/ 21 w 149"/>
                <a:gd name="T21" fmla="*/ 42 h 320"/>
                <a:gd name="T22" fmla="*/ 21 w 149"/>
                <a:gd name="T23" fmla="*/ 277 h 320"/>
                <a:gd name="T24" fmla="*/ 43 w 149"/>
                <a:gd name="T25" fmla="*/ 298 h 320"/>
                <a:gd name="T26" fmla="*/ 107 w 149"/>
                <a:gd name="T27" fmla="*/ 298 h 320"/>
                <a:gd name="T28" fmla="*/ 128 w 149"/>
                <a:gd name="T29" fmla="*/ 277 h 320"/>
                <a:gd name="T30" fmla="*/ 128 w 149"/>
                <a:gd name="T31" fmla="*/ 42 h 320"/>
                <a:gd name="T32" fmla="*/ 107 w 149"/>
                <a:gd name="T33" fmla="*/ 21 h 320"/>
                <a:gd name="T34" fmla="*/ 43 w 149"/>
                <a:gd name="T35" fmla="*/ 21 h 320"/>
                <a:gd name="T36" fmla="*/ 75 w 149"/>
                <a:gd name="T37" fmla="*/ 106 h 320"/>
                <a:gd name="T38" fmla="*/ 43 w 149"/>
                <a:gd name="T39" fmla="*/ 74 h 320"/>
                <a:gd name="T40" fmla="*/ 75 w 149"/>
                <a:gd name="T41" fmla="*/ 42 h 320"/>
                <a:gd name="T42" fmla="*/ 107 w 149"/>
                <a:gd name="T43" fmla="*/ 74 h 320"/>
                <a:gd name="T44" fmla="*/ 75 w 149"/>
                <a:gd name="T45" fmla="*/ 106 h 320"/>
                <a:gd name="T46" fmla="*/ 75 w 149"/>
                <a:gd name="T47" fmla="*/ 64 h 320"/>
                <a:gd name="T48" fmla="*/ 64 w 149"/>
                <a:gd name="T49" fmla="*/ 74 h 320"/>
                <a:gd name="T50" fmla="*/ 75 w 149"/>
                <a:gd name="T51" fmla="*/ 85 h 320"/>
                <a:gd name="T52" fmla="*/ 85 w 149"/>
                <a:gd name="T53" fmla="*/ 74 h 320"/>
                <a:gd name="T54" fmla="*/ 75 w 149"/>
                <a:gd name="T55" fmla="*/ 64 h 320"/>
                <a:gd name="T56" fmla="*/ 75 w 149"/>
                <a:gd name="T57" fmla="*/ 192 h 320"/>
                <a:gd name="T58" fmla="*/ 43 w 149"/>
                <a:gd name="T59" fmla="*/ 160 h 320"/>
                <a:gd name="T60" fmla="*/ 75 w 149"/>
                <a:gd name="T61" fmla="*/ 128 h 320"/>
                <a:gd name="T62" fmla="*/ 107 w 149"/>
                <a:gd name="T63" fmla="*/ 160 h 320"/>
                <a:gd name="T64" fmla="*/ 75 w 149"/>
                <a:gd name="T65" fmla="*/ 192 h 320"/>
                <a:gd name="T66" fmla="*/ 75 w 149"/>
                <a:gd name="T67" fmla="*/ 149 h 320"/>
                <a:gd name="T68" fmla="*/ 64 w 149"/>
                <a:gd name="T69" fmla="*/ 160 h 320"/>
                <a:gd name="T70" fmla="*/ 75 w 149"/>
                <a:gd name="T71" fmla="*/ 170 h 320"/>
                <a:gd name="T72" fmla="*/ 85 w 149"/>
                <a:gd name="T73" fmla="*/ 160 h 320"/>
                <a:gd name="T74" fmla="*/ 75 w 149"/>
                <a:gd name="T75" fmla="*/ 149 h 320"/>
                <a:gd name="T76" fmla="*/ 75 w 149"/>
                <a:gd name="T77" fmla="*/ 277 h 320"/>
                <a:gd name="T78" fmla="*/ 43 w 149"/>
                <a:gd name="T79" fmla="*/ 245 h 320"/>
                <a:gd name="T80" fmla="*/ 75 w 149"/>
                <a:gd name="T81" fmla="*/ 213 h 320"/>
                <a:gd name="T82" fmla="*/ 107 w 149"/>
                <a:gd name="T83" fmla="*/ 245 h 320"/>
                <a:gd name="T84" fmla="*/ 75 w 149"/>
                <a:gd name="T85" fmla="*/ 277 h 320"/>
                <a:gd name="T86" fmla="*/ 75 w 149"/>
                <a:gd name="T87" fmla="*/ 234 h 320"/>
                <a:gd name="T88" fmla="*/ 64 w 149"/>
                <a:gd name="T89" fmla="*/ 245 h 320"/>
                <a:gd name="T90" fmla="*/ 75 w 149"/>
                <a:gd name="T91" fmla="*/ 256 h 320"/>
                <a:gd name="T92" fmla="*/ 85 w 149"/>
                <a:gd name="T93" fmla="*/ 245 h 320"/>
                <a:gd name="T94" fmla="*/ 75 w 14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320">
                  <a:moveTo>
                    <a:pt x="107" y="320"/>
                  </a:moveTo>
                  <a:cubicBezTo>
                    <a:pt x="43" y="320"/>
                    <a:pt x="43" y="320"/>
                    <a:pt x="43" y="320"/>
                  </a:cubicBezTo>
                  <a:cubicBezTo>
                    <a:pt x="19" y="320"/>
                    <a:pt x="0" y="301"/>
                    <a:pt x="0" y="277"/>
                  </a:cubicBezTo>
                  <a:cubicBezTo>
                    <a:pt x="0" y="42"/>
                    <a:pt x="0" y="42"/>
                    <a:pt x="0" y="42"/>
                  </a:cubicBezTo>
                  <a:cubicBezTo>
                    <a:pt x="0" y="19"/>
                    <a:pt x="19" y="0"/>
                    <a:pt x="43" y="0"/>
                  </a:cubicBezTo>
                  <a:cubicBezTo>
                    <a:pt x="107" y="0"/>
                    <a:pt x="107" y="0"/>
                    <a:pt x="107" y="0"/>
                  </a:cubicBezTo>
                  <a:cubicBezTo>
                    <a:pt x="130" y="0"/>
                    <a:pt x="149" y="19"/>
                    <a:pt x="149" y="42"/>
                  </a:cubicBezTo>
                  <a:cubicBezTo>
                    <a:pt x="149" y="277"/>
                    <a:pt x="149" y="277"/>
                    <a:pt x="149" y="277"/>
                  </a:cubicBezTo>
                  <a:cubicBezTo>
                    <a:pt x="149" y="301"/>
                    <a:pt x="130" y="320"/>
                    <a:pt x="107" y="320"/>
                  </a:cubicBezTo>
                  <a:close/>
                  <a:moveTo>
                    <a:pt x="43" y="21"/>
                  </a:moveTo>
                  <a:cubicBezTo>
                    <a:pt x="31" y="21"/>
                    <a:pt x="21" y="31"/>
                    <a:pt x="21" y="42"/>
                  </a:cubicBezTo>
                  <a:cubicBezTo>
                    <a:pt x="21" y="277"/>
                    <a:pt x="21" y="277"/>
                    <a:pt x="21" y="277"/>
                  </a:cubicBezTo>
                  <a:cubicBezTo>
                    <a:pt x="21" y="289"/>
                    <a:pt x="31" y="298"/>
                    <a:pt x="43" y="298"/>
                  </a:cubicBezTo>
                  <a:cubicBezTo>
                    <a:pt x="107" y="298"/>
                    <a:pt x="107" y="298"/>
                    <a:pt x="107" y="298"/>
                  </a:cubicBezTo>
                  <a:cubicBezTo>
                    <a:pt x="118" y="298"/>
                    <a:pt x="128" y="289"/>
                    <a:pt x="128" y="277"/>
                  </a:cubicBezTo>
                  <a:cubicBezTo>
                    <a:pt x="128" y="42"/>
                    <a:pt x="128" y="42"/>
                    <a:pt x="128" y="42"/>
                  </a:cubicBezTo>
                  <a:cubicBezTo>
                    <a:pt x="128" y="31"/>
                    <a:pt x="118" y="21"/>
                    <a:pt x="107" y="21"/>
                  </a:cubicBezTo>
                  <a:lnTo>
                    <a:pt x="43" y="21"/>
                  </a:lnTo>
                  <a:close/>
                  <a:moveTo>
                    <a:pt x="75" y="106"/>
                  </a:moveTo>
                  <a:cubicBezTo>
                    <a:pt x="57" y="106"/>
                    <a:pt x="43" y="92"/>
                    <a:pt x="43" y="74"/>
                  </a:cubicBezTo>
                  <a:cubicBezTo>
                    <a:pt x="43" y="57"/>
                    <a:pt x="57" y="42"/>
                    <a:pt x="75" y="42"/>
                  </a:cubicBezTo>
                  <a:cubicBezTo>
                    <a:pt x="92" y="42"/>
                    <a:pt x="107" y="57"/>
                    <a:pt x="107" y="74"/>
                  </a:cubicBezTo>
                  <a:cubicBezTo>
                    <a:pt x="107" y="92"/>
                    <a:pt x="92" y="106"/>
                    <a:pt x="75" y="106"/>
                  </a:cubicBezTo>
                  <a:close/>
                  <a:moveTo>
                    <a:pt x="75" y="64"/>
                  </a:moveTo>
                  <a:cubicBezTo>
                    <a:pt x="69" y="64"/>
                    <a:pt x="64" y="68"/>
                    <a:pt x="64" y="74"/>
                  </a:cubicBezTo>
                  <a:cubicBezTo>
                    <a:pt x="64" y="80"/>
                    <a:pt x="69" y="85"/>
                    <a:pt x="75" y="85"/>
                  </a:cubicBezTo>
                  <a:cubicBezTo>
                    <a:pt x="81" y="85"/>
                    <a:pt x="85" y="80"/>
                    <a:pt x="85" y="74"/>
                  </a:cubicBezTo>
                  <a:cubicBezTo>
                    <a:pt x="85" y="68"/>
                    <a:pt x="81" y="64"/>
                    <a:pt x="75" y="64"/>
                  </a:cubicBezTo>
                  <a:close/>
                  <a:moveTo>
                    <a:pt x="75" y="192"/>
                  </a:moveTo>
                  <a:cubicBezTo>
                    <a:pt x="57" y="192"/>
                    <a:pt x="43" y="177"/>
                    <a:pt x="43" y="160"/>
                  </a:cubicBezTo>
                  <a:cubicBezTo>
                    <a:pt x="43" y="142"/>
                    <a:pt x="57" y="128"/>
                    <a:pt x="75" y="128"/>
                  </a:cubicBezTo>
                  <a:cubicBezTo>
                    <a:pt x="92" y="128"/>
                    <a:pt x="107" y="142"/>
                    <a:pt x="107" y="160"/>
                  </a:cubicBezTo>
                  <a:cubicBezTo>
                    <a:pt x="107" y="177"/>
                    <a:pt x="92" y="192"/>
                    <a:pt x="75" y="192"/>
                  </a:cubicBezTo>
                  <a:close/>
                  <a:moveTo>
                    <a:pt x="75" y="149"/>
                  </a:moveTo>
                  <a:cubicBezTo>
                    <a:pt x="69" y="149"/>
                    <a:pt x="64" y="154"/>
                    <a:pt x="64" y="160"/>
                  </a:cubicBezTo>
                  <a:cubicBezTo>
                    <a:pt x="64" y="166"/>
                    <a:pt x="69" y="170"/>
                    <a:pt x="75" y="170"/>
                  </a:cubicBezTo>
                  <a:cubicBezTo>
                    <a:pt x="81" y="170"/>
                    <a:pt x="85" y="166"/>
                    <a:pt x="85" y="160"/>
                  </a:cubicBezTo>
                  <a:cubicBezTo>
                    <a:pt x="85" y="154"/>
                    <a:pt x="81" y="149"/>
                    <a:pt x="75" y="149"/>
                  </a:cubicBezTo>
                  <a:close/>
                  <a:moveTo>
                    <a:pt x="75" y="277"/>
                  </a:moveTo>
                  <a:cubicBezTo>
                    <a:pt x="57" y="277"/>
                    <a:pt x="43" y="263"/>
                    <a:pt x="43" y="245"/>
                  </a:cubicBezTo>
                  <a:cubicBezTo>
                    <a:pt x="43" y="227"/>
                    <a:pt x="57" y="213"/>
                    <a:pt x="75" y="213"/>
                  </a:cubicBezTo>
                  <a:cubicBezTo>
                    <a:pt x="92" y="213"/>
                    <a:pt x="107" y="227"/>
                    <a:pt x="107" y="245"/>
                  </a:cubicBezTo>
                  <a:cubicBezTo>
                    <a:pt x="107" y="263"/>
                    <a:pt x="92" y="277"/>
                    <a:pt x="75" y="277"/>
                  </a:cubicBezTo>
                  <a:close/>
                  <a:moveTo>
                    <a:pt x="75" y="234"/>
                  </a:moveTo>
                  <a:cubicBezTo>
                    <a:pt x="69" y="234"/>
                    <a:pt x="64" y="239"/>
                    <a:pt x="64" y="245"/>
                  </a:cubicBezTo>
                  <a:cubicBezTo>
                    <a:pt x="64" y="251"/>
                    <a:pt x="69" y="256"/>
                    <a:pt x="75" y="256"/>
                  </a:cubicBezTo>
                  <a:cubicBezTo>
                    <a:pt x="81" y="256"/>
                    <a:pt x="85" y="251"/>
                    <a:pt x="85" y="245"/>
                  </a:cubicBezTo>
                  <a:cubicBezTo>
                    <a:pt x="85" y="239"/>
                    <a:pt x="81" y="234"/>
                    <a:pt x="75"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540"/>
            <p:cNvSpPr>
              <a:spLocks noEditPoints="1"/>
            </p:cNvSpPr>
            <p:nvPr/>
          </p:nvSpPr>
          <p:spPr bwMode="auto">
            <a:xfrm>
              <a:off x="5044" y="188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1" name="Freeform 544"/>
          <p:cNvSpPr>
            <a:spLocks noChangeAspect="1" noEditPoints="1"/>
          </p:cNvSpPr>
          <p:nvPr/>
        </p:nvSpPr>
        <p:spPr bwMode="auto">
          <a:xfrm>
            <a:off x="406400" y="2514143"/>
            <a:ext cx="369676" cy="370763"/>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2" name="Freeform 660"/>
          <p:cNvSpPr>
            <a:spLocks noChangeAspect="1" noEditPoints="1"/>
          </p:cNvSpPr>
          <p:nvPr/>
        </p:nvSpPr>
        <p:spPr bwMode="auto">
          <a:xfrm>
            <a:off x="2935455" y="2514143"/>
            <a:ext cx="367982" cy="367982"/>
          </a:xfrm>
          <a:custGeom>
            <a:avLst/>
            <a:gdLst>
              <a:gd name="T0" fmla="*/ 213 w 512"/>
              <a:gd name="T1" fmla="*/ 202 h 512"/>
              <a:gd name="T2" fmla="*/ 245 w 512"/>
              <a:gd name="T3" fmla="*/ 245 h 512"/>
              <a:gd name="T4" fmla="*/ 213 w 512"/>
              <a:gd name="T5" fmla="*/ 202 h 512"/>
              <a:gd name="T6" fmla="*/ 298 w 512"/>
              <a:gd name="T7" fmla="*/ 202 h 512"/>
              <a:gd name="T8" fmla="*/ 266 w 512"/>
              <a:gd name="T9" fmla="*/ 245 h 512"/>
              <a:gd name="T10" fmla="*/ 298 w 512"/>
              <a:gd name="T11" fmla="*/ 202 h 512"/>
              <a:gd name="T12" fmla="*/ 159 w 512"/>
              <a:gd name="T13" fmla="*/ 245 h 512"/>
              <a:gd name="T14" fmla="*/ 192 w 512"/>
              <a:gd name="T15" fmla="*/ 214 h 512"/>
              <a:gd name="T16" fmla="*/ 320 w 512"/>
              <a:gd name="T17" fmla="*/ 245 h 512"/>
              <a:gd name="T18" fmla="*/ 320 w 512"/>
              <a:gd name="T19" fmla="*/ 214 h 512"/>
              <a:gd name="T20" fmla="*/ 158 w 512"/>
              <a:gd name="T21" fmla="*/ 314 h 512"/>
              <a:gd name="T22" fmla="*/ 192 w 512"/>
              <a:gd name="T23" fmla="*/ 298 h 512"/>
              <a:gd name="T24" fmla="*/ 222 w 512"/>
              <a:gd name="T25" fmla="*/ 314 h 512"/>
              <a:gd name="T26" fmla="*/ 256 w 512"/>
              <a:gd name="T27" fmla="*/ 298 h 512"/>
              <a:gd name="T28" fmla="*/ 286 w 512"/>
              <a:gd name="T29" fmla="*/ 314 h 512"/>
              <a:gd name="T30" fmla="*/ 320 w 512"/>
              <a:gd name="T31" fmla="*/ 298 h 512"/>
              <a:gd name="T32" fmla="*/ 350 w 512"/>
              <a:gd name="T33" fmla="*/ 314 h 512"/>
              <a:gd name="T34" fmla="*/ 373 w 512"/>
              <a:gd name="T35" fmla="*/ 266 h 512"/>
              <a:gd name="T36" fmla="*/ 138 w 512"/>
              <a:gd name="T37" fmla="*/ 305 h 512"/>
              <a:gd name="T38" fmla="*/ 256 w 512"/>
              <a:gd name="T39" fmla="*/ 512 h 512"/>
              <a:gd name="T40" fmla="*/ 256 w 512"/>
              <a:gd name="T41" fmla="*/ 0 h 512"/>
              <a:gd name="T42" fmla="*/ 394 w 512"/>
              <a:gd name="T43" fmla="*/ 305 h 512"/>
              <a:gd name="T44" fmla="*/ 405 w 512"/>
              <a:gd name="T45" fmla="*/ 266 h 512"/>
              <a:gd name="T46" fmla="*/ 405 w 512"/>
              <a:gd name="T47" fmla="*/ 245 h 512"/>
              <a:gd name="T48" fmla="*/ 394 w 512"/>
              <a:gd name="T49" fmla="*/ 224 h 512"/>
              <a:gd name="T50" fmla="*/ 373 w 512"/>
              <a:gd name="T51" fmla="*/ 224 h 512"/>
              <a:gd name="T52" fmla="*/ 256 w 512"/>
              <a:gd name="T53" fmla="*/ 170 h 512"/>
              <a:gd name="T54" fmla="*/ 138 w 512"/>
              <a:gd name="T55" fmla="*/ 224 h 512"/>
              <a:gd name="T56" fmla="*/ 117 w 512"/>
              <a:gd name="T57" fmla="*/ 224 h 512"/>
              <a:gd name="T58" fmla="*/ 106 w 512"/>
              <a:gd name="T59" fmla="*/ 245 h 512"/>
              <a:gd name="T60" fmla="*/ 106 w 512"/>
              <a:gd name="T61" fmla="*/ 266 h 512"/>
              <a:gd name="T62" fmla="*/ 117 w 512"/>
              <a:gd name="T63" fmla="*/ 304 h 512"/>
              <a:gd name="T64" fmla="*/ 96 w 512"/>
              <a:gd name="T65" fmla="*/ 326 h 512"/>
              <a:gd name="T66" fmla="*/ 127 w 512"/>
              <a:gd name="T67" fmla="*/ 323 h 512"/>
              <a:gd name="T68" fmla="*/ 191 w 512"/>
              <a:gd name="T69" fmla="*/ 324 h 512"/>
              <a:gd name="T70" fmla="*/ 255 w 512"/>
              <a:gd name="T71" fmla="*/ 324 h 512"/>
              <a:gd name="T72" fmla="*/ 319 w 512"/>
              <a:gd name="T73" fmla="*/ 324 h 512"/>
              <a:gd name="T74" fmla="*/ 351 w 512"/>
              <a:gd name="T75" fmla="*/ 336 h 512"/>
              <a:gd name="T76" fmla="*/ 402 w 512"/>
              <a:gd name="T77" fmla="*/ 334 h 512"/>
              <a:gd name="T78" fmla="*/ 408 w 512"/>
              <a:gd name="T7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13" y="202"/>
                </a:moveTo>
                <a:cubicBezTo>
                  <a:pt x="213" y="202"/>
                  <a:pt x="213" y="202"/>
                  <a:pt x="213" y="202"/>
                </a:cubicBezTo>
                <a:cubicBezTo>
                  <a:pt x="223" y="197"/>
                  <a:pt x="234" y="194"/>
                  <a:pt x="245" y="192"/>
                </a:cubicBezTo>
                <a:cubicBezTo>
                  <a:pt x="245" y="245"/>
                  <a:pt x="245" y="245"/>
                  <a:pt x="245" y="245"/>
                </a:cubicBezTo>
                <a:cubicBezTo>
                  <a:pt x="213" y="245"/>
                  <a:pt x="213" y="245"/>
                  <a:pt x="213" y="245"/>
                </a:cubicBezTo>
                <a:lnTo>
                  <a:pt x="213" y="202"/>
                </a:lnTo>
                <a:close/>
                <a:moveTo>
                  <a:pt x="298" y="202"/>
                </a:moveTo>
                <a:cubicBezTo>
                  <a:pt x="298" y="202"/>
                  <a:pt x="298" y="202"/>
                  <a:pt x="298" y="202"/>
                </a:cubicBezTo>
                <a:cubicBezTo>
                  <a:pt x="288" y="197"/>
                  <a:pt x="277" y="194"/>
                  <a:pt x="266" y="192"/>
                </a:cubicBezTo>
                <a:cubicBezTo>
                  <a:pt x="266" y="245"/>
                  <a:pt x="266" y="245"/>
                  <a:pt x="266" y="245"/>
                </a:cubicBezTo>
                <a:cubicBezTo>
                  <a:pt x="298" y="245"/>
                  <a:pt x="298" y="245"/>
                  <a:pt x="298" y="245"/>
                </a:cubicBezTo>
                <a:lnTo>
                  <a:pt x="298" y="202"/>
                </a:lnTo>
                <a:close/>
                <a:moveTo>
                  <a:pt x="192" y="214"/>
                </a:moveTo>
                <a:cubicBezTo>
                  <a:pt x="180" y="222"/>
                  <a:pt x="169" y="233"/>
                  <a:pt x="159" y="245"/>
                </a:cubicBezTo>
                <a:cubicBezTo>
                  <a:pt x="192" y="245"/>
                  <a:pt x="192" y="245"/>
                  <a:pt x="192" y="245"/>
                </a:cubicBezTo>
                <a:lnTo>
                  <a:pt x="192" y="214"/>
                </a:lnTo>
                <a:close/>
                <a:moveTo>
                  <a:pt x="320" y="214"/>
                </a:moveTo>
                <a:cubicBezTo>
                  <a:pt x="320" y="245"/>
                  <a:pt x="320" y="245"/>
                  <a:pt x="320" y="245"/>
                </a:cubicBezTo>
                <a:cubicBezTo>
                  <a:pt x="352" y="245"/>
                  <a:pt x="352" y="245"/>
                  <a:pt x="352" y="245"/>
                </a:cubicBezTo>
                <a:cubicBezTo>
                  <a:pt x="342" y="233"/>
                  <a:pt x="332" y="222"/>
                  <a:pt x="320" y="214"/>
                </a:cubicBezTo>
                <a:close/>
                <a:moveTo>
                  <a:pt x="138" y="305"/>
                </a:moveTo>
                <a:cubicBezTo>
                  <a:pt x="142" y="308"/>
                  <a:pt x="149" y="314"/>
                  <a:pt x="158" y="314"/>
                </a:cubicBezTo>
                <a:cubicBezTo>
                  <a:pt x="166" y="315"/>
                  <a:pt x="175" y="310"/>
                  <a:pt x="184" y="301"/>
                </a:cubicBezTo>
                <a:cubicBezTo>
                  <a:pt x="186" y="299"/>
                  <a:pt x="189" y="298"/>
                  <a:pt x="192" y="298"/>
                </a:cubicBezTo>
                <a:cubicBezTo>
                  <a:pt x="195" y="299"/>
                  <a:pt x="198" y="300"/>
                  <a:pt x="200" y="302"/>
                </a:cubicBezTo>
                <a:cubicBezTo>
                  <a:pt x="200" y="302"/>
                  <a:pt x="209" y="314"/>
                  <a:pt x="222" y="314"/>
                </a:cubicBezTo>
                <a:cubicBezTo>
                  <a:pt x="230" y="315"/>
                  <a:pt x="239" y="310"/>
                  <a:pt x="248" y="301"/>
                </a:cubicBezTo>
                <a:cubicBezTo>
                  <a:pt x="250" y="299"/>
                  <a:pt x="253" y="298"/>
                  <a:pt x="256" y="298"/>
                </a:cubicBezTo>
                <a:cubicBezTo>
                  <a:pt x="259" y="299"/>
                  <a:pt x="262" y="300"/>
                  <a:pt x="264" y="302"/>
                </a:cubicBezTo>
                <a:cubicBezTo>
                  <a:pt x="264" y="302"/>
                  <a:pt x="273" y="314"/>
                  <a:pt x="286" y="314"/>
                </a:cubicBezTo>
                <a:cubicBezTo>
                  <a:pt x="294" y="315"/>
                  <a:pt x="303" y="310"/>
                  <a:pt x="312" y="301"/>
                </a:cubicBezTo>
                <a:cubicBezTo>
                  <a:pt x="314" y="299"/>
                  <a:pt x="317" y="298"/>
                  <a:pt x="320" y="298"/>
                </a:cubicBezTo>
                <a:cubicBezTo>
                  <a:pt x="323" y="299"/>
                  <a:pt x="326" y="300"/>
                  <a:pt x="328" y="302"/>
                </a:cubicBezTo>
                <a:cubicBezTo>
                  <a:pt x="328" y="302"/>
                  <a:pt x="337" y="314"/>
                  <a:pt x="350" y="314"/>
                </a:cubicBezTo>
                <a:cubicBezTo>
                  <a:pt x="357" y="315"/>
                  <a:pt x="365" y="311"/>
                  <a:pt x="373" y="304"/>
                </a:cubicBezTo>
                <a:cubicBezTo>
                  <a:pt x="373" y="266"/>
                  <a:pt x="373" y="266"/>
                  <a:pt x="373" y="266"/>
                </a:cubicBezTo>
                <a:cubicBezTo>
                  <a:pt x="138" y="266"/>
                  <a:pt x="138" y="266"/>
                  <a:pt x="138" y="266"/>
                </a:cubicBezTo>
                <a:lnTo>
                  <a:pt x="138" y="30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05"/>
                </a:moveTo>
                <a:cubicBezTo>
                  <a:pt x="394" y="266"/>
                  <a:pt x="394" y="266"/>
                  <a:pt x="394" y="266"/>
                </a:cubicBezTo>
                <a:cubicBezTo>
                  <a:pt x="405" y="266"/>
                  <a:pt x="405" y="266"/>
                  <a:pt x="405" y="266"/>
                </a:cubicBezTo>
                <a:cubicBezTo>
                  <a:pt x="411" y="266"/>
                  <a:pt x="416" y="262"/>
                  <a:pt x="416" y="256"/>
                </a:cubicBezTo>
                <a:cubicBezTo>
                  <a:pt x="416" y="250"/>
                  <a:pt x="411" y="245"/>
                  <a:pt x="405" y="245"/>
                </a:cubicBezTo>
                <a:cubicBezTo>
                  <a:pt x="394" y="245"/>
                  <a:pt x="394" y="245"/>
                  <a:pt x="394" y="245"/>
                </a:cubicBezTo>
                <a:cubicBezTo>
                  <a:pt x="394" y="224"/>
                  <a:pt x="394" y="224"/>
                  <a:pt x="394" y="224"/>
                </a:cubicBezTo>
                <a:cubicBezTo>
                  <a:pt x="394" y="218"/>
                  <a:pt x="390" y="213"/>
                  <a:pt x="384" y="213"/>
                </a:cubicBezTo>
                <a:cubicBezTo>
                  <a:pt x="378" y="213"/>
                  <a:pt x="373" y="218"/>
                  <a:pt x="373" y="224"/>
                </a:cubicBezTo>
                <a:cubicBezTo>
                  <a:pt x="373" y="237"/>
                  <a:pt x="373" y="237"/>
                  <a:pt x="373" y="237"/>
                </a:cubicBezTo>
                <a:cubicBezTo>
                  <a:pt x="340" y="194"/>
                  <a:pt x="298" y="170"/>
                  <a:pt x="256" y="170"/>
                </a:cubicBezTo>
                <a:cubicBezTo>
                  <a:pt x="213" y="170"/>
                  <a:pt x="172" y="194"/>
                  <a:pt x="138" y="237"/>
                </a:cubicBezTo>
                <a:cubicBezTo>
                  <a:pt x="138" y="224"/>
                  <a:pt x="138" y="224"/>
                  <a:pt x="138" y="224"/>
                </a:cubicBezTo>
                <a:cubicBezTo>
                  <a:pt x="138" y="218"/>
                  <a:pt x="134" y="213"/>
                  <a:pt x="128" y="213"/>
                </a:cubicBezTo>
                <a:cubicBezTo>
                  <a:pt x="122" y="213"/>
                  <a:pt x="117" y="218"/>
                  <a:pt x="117" y="224"/>
                </a:cubicBezTo>
                <a:cubicBezTo>
                  <a:pt x="117" y="245"/>
                  <a:pt x="117" y="245"/>
                  <a:pt x="117" y="245"/>
                </a:cubicBezTo>
                <a:cubicBezTo>
                  <a:pt x="106" y="245"/>
                  <a:pt x="106" y="245"/>
                  <a:pt x="106" y="245"/>
                </a:cubicBezTo>
                <a:cubicBezTo>
                  <a:pt x="100" y="245"/>
                  <a:pt x="96" y="250"/>
                  <a:pt x="96" y="256"/>
                </a:cubicBezTo>
                <a:cubicBezTo>
                  <a:pt x="96" y="262"/>
                  <a:pt x="100" y="266"/>
                  <a:pt x="106" y="266"/>
                </a:cubicBezTo>
                <a:cubicBezTo>
                  <a:pt x="117" y="266"/>
                  <a:pt x="117" y="266"/>
                  <a:pt x="117" y="266"/>
                </a:cubicBezTo>
                <a:cubicBezTo>
                  <a:pt x="117" y="304"/>
                  <a:pt x="117" y="304"/>
                  <a:pt x="117" y="304"/>
                </a:cubicBezTo>
                <a:cubicBezTo>
                  <a:pt x="113" y="308"/>
                  <a:pt x="108" y="311"/>
                  <a:pt x="103" y="313"/>
                </a:cubicBezTo>
                <a:cubicBezTo>
                  <a:pt x="97" y="315"/>
                  <a:pt x="94" y="321"/>
                  <a:pt x="96" y="326"/>
                </a:cubicBezTo>
                <a:cubicBezTo>
                  <a:pt x="98" y="332"/>
                  <a:pt x="104" y="335"/>
                  <a:pt x="110" y="333"/>
                </a:cubicBezTo>
                <a:cubicBezTo>
                  <a:pt x="116" y="331"/>
                  <a:pt x="122" y="328"/>
                  <a:pt x="127" y="323"/>
                </a:cubicBezTo>
                <a:cubicBezTo>
                  <a:pt x="134" y="329"/>
                  <a:pt x="144" y="335"/>
                  <a:pt x="156" y="336"/>
                </a:cubicBezTo>
                <a:cubicBezTo>
                  <a:pt x="168" y="336"/>
                  <a:pt x="180" y="332"/>
                  <a:pt x="191" y="324"/>
                </a:cubicBezTo>
                <a:cubicBezTo>
                  <a:pt x="198" y="329"/>
                  <a:pt x="208" y="335"/>
                  <a:pt x="220" y="336"/>
                </a:cubicBezTo>
                <a:cubicBezTo>
                  <a:pt x="232" y="336"/>
                  <a:pt x="244" y="332"/>
                  <a:pt x="255" y="324"/>
                </a:cubicBezTo>
                <a:cubicBezTo>
                  <a:pt x="262" y="329"/>
                  <a:pt x="272" y="335"/>
                  <a:pt x="284" y="336"/>
                </a:cubicBezTo>
                <a:cubicBezTo>
                  <a:pt x="296" y="336"/>
                  <a:pt x="308" y="332"/>
                  <a:pt x="319" y="324"/>
                </a:cubicBezTo>
                <a:cubicBezTo>
                  <a:pt x="326" y="329"/>
                  <a:pt x="336" y="335"/>
                  <a:pt x="348" y="336"/>
                </a:cubicBezTo>
                <a:cubicBezTo>
                  <a:pt x="349" y="336"/>
                  <a:pt x="350" y="336"/>
                  <a:pt x="351" y="336"/>
                </a:cubicBezTo>
                <a:cubicBezTo>
                  <a:pt x="362" y="336"/>
                  <a:pt x="373" y="332"/>
                  <a:pt x="383" y="324"/>
                </a:cubicBezTo>
                <a:cubicBezTo>
                  <a:pt x="388" y="327"/>
                  <a:pt x="394" y="331"/>
                  <a:pt x="402" y="334"/>
                </a:cubicBezTo>
                <a:cubicBezTo>
                  <a:pt x="408" y="335"/>
                  <a:pt x="413" y="332"/>
                  <a:pt x="415" y="326"/>
                </a:cubicBezTo>
                <a:cubicBezTo>
                  <a:pt x="417" y="321"/>
                  <a:pt x="414" y="315"/>
                  <a:pt x="408" y="313"/>
                </a:cubicBezTo>
                <a:cubicBezTo>
                  <a:pt x="402" y="311"/>
                  <a:pt x="397" y="307"/>
                  <a:pt x="394" y="30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3" name="Group 663"/>
          <p:cNvGrpSpPr>
            <a:grpSpLocks noChangeAspect="1"/>
          </p:cNvGrpSpPr>
          <p:nvPr/>
        </p:nvGrpSpPr>
        <p:grpSpPr bwMode="auto">
          <a:xfrm>
            <a:off x="3343289" y="2514143"/>
            <a:ext cx="367982" cy="367982"/>
            <a:chOff x="2683" y="3177"/>
            <a:chExt cx="340" cy="340"/>
          </a:xfrm>
          <a:solidFill>
            <a:schemeClr val="accent2"/>
          </a:solidFill>
        </p:grpSpPr>
        <p:sp>
          <p:nvSpPr>
            <p:cNvPr id="324" name="Freeform 664"/>
            <p:cNvSpPr>
              <a:spLocks noEditPoints="1"/>
            </p:cNvSpPr>
            <p:nvPr/>
          </p:nvSpPr>
          <p:spPr bwMode="auto">
            <a:xfrm>
              <a:off x="2683"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665"/>
            <p:cNvSpPr>
              <a:spLocks noEditPoints="1"/>
            </p:cNvSpPr>
            <p:nvPr/>
          </p:nvSpPr>
          <p:spPr bwMode="auto">
            <a:xfrm>
              <a:off x="2745" y="3290"/>
              <a:ext cx="215" cy="110"/>
            </a:xfrm>
            <a:custGeom>
              <a:avLst/>
              <a:gdLst>
                <a:gd name="T0" fmla="*/ 300 w 323"/>
                <a:gd name="T1" fmla="*/ 135 h 166"/>
                <a:gd name="T2" fmla="*/ 311 w 323"/>
                <a:gd name="T3" fmla="*/ 96 h 166"/>
                <a:gd name="T4" fmla="*/ 311 w 323"/>
                <a:gd name="T5" fmla="*/ 75 h 166"/>
                <a:gd name="T6" fmla="*/ 300 w 323"/>
                <a:gd name="T7" fmla="*/ 54 h 166"/>
                <a:gd name="T8" fmla="*/ 279 w 323"/>
                <a:gd name="T9" fmla="*/ 54 h 166"/>
                <a:gd name="T10" fmla="*/ 162 w 323"/>
                <a:gd name="T11" fmla="*/ 0 h 166"/>
                <a:gd name="T12" fmla="*/ 44 w 323"/>
                <a:gd name="T13" fmla="*/ 54 h 166"/>
                <a:gd name="T14" fmla="*/ 23 w 323"/>
                <a:gd name="T15" fmla="*/ 54 h 166"/>
                <a:gd name="T16" fmla="*/ 12 w 323"/>
                <a:gd name="T17" fmla="*/ 75 h 166"/>
                <a:gd name="T18" fmla="*/ 12 w 323"/>
                <a:gd name="T19" fmla="*/ 96 h 166"/>
                <a:gd name="T20" fmla="*/ 23 w 323"/>
                <a:gd name="T21" fmla="*/ 134 h 166"/>
                <a:gd name="T22" fmla="*/ 2 w 323"/>
                <a:gd name="T23" fmla="*/ 156 h 166"/>
                <a:gd name="T24" fmla="*/ 33 w 323"/>
                <a:gd name="T25" fmla="*/ 153 h 166"/>
                <a:gd name="T26" fmla="*/ 97 w 323"/>
                <a:gd name="T27" fmla="*/ 154 h 166"/>
                <a:gd name="T28" fmla="*/ 161 w 323"/>
                <a:gd name="T29" fmla="*/ 154 h 166"/>
                <a:gd name="T30" fmla="*/ 225 w 323"/>
                <a:gd name="T31" fmla="*/ 154 h 166"/>
                <a:gd name="T32" fmla="*/ 257 w 323"/>
                <a:gd name="T33" fmla="*/ 166 h 166"/>
                <a:gd name="T34" fmla="*/ 308 w 323"/>
                <a:gd name="T35" fmla="*/ 164 h 166"/>
                <a:gd name="T36" fmla="*/ 314 w 323"/>
                <a:gd name="T37" fmla="*/ 143 h 166"/>
                <a:gd name="T38" fmla="*/ 226 w 323"/>
                <a:gd name="T39" fmla="*/ 75 h 166"/>
                <a:gd name="T40" fmla="*/ 258 w 323"/>
                <a:gd name="T41" fmla="*/ 75 h 166"/>
                <a:gd name="T42" fmla="*/ 172 w 323"/>
                <a:gd name="T43" fmla="*/ 22 h 166"/>
                <a:gd name="T44" fmla="*/ 204 w 323"/>
                <a:gd name="T45" fmla="*/ 32 h 166"/>
                <a:gd name="T46" fmla="*/ 172 w 323"/>
                <a:gd name="T47" fmla="*/ 75 h 166"/>
                <a:gd name="T48" fmla="*/ 119 w 323"/>
                <a:gd name="T49" fmla="*/ 32 h 166"/>
                <a:gd name="T50" fmla="*/ 151 w 323"/>
                <a:gd name="T51" fmla="*/ 22 h 166"/>
                <a:gd name="T52" fmla="*/ 119 w 323"/>
                <a:gd name="T53" fmla="*/ 75 h 166"/>
                <a:gd name="T54" fmla="*/ 98 w 323"/>
                <a:gd name="T55" fmla="*/ 75 h 166"/>
                <a:gd name="T56" fmla="*/ 98 w 323"/>
                <a:gd name="T57" fmla="*/ 44 h 166"/>
                <a:gd name="T58" fmla="*/ 234 w 323"/>
                <a:gd name="T59" fmla="*/ 132 h 166"/>
                <a:gd name="T60" fmla="*/ 218 w 323"/>
                <a:gd name="T61" fmla="*/ 131 h 166"/>
                <a:gd name="T62" fmla="*/ 170 w 323"/>
                <a:gd name="T63" fmla="*/ 132 h 166"/>
                <a:gd name="T64" fmla="*/ 154 w 323"/>
                <a:gd name="T65" fmla="*/ 131 h 166"/>
                <a:gd name="T66" fmla="*/ 106 w 323"/>
                <a:gd name="T67" fmla="*/ 132 h 166"/>
                <a:gd name="T68" fmla="*/ 90 w 323"/>
                <a:gd name="T69" fmla="*/ 131 h 166"/>
                <a:gd name="T70" fmla="*/ 44 w 323"/>
                <a:gd name="T71" fmla="*/ 135 h 166"/>
                <a:gd name="T72" fmla="*/ 279 w 323"/>
                <a:gd name="T73" fmla="*/ 96 h 166"/>
                <a:gd name="T74" fmla="*/ 256 w 323"/>
                <a:gd name="T75"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166">
                  <a:moveTo>
                    <a:pt x="314" y="143"/>
                  </a:moveTo>
                  <a:cubicBezTo>
                    <a:pt x="308" y="141"/>
                    <a:pt x="303" y="137"/>
                    <a:pt x="300" y="135"/>
                  </a:cubicBezTo>
                  <a:cubicBezTo>
                    <a:pt x="300" y="96"/>
                    <a:pt x="300" y="96"/>
                    <a:pt x="300" y="96"/>
                  </a:cubicBezTo>
                  <a:cubicBezTo>
                    <a:pt x="311" y="96"/>
                    <a:pt x="311" y="96"/>
                    <a:pt x="311" y="96"/>
                  </a:cubicBezTo>
                  <a:cubicBezTo>
                    <a:pt x="317" y="96"/>
                    <a:pt x="322" y="92"/>
                    <a:pt x="322" y="86"/>
                  </a:cubicBezTo>
                  <a:cubicBezTo>
                    <a:pt x="322" y="80"/>
                    <a:pt x="317" y="75"/>
                    <a:pt x="311" y="75"/>
                  </a:cubicBezTo>
                  <a:cubicBezTo>
                    <a:pt x="300" y="75"/>
                    <a:pt x="300" y="75"/>
                    <a:pt x="300" y="75"/>
                  </a:cubicBezTo>
                  <a:cubicBezTo>
                    <a:pt x="300" y="54"/>
                    <a:pt x="300" y="54"/>
                    <a:pt x="300" y="54"/>
                  </a:cubicBezTo>
                  <a:cubicBezTo>
                    <a:pt x="300" y="48"/>
                    <a:pt x="296" y="43"/>
                    <a:pt x="290" y="43"/>
                  </a:cubicBezTo>
                  <a:cubicBezTo>
                    <a:pt x="284" y="43"/>
                    <a:pt x="279" y="48"/>
                    <a:pt x="279" y="54"/>
                  </a:cubicBezTo>
                  <a:cubicBezTo>
                    <a:pt x="279" y="67"/>
                    <a:pt x="279" y="67"/>
                    <a:pt x="279" y="67"/>
                  </a:cubicBezTo>
                  <a:cubicBezTo>
                    <a:pt x="246" y="24"/>
                    <a:pt x="204" y="0"/>
                    <a:pt x="162" y="0"/>
                  </a:cubicBezTo>
                  <a:cubicBezTo>
                    <a:pt x="119" y="0"/>
                    <a:pt x="78" y="24"/>
                    <a:pt x="44" y="67"/>
                  </a:cubicBezTo>
                  <a:cubicBezTo>
                    <a:pt x="44" y="54"/>
                    <a:pt x="44" y="54"/>
                    <a:pt x="44" y="54"/>
                  </a:cubicBezTo>
                  <a:cubicBezTo>
                    <a:pt x="44" y="48"/>
                    <a:pt x="40" y="43"/>
                    <a:pt x="34" y="43"/>
                  </a:cubicBezTo>
                  <a:cubicBezTo>
                    <a:pt x="28" y="43"/>
                    <a:pt x="23" y="48"/>
                    <a:pt x="23" y="54"/>
                  </a:cubicBezTo>
                  <a:cubicBezTo>
                    <a:pt x="23" y="75"/>
                    <a:pt x="23" y="75"/>
                    <a:pt x="23" y="75"/>
                  </a:cubicBezTo>
                  <a:cubicBezTo>
                    <a:pt x="12" y="75"/>
                    <a:pt x="12" y="75"/>
                    <a:pt x="12" y="75"/>
                  </a:cubicBezTo>
                  <a:cubicBezTo>
                    <a:pt x="6" y="75"/>
                    <a:pt x="2" y="80"/>
                    <a:pt x="2" y="86"/>
                  </a:cubicBezTo>
                  <a:cubicBezTo>
                    <a:pt x="2" y="92"/>
                    <a:pt x="6" y="96"/>
                    <a:pt x="12" y="96"/>
                  </a:cubicBezTo>
                  <a:cubicBezTo>
                    <a:pt x="23" y="96"/>
                    <a:pt x="23" y="96"/>
                    <a:pt x="23" y="96"/>
                  </a:cubicBezTo>
                  <a:cubicBezTo>
                    <a:pt x="23" y="134"/>
                    <a:pt x="23" y="134"/>
                    <a:pt x="23" y="134"/>
                  </a:cubicBezTo>
                  <a:cubicBezTo>
                    <a:pt x="19" y="138"/>
                    <a:pt x="14" y="141"/>
                    <a:pt x="9" y="143"/>
                  </a:cubicBezTo>
                  <a:cubicBezTo>
                    <a:pt x="3" y="145"/>
                    <a:pt x="0" y="151"/>
                    <a:pt x="2" y="156"/>
                  </a:cubicBezTo>
                  <a:cubicBezTo>
                    <a:pt x="4" y="162"/>
                    <a:pt x="10" y="165"/>
                    <a:pt x="16" y="163"/>
                  </a:cubicBezTo>
                  <a:cubicBezTo>
                    <a:pt x="22" y="161"/>
                    <a:pt x="28" y="158"/>
                    <a:pt x="33" y="153"/>
                  </a:cubicBezTo>
                  <a:cubicBezTo>
                    <a:pt x="40" y="159"/>
                    <a:pt x="50" y="165"/>
                    <a:pt x="62" y="166"/>
                  </a:cubicBezTo>
                  <a:cubicBezTo>
                    <a:pt x="74" y="166"/>
                    <a:pt x="86" y="162"/>
                    <a:pt x="97" y="154"/>
                  </a:cubicBezTo>
                  <a:cubicBezTo>
                    <a:pt x="104" y="159"/>
                    <a:pt x="114" y="165"/>
                    <a:pt x="126" y="166"/>
                  </a:cubicBezTo>
                  <a:cubicBezTo>
                    <a:pt x="138" y="166"/>
                    <a:pt x="150" y="162"/>
                    <a:pt x="161" y="154"/>
                  </a:cubicBezTo>
                  <a:cubicBezTo>
                    <a:pt x="168" y="159"/>
                    <a:pt x="178" y="165"/>
                    <a:pt x="190" y="166"/>
                  </a:cubicBezTo>
                  <a:cubicBezTo>
                    <a:pt x="202" y="166"/>
                    <a:pt x="214" y="162"/>
                    <a:pt x="225" y="154"/>
                  </a:cubicBezTo>
                  <a:cubicBezTo>
                    <a:pt x="232" y="159"/>
                    <a:pt x="242" y="165"/>
                    <a:pt x="254" y="166"/>
                  </a:cubicBezTo>
                  <a:cubicBezTo>
                    <a:pt x="255" y="166"/>
                    <a:pt x="256" y="166"/>
                    <a:pt x="257" y="166"/>
                  </a:cubicBezTo>
                  <a:cubicBezTo>
                    <a:pt x="268" y="166"/>
                    <a:pt x="279" y="162"/>
                    <a:pt x="289" y="154"/>
                  </a:cubicBezTo>
                  <a:cubicBezTo>
                    <a:pt x="294" y="157"/>
                    <a:pt x="300" y="161"/>
                    <a:pt x="308" y="164"/>
                  </a:cubicBezTo>
                  <a:cubicBezTo>
                    <a:pt x="314" y="165"/>
                    <a:pt x="319" y="162"/>
                    <a:pt x="321" y="156"/>
                  </a:cubicBezTo>
                  <a:cubicBezTo>
                    <a:pt x="323" y="151"/>
                    <a:pt x="320" y="145"/>
                    <a:pt x="314" y="143"/>
                  </a:cubicBezTo>
                  <a:close/>
                  <a:moveTo>
                    <a:pt x="258" y="75"/>
                  </a:moveTo>
                  <a:cubicBezTo>
                    <a:pt x="226" y="75"/>
                    <a:pt x="226" y="75"/>
                    <a:pt x="226" y="75"/>
                  </a:cubicBezTo>
                  <a:cubicBezTo>
                    <a:pt x="226" y="44"/>
                    <a:pt x="226" y="44"/>
                    <a:pt x="226" y="44"/>
                  </a:cubicBezTo>
                  <a:cubicBezTo>
                    <a:pt x="238" y="52"/>
                    <a:pt x="248" y="63"/>
                    <a:pt x="258" y="75"/>
                  </a:cubicBezTo>
                  <a:close/>
                  <a:moveTo>
                    <a:pt x="172" y="75"/>
                  </a:moveTo>
                  <a:cubicBezTo>
                    <a:pt x="172" y="22"/>
                    <a:pt x="172" y="22"/>
                    <a:pt x="172" y="22"/>
                  </a:cubicBezTo>
                  <a:cubicBezTo>
                    <a:pt x="183" y="24"/>
                    <a:pt x="194" y="27"/>
                    <a:pt x="204" y="32"/>
                  </a:cubicBezTo>
                  <a:cubicBezTo>
                    <a:pt x="204" y="32"/>
                    <a:pt x="204" y="32"/>
                    <a:pt x="204" y="32"/>
                  </a:cubicBezTo>
                  <a:cubicBezTo>
                    <a:pt x="204" y="75"/>
                    <a:pt x="204" y="75"/>
                    <a:pt x="204" y="75"/>
                  </a:cubicBezTo>
                  <a:lnTo>
                    <a:pt x="172" y="75"/>
                  </a:lnTo>
                  <a:close/>
                  <a:moveTo>
                    <a:pt x="119" y="75"/>
                  </a:moveTo>
                  <a:cubicBezTo>
                    <a:pt x="119" y="32"/>
                    <a:pt x="119" y="32"/>
                    <a:pt x="119" y="32"/>
                  </a:cubicBezTo>
                  <a:cubicBezTo>
                    <a:pt x="119" y="32"/>
                    <a:pt x="119" y="32"/>
                    <a:pt x="119" y="32"/>
                  </a:cubicBezTo>
                  <a:cubicBezTo>
                    <a:pt x="129" y="27"/>
                    <a:pt x="140" y="24"/>
                    <a:pt x="151" y="22"/>
                  </a:cubicBezTo>
                  <a:cubicBezTo>
                    <a:pt x="151" y="75"/>
                    <a:pt x="151" y="75"/>
                    <a:pt x="151" y="75"/>
                  </a:cubicBezTo>
                  <a:lnTo>
                    <a:pt x="119" y="75"/>
                  </a:lnTo>
                  <a:close/>
                  <a:moveTo>
                    <a:pt x="98" y="44"/>
                  </a:moveTo>
                  <a:cubicBezTo>
                    <a:pt x="98" y="75"/>
                    <a:pt x="98" y="75"/>
                    <a:pt x="98" y="75"/>
                  </a:cubicBezTo>
                  <a:cubicBezTo>
                    <a:pt x="65" y="75"/>
                    <a:pt x="65" y="75"/>
                    <a:pt x="65" y="75"/>
                  </a:cubicBezTo>
                  <a:cubicBezTo>
                    <a:pt x="75" y="63"/>
                    <a:pt x="86" y="52"/>
                    <a:pt x="98" y="44"/>
                  </a:cubicBezTo>
                  <a:close/>
                  <a:moveTo>
                    <a:pt x="256" y="144"/>
                  </a:moveTo>
                  <a:cubicBezTo>
                    <a:pt x="243" y="144"/>
                    <a:pt x="234" y="132"/>
                    <a:pt x="234" y="132"/>
                  </a:cubicBezTo>
                  <a:cubicBezTo>
                    <a:pt x="232" y="130"/>
                    <a:pt x="229" y="129"/>
                    <a:pt x="226" y="128"/>
                  </a:cubicBezTo>
                  <a:cubicBezTo>
                    <a:pt x="223" y="128"/>
                    <a:pt x="220" y="129"/>
                    <a:pt x="218" y="131"/>
                  </a:cubicBezTo>
                  <a:cubicBezTo>
                    <a:pt x="209" y="140"/>
                    <a:pt x="200" y="145"/>
                    <a:pt x="192" y="144"/>
                  </a:cubicBezTo>
                  <a:cubicBezTo>
                    <a:pt x="179" y="144"/>
                    <a:pt x="170" y="132"/>
                    <a:pt x="170" y="132"/>
                  </a:cubicBezTo>
                  <a:cubicBezTo>
                    <a:pt x="168" y="130"/>
                    <a:pt x="165" y="129"/>
                    <a:pt x="162" y="128"/>
                  </a:cubicBezTo>
                  <a:cubicBezTo>
                    <a:pt x="159" y="128"/>
                    <a:pt x="156" y="129"/>
                    <a:pt x="154" y="131"/>
                  </a:cubicBezTo>
                  <a:cubicBezTo>
                    <a:pt x="145" y="140"/>
                    <a:pt x="136" y="145"/>
                    <a:pt x="128" y="144"/>
                  </a:cubicBezTo>
                  <a:cubicBezTo>
                    <a:pt x="115" y="144"/>
                    <a:pt x="106" y="132"/>
                    <a:pt x="106" y="132"/>
                  </a:cubicBezTo>
                  <a:cubicBezTo>
                    <a:pt x="104" y="130"/>
                    <a:pt x="101" y="129"/>
                    <a:pt x="98" y="128"/>
                  </a:cubicBezTo>
                  <a:cubicBezTo>
                    <a:pt x="95" y="128"/>
                    <a:pt x="92" y="129"/>
                    <a:pt x="90" y="131"/>
                  </a:cubicBezTo>
                  <a:cubicBezTo>
                    <a:pt x="81" y="140"/>
                    <a:pt x="72" y="145"/>
                    <a:pt x="64" y="144"/>
                  </a:cubicBezTo>
                  <a:cubicBezTo>
                    <a:pt x="55" y="144"/>
                    <a:pt x="48" y="138"/>
                    <a:pt x="44" y="135"/>
                  </a:cubicBezTo>
                  <a:cubicBezTo>
                    <a:pt x="44" y="96"/>
                    <a:pt x="44" y="96"/>
                    <a:pt x="44" y="96"/>
                  </a:cubicBezTo>
                  <a:cubicBezTo>
                    <a:pt x="279" y="96"/>
                    <a:pt x="279" y="96"/>
                    <a:pt x="279" y="96"/>
                  </a:cubicBezTo>
                  <a:cubicBezTo>
                    <a:pt x="279" y="134"/>
                    <a:pt x="279" y="134"/>
                    <a:pt x="279" y="134"/>
                  </a:cubicBezTo>
                  <a:cubicBezTo>
                    <a:pt x="271" y="141"/>
                    <a:pt x="263" y="145"/>
                    <a:pt x="256" y="1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6" name="Freeform 669"/>
          <p:cNvSpPr>
            <a:spLocks noChangeAspect="1" noEditPoints="1"/>
          </p:cNvSpPr>
          <p:nvPr/>
        </p:nvSpPr>
        <p:spPr bwMode="auto">
          <a:xfrm>
            <a:off x="3774723" y="2514143"/>
            <a:ext cx="367982" cy="367982"/>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7" name="Group 672"/>
          <p:cNvGrpSpPr>
            <a:grpSpLocks noChangeAspect="1"/>
          </p:cNvGrpSpPr>
          <p:nvPr/>
        </p:nvGrpSpPr>
        <p:grpSpPr bwMode="auto">
          <a:xfrm>
            <a:off x="4194357" y="2514143"/>
            <a:ext cx="367982" cy="367982"/>
            <a:chOff x="3043" y="3122"/>
            <a:chExt cx="340" cy="340"/>
          </a:xfrm>
          <a:solidFill>
            <a:schemeClr val="accent2"/>
          </a:solidFill>
        </p:grpSpPr>
        <p:sp>
          <p:nvSpPr>
            <p:cNvPr id="328" name="Freeform 673"/>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674"/>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0" name="Freeform 841"/>
          <p:cNvSpPr>
            <a:spLocks noChangeAspect="1" noEditPoints="1"/>
          </p:cNvSpPr>
          <p:nvPr/>
        </p:nvSpPr>
        <p:spPr bwMode="auto">
          <a:xfrm>
            <a:off x="4613991" y="2514143"/>
            <a:ext cx="367982" cy="367982"/>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1" name="Group 844"/>
          <p:cNvGrpSpPr>
            <a:grpSpLocks noChangeAspect="1"/>
          </p:cNvGrpSpPr>
          <p:nvPr/>
        </p:nvGrpSpPr>
        <p:grpSpPr bwMode="auto">
          <a:xfrm>
            <a:off x="5033625" y="2514143"/>
            <a:ext cx="367982" cy="367982"/>
            <a:chOff x="4857" y="3821"/>
            <a:chExt cx="340" cy="340"/>
          </a:xfrm>
          <a:solidFill>
            <a:schemeClr val="accent4"/>
          </a:solidFill>
        </p:grpSpPr>
        <p:sp>
          <p:nvSpPr>
            <p:cNvPr id="332" name="Freeform 845"/>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46"/>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4" name="Freeform 850"/>
          <p:cNvSpPr>
            <a:spLocks noChangeAspect="1" noEditPoints="1"/>
          </p:cNvSpPr>
          <p:nvPr/>
        </p:nvSpPr>
        <p:spPr bwMode="auto">
          <a:xfrm>
            <a:off x="5453259" y="2514143"/>
            <a:ext cx="369064" cy="367982"/>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5" name="Group 853"/>
          <p:cNvGrpSpPr>
            <a:grpSpLocks noChangeAspect="1"/>
          </p:cNvGrpSpPr>
          <p:nvPr/>
        </p:nvGrpSpPr>
        <p:grpSpPr bwMode="auto">
          <a:xfrm>
            <a:off x="5873975" y="2514143"/>
            <a:ext cx="367982" cy="367982"/>
            <a:chOff x="5046" y="4010"/>
            <a:chExt cx="340" cy="340"/>
          </a:xfrm>
          <a:solidFill>
            <a:schemeClr val="accent4"/>
          </a:solidFill>
        </p:grpSpPr>
        <p:sp>
          <p:nvSpPr>
            <p:cNvPr id="336"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Freeform 462"/>
          <p:cNvSpPr>
            <a:spLocks noChangeAspect="1" noEditPoints="1"/>
          </p:cNvSpPr>
          <p:nvPr/>
        </p:nvSpPr>
        <p:spPr bwMode="auto">
          <a:xfrm>
            <a:off x="6293609" y="2514143"/>
            <a:ext cx="367982" cy="367982"/>
          </a:xfrm>
          <a:custGeom>
            <a:avLst/>
            <a:gdLst>
              <a:gd name="T0" fmla="*/ 192 w 512"/>
              <a:gd name="T1" fmla="*/ 224 h 512"/>
              <a:gd name="T2" fmla="*/ 181 w 512"/>
              <a:gd name="T3" fmla="*/ 234 h 512"/>
              <a:gd name="T4" fmla="*/ 170 w 512"/>
              <a:gd name="T5" fmla="*/ 224 h 512"/>
              <a:gd name="T6" fmla="*/ 181 w 512"/>
              <a:gd name="T7" fmla="*/ 213 h 512"/>
              <a:gd name="T8" fmla="*/ 192 w 512"/>
              <a:gd name="T9" fmla="*/ 224 h 512"/>
              <a:gd name="T10" fmla="*/ 341 w 512"/>
              <a:gd name="T11" fmla="*/ 234 h 512"/>
              <a:gd name="T12" fmla="*/ 234 w 512"/>
              <a:gd name="T13" fmla="*/ 234 h 512"/>
              <a:gd name="T14" fmla="*/ 234 w 512"/>
              <a:gd name="T15" fmla="*/ 256 h 512"/>
              <a:gd name="T16" fmla="*/ 372 w 512"/>
              <a:gd name="T17" fmla="*/ 256 h 512"/>
              <a:gd name="T18" fmla="*/ 341 w 512"/>
              <a:gd name="T19" fmla="*/ 234 h 512"/>
              <a:gd name="T20" fmla="*/ 213 w 512"/>
              <a:gd name="T21" fmla="*/ 224 h 512"/>
              <a:gd name="T22" fmla="*/ 181 w 512"/>
              <a:gd name="T23" fmla="*/ 256 h 512"/>
              <a:gd name="T24" fmla="*/ 213 w 512"/>
              <a:gd name="T25" fmla="*/ 256 h 512"/>
              <a:gd name="T26" fmla="*/ 213 w 512"/>
              <a:gd name="T27" fmla="*/ 22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66 h 512"/>
              <a:gd name="T40" fmla="*/ 341 w 512"/>
              <a:gd name="T41" fmla="*/ 213 h 512"/>
              <a:gd name="T42" fmla="*/ 224 w 512"/>
              <a:gd name="T43" fmla="*/ 213 h 512"/>
              <a:gd name="T44" fmla="*/ 213 w 512"/>
              <a:gd name="T45" fmla="*/ 224 h 512"/>
              <a:gd name="T46" fmla="*/ 181 w 512"/>
              <a:gd name="T47" fmla="*/ 192 h 512"/>
              <a:gd name="T48" fmla="*/ 149 w 512"/>
              <a:gd name="T49" fmla="*/ 224 h 512"/>
              <a:gd name="T50" fmla="*/ 181 w 512"/>
              <a:gd name="T51" fmla="*/ 256 h 512"/>
              <a:gd name="T52" fmla="*/ 138 w 512"/>
              <a:gd name="T53" fmla="*/ 256 h 512"/>
              <a:gd name="T54" fmla="*/ 138 w 512"/>
              <a:gd name="T55" fmla="*/ 192 h 512"/>
              <a:gd name="T56" fmla="*/ 128 w 512"/>
              <a:gd name="T57" fmla="*/ 181 h 512"/>
              <a:gd name="T58" fmla="*/ 117 w 512"/>
              <a:gd name="T59" fmla="*/ 192 h 512"/>
              <a:gd name="T60" fmla="*/ 117 w 512"/>
              <a:gd name="T61" fmla="*/ 320 h 512"/>
              <a:gd name="T62" fmla="*/ 128 w 512"/>
              <a:gd name="T63" fmla="*/ 330 h 512"/>
              <a:gd name="T64" fmla="*/ 138 w 512"/>
              <a:gd name="T65" fmla="*/ 320 h 512"/>
              <a:gd name="T66" fmla="*/ 138 w 512"/>
              <a:gd name="T67" fmla="*/ 277 h 512"/>
              <a:gd name="T68" fmla="*/ 224 w 512"/>
              <a:gd name="T69" fmla="*/ 277 h 512"/>
              <a:gd name="T70" fmla="*/ 373 w 512"/>
              <a:gd name="T71" fmla="*/ 277 h 512"/>
              <a:gd name="T72" fmla="*/ 373 w 512"/>
              <a:gd name="T73" fmla="*/ 320 h 512"/>
              <a:gd name="T74" fmla="*/ 384 w 512"/>
              <a:gd name="T75" fmla="*/ 330 h 512"/>
              <a:gd name="T76" fmla="*/ 394 w 512"/>
              <a:gd name="T77" fmla="*/ 320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341" y="234"/>
                </a:moveTo>
                <a:cubicBezTo>
                  <a:pt x="234" y="234"/>
                  <a:pt x="234" y="234"/>
                  <a:pt x="234" y="234"/>
                </a:cubicBezTo>
                <a:cubicBezTo>
                  <a:pt x="234" y="256"/>
                  <a:pt x="234" y="256"/>
                  <a:pt x="234" y="256"/>
                </a:cubicBezTo>
                <a:cubicBezTo>
                  <a:pt x="372" y="256"/>
                  <a:pt x="372" y="256"/>
                  <a:pt x="372" y="256"/>
                </a:cubicBezTo>
                <a:cubicBezTo>
                  <a:pt x="366" y="236"/>
                  <a:pt x="345" y="234"/>
                  <a:pt x="341" y="234"/>
                </a:cubicBezTo>
                <a:close/>
                <a:moveTo>
                  <a:pt x="213" y="224"/>
                </a:moveTo>
                <a:cubicBezTo>
                  <a:pt x="213" y="241"/>
                  <a:pt x="199" y="256"/>
                  <a:pt x="181" y="256"/>
                </a:cubicBezTo>
                <a:cubicBezTo>
                  <a:pt x="213" y="256"/>
                  <a:pt x="213" y="256"/>
                  <a:pt x="213" y="256"/>
                </a:cubicBezTo>
                <a:lnTo>
                  <a:pt x="21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6"/>
                </a:moveTo>
                <a:cubicBezTo>
                  <a:pt x="394" y="225"/>
                  <a:pt x="360" y="213"/>
                  <a:pt x="341" y="213"/>
                </a:cubicBezTo>
                <a:cubicBezTo>
                  <a:pt x="224" y="213"/>
                  <a:pt x="224" y="213"/>
                  <a:pt x="224" y="213"/>
                </a:cubicBezTo>
                <a:cubicBezTo>
                  <a:pt x="218" y="213"/>
                  <a:pt x="213" y="218"/>
                  <a:pt x="213" y="224"/>
                </a:cubicBezTo>
                <a:cubicBezTo>
                  <a:pt x="213" y="206"/>
                  <a:pt x="199" y="192"/>
                  <a:pt x="181" y="192"/>
                </a:cubicBezTo>
                <a:cubicBezTo>
                  <a:pt x="163" y="192"/>
                  <a:pt x="149" y="206"/>
                  <a:pt x="149" y="224"/>
                </a:cubicBezTo>
                <a:cubicBezTo>
                  <a:pt x="149" y="241"/>
                  <a:pt x="163" y="256"/>
                  <a:pt x="181" y="256"/>
                </a:cubicBezTo>
                <a:cubicBezTo>
                  <a:pt x="138" y="256"/>
                  <a:pt x="138" y="256"/>
                  <a:pt x="138" y="256"/>
                </a:cubicBezTo>
                <a:cubicBezTo>
                  <a:pt x="138" y="192"/>
                  <a:pt x="138" y="192"/>
                  <a:pt x="138" y="192"/>
                </a:cubicBezTo>
                <a:cubicBezTo>
                  <a:pt x="138" y="186"/>
                  <a:pt x="134" y="181"/>
                  <a:pt x="128" y="181"/>
                </a:cubicBezTo>
                <a:cubicBezTo>
                  <a:pt x="122" y="181"/>
                  <a:pt x="117" y="186"/>
                  <a:pt x="117" y="192"/>
                </a:cubicBezTo>
                <a:cubicBezTo>
                  <a:pt x="117" y="320"/>
                  <a:pt x="117" y="320"/>
                  <a:pt x="117" y="320"/>
                </a:cubicBezTo>
                <a:cubicBezTo>
                  <a:pt x="117" y="326"/>
                  <a:pt x="122" y="330"/>
                  <a:pt x="128" y="330"/>
                </a:cubicBezTo>
                <a:cubicBezTo>
                  <a:pt x="134" y="330"/>
                  <a:pt x="138" y="326"/>
                  <a:pt x="138" y="320"/>
                </a:cubicBezTo>
                <a:cubicBezTo>
                  <a:pt x="138" y="277"/>
                  <a:pt x="138" y="277"/>
                  <a:pt x="138" y="277"/>
                </a:cubicBezTo>
                <a:cubicBezTo>
                  <a:pt x="224" y="277"/>
                  <a:pt x="224" y="277"/>
                  <a:pt x="224" y="277"/>
                </a:cubicBezTo>
                <a:cubicBezTo>
                  <a:pt x="373" y="277"/>
                  <a:pt x="373" y="277"/>
                  <a:pt x="373" y="277"/>
                </a:cubicBezTo>
                <a:cubicBezTo>
                  <a:pt x="373" y="320"/>
                  <a:pt x="373" y="320"/>
                  <a:pt x="373" y="320"/>
                </a:cubicBezTo>
                <a:cubicBezTo>
                  <a:pt x="373" y="326"/>
                  <a:pt x="378" y="330"/>
                  <a:pt x="384" y="330"/>
                </a:cubicBezTo>
                <a:cubicBezTo>
                  <a:pt x="390" y="330"/>
                  <a:pt x="394" y="326"/>
                  <a:pt x="394" y="320"/>
                </a:cubicBezTo>
                <a:lnTo>
                  <a:pt x="394" y="26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9" name="Group 465"/>
          <p:cNvGrpSpPr>
            <a:grpSpLocks noChangeAspect="1"/>
          </p:cNvGrpSpPr>
          <p:nvPr/>
        </p:nvGrpSpPr>
        <p:grpSpPr bwMode="auto">
          <a:xfrm>
            <a:off x="6713243" y="2514143"/>
            <a:ext cx="367982" cy="367982"/>
            <a:chOff x="3968" y="2701"/>
            <a:chExt cx="340" cy="340"/>
          </a:xfrm>
          <a:solidFill>
            <a:schemeClr val="accent5"/>
          </a:solidFill>
        </p:grpSpPr>
        <p:sp>
          <p:nvSpPr>
            <p:cNvPr id="340" name="Freeform 466"/>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Freeform 467"/>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2" name="Freeform 259"/>
          <p:cNvSpPr>
            <a:spLocks noChangeAspect="1" noEditPoints="1"/>
          </p:cNvSpPr>
          <p:nvPr/>
        </p:nvSpPr>
        <p:spPr bwMode="auto">
          <a:xfrm>
            <a:off x="7132877" y="2514143"/>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3" name="Group 262"/>
          <p:cNvGrpSpPr>
            <a:grpSpLocks noChangeAspect="1"/>
          </p:cNvGrpSpPr>
          <p:nvPr/>
        </p:nvGrpSpPr>
        <p:grpSpPr bwMode="auto">
          <a:xfrm>
            <a:off x="7552160" y="2514143"/>
            <a:ext cx="367631" cy="367631"/>
            <a:chOff x="5792" y="779"/>
            <a:chExt cx="340" cy="340"/>
          </a:xfrm>
          <a:solidFill>
            <a:schemeClr val="accent3"/>
          </a:solidFill>
        </p:grpSpPr>
        <p:sp>
          <p:nvSpPr>
            <p:cNvPr id="344"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6" name="Freeform 323"/>
          <p:cNvSpPr>
            <a:spLocks noChangeAspect="1" noEditPoints="1"/>
          </p:cNvSpPr>
          <p:nvPr/>
        </p:nvSpPr>
        <p:spPr bwMode="auto">
          <a:xfrm>
            <a:off x="7969341" y="1697038"/>
            <a:ext cx="368712" cy="367631"/>
          </a:xfrm>
          <a:custGeom>
            <a:avLst/>
            <a:gdLst>
              <a:gd name="T0" fmla="*/ 224 w 512"/>
              <a:gd name="T1" fmla="*/ 218 h 512"/>
              <a:gd name="T2" fmla="*/ 245 w 512"/>
              <a:gd name="T3" fmla="*/ 202 h 512"/>
              <a:gd name="T4" fmla="*/ 245 w 512"/>
              <a:gd name="T5" fmla="*/ 251 h 512"/>
              <a:gd name="T6" fmla="*/ 224 w 512"/>
              <a:gd name="T7" fmla="*/ 273 h 512"/>
              <a:gd name="T8" fmla="*/ 224 w 512"/>
              <a:gd name="T9" fmla="*/ 218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251 w 512"/>
              <a:gd name="T41" fmla="*/ 322 h 512"/>
              <a:gd name="T42" fmla="*/ 236 w 512"/>
              <a:gd name="T43" fmla="*/ 324 h 512"/>
              <a:gd name="T44" fmla="*/ 183 w 512"/>
              <a:gd name="T45" fmla="*/ 399 h 512"/>
              <a:gd name="T46" fmla="*/ 185 w 512"/>
              <a:gd name="T47" fmla="*/ 414 h 512"/>
              <a:gd name="T48" fmla="*/ 192 w 512"/>
              <a:gd name="T49" fmla="*/ 416 h 512"/>
              <a:gd name="T50" fmla="*/ 200 w 512"/>
              <a:gd name="T51" fmla="*/ 411 h 512"/>
              <a:gd name="T52" fmla="*/ 254 w 512"/>
              <a:gd name="T53" fmla="*/ 337 h 512"/>
              <a:gd name="T54" fmla="*/ 251 w 512"/>
              <a:gd name="T55" fmla="*/ 322 h 512"/>
              <a:gd name="T56" fmla="*/ 320 w 512"/>
              <a:gd name="T57" fmla="*/ 403 h 512"/>
              <a:gd name="T58" fmla="*/ 309 w 512"/>
              <a:gd name="T59" fmla="*/ 329 h 512"/>
              <a:gd name="T60" fmla="*/ 307 w 512"/>
              <a:gd name="T61" fmla="*/ 324 h 512"/>
              <a:gd name="T62" fmla="*/ 286 w 512"/>
              <a:gd name="T63" fmla="*/ 292 h 512"/>
              <a:gd name="T64" fmla="*/ 271 w 512"/>
              <a:gd name="T65" fmla="*/ 289 h 512"/>
              <a:gd name="T66" fmla="*/ 268 w 512"/>
              <a:gd name="T67" fmla="*/ 304 h 512"/>
              <a:gd name="T68" fmla="*/ 288 w 512"/>
              <a:gd name="T69" fmla="*/ 334 h 512"/>
              <a:gd name="T70" fmla="*/ 298 w 512"/>
              <a:gd name="T71" fmla="*/ 407 h 512"/>
              <a:gd name="T72" fmla="*/ 309 w 512"/>
              <a:gd name="T73" fmla="*/ 416 h 512"/>
              <a:gd name="T74" fmla="*/ 311 w 512"/>
              <a:gd name="T75" fmla="*/ 416 h 512"/>
              <a:gd name="T76" fmla="*/ 320 w 512"/>
              <a:gd name="T77" fmla="*/ 403 h 512"/>
              <a:gd name="T78" fmla="*/ 327 w 512"/>
              <a:gd name="T79" fmla="*/ 269 h 512"/>
              <a:gd name="T80" fmla="*/ 317 w 512"/>
              <a:gd name="T81" fmla="*/ 259 h 512"/>
              <a:gd name="T82" fmla="*/ 301 w 512"/>
              <a:gd name="T83" fmla="*/ 259 h 512"/>
              <a:gd name="T84" fmla="*/ 301 w 512"/>
              <a:gd name="T85" fmla="*/ 274 h 512"/>
              <a:gd name="T86" fmla="*/ 312 w 512"/>
              <a:gd name="T87" fmla="*/ 285 h 512"/>
              <a:gd name="T88" fmla="*/ 320 w 512"/>
              <a:gd name="T89" fmla="*/ 288 h 512"/>
              <a:gd name="T90" fmla="*/ 327 w 512"/>
              <a:gd name="T91" fmla="*/ 285 h 512"/>
              <a:gd name="T92" fmla="*/ 327 w 512"/>
              <a:gd name="T93" fmla="*/ 269 h 512"/>
              <a:gd name="T94" fmla="*/ 391 w 512"/>
              <a:gd name="T95" fmla="*/ 120 h 512"/>
              <a:gd name="T96" fmla="*/ 376 w 512"/>
              <a:gd name="T97" fmla="*/ 120 h 512"/>
              <a:gd name="T98" fmla="*/ 266 w 512"/>
              <a:gd name="T99" fmla="*/ 230 h 512"/>
              <a:gd name="T100" fmla="*/ 266 w 512"/>
              <a:gd name="T101" fmla="*/ 181 h 512"/>
              <a:gd name="T102" fmla="*/ 260 w 512"/>
              <a:gd name="T103" fmla="*/ 171 h 512"/>
              <a:gd name="T104" fmla="*/ 249 w 512"/>
              <a:gd name="T105" fmla="*/ 172 h 512"/>
              <a:gd name="T106" fmla="*/ 207 w 512"/>
              <a:gd name="T107" fmla="*/ 204 h 512"/>
              <a:gd name="T108" fmla="*/ 202 w 512"/>
              <a:gd name="T109" fmla="*/ 213 h 512"/>
              <a:gd name="T110" fmla="*/ 202 w 512"/>
              <a:gd name="T111" fmla="*/ 294 h 512"/>
              <a:gd name="T112" fmla="*/ 120 w 512"/>
              <a:gd name="T113" fmla="*/ 376 h 512"/>
              <a:gd name="T114" fmla="*/ 120 w 512"/>
              <a:gd name="T115" fmla="*/ 391 h 512"/>
              <a:gd name="T116" fmla="*/ 128 w 512"/>
              <a:gd name="T117" fmla="*/ 394 h 512"/>
              <a:gd name="T118" fmla="*/ 135 w 512"/>
              <a:gd name="T119" fmla="*/ 391 h 512"/>
              <a:gd name="T120" fmla="*/ 391 w 512"/>
              <a:gd name="T121" fmla="*/ 135 h 512"/>
              <a:gd name="T122" fmla="*/ 391 w 512"/>
              <a:gd name="T12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24" y="218"/>
                </a:moveTo>
                <a:cubicBezTo>
                  <a:pt x="245" y="202"/>
                  <a:pt x="245" y="202"/>
                  <a:pt x="245" y="202"/>
                </a:cubicBezTo>
                <a:cubicBezTo>
                  <a:pt x="245" y="251"/>
                  <a:pt x="245" y="251"/>
                  <a:pt x="245" y="251"/>
                </a:cubicBezTo>
                <a:cubicBezTo>
                  <a:pt x="224" y="273"/>
                  <a:pt x="224" y="273"/>
                  <a:pt x="224" y="273"/>
                </a:cubicBezTo>
                <a:lnTo>
                  <a:pt x="224" y="218"/>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251" y="322"/>
                </a:moveTo>
                <a:cubicBezTo>
                  <a:pt x="246" y="318"/>
                  <a:pt x="240" y="319"/>
                  <a:pt x="236" y="324"/>
                </a:cubicBezTo>
                <a:cubicBezTo>
                  <a:pt x="183" y="399"/>
                  <a:pt x="183" y="399"/>
                  <a:pt x="183" y="399"/>
                </a:cubicBezTo>
                <a:cubicBezTo>
                  <a:pt x="180" y="404"/>
                  <a:pt x="181" y="410"/>
                  <a:pt x="185" y="414"/>
                </a:cubicBezTo>
                <a:cubicBezTo>
                  <a:pt x="187" y="415"/>
                  <a:pt x="190" y="416"/>
                  <a:pt x="192" y="416"/>
                </a:cubicBezTo>
                <a:cubicBezTo>
                  <a:pt x="195" y="416"/>
                  <a:pt x="198" y="414"/>
                  <a:pt x="200" y="411"/>
                </a:cubicBezTo>
                <a:cubicBezTo>
                  <a:pt x="254" y="337"/>
                  <a:pt x="254" y="337"/>
                  <a:pt x="254" y="337"/>
                </a:cubicBezTo>
                <a:cubicBezTo>
                  <a:pt x="257" y="332"/>
                  <a:pt x="256" y="325"/>
                  <a:pt x="251" y="322"/>
                </a:cubicBezTo>
                <a:close/>
                <a:moveTo>
                  <a:pt x="320" y="403"/>
                </a:moveTo>
                <a:cubicBezTo>
                  <a:pt x="309" y="329"/>
                  <a:pt x="309" y="329"/>
                  <a:pt x="309" y="329"/>
                </a:cubicBezTo>
                <a:cubicBezTo>
                  <a:pt x="309" y="327"/>
                  <a:pt x="308" y="326"/>
                  <a:pt x="307" y="324"/>
                </a:cubicBezTo>
                <a:cubicBezTo>
                  <a:pt x="286" y="292"/>
                  <a:pt x="286" y="292"/>
                  <a:pt x="286" y="292"/>
                </a:cubicBezTo>
                <a:cubicBezTo>
                  <a:pt x="283" y="288"/>
                  <a:pt x="276" y="286"/>
                  <a:pt x="271" y="289"/>
                </a:cubicBezTo>
                <a:cubicBezTo>
                  <a:pt x="266" y="293"/>
                  <a:pt x="265" y="299"/>
                  <a:pt x="268" y="304"/>
                </a:cubicBezTo>
                <a:cubicBezTo>
                  <a:pt x="288" y="334"/>
                  <a:pt x="288" y="334"/>
                  <a:pt x="288" y="334"/>
                </a:cubicBezTo>
                <a:cubicBezTo>
                  <a:pt x="298" y="407"/>
                  <a:pt x="298" y="407"/>
                  <a:pt x="298" y="407"/>
                </a:cubicBezTo>
                <a:cubicBezTo>
                  <a:pt x="299" y="412"/>
                  <a:pt x="304" y="416"/>
                  <a:pt x="309" y="416"/>
                </a:cubicBezTo>
                <a:cubicBezTo>
                  <a:pt x="309" y="416"/>
                  <a:pt x="310" y="416"/>
                  <a:pt x="311" y="416"/>
                </a:cubicBezTo>
                <a:cubicBezTo>
                  <a:pt x="316" y="415"/>
                  <a:pt x="320" y="409"/>
                  <a:pt x="320" y="403"/>
                </a:cubicBezTo>
                <a:close/>
                <a:moveTo>
                  <a:pt x="327" y="269"/>
                </a:moveTo>
                <a:cubicBezTo>
                  <a:pt x="317" y="259"/>
                  <a:pt x="317" y="259"/>
                  <a:pt x="317" y="259"/>
                </a:cubicBezTo>
                <a:cubicBezTo>
                  <a:pt x="312" y="255"/>
                  <a:pt x="306" y="255"/>
                  <a:pt x="301" y="259"/>
                </a:cubicBezTo>
                <a:cubicBezTo>
                  <a:pt x="297" y="263"/>
                  <a:pt x="297" y="270"/>
                  <a:pt x="301" y="274"/>
                </a:cubicBezTo>
                <a:cubicBezTo>
                  <a:pt x="312" y="285"/>
                  <a:pt x="312" y="285"/>
                  <a:pt x="312" y="285"/>
                </a:cubicBezTo>
                <a:cubicBezTo>
                  <a:pt x="314" y="287"/>
                  <a:pt x="317" y="288"/>
                  <a:pt x="320" y="288"/>
                </a:cubicBezTo>
                <a:cubicBezTo>
                  <a:pt x="322" y="288"/>
                  <a:pt x="325" y="287"/>
                  <a:pt x="327" y="285"/>
                </a:cubicBezTo>
                <a:cubicBezTo>
                  <a:pt x="331" y="280"/>
                  <a:pt x="331" y="274"/>
                  <a:pt x="327" y="269"/>
                </a:cubicBezTo>
                <a:close/>
                <a:moveTo>
                  <a:pt x="391" y="120"/>
                </a:moveTo>
                <a:cubicBezTo>
                  <a:pt x="387" y="116"/>
                  <a:pt x="380" y="116"/>
                  <a:pt x="376" y="120"/>
                </a:cubicBezTo>
                <a:cubicBezTo>
                  <a:pt x="266" y="230"/>
                  <a:pt x="266" y="230"/>
                  <a:pt x="266" y="230"/>
                </a:cubicBezTo>
                <a:cubicBezTo>
                  <a:pt x="266" y="181"/>
                  <a:pt x="266" y="181"/>
                  <a:pt x="266" y="181"/>
                </a:cubicBezTo>
                <a:cubicBezTo>
                  <a:pt x="266" y="177"/>
                  <a:pt x="264" y="173"/>
                  <a:pt x="260" y="171"/>
                </a:cubicBezTo>
                <a:cubicBezTo>
                  <a:pt x="257" y="170"/>
                  <a:pt x="253" y="170"/>
                  <a:pt x="249" y="172"/>
                </a:cubicBezTo>
                <a:cubicBezTo>
                  <a:pt x="207" y="204"/>
                  <a:pt x="207" y="204"/>
                  <a:pt x="207" y="204"/>
                </a:cubicBezTo>
                <a:cubicBezTo>
                  <a:pt x="204" y="206"/>
                  <a:pt x="202" y="210"/>
                  <a:pt x="202" y="213"/>
                </a:cubicBezTo>
                <a:cubicBezTo>
                  <a:pt x="202" y="294"/>
                  <a:pt x="202" y="294"/>
                  <a:pt x="202" y="294"/>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391" y="135"/>
                  <a:pt x="391" y="135"/>
                  <a:pt x="391" y="135"/>
                </a:cubicBezTo>
                <a:cubicBezTo>
                  <a:pt x="395" y="131"/>
                  <a:pt x="395" y="124"/>
                  <a:pt x="391" y="12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47" name="Group 326"/>
          <p:cNvGrpSpPr>
            <a:grpSpLocks noChangeAspect="1"/>
          </p:cNvGrpSpPr>
          <p:nvPr/>
        </p:nvGrpSpPr>
        <p:grpSpPr bwMode="auto">
          <a:xfrm>
            <a:off x="8389545" y="1697038"/>
            <a:ext cx="367631" cy="367631"/>
            <a:chOff x="3476" y="1204"/>
            <a:chExt cx="340" cy="340"/>
          </a:xfrm>
          <a:solidFill>
            <a:schemeClr val="accent4"/>
          </a:solidFill>
        </p:grpSpPr>
        <p:sp>
          <p:nvSpPr>
            <p:cNvPr id="348" name="Freeform 327"/>
            <p:cNvSpPr>
              <a:spLocks noEditPoints="1"/>
            </p:cNvSpPr>
            <p:nvPr/>
          </p:nvSpPr>
          <p:spPr bwMode="auto">
            <a:xfrm>
              <a:off x="3476"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328"/>
            <p:cNvSpPr>
              <a:spLocks noEditPoints="1"/>
            </p:cNvSpPr>
            <p:nvPr/>
          </p:nvSpPr>
          <p:spPr bwMode="auto">
            <a:xfrm>
              <a:off x="3553" y="1268"/>
              <a:ext cx="185" cy="212"/>
            </a:xfrm>
            <a:custGeom>
              <a:avLst/>
              <a:gdLst>
                <a:gd name="T0" fmla="*/ 140 w 279"/>
                <a:gd name="T1" fmla="*/ 64 h 320"/>
                <a:gd name="T2" fmla="*/ 172 w 279"/>
                <a:gd name="T3" fmla="*/ 32 h 320"/>
                <a:gd name="T4" fmla="*/ 140 w 279"/>
                <a:gd name="T5" fmla="*/ 0 h 320"/>
                <a:gd name="T6" fmla="*/ 108 w 279"/>
                <a:gd name="T7" fmla="*/ 32 h 320"/>
                <a:gd name="T8" fmla="*/ 140 w 279"/>
                <a:gd name="T9" fmla="*/ 64 h 320"/>
                <a:gd name="T10" fmla="*/ 140 w 279"/>
                <a:gd name="T11" fmla="*/ 21 h 320"/>
                <a:gd name="T12" fmla="*/ 150 w 279"/>
                <a:gd name="T13" fmla="*/ 32 h 320"/>
                <a:gd name="T14" fmla="*/ 140 w 279"/>
                <a:gd name="T15" fmla="*/ 42 h 320"/>
                <a:gd name="T16" fmla="*/ 129 w 279"/>
                <a:gd name="T17" fmla="*/ 32 h 320"/>
                <a:gd name="T18" fmla="*/ 140 w 279"/>
                <a:gd name="T19" fmla="*/ 21 h 320"/>
                <a:gd name="T20" fmla="*/ 135 w 279"/>
                <a:gd name="T21" fmla="*/ 226 h 320"/>
                <a:gd name="T22" fmla="*/ 138 w 279"/>
                <a:gd name="T23" fmla="*/ 241 h 320"/>
                <a:gd name="T24" fmla="*/ 84 w 279"/>
                <a:gd name="T25" fmla="*/ 315 h 320"/>
                <a:gd name="T26" fmla="*/ 76 w 279"/>
                <a:gd name="T27" fmla="*/ 320 h 320"/>
                <a:gd name="T28" fmla="*/ 69 w 279"/>
                <a:gd name="T29" fmla="*/ 318 h 320"/>
                <a:gd name="T30" fmla="*/ 67 w 279"/>
                <a:gd name="T31" fmla="*/ 303 h 320"/>
                <a:gd name="T32" fmla="*/ 120 w 279"/>
                <a:gd name="T33" fmla="*/ 228 h 320"/>
                <a:gd name="T34" fmla="*/ 135 w 279"/>
                <a:gd name="T35" fmla="*/ 226 h 320"/>
                <a:gd name="T36" fmla="*/ 211 w 279"/>
                <a:gd name="T37" fmla="*/ 173 h 320"/>
                <a:gd name="T38" fmla="*/ 211 w 279"/>
                <a:gd name="T39" fmla="*/ 189 h 320"/>
                <a:gd name="T40" fmla="*/ 204 w 279"/>
                <a:gd name="T41" fmla="*/ 192 h 320"/>
                <a:gd name="T42" fmla="*/ 196 w 279"/>
                <a:gd name="T43" fmla="*/ 189 h 320"/>
                <a:gd name="T44" fmla="*/ 185 w 279"/>
                <a:gd name="T45" fmla="*/ 178 h 320"/>
                <a:gd name="T46" fmla="*/ 185 w 279"/>
                <a:gd name="T47" fmla="*/ 163 h 320"/>
                <a:gd name="T48" fmla="*/ 201 w 279"/>
                <a:gd name="T49" fmla="*/ 163 h 320"/>
                <a:gd name="T50" fmla="*/ 211 w 279"/>
                <a:gd name="T51" fmla="*/ 173 h 320"/>
                <a:gd name="T52" fmla="*/ 275 w 279"/>
                <a:gd name="T53" fmla="*/ 24 h 320"/>
                <a:gd name="T54" fmla="*/ 260 w 279"/>
                <a:gd name="T55" fmla="*/ 24 h 320"/>
                <a:gd name="T56" fmla="*/ 150 w 279"/>
                <a:gd name="T57" fmla="*/ 134 h 320"/>
                <a:gd name="T58" fmla="*/ 150 w 279"/>
                <a:gd name="T59" fmla="*/ 85 h 320"/>
                <a:gd name="T60" fmla="*/ 144 w 279"/>
                <a:gd name="T61" fmla="*/ 75 h 320"/>
                <a:gd name="T62" fmla="*/ 133 w 279"/>
                <a:gd name="T63" fmla="*/ 76 h 320"/>
                <a:gd name="T64" fmla="*/ 91 w 279"/>
                <a:gd name="T65" fmla="*/ 108 h 320"/>
                <a:gd name="T66" fmla="*/ 86 w 279"/>
                <a:gd name="T67" fmla="*/ 117 h 320"/>
                <a:gd name="T68" fmla="*/ 86 w 279"/>
                <a:gd name="T69" fmla="*/ 198 h 320"/>
                <a:gd name="T70" fmla="*/ 4 w 279"/>
                <a:gd name="T71" fmla="*/ 280 h 320"/>
                <a:gd name="T72" fmla="*/ 4 w 279"/>
                <a:gd name="T73" fmla="*/ 295 h 320"/>
                <a:gd name="T74" fmla="*/ 12 w 279"/>
                <a:gd name="T75" fmla="*/ 298 h 320"/>
                <a:gd name="T76" fmla="*/ 19 w 279"/>
                <a:gd name="T77" fmla="*/ 295 h 320"/>
                <a:gd name="T78" fmla="*/ 275 w 279"/>
                <a:gd name="T79" fmla="*/ 39 h 320"/>
                <a:gd name="T80" fmla="*/ 275 w 279"/>
                <a:gd name="T81" fmla="*/ 24 h 320"/>
                <a:gd name="T82" fmla="*/ 108 w 279"/>
                <a:gd name="T83" fmla="*/ 122 h 320"/>
                <a:gd name="T84" fmla="*/ 129 w 279"/>
                <a:gd name="T85" fmla="*/ 106 h 320"/>
                <a:gd name="T86" fmla="*/ 129 w 279"/>
                <a:gd name="T87" fmla="*/ 155 h 320"/>
                <a:gd name="T88" fmla="*/ 108 w 279"/>
                <a:gd name="T89" fmla="*/ 177 h 320"/>
                <a:gd name="T90" fmla="*/ 108 w 279"/>
                <a:gd name="T91" fmla="*/ 122 h 320"/>
                <a:gd name="T92" fmla="*/ 193 w 279"/>
                <a:gd name="T93" fmla="*/ 233 h 320"/>
                <a:gd name="T94" fmla="*/ 204 w 279"/>
                <a:gd name="T95" fmla="*/ 307 h 320"/>
                <a:gd name="T96" fmla="*/ 195 w 279"/>
                <a:gd name="T97" fmla="*/ 320 h 320"/>
                <a:gd name="T98" fmla="*/ 193 w 279"/>
                <a:gd name="T99" fmla="*/ 320 h 320"/>
                <a:gd name="T100" fmla="*/ 182 w 279"/>
                <a:gd name="T101" fmla="*/ 311 h 320"/>
                <a:gd name="T102" fmla="*/ 172 w 279"/>
                <a:gd name="T103" fmla="*/ 238 h 320"/>
                <a:gd name="T104" fmla="*/ 152 w 279"/>
                <a:gd name="T105" fmla="*/ 208 h 320"/>
                <a:gd name="T106" fmla="*/ 155 w 279"/>
                <a:gd name="T107" fmla="*/ 193 h 320"/>
                <a:gd name="T108" fmla="*/ 170 w 279"/>
                <a:gd name="T109" fmla="*/ 196 h 320"/>
                <a:gd name="T110" fmla="*/ 191 w 279"/>
                <a:gd name="T111" fmla="*/ 228 h 320"/>
                <a:gd name="T112" fmla="*/ 193 w 279"/>
                <a:gd name="T113" fmla="*/ 23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320">
                  <a:moveTo>
                    <a:pt x="140" y="64"/>
                  </a:moveTo>
                  <a:cubicBezTo>
                    <a:pt x="157" y="64"/>
                    <a:pt x="172" y="49"/>
                    <a:pt x="172" y="32"/>
                  </a:cubicBezTo>
                  <a:cubicBezTo>
                    <a:pt x="172" y="14"/>
                    <a:pt x="157" y="0"/>
                    <a:pt x="140" y="0"/>
                  </a:cubicBezTo>
                  <a:cubicBezTo>
                    <a:pt x="122" y="0"/>
                    <a:pt x="108" y="14"/>
                    <a:pt x="108" y="32"/>
                  </a:cubicBezTo>
                  <a:cubicBezTo>
                    <a:pt x="108" y="49"/>
                    <a:pt x="122" y="64"/>
                    <a:pt x="140" y="64"/>
                  </a:cubicBezTo>
                  <a:close/>
                  <a:moveTo>
                    <a:pt x="140" y="21"/>
                  </a:moveTo>
                  <a:cubicBezTo>
                    <a:pt x="146" y="21"/>
                    <a:pt x="150" y="26"/>
                    <a:pt x="150" y="32"/>
                  </a:cubicBezTo>
                  <a:cubicBezTo>
                    <a:pt x="150" y="38"/>
                    <a:pt x="146" y="42"/>
                    <a:pt x="140" y="42"/>
                  </a:cubicBezTo>
                  <a:cubicBezTo>
                    <a:pt x="134" y="42"/>
                    <a:pt x="129" y="38"/>
                    <a:pt x="129" y="32"/>
                  </a:cubicBezTo>
                  <a:cubicBezTo>
                    <a:pt x="129" y="26"/>
                    <a:pt x="134" y="21"/>
                    <a:pt x="140" y="21"/>
                  </a:cubicBezTo>
                  <a:close/>
                  <a:moveTo>
                    <a:pt x="135" y="226"/>
                  </a:moveTo>
                  <a:cubicBezTo>
                    <a:pt x="140" y="229"/>
                    <a:pt x="141" y="236"/>
                    <a:pt x="138" y="241"/>
                  </a:cubicBezTo>
                  <a:cubicBezTo>
                    <a:pt x="84" y="315"/>
                    <a:pt x="84" y="315"/>
                    <a:pt x="84" y="315"/>
                  </a:cubicBezTo>
                  <a:cubicBezTo>
                    <a:pt x="82" y="318"/>
                    <a:pt x="79" y="320"/>
                    <a:pt x="76" y="320"/>
                  </a:cubicBezTo>
                  <a:cubicBezTo>
                    <a:pt x="74" y="320"/>
                    <a:pt x="71" y="319"/>
                    <a:pt x="69" y="318"/>
                  </a:cubicBezTo>
                  <a:cubicBezTo>
                    <a:pt x="65" y="314"/>
                    <a:pt x="64" y="308"/>
                    <a:pt x="67" y="303"/>
                  </a:cubicBezTo>
                  <a:cubicBezTo>
                    <a:pt x="120" y="228"/>
                    <a:pt x="120" y="228"/>
                    <a:pt x="120" y="228"/>
                  </a:cubicBezTo>
                  <a:cubicBezTo>
                    <a:pt x="124" y="223"/>
                    <a:pt x="130" y="222"/>
                    <a:pt x="135" y="226"/>
                  </a:cubicBezTo>
                  <a:close/>
                  <a:moveTo>
                    <a:pt x="211" y="173"/>
                  </a:moveTo>
                  <a:cubicBezTo>
                    <a:pt x="215" y="178"/>
                    <a:pt x="215" y="184"/>
                    <a:pt x="211" y="189"/>
                  </a:cubicBezTo>
                  <a:cubicBezTo>
                    <a:pt x="209" y="191"/>
                    <a:pt x="206" y="192"/>
                    <a:pt x="204" y="192"/>
                  </a:cubicBezTo>
                  <a:cubicBezTo>
                    <a:pt x="201" y="192"/>
                    <a:pt x="198" y="191"/>
                    <a:pt x="196" y="189"/>
                  </a:cubicBezTo>
                  <a:cubicBezTo>
                    <a:pt x="185" y="178"/>
                    <a:pt x="185" y="178"/>
                    <a:pt x="185" y="178"/>
                  </a:cubicBezTo>
                  <a:cubicBezTo>
                    <a:pt x="181" y="174"/>
                    <a:pt x="181" y="167"/>
                    <a:pt x="185" y="163"/>
                  </a:cubicBezTo>
                  <a:cubicBezTo>
                    <a:pt x="190" y="159"/>
                    <a:pt x="196" y="159"/>
                    <a:pt x="201" y="163"/>
                  </a:cubicBezTo>
                  <a:lnTo>
                    <a:pt x="211" y="173"/>
                  </a:lnTo>
                  <a:close/>
                  <a:moveTo>
                    <a:pt x="275" y="24"/>
                  </a:moveTo>
                  <a:cubicBezTo>
                    <a:pt x="271" y="20"/>
                    <a:pt x="264" y="20"/>
                    <a:pt x="260" y="24"/>
                  </a:cubicBezTo>
                  <a:cubicBezTo>
                    <a:pt x="150" y="134"/>
                    <a:pt x="150" y="134"/>
                    <a:pt x="150" y="134"/>
                  </a:cubicBezTo>
                  <a:cubicBezTo>
                    <a:pt x="150" y="85"/>
                    <a:pt x="150" y="85"/>
                    <a:pt x="150" y="85"/>
                  </a:cubicBezTo>
                  <a:cubicBezTo>
                    <a:pt x="150" y="81"/>
                    <a:pt x="148" y="77"/>
                    <a:pt x="144" y="75"/>
                  </a:cubicBezTo>
                  <a:cubicBezTo>
                    <a:pt x="141" y="74"/>
                    <a:pt x="137" y="74"/>
                    <a:pt x="133" y="76"/>
                  </a:cubicBezTo>
                  <a:cubicBezTo>
                    <a:pt x="91" y="108"/>
                    <a:pt x="91" y="108"/>
                    <a:pt x="91" y="108"/>
                  </a:cubicBezTo>
                  <a:cubicBezTo>
                    <a:pt x="88" y="110"/>
                    <a:pt x="86" y="114"/>
                    <a:pt x="86" y="117"/>
                  </a:cubicBezTo>
                  <a:cubicBezTo>
                    <a:pt x="86" y="198"/>
                    <a:pt x="86" y="198"/>
                    <a:pt x="86" y="198"/>
                  </a:cubicBezTo>
                  <a:cubicBezTo>
                    <a:pt x="4" y="280"/>
                    <a:pt x="4" y="280"/>
                    <a:pt x="4" y="280"/>
                  </a:cubicBezTo>
                  <a:cubicBezTo>
                    <a:pt x="0" y="284"/>
                    <a:pt x="0" y="291"/>
                    <a:pt x="4" y="295"/>
                  </a:cubicBezTo>
                  <a:cubicBezTo>
                    <a:pt x="6" y="297"/>
                    <a:pt x="9" y="298"/>
                    <a:pt x="12" y="298"/>
                  </a:cubicBezTo>
                  <a:cubicBezTo>
                    <a:pt x="14" y="298"/>
                    <a:pt x="17" y="297"/>
                    <a:pt x="19" y="295"/>
                  </a:cubicBezTo>
                  <a:cubicBezTo>
                    <a:pt x="275" y="39"/>
                    <a:pt x="275" y="39"/>
                    <a:pt x="275" y="39"/>
                  </a:cubicBezTo>
                  <a:cubicBezTo>
                    <a:pt x="279" y="35"/>
                    <a:pt x="279" y="28"/>
                    <a:pt x="275" y="24"/>
                  </a:cubicBezTo>
                  <a:close/>
                  <a:moveTo>
                    <a:pt x="108" y="122"/>
                  </a:moveTo>
                  <a:cubicBezTo>
                    <a:pt x="129" y="106"/>
                    <a:pt x="129" y="106"/>
                    <a:pt x="129" y="106"/>
                  </a:cubicBezTo>
                  <a:cubicBezTo>
                    <a:pt x="129" y="155"/>
                    <a:pt x="129" y="155"/>
                    <a:pt x="129" y="155"/>
                  </a:cubicBezTo>
                  <a:cubicBezTo>
                    <a:pt x="108" y="177"/>
                    <a:pt x="108" y="177"/>
                    <a:pt x="108" y="177"/>
                  </a:cubicBezTo>
                  <a:lnTo>
                    <a:pt x="108" y="122"/>
                  </a:lnTo>
                  <a:close/>
                  <a:moveTo>
                    <a:pt x="193" y="233"/>
                  </a:moveTo>
                  <a:cubicBezTo>
                    <a:pt x="204" y="307"/>
                    <a:pt x="204" y="307"/>
                    <a:pt x="204" y="307"/>
                  </a:cubicBezTo>
                  <a:cubicBezTo>
                    <a:pt x="204" y="313"/>
                    <a:pt x="200" y="319"/>
                    <a:pt x="195" y="320"/>
                  </a:cubicBezTo>
                  <a:cubicBezTo>
                    <a:pt x="194" y="320"/>
                    <a:pt x="193" y="320"/>
                    <a:pt x="193" y="320"/>
                  </a:cubicBezTo>
                  <a:cubicBezTo>
                    <a:pt x="188" y="320"/>
                    <a:pt x="183" y="316"/>
                    <a:pt x="182" y="311"/>
                  </a:cubicBezTo>
                  <a:cubicBezTo>
                    <a:pt x="172" y="238"/>
                    <a:pt x="172" y="238"/>
                    <a:pt x="172" y="238"/>
                  </a:cubicBezTo>
                  <a:cubicBezTo>
                    <a:pt x="152" y="208"/>
                    <a:pt x="152" y="208"/>
                    <a:pt x="152" y="208"/>
                  </a:cubicBezTo>
                  <a:cubicBezTo>
                    <a:pt x="149" y="203"/>
                    <a:pt x="150" y="197"/>
                    <a:pt x="155" y="193"/>
                  </a:cubicBezTo>
                  <a:cubicBezTo>
                    <a:pt x="160" y="190"/>
                    <a:pt x="167" y="192"/>
                    <a:pt x="170" y="196"/>
                  </a:cubicBezTo>
                  <a:cubicBezTo>
                    <a:pt x="191" y="228"/>
                    <a:pt x="191" y="228"/>
                    <a:pt x="191" y="228"/>
                  </a:cubicBezTo>
                  <a:cubicBezTo>
                    <a:pt x="192" y="230"/>
                    <a:pt x="193" y="231"/>
                    <a:pt x="193" y="2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0" name="Freeform 772"/>
          <p:cNvSpPr>
            <a:spLocks noChangeAspect="1" noEditPoints="1"/>
          </p:cNvSpPr>
          <p:nvPr/>
        </p:nvSpPr>
        <p:spPr bwMode="auto">
          <a:xfrm>
            <a:off x="7971443" y="2514143"/>
            <a:ext cx="367041" cy="368121"/>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1" name="Group 775"/>
          <p:cNvGrpSpPr>
            <a:grpSpLocks noChangeAspect="1"/>
          </p:cNvGrpSpPr>
          <p:nvPr/>
        </p:nvGrpSpPr>
        <p:grpSpPr bwMode="auto">
          <a:xfrm>
            <a:off x="8390135" y="2514143"/>
            <a:ext cx="367041" cy="367041"/>
            <a:chOff x="2237" y="3306"/>
            <a:chExt cx="340" cy="340"/>
          </a:xfrm>
          <a:solidFill>
            <a:schemeClr val="accent3"/>
          </a:solidFill>
        </p:grpSpPr>
        <p:sp>
          <p:nvSpPr>
            <p:cNvPr id="352"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4" name="Group 309"/>
          <p:cNvGrpSpPr>
            <a:grpSpLocks noChangeAspect="1"/>
          </p:cNvGrpSpPr>
          <p:nvPr/>
        </p:nvGrpSpPr>
        <p:grpSpPr bwMode="auto">
          <a:xfrm>
            <a:off x="826428" y="3370328"/>
            <a:ext cx="370106" cy="369021"/>
            <a:chOff x="6585" y="1193"/>
            <a:chExt cx="341" cy="340"/>
          </a:xfrm>
          <a:solidFill>
            <a:schemeClr val="accent4"/>
          </a:solidFill>
        </p:grpSpPr>
        <p:sp>
          <p:nvSpPr>
            <p:cNvPr id="355"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7" name="Freeform 315"/>
          <p:cNvSpPr>
            <a:spLocks noChangeAspect="1" noEditPoints="1"/>
          </p:cNvSpPr>
          <p:nvPr/>
        </p:nvSpPr>
        <p:spPr bwMode="auto">
          <a:xfrm>
            <a:off x="406400" y="3370328"/>
            <a:ext cx="369021" cy="369021"/>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58" name="Group 786"/>
          <p:cNvGrpSpPr>
            <a:grpSpLocks noChangeAspect="1"/>
          </p:cNvGrpSpPr>
          <p:nvPr/>
        </p:nvGrpSpPr>
        <p:grpSpPr bwMode="auto">
          <a:xfrm>
            <a:off x="1667569" y="3370328"/>
            <a:ext cx="369021" cy="369021"/>
            <a:chOff x="5071" y="3066"/>
            <a:chExt cx="340" cy="340"/>
          </a:xfrm>
          <a:solidFill>
            <a:schemeClr val="accent3"/>
          </a:solidFill>
        </p:grpSpPr>
        <p:sp>
          <p:nvSpPr>
            <p:cNvPr id="359"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1" name="Freeform 792"/>
          <p:cNvSpPr>
            <a:spLocks noChangeAspect="1" noEditPoints="1"/>
          </p:cNvSpPr>
          <p:nvPr/>
        </p:nvSpPr>
        <p:spPr bwMode="auto">
          <a:xfrm>
            <a:off x="1247541" y="3370328"/>
            <a:ext cx="369021" cy="369021"/>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908"/>
          <p:cNvSpPr>
            <a:spLocks noChangeAspect="1" noEditPoints="1"/>
          </p:cNvSpPr>
          <p:nvPr/>
        </p:nvSpPr>
        <p:spPr bwMode="auto">
          <a:xfrm>
            <a:off x="2087597" y="3370328"/>
            <a:ext cx="367982" cy="367982"/>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49" name="Group 911"/>
          <p:cNvGrpSpPr>
            <a:grpSpLocks noChangeAspect="1"/>
          </p:cNvGrpSpPr>
          <p:nvPr/>
        </p:nvGrpSpPr>
        <p:grpSpPr bwMode="auto">
          <a:xfrm>
            <a:off x="2506586" y="3370328"/>
            <a:ext cx="367982" cy="367982"/>
            <a:chOff x="5456" y="4321"/>
            <a:chExt cx="340" cy="340"/>
          </a:xfrm>
          <a:solidFill>
            <a:schemeClr val="accent4"/>
          </a:solidFill>
        </p:grpSpPr>
        <p:sp>
          <p:nvSpPr>
            <p:cNvPr id="150" name="Freeform 912"/>
            <p:cNvSpPr>
              <a:spLocks noEditPoints="1"/>
            </p:cNvSpPr>
            <p:nvPr/>
          </p:nvSpPr>
          <p:spPr bwMode="auto">
            <a:xfrm>
              <a:off x="5456" y="43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Freeform 913"/>
            <p:cNvSpPr>
              <a:spLocks noEditPoints="1"/>
            </p:cNvSpPr>
            <p:nvPr/>
          </p:nvSpPr>
          <p:spPr bwMode="auto">
            <a:xfrm>
              <a:off x="5534" y="4413"/>
              <a:ext cx="191" cy="170"/>
            </a:xfrm>
            <a:custGeom>
              <a:avLst/>
              <a:gdLst>
                <a:gd name="T0" fmla="*/ 75 w 288"/>
                <a:gd name="T1" fmla="*/ 32 h 256"/>
                <a:gd name="T2" fmla="*/ 96 w 288"/>
                <a:gd name="T3" fmla="*/ 54 h 256"/>
                <a:gd name="T4" fmla="*/ 64 w 288"/>
                <a:gd name="T5" fmla="*/ 54 h 256"/>
                <a:gd name="T6" fmla="*/ 117 w 288"/>
                <a:gd name="T7" fmla="*/ 96 h 256"/>
                <a:gd name="T8" fmla="*/ 117 w 288"/>
                <a:gd name="T9" fmla="*/ 64 h 256"/>
                <a:gd name="T10" fmla="*/ 96 w 288"/>
                <a:gd name="T11" fmla="*/ 86 h 256"/>
                <a:gd name="T12" fmla="*/ 64 w 288"/>
                <a:gd name="T13" fmla="*/ 86 h 256"/>
                <a:gd name="T14" fmla="*/ 43 w 288"/>
                <a:gd name="T15" fmla="*/ 64 h 256"/>
                <a:gd name="T16" fmla="*/ 43 w 288"/>
                <a:gd name="T17" fmla="*/ 96 h 256"/>
                <a:gd name="T18" fmla="*/ 160 w 288"/>
                <a:gd name="T19" fmla="*/ 54 h 256"/>
                <a:gd name="T20" fmla="*/ 139 w 288"/>
                <a:gd name="T21" fmla="*/ 32 h 256"/>
                <a:gd name="T22" fmla="*/ 139 w 288"/>
                <a:gd name="T23" fmla="*/ 64 h 256"/>
                <a:gd name="T24" fmla="*/ 224 w 288"/>
                <a:gd name="T25" fmla="*/ 54 h 256"/>
                <a:gd name="T26" fmla="*/ 203 w 288"/>
                <a:gd name="T27" fmla="*/ 32 h 256"/>
                <a:gd name="T28" fmla="*/ 203 w 288"/>
                <a:gd name="T29" fmla="*/ 64 h 256"/>
                <a:gd name="T30" fmla="*/ 245 w 288"/>
                <a:gd name="T31" fmla="*/ 96 h 256"/>
                <a:gd name="T32" fmla="*/ 245 w 288"/>
                <a:gd name="T33" fmla="*/ 64 h 256"/>
                <a:gd name="T34" fmla="*/ 224 w 288"/>
                <a:gd name="T35" fmla="*/ 86 h 256"/>
                <a:gd name="T36" fmla="*/ 181 w 288"/>
                <a:gd name="T37" fmla="*/ 96 h 256"/>
                <a:gd name="T38" fmla="*/ 181 w 288"/>
                <a:gd name="T39" fmla="*/ 64 h 256"/>
                <a:gd name="T40" fmla="*/ 160 w 288"/>
                <a:gd name="T41" fmla="*/ 86 h 256"/>
                <a:gd name="T42" fmla="*/ 96 w 288"/>
                <a:gd name="T43" fmla="*/ 139 h 256"/>
                <a:gd name="T44" fmla="*/ 117 w 288"/>
                <a:gd name="T45" fmla="*/ 160 h 256"/>
                <a:gd name="T46" fmla="*/ 117 w 288"/>
                <a:gd name="T47" fmla="*/ 128 h 256"/>
                <a:gd name="T48" fmla="*/ 64 w 288"/>
                <a:gd name="T49" fmla="*/ 150 h 256"/>
                <a:gd name="T50" fmla="*/ 43 w 288"/>
                <a:gd name="T51" fmla="*/ 128 h 256"/>
                <a:gd name="T52" fmla="*/ 43 w 288"/>
                <a:gd name="T53" fmla="*/ 160 h 256"/>
                <a:gd name="T54" fmla="*/ 224 w 288"/>
                <a:gd name="T55" fmla="*/ 139 h 256"/>
                <a:gd name="T56" fmla="*/ 245 w 288"/>
                <a:gd name="T57" fmla="*/ 160 h 256"/>
                <a:gd name="T58" fmla="*/ 245 w 288"/>
                <a:gd name="T59" fmla="*/ 128 h 256"/>
                <a:gd name="T60" fmla="*/ 160 w 288"/>
                <a:gd name="T61" fmla="*/ 139 h 256"/>
                <a:gd name="T62" fmla="*/ 181 w 288"/>
                <a:gd name="T63" fmla="*/ 160 h 256"/>
                <a:gd name="T64" fmla="*/ 181 w 288"/>
                <a:gd name="T65" fmla="*/ 128 h 256"/>
                <a:gd name="T66" fmla="*/ 75 w 288"/>
                <a:gd name="T67" fmla="*/ 96 h 256"/>
                <a:gd name="T68" fmla="*/ 75 w 288"/>
                <a:gd name="T69" fmla="*/ 128 h 256"/>
                <a:gd name="T70" fmla="*/ 96 w 288"/>
                <a:gd name="T71" fmla="*/ 107 h 256"/>
                <a:gd name="T72" fmla="*/ 139 w 288"/>
                <a:gd name="T73" fmla="*/ 96 h 256"/>
                <a:gd name="T74" fmla="*/ 139 w 288"/>
                <a:gd name="T75" fmla="*/ 128 h 256"/>
                <a:gd name="T76" fmla="*/ 160 w 288"/>
                <a:gd name="T77" fmla="*/ 107 h 256"/>
                <a:gd name="T78" fmla="*/ 203 w 288"/>
                <a:gd name="T79" fmla="*/ 96 h 256"/>
                <a:gd name="T80" fmla="*/ 203 w 288"/>
                <a:gd name="T81" fmla="*/ 128 h 256"/>
                <a:gd name="T82" fmla="*/ 224 w 288"/>
                <a:gd name="T83" fmla="*/ 107 h 256"/>
                <a:gd name="T84" fmla="*/ 277 w 288"/>
                <a:gd name="T85" fmla="*/ 192 h 256"/>
                <a:gd name="T86" fmla="*/ 11 w 288"/>
                <a:gd name="T87" fmla="*/ 256 h 256"/>
                <a:gd name="T88" fmla="*/ 0 w 288"/>
                <a:gd name="T89" fmla="*/ 11 h 256"/>
                <a:gd name="T90" fmla="*/ 288 w 288"/>
                <a:gd name="T91" fmla="*/ 11 h 256"/>
                <a:gd name="T92" fmla="*/ 21 w 288"/>
                <a:gd name="T93" fmla="*/ 17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56">
                  <a:moveTo>
                    <a:pt x="64" y="54"/>
                  </a:moveTo>
                  <a:cubicBezTo>
                    <a:pt x="64" y="43"/>
                    <a:pt x="64" y="43"/>
                    <a:pt x="64" y="43"/>
                  </a:cubicBezTo>
                  <a:cubicBezTo>
                    <a:pt x="64" y="37"/>
                    <a:pt x="69" y="32"/>
                    <a:pt x="75" y="32"/>
                  </a:cubicBezTo>
                  <a:cubicBezTo>
                    <a:pt x="85" y="32"/>
                    <a:pt x="85" y="32"/>
                    <a:pt x="85" y="32"/>
                  </a:cubicBezTo>
                  <a:cubicBezTo>
                    <a:pt x="91" y="32"/>
                    <a:pt x="96" y="37"/>
                    <a:pt x="96" y="43"/>
                  </a:cubicBezTo>
                  <a:cubicBezTo>
                    <a:pt x="96" y="54"/>
                    <a:pt x="96" y="54"/>
                    <a:pt x="96" y="54"/>
                  </a:cubicBezTo>
                  <a:cubicBezTo>
                    <a:pt x="96" y="60"/>
                    <a:pt x="91" y="64"/>
                    <a:pt x="85" y="64"/>
                  </a:cubicBezTo>
                  <a:cubicBezTo>
                    <a:pt x="75" y="64"/>
                    <a:pt x="75" y="64"/>
                    <a:pt x="75" y="64"/>
                  </a:cubicBezTo>
                  <a:cubicBezTo>
                    <a:pt x="69" y="64"/>
                    <a:pt x="64" y="60"/>
                    <a:pt x="64" y="54"/>
                  </a:cubicBezTo>
                  <a:close/>
                  <a:moveTo>
                    <a:pt x="96" y="86"/>
                  </a:moveTo>
                  <a:cubicBezTo>
                    <a:pt x="96" y="92"/>
                    <a:pt x="101" y="96"/>
                    <a:pt x="107" y="96"/>
                  </a:cubicBezTo>
                  <a:cubicBezTo>
                    <a:pt x="117" y="96"/>
                    <a:pt x="117" y="96"/>
                    <a:pt x="117" y="96"/>
                  </a:cubicBezTo>
                  <a:cubicBezTo>
                    <a:pt x="123" y="96"/>
                    <a:pt x="128" y="92"/>
                    <a:pt x="128" y="86"/>
                  </a:cubicBezTo>
                  <a:cubicBezTo>
                    <a:pt x="128" y="75"/>
                    <a:pt x="128" y="75"/>
                    <a:pt x="128" y="75"/>
                  </a:cubicBezTo>
                  <a:cubicBezTo>
                    <a:pt x="128" y="69"/>
                    <a:pt x="123" y="64"/>
                    <a:pt x="117" y="64"/>
                  </a:cubicBezTo>
                  <a:cubicBezTo>
                    <a:pt x="107" y="64"/>
                    <a:pt x="107" y="64"/>
                    <a:pt x="107" y="64"/>
                  </a:cubicBezTo>
                  <a:cubicBezTo>
                    <a:pt x="101" y="64"/>
                    <a:pt x="96" y="69"/>
                    <a:pt x="96" y="75"/>
                  </a:cubicBezTo>
                  <a:lnTo>
                    <a:pt x="96" y="86"/>
                  </a:lnTo>
                  <a:close/>
                  <a:moveTo>
                    <a:pt x="43" y="96"/>
                  </a:moveTo>
                  <a:cubicBezTo>
                    <a:pt x="53" y="96"/>
                    <a:pt x="53" y="96"/>
                    <a:pt x="53" y="96"/>
                  </a:cubicBezTo>
                  <a:cubicBezTo>
                    <a:pt x="59" y="96"/>
                    <a:pt x="64" y="92"/>
                    <a:pt x="64" y="86"/>
                  </a:cubicBezTo>
                  <a:cubicBezTo>
                    <a:pt x="64" y="75"/>
                    <a:pt x="64" y="75"/>
                    <a:pt x="64" y="75"/>
                  </a:cubicBezTo>
                  <a:cubicBezTo>
                    <a:pt x="64" y="69"/>
                    <a:pt x="59" y="64"/>
                    <a:pt x="53" y="64"/>
                  </a:cubicBezTo>
                  <a:cubicBezTo>
                    <a:pt x="43" y="64"/>
                    <a:pt x="43" y="64"/>
                    <a:pt x="43" y="64"/>
                  </a:cubicBezTo>
                  <a:cubicBezTo>
                    <a:pt x="37" y="64"/>
                    <a:pt x="32" y="69"/>
                    <a:pt x="32" y="75"/>
                  </a:cubicBezTo>
                  <a:cubicBezTo>
                    <a:pt x="32" y="86"/>
                    <a:pt x="32" y="86"/>
                    <a:pt x="32" y="86"/>
                  </a:cubicBezTo>
                  <a:cubicBezTo>
                    <a:pt x="32" y="92"/>
                    <a:pt x="37" y="96"/>
                    <a:pt x="43" y="96"/>
                  </a:cubicBezTo>
                  <a:close/>
                  <a:moveTo>
                    <a:pt x="139" y="64"/>
                  </a:moveTo>
                  <a:cubicBezTo>
                    <a:pt x="149" y="64"/>
                    <a:pt x="149" y="64"/>
                    <a:pt x="149" y="64"/>
                  </a:cubicBezTo>
                  <a:cubicBezTo>
                    <a:pt x="155" y="64"/>
                    <a:pt x="160" y="60"/>
                    <a:pt x="160" y="54"/>
                  </a:cubicBezTo>
                  <a:cubicBezTo>
                    <a:pt x="160" y="43"/>
                    <a:pt x="160" y="43"/>
                    <a:pt x="160" y="43"/>
                  </a:cubicBezTo>
                  <a:cubicBezTo>
                    <a:pt x="160" y="37"/>
                    <a:pt x="155" y="32"/>
                    <a:pt x="149" y="32"/>
                  </a:cubicBezTo>
                  <a:cubicBezTo>
                    <a:pt x="139" y="32"/>
                    <a:pt x="139" y="32"/>
                    <a:pt x="139" y="32"/>
                  </a:cubicBezTo>
                  <a:cubicBezTo>
                    <a:pt x="133" y="32"/>
                    <a:pt x="128" y="37"/>
                    <a:pt x="128" y="43"/>
                  </a:cubicBezTo>
                  <a:cubicBezTo>
                    <a:pt x="128" y="54"/>
                    <a:pt x="128" y="54"/>
                    <a:pt x="128" y="54"/>
                  </a:cubicBezTo>
                  <a:cubicBezTo>
                    <a:pt x="128" y="60"/>
                    <a:pt x="133" y="64"/>
                    <a:pt x="139" y="64"/>
                  </a:cubicBezTo>
                  <a:close/>
                  <a:moveTo>
                    <a:pt x="203" y="64"/>
                  </a:moveTo>
                  <a:cubicBezTo>
                    <a:pt x="213" y="64"/>
                    <a:pt x="213" y="64"/>
                    <a:pt x="213" y="64"/>
                  </a:cubicBezTo>
                  <a:cubicBezTo>
                    <a:pt x="219" y="64"/>
                    <a:pt x="224" y="60"/>
                    <a:pt x="224" y="54"/>
                  </a:cubicBezTo>
                  <a:cubicBezTo>
                    <a:pt x="224" y="43"/>
                    <a:pt x="224" y="43"/>
                    <a:pt x="224" y="43"/>
                  </a:cubicBezTo>
                  <a:cubicBezTo>
                    <a:pt x="224" y="37"/>
                    <a:pt x="219" y="32"/>
                    <a:pt x="213" y="32"/>
                  </a:cubicBezTo>
                  <a:cubicBezTo>
                    <a:pt x="203" y="32"/>
                    <a:pt x="203" y="32"/>
                    <a:pt x="203" y="32"/>
                  </a:cubicBezTo>
                  <a:cubicBezTo>
                    <a:pt x="197" y="32"/>
                    <a:pt x="192" y="37"/>
                    <a:pt x="192" y="43"/>
                  </a:cubicBezTo>
                  <a:cubicBezTo>
                    <a:pt x="192" y="54"/>
                    <a:pt x="192" y="54"/>
                    <a:pt x="192" y="54"/>
                  </a:cubicBezTo>
                  <a:cubicBezTo>
                    <a:pt x="192" y="60"/>
                    <a:pt x="197" y="64"/>
                    <a:pt x="203" y="64"/>
                  </a:cubicBezTo>
                  <a:close/>
                  <a:moveTo>
                    <a:pt x="224" y="86"/>
                  </a:moveTo>
                  <a:cubicBezTo>
                    <a:pt x="224" y="92"/>
                    <a:pt x="229" y="96"/>
                    <a:pt x="235" y="96"/>
                  </a:cubicBezTo>
                  <a:cubicBezTo>
                    <a:pt x="245" y="96"/>
                    <a:pt x="245" y="96"/>
                    <a:pt x="245" y="96"/>
                  </a:cubicBezTo>
                  <a:cubicBezTo>
                    <a:pt x="251" y="96"/>
                    <a:pt x="256" y="92"/>
                    <a:pt x="256" y="86"/>
                  </a:cubicBezTo>
                  <a:cubicBezTo>
                    <a:pt x="256" y="75"/>
                    <a:pt x="256" y="75"/>
                    <a:pt x="256" y="75"/>
                  </a:cubicBezTo>
                  <a:cubicBezTo>
                    <a:pt x="256" y="69"/>
                    <a:pt x="251" y="64"/>
                    <a:pt x="245" y="64"/>
                  </a:cubicBezTo>
                  <a:cubicBezTo>
                    <a:pt x="235" y="64"/>
                    <a:pt x="235" y="64"/>
                    <a:pt x="235" y="64"/>
                  </a:cubicBezTo>
                  <a:cubicBezTo>
                    <a:pt x="229" y="64"/>
                    <a:pt x="224" y="69"/>
                    <a:pt x="224" y="75"/>
                  </a:cubicBezTo>
                  <a:lnTo>
                    <a:pt x="224" y="86"/>
                  </a:lnTo>
                  <a:close/>
                  <a:moveTo>
                    <a:pt x="160" y="86"/>
                  </a:moveTo>
                  <a:cubicBezTo>
                    <a:pt x="160" y="92"/>
                    <a:pt x="165" y="96"/>
                    <a:pt x="171" y="96"/>
                  </a:cubicBezTo>
                  <a:cubicBezTo>
                    <a:pt x="181" y="96"/>
                    <a:pt x="181" y="96"/>
                    <a:pt x="181" y="96"/>
                  </a:cubicBezTo>
                  <a:cubicBezTo>
                    <a:pt x="187" y="96"/>
                    <a:pt x="192" y="92"/>
                    <a:pt x="192" y="86"/>
                  </a:cubicBezTo>
                  <a:cubicBezTo>
                    <a:pt x="192" y="75"/>
                    <a:pt x="192" y="75"/>
                    <a:pt x="192" y="75"/>
                  </a:cubicBezTo>
                  <a:cubicBezTo>
                    <a:pt x="192" y="69"/>
                    <a:pt x="187" y="64"/>
                    <a:pt x="181" y="64"/>
                  </a:cubicBezTo>
                  <a:cubicBezTo>
                    <a:pt x="171" y="64"/>
                    <a:pt x="171" y="64"/>
                    <a:pt x="171" y="64"/>
                  </a:cubicBezTo>
                  <a:cubicBezTo>
                    <a:pt x="165" y="64"/>
                    <a:pt x="160" y="69"/>
                    <a:pt x="160" y="75"/>
                  </a:cubicBezTo>
                  <a:lnTo>
                    <a:pt x="160" y="86"/>
                  </a:lnTo>
                  <a:close/>
                  <a:moveTo>
                    <a:pt x="117" y="128"/>
                  </a:moveTo>
                  <a:cubicBezTo>
                    <a:pt x="107" y="128"/>
                    <a:pt x="107" y="128"/>
                    <a:pt x="107" y="128"/>
                  </a:cubicBezTo>
                  <a:cubicBezTo>
                    <a:pt x="101" y="128"/>
                    <a:pt x="96" y="133"/>
                    <a:pt x="96" y="139"/>
                  </a:cubicBezTo>
                  <a:cubicBezTo>
                    <a:pt x="96" y="150"/>
                    <a:pt x="96" y="150"/>
                    <a:pt x="96" y="150"/>
                  </a:cubicBezTo>
                  <a:cubicBezTo>
                    <a:pt x="96" y="156"/>
                    <a:pt x="101" y="160"/>
                    <a:pt x="107" y="160"/>
                  </a:cubicBezTo>
                  <a:cubicBezTo>
                    <a:pt x="117" y="160"/>
                    <a:pt x="117" y="160"/>
                    <a:pt x="117" y="160"/>
                  </a:cubicBezTo>
                  <a:cubicBezTo>
                    <a:pt x="123" y="160"/>
                    <a:pt x="128" y="156"/>
                    <a:pt x="128" y="150"/>
                  </a:cubicBezTo>
                  <a:cubicBezTo>
                    <a:pt x="128" y="139"/>
                    <a:pt x="128" y="139"/>
                    <a:pt x="128" y="139"/>
                  </a:cubicBezTo>
                  <a:cubicBezTo>
                    <a:pt x="128" y="133"/>
                    <a:pt x="123" y="128"/>
                    <a:pt x="117" y="128"/>
                  </a:cubicBezTo>
                  <a:close/>
                  <a:moveTo>
                    <a:pt x="43" y="160"/>
                  </a:moveTo>
                  <a:cubicBezTo>
                    <a:pt x="53" y="160"/>
                    <a:pt x="53" y="160"/>
                    <a:pt x="53" y="160"/>
                  </a:cubicBezTo>
                  <a:cubicBezTo>
                    <a:pt x="59" y="160"/>
                    <a:pt x="64" y="156"/>
                    <a:pt x="64" y="150"/>
                  </a:cubicBezTo>
                  <a:cubicBezTo>
                    <a:pt x="64" y="139"/>
                    <a:pt x="64" y="139"/>
                    <a:pt x="64" y="139"/>
                  </a:cubicBezTo>
                  <a:cubicBezTo>
                    <a:pt x="64" y="133"/>
                    <a:pt x="59" y="128"/>
                    <a:pt x="53" y="128"/>
                  </a:cubicBezTo>
                  <a:cubicBezTo>
                    <a:pt x="43" y="128"/>
                    <a:pt x="43" y="128"/>
                    <a:pt x="43" y="128"/>
                  </a:cubicBezTo>
                  <a:cubicBezTo>
                    <a:pt x="37" y="128"/>
                    <a:pt x="32" y="133"/>
                    <a:pt x="32" y="139"/>
                  </a:cubicBezTo>
                  <a:cubicBezTo>
                    <a:pt x="32" y="150"/>
                    <a:pt x="32" y="150"/>
                    <a:pt x="32" y="150"/>
                  </a:cubicBezTo>
                  <a:cubicBezTo>
                    <a:pt x="32" y="156"/>
                    <a:pt x="37" y="160"/>
                    <a:pt x="43" y="160"/>
                  </a:cubicBezTo>
                  <a:close/>
                  <a:moveTo>
                    <a:pt x="245" y="128"/>
                  </a:moveTo>
                  <a:cubicBezTo>
                    <a:pt x="235" y="128"/>
                    <a:pt x="235" y="128"/>
                    <a:pt x="235" y="128"/>
                  </a:cubicBezTo>
                  <a:cubicBezTo>
                    <a:pt x="229" y="128"/>
                    <a:pt x="224" y="133"/>
                    <a:pt x="224" y="139"/>
                  </a:cubicBezTo>
                  <a:cubicBezTo>
                    <a:pt x="224" y="150"/>
                    <a:pt x="224" y="150"/>
                    <a:pt x="224" y="150"/>
                  </a:cubicBezTo>
                  <a:cubicBezTo>
                    <a:pt x="224" y="156"/>
                    <a:pt x="229" y="160"/>
                    <a:pt x="235" y="160"/>
                  </a:cubicBezTo>
                  <a:cubicBezTo>
                    <a:pt x="245" y="160"/>
                    <a:pt x="245" y="160"/>
                    <a:pt x="245" y="160"/>
                  </a:cubicBezTo>
                  <a:cubicBezTo>
                    <a:pt x="251" y="160"/>
                    <a:pt x="256" y="156"/>
                    <a:pt x="256" y="150"/>
                  </a:cubicBezTo>
                  <a:cubicBezTo>
                    <a:pt x="256" y="139"/>
                    <a:pt x="256" y="139"/>
                    <a:pt x="256" y="139"/>
                  </a:cubicBezTo>
                  <a:cubicBezTo>
                    <a:pt x="256" y="133"/>
                    <a:pt x="251" y="128"/>
                    <a:pt x="245" y="128"/>
                  </a:cubicBezTo>
                  <a:close/>
                  <a:moveTo>
                    <a:pt x="181" y="128"/>
                  </a:moveTo>
                  <a:cubicBezTo>
                    <a:pt x="171" y="128"/>
                    <a:pt x="171" y="128"/>
                    <a:pt x="171" y="128"/>
                  </a:cubicBezTo>
                  <a:cubicBezTo>
                    <a:pt x="165" y="128"/>
                    <a:pt x="160" y="133"/>
                    <a:pt x="160" y="139"/>
                  </a:cubicBezTo>
                  <a:cubicBezTo>
                    <a:pt x="160" y="150"/>
                    <a:pt x="160" y="150"/>
                    <a:pt x="160" y="150"/>
                  </a:cubicBezTo>
                  <a:cubicBezTo>
                    <a:pt x="160" y="156"/>
                    <a:pt x="165" y="160"/>
                    <a:pt x="171" y="160"/>
                  </a:cubicBezTo>
                  <a:cubicBezTo>
                    <a:pt x="181" y="160"/>
                    <a:pt x="181" y="160"/>
                    <a:pt x="181" y="160"/>
                  </a:cubicBezTo>
                  <a:cubicBezTo>
                    <a:pt x="187" y="160"/>
                    <a:pt x="192" y="156"/>
                    <a:pt x="192" y="150"/>
                  </a:cubicBezTo>
                  <a:cubicBezTo>
                    <a:pt x="192" y="139"/>
                    <a:pt x="192" y="139"/>
                    <a:pt x="192" y="139"/>
                  </a:cubicBezTo>
                  <a:cubicBezTo>
                    <a:pt x="192" y="133"/>
                    <a:pt x="187" y="128"/>
                    <a:pt x="181" y="128"/>
                  </a:cubicBezTo>
                  <a:close/>
                  <a:moveTo>
                    <a:pt x="96" y="107"/>
                  </a:moveTo>
                  <a:cubicBezTo>
                    <a:pt x="96" y="101"/>
                    <a:pt x="91" y="96"/>
                    <a:pt x="85" y="96"/>
                  </a:cubicBezTo>
                  <a:cubicBezTo>
                    <a:pt x="75" y="96"/>
                    <a:pt x="75" y="96"/>
                    <a:pt x="75" y="96"/>
                  </a:cubicBezTo>
                  <a:cubicBezTo>
                    <a:pt x="69" y="96"/>
                    <a:pt x="64" y="101"/>
                    <a:pt x="64" y="107"/>
                  </a:cubicBezTo>
                  <a:cubicBezTo>
                    <a:pt x="64" y="118"/>
                    <a:pt x="64" y="118"/>
                    <a:pt x="64" y="118"/>
                  </a:cubicBezTo>
                  <a:cubicBezTo>
                    <a:pt x="64" y="124"/>
                    <a:pt x="69" y="128"/>
                    <a:pt x="75" y="128"/>
                  </a:cubicBezTo>
                  <a:cubicBezTo>
                    <a:pt x="85" y="128"/>
                    <a:pt x="85" y="128"/>
                    <a:pt x="85" y="128"/>
                  </a:cubicBezTo>
                  <a:cubicBezTo>
                    <a:pt x="91" y="128"/>
                    <a:pt x="96" y="124"/>
                    <a:pt x="96" y="118"/>
                  </a:cubicBezTo>
                  <a:lnTo>
                    <a:pt x="96" y="107"/>
                  </a:lnTo>
                  <a:close/>
                  <a:moveTo>
                    <a:pt x="160" y="107"/>
                  </a:moveTo>
                  <a:cubicBezTo>
                    <a:pt x="160" y="101"/>
                    <a:pt x="155" y="96"/>
                    <a:pt x="149" y="96"/>
                  </a:cubicBezTo>
                  <a:cubicBezTo>
                    <a:pt x="139" y="96"/>
                    <a:pt x="139" y="96"/>
                    <a:pt x="139" y="96"/>
                  </a:cubicBezTo>
                  <a:cubicBezTo>
                    <a:pt x="133" y="96"/>
                    <a:pt x="128" y="101"/>
                    <a:pt x="128" y="107"/>
                  </a:cubicBezTo>
                  <a:cubicBezTo>
                    <a:pt x="128" y="118"/>
                    <a:pt x="128" y="118"/>
                    <a:pt x="128" y="118"/>
                  </a:cubicBezTo>
                  <a:cubicBezTo>
                    <a:pt x="128" y="124"/>
                    <a:pt x="133" y="128"/>
                    <a:pt x="139" y="128"/>
                  </a:cubicBezTo>
                  <a:cubicBezTo>
                    <a:pt x="149" y="128"/>
                    <a:pt x="149" y="128"/>
                    <a:pt x="149" y="128"/>
                  </a:cubicBezTo>
                  <a:cubicBezTo>
                    <a:pt x="155" y="128"/>
                    <a:pt x="160" y="124"/>
                    <a:pt x="160" y="118"/>
                  </a:cubicBezTo>
                  <a:lnTo>
                    <a:pt x="160" y="107"/>
                  </a:lnTo>
                  <a:close/>
                  <a:moveTo>
                    <a:pt x="224" y="107"/>
                  </a:moveTo>
                  <a:cubicBezTo>
                    <a:pt x="224" y="101"/>
                    <a:pt x="219" y="96"/>
                    <a:pt x="213" y="96"/>
                  </a:cubicBezTo>
                  <a:cubicBezTo>
                    <a:pt x="203" y="96"/>
                    <a:pt x="203" y="96"/>
                    <a:pt x="203" y="96"/>
                  </a:cubicBezTo>
                  <a:cubicBezTo>
                    <a:pt x="197" y="96"/>
                    <a:pt x="192" y="101"/>
                    <a:pt x="192" y="107"/>
                  </a:cubicBezTo>
                  <a:cubicBezTo>
                    <a:pt x="192" y="118"/>
                    <a:pt x="192" y="118"/>
                    <a:pt x="192" y="118"/>
                  </a:cubicBezTo>
                  <a:cubicBezTo>
                    <a:pt x="192" y="124"/>
                    <a:pt x="197" y="128"/>
                    <a:pt x="203" y="128"/>
                  </a:cubicBezTo>
                  <a:cubicBezTo>
                    <a:pt x="213" y="128"/>
                    <a:pt x="213" y="128"/>
                    <a:pt x="213" y="128"/>
                  </a:cubicBezTo>
                  <a:cubicBezTo>
                    <a:pt x="219" y="128"/>
                    <a:pt x="224" y="124"/>
                    <a:pt x="224" y="118"/>
                  </a:cubicBezTo>
                  <a:lnTo>
                    <a:pt x="224" y="107"/>
                  </a:lnTo>
                  <a:close/>
                  <a:moveTo>
                    <a:pt x="288" y="11"/>
                  </a:moveTo>
                  <a:cubicBezTo>
                    <a:pt x="288" y="182"/>
                    <a:pt x="288" y="182"/>
                    <a:pt x="288" y="182"/>
                  </a:cubicBezTo>
                  <a:cubicBezTo>
                    <a:pt x="288" y="188"/>
                    <a:pt x="283" y="192"/>
                    <a:pt x="277" y="192"/>
                  </a:cubicBezTo>
                  <a:cubicBezTo>
                    <a:pt x="21" y="192"/>
                    <a:pt x="21" y="192"/>
                    <a:pt x="21" y="192"/>
                  </a:cubicBezTo>
                  <a:cubicBezTo>
                    <a:pt x="21" y="246"/>
                    <a:pt x="21" y="246"/>
                    <a:pt x="21" y="246"/>
                  </a:cubicBezTo>
                  <a:cubicBezTo>
                    <a:pt x="21" y="252"/>
                    <a:pt x="17" y="256"/>
                    <a:pt x="11" y="256"/>
                  </a:cubicBezTo>
                  <a:cubicBezTo>
                    <a:pt x="5" y="256"/>
                    <a:pt x="0" y="252"/>
                    <a:pt x="0" y="246"/>
                  </a:cubicBezTo>
                  <a:cubicBezTo>
                    <a:pt x="0" y="182"/>
                    <a:pt x="0" y="182"/>
                    <a:pt x="0" y="182"/>
                  </a:cubicBezTo>
                  <a:cubicBezTo>
                    <a:pt x="0" y="11"/>
                    <a:pt x="0" y="11"/>
                    <a:pt x="0" y="11"/>
                  </a:cubicBezTo>
                  <a:cubicBezTo>
                    <a:pt x="0" y="5"/>
                    <a:pt x="5" y="0"/>
                    <a:pt x="11" y="0"/>
                  </a:cubicBezTo>
                  <a:cubicBezTo>
                    <a:pt x="277" y="0"/>
                    <a:pt x="277" y="0"/>
                    <a:pt x="277" y="0"/>
                  </a:cubicBezTo>
                  <a:cubicBezTo>
                    <a:pt x="283" y="0"/>
                    <a:pt x="288" y="5"/>
                    <a:pt x="288" y="11"/>
                  </a:cubicBezTo>
                  <a:close/>
                  <a:moveTo>
                    <a:pt x="267" y="22"/>
                  </a:moveTo>
                  <a:cubicBezTo>
                    <a:pt x="21" y="22"/>
                    <a:pt x="21" y="22"/>
                    <a:pt x="21" y="22"/>
                  </a:cubicBezTo>
                  <a:cubicBezTo>
                    <a:pt x="21" y="171"/>
                    <a:pt x="21" y="171"/>
                    <a:pt x="21" y="171"/>
                  </a:cubicBezTo>
                  <a:cubicBezTo>
                    <a:pt x="267" y="171"/>
                    <a:pt x="267" y="171"/>
                    <a:pt x="267" y="171"/>
                  </a:cubicBezTo>
                  <a:lnTo>
                    <a:pt x="267"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1038"/>
          <p:cNvGrpSpPr>
            <a:grpSpLocks noChangeAspect="1"/>
          </p:cNvGrpSpPr>
          <p:nvPr/>
        </p:nvGrpSpPr>
        <p:grpSpPr bwMode="auto">
          <a:xfrm>
            <a:off x="3343289" y="3370328"/>
            <a:ext cx="369021" cy="369021"/>
            <a:chOff x="394" y="3989"/>
            <a:chExt cx="340" cy="340"/>
          </a:xfrm>
          <a:solidFill>
            <a:schemeClr val="accent5"/>
          </a:solidFill>
        </p:grpSpPr>
        <p:sp>
          <p:nvSpPr>
            <p:cNvPr id="153"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5" name="Freeform 1044"/>
          <p:cNvSpPr>
            <a:spLocks noChangeAspect="1" noEditPoints="1"/>
          </p:cNvSpPr>
          <p:nvPr/>
        </p:nvSpPr>
        <p:spPr bwMode="auto">
          <a:xfrm>
            <a:off x="2925575" y="3370328"/>
            <a:ext cx="370106" cy="369021"/>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56" name="Group 276"/>
          <p:cNvGrpSpPr>
            <a:grpSpLocks noChangeAspect="1"/>
          </p:cNvGrpSpPr>
          <p:nvPr/>
        </p:nvGrpSpPr>
        <p:grpSpPr bwMode="auto">
          <a:xfrm>
            <a:off x="3766716" y="3370328"/>
            <a:ext cx="369021" cy="369021"/>
            <a:chOff x="6212" y="794"/>
            <a:chExt cx="340" cy="340"/>
          </a:xfrm>
          <a:solidFill>
            <a:schemeClr val="accent3"/>
          </a:solidFill>
        </p:grpSpPr>
        <p:sp>
          <p:nvSpPr>
            <p:cNvPr id="157" name="Freeform 277"/>
            <p:cNvSpPr>
              <a:spLocks/>
            </p:cNvSpPr>
            <p:nvPr/>
          </p:nvSpPr>
          <p:spPr bwMode="auto">
            <a:xfrm>
              <a:off x="6452" y="1006"/>
              <a:ext cx="15" cy="22"/>
            </a:xfrm>
            <a:custGeom>
              <a:avLst/>
              <a:gdLst>
                <a:gd name="T0" fmla="*/ 11 w 22"/>
                <a:gd name="T1" fmla="*/ 0 h 32"/>
                <a:gd name="T2" fmla="*/ 1 w 22"/>
                <a:gd name="T3" fmla="*/ 17 h 32"/>
                <a:gd name="T4" fmla="*/ 0 w 22"/>
                <a:gd name="T5" fmla="*/ 21 h 32"/>
                <a:gd name="T6" fmla="*/ 11 w 22"/>
                <a:gd name="T7" fmla="*/ 32 h 32"/>
                <a:gd name="T8" fmla="*/ 22 w 22"/>
                <a:gd name="T9" fmla="*/ 21 h 32"/>
                <a:gd name="T10" fmla="*/ 21 w 22"/>
                <a:gd name="T11" fmla="*/ 17 h 32"/>
                <a:gd name="T12" fmla="*/ 11 w 2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11" y="0"/>
                  </a:moveTo>
                  <a:cubicBezTo>
                    <a:pt x="1" y="17"/>
                    <a:pt x="1" y="17"/>
                    <a:pt x="1" y="17"/>
                  </a:cubicBezTo>
                  <a:cubicBezTo>
                    <a:pt x="1" y="19"/>
                    <a:pt x="0" y="20"/>
                    <a:pt x="0" y="21"/>
                  </a:cubicBezTo>
                  <a:cubicBezTo>
                    <a:pt x="0" y="27"/>
                    <a:pt x="5" y="32"/>
                    <a:pt x="11" y="32"/>
                  </a:cubicBezTo>
                  <a:cubicBezTo>
                    <a:pt x="17" y="32"/>
                    <a:pt x="22" y="27"/>
                    <a:pt x="22" y="21"/>
                  </a:cubicBezTo>
                  <a:cubicBezTo>
                    <a:pt x="22" y="20"/>
                    <a:pt x="21" y="19"/>
                    <a:pt x="21" y="17"/>
                  </a:cubicBezTo>
                  <a:lnTo>
                    <a:pt x="1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278"/>
            <p:cNvSpPr>
              <a:spLocks noEditPoints="1"/>
            </p:cNvSpPr>
            <p:nvPr/>
          </p:nvSpPr>
          <p:spPr bwMode="auto">
            <a:xfrm>
              <a:off x="6292" y="875"/>
              <a:ext cx="132" cy="164"/>
            </a:xfrm>
            <a:custGeom>
              <a:avLst/>
              <a:gdLst>
                <a:gd name="T0" fmla="*/ 0 w 199"/>
                <a:gd name="T1" fmla="*/ 135 h 247"/>
                <a:gd name="T2" fmla="*/ 113 w 199"/>
                <a:gd name="T3" fmla="*/ 247 h 247"/>
                <a:gd name="T4" fmla="*/ 199 w 199"/>
                <a:gd name="T5" fmla="*/ 161 h 247"/>
                <a:gd name="T6" fmla="*/ 199 w 199"/>
                <a:gd name="T7" fmla="*/ 63 h 247"/>
                <a:gd name="T8" fmla="*/ 135 w 199"/>
                <a:gd name="T9" fmla="*/ 0 h 247"/>
                <a:gd name="T10" fmla="*/ 0 w 199"/>
                <a:gd name="T11" fmla="*/ 135 h 247"/>
                <a:gd name="T12" fmla="*/ 167 w 199"/>
                <a:gd name="T13" fmla="*/ 134 h 247"/>
                <a:gd name="T14" fmla="*/ 156 w 199"/>
                <a:gd name="T15" fmla="*/ 144 h 247"/>
                <a:gd name="T16" fmla="*/ 124 w 199"/>
                <a:gd name="T17" fmla="*/ 144 h 247"/>
                <a:gd name="T18" fmla="*/ 124 w 199"/>
                <a:gd name="T19" fmla="*/ 176 h 247"/>
                <a:gd name="T20" fmla="*/ 113 w 199"/>
                <a:gd name="T21" fmla="*/ 187 h 247"/>
                <a:gd name="T22" fmla="*/ 103 w 199"/>
                <a:gd name="T23" fmla="*/ 176 h 247"/>
                <a:gd name="T24" fmla="*/ 103 w 199"/>
                <a:gd name="T25" fmla="*/ 144 h 247"/>
                <a:gd name="T26" fmla="*/ 71 w 199"/>
                <a:gd name="T27" fmla="*/ 144 h 247"/>
                <a:gd name="T28" fmla="*/ 60 w 199"/>
                <a:gd name="T29" fmla="*/ 134 h 247"/>
                <a:gd name="T30" fmla="*/ 71 w 199"/>
                <a:gd name="T31" fmla="*/ 123 h 247"/>
                <a:gd name="T32" fmla="*/ 103 w 199"/>
                <a:gd name="T33" fmla="*/ 123 h 247"/>
                <a:gd name="T34" fmla="*/ 103 w 199"/>
                <a:gd name="T35" fmla="*/ 91 h 247"/>
                <a:gd name="T36" fmla="*/ 113 w 199"/>
                <a:gd name="T37" fmla="*/ 80 h 247"/>
                <a:gd name="T38" fmla="*/ 124 w 199"/>
                <a:gd name="T39" fmla="*/ 91 h 247"/>
                <a:gd name="T40" fmla="*/ 124 w 199"/>
                <a:gd name="T41" fmla="*/ 123 h 247"/>
                <a:gd name="T42" fmla="*/ 156 w 199"/>
                <a:gd name="T43" fmla="*/ 123 h 247"/>
                <a:gd name="T44" fmla="*/ 167 w 199"/>
                <a:gd name="T45" fmla="*/ 134 h 247"/>
                <a:gd name="T46" fmla="*/ 143 w 199"/>
                <a:gd name="T47" fmla="*/ 38 h 247"/>
                <a:gd name="T48" fmla="*/ 158 w 199"/>
                <a:gd name="T49" fmla="*/ 53 h 247"/>
                <a:gd name="T50" fmla="*/ 158 w 199"/>
                <a:gd name="T51" fmla="*/ 68 h 247"/>
                <a:gd name="T52" fmla="*/ 150 w 199"/>
                <a:gd name="T53" fmla="*/ 72 h 247"/>
                <a:gd name="T54" fmla="*/ 143 w 199"/>
                <a:gd name="T55" fmla="*/ 68 h 247"/>
                <a:gd name="T56" fmla="*/ 128 w 199"/>
                <a:gd name="T57" fmla="*/ 53 h 247"/>
                <a:gd name="T58" fmla="*/ 128 w 199"/>
                <a:gd name="T59" fmla="*/ 38 h 247"/>
                <a:gd name="T60" fmla="*/ 143 w 199"/>
                <a:gd name="T61" fmla="*/ 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47">
                  <a:moveTo>
                    <a:pt x="0" y="135"/>
                  </a:moveTo>
                  <a:cubicBezTo>
                    <a:pt x="113" y="247"/>
                    <a:pt x="113" y="247"/>
                    <a:pt x="113" y="247"/>
                  </a:cubicBezTo>
                  <a:cubicBezTo>
                    <a:pt x="199" y="161"/>
                    <a:pt x="199" y="161"/>
                    <a:pt x="199" y="161"/>
                  </a:cubicBezTo>
                  <a:cubicBezTo>
                    <a:pt x="199" y="63"/>
                    <a:pt x="199" y="63"/>
                    <a:pt x="199" y="63"/>
                  </a:cubicBezTo>
                  <a:cubicBezTo>
                    <a:pt x="135" y="0"/>
                    <a:pt x="135" y="0"/>
                    <a:pt x="135" y="0"/>
                  </a:cubicBezTo>
                  <a:lnTo>
                    <a:pt x="0" y="135"/>
                  </a:lnTo>
                  <a:close/>
                  <a:moveTo>
                    <a:pt x="167" y="134"/>
                  </a:moveTo>
                  <a:cubicBezTo>
                    <a:pt x="167" y="140"/>
                    <a:pt x="162" y="144"/>
                    <a:pt x="156" y="144"/>
                  </a:cubicBezTo>
                  <a:cubicBezTo>
                    <a:pt x="124" y="144"/>
                    <a:pt x="124" y="144"/>
                    <a:pt x="124" y="144"/>
                  </a:cubicBezTo>
                  <a:cubicBezTo>
                    <a:pt x="124" y="176"/>
                    <a:pt x="124" y="176"/>
                    <a:pt x="124" y="176"/>
                  </a:cubicBezTo>
                  <a:cubicBezTo>
                    <a:pt x="124" y="182"/>
                    <a:pt x="119" y="187"/>
                    <a:pt x="113" y="187"/>
                  </a:cubicBezTo>
                  <a:cubicBezTo>
                    <a:pt x="107" y="187"/>
                    <a:pt x="103" y="182"/>
                    <a:pt x="103" y="176"/>
                  </a:cubicBezTo>
                  <a:cubicBezTo>
                    <a:pt x="103" y="144"/>
                    <a:pt x="103" y="144"/>
                    <a:pt x="103" y="144"/>
                  </a:cubicBezTo>
                  <a:cubicBezTo>
                    <a:pt x="71" y="144"/>
                    <a:pt x="71" y="144"/>
                    <a:pt x="71" y="144"/>
                  </a:cubicBezTo>
                  <a:cubicBezTo>
                    <a:pt x="65" y="144"/>
                    <a:pt x="60" y="140"/>
                    <a:pt x="60" y="134"/>
                  </a:cubicBezTo>
                  <a:cubicBezTo>
                    <a:pt x="60" y="128"/>
                    <a:pt x="65" y="123"/>
                    <a:pt x="71" y="123"/>
                  </a:cubicBezTo>
                  <a:cubicBezTo>
                    <a:pt x="103" y="123"/>
                    <a:pt x="103" y="123"/>
                    <a:pt x="103" y="123"/>
                  </a:cubicBezTo>
                  <a:cubicBezTo>
                    <a:pt x="103" y="91"/>
                    <a:pt x="103" y="91"/>
                    <a:pt x="103" y="91"/>
                  </a:cubicBezTo>
                  <a:cubicBezTo>
                    <a:pt x="103" y="85"/>
                    <a:pt x="107" y="80"/>
                    <a:pt x="113" y="80"/>
                  </a:cubicBezTo>
                  <a:cubicBezTo>
                    <a:pt x="119" y="80"/>
                    <a:pt x="124" y="85"/>
                    <a:pt x="124" y="91"/>
                  </a:cubicBezTo>
                  <a:cubicBezTo>
                    <a:pt x="124" y="123"/>
                    <a:pt x="124" y="123"/>
                    <a:pt x="124" y="123"/>
                  </a:cubicBezTo>
                  <a:cubicBezTo>
                    <a:pt x="156" y="123"/>
                    <a:pt x="156" y="123"/>
                    <a:pt x="156" y="123"/>
                  </a:cubicBezTo>
                  <a:cubicBezTo>
                    <a:pt x="162" y="123"/>
                    <a:pt x="167" y="128"/>
                    <a:pt x="167" y="134"/>
                  </a:cubicBezTo>
                  <a:close/>
                  <a:moveTo>
                    <a:pt x="143" y="38"/>
                  </a:moveTo>
                  <a:cubicBezTo>
                    <a:pt x="158" y="53"/>
                    <a:pt x="158" y="53"/>
                    <a:pt x="158" y="53"/>
                  </a:cubicBezTo>
                  <a:cubicBezTo>
                    <a:pt x="162" y="58"/>
                    <a:pt x="162" y="64"/>
                    <a:pt x="158" y="68"/>
                  </a:cubicBezTo>
                  <a:cubicBezTo>
                    <a:pt x="156" y="71"/>
                    <a:pt x="153" y="72"/>
                    <a:pt x="150" y="72"/>
                  </a:cubicBezTo>
                  <a:cubicBezTo>
                    <a:pt x="148" y="72"/>
                    <a:pt x="145" y="71"/>
                    <a:pt x="143" y="68"/>
                  </a:cubicBezTo>
                  <a:cubicBezTo>
                    <a:pt x="128" y="53"/>
                    <a:pt x="128" y="53"/>
                    <a:pt x="128" y="53"/>
                  </a:cubicBezTo>
                  <a:cubicBezTo>
                    <a:pt x="124" y="49"/>
                    <a:pt x="124" y="42"/>
                    <a:pt x="128" y="38"/>
                  </a:cubicBezTo>
                  <a:cubicBezTo>
                    <a:pt x="132" y="34"/>
                    <a:pt x="139" y="34"/>
                    <a:pt x="143" y="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279"/>
            <p:cNvSpPr>
              <a:spLocks noEditPoints="1"/>
            </p:cNvSpPr>
            <p:nvPr/>
          </p:nvSpPr>
          <p:spPr bwMode="auto">
            <a:xfrm>
              <a:off x="6212" y="7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13 h 512"/>
                <a:gd name="T12" fmla="*/ 373 w 512"/>
                <a:gd name="T13" fmla="*/ 202 h 512"/>
                <a:gd name="T14" fmla="*/ 384 w 512"/>
                <a:gd name="T15" fmla="*/ 213 h 512"/>
                <a:gd name="T16" fmla="*/ 384 w 512"/>
                <a:gd name="T17" fmla="*/ 256 h 512"/>
                <a:gd name="T18" fmla="*/ 373 w 512"/>
                <a:gd name="T19" fmla="*/ 266 h 512"/>
                <a:gd name="T20" fmla="*/ 362 w 512"/>
                <a:gd name="T21" fmla="*/ 256 h 512"/>
                <a:gd name="T22" fmla="*/ 362 w 512"/>
                <a:gd name="T23" fmla="*/ 213 h 512"/>
                <a:gd name="T24" fmla="*/ 241 w 512"/>
                <a:gd name="T25" fmla="*/ 392 h 512"/>
                <a:gd name="T26" fmla="*/ 234 w 512"/>
                <a:gd name="T27" fmla="*/ 395 h 512"/>
                <a:gd name="T28" fmla="*/ 226 w 512"/>
                <a:gd name="T29" fmla="*/ 392 h 512"/>
                <a:gd name="T30" fmla="*/ 99 w 512"/>
                <a:gd name="T31" fmla="*/ 264 h 512"/>
                <a:gd name="T32" fmla="*/ 96 w 512"/>
                <a:gd name="T33" fmla="*/ 257 h 512"/>
                <a:gd name="T34" fmla="*/ 99 w 512"/>
                <a:gd name="T35" fmla="*/ 249 h 512"/>
                <a:gd name="T36" fmla="*/ 249 w 512"/>
                <a:gd name="T37" fmla="*/ 99 h 512"/>
                <a:gd name="T38" fmla="*/ 264 w 512"/>
                <a:gd name="T39" fmla="*/ 99 h 512"/>
                <a:gd name="T40" fmla="*/ 338 w 512"/>
                <a:gd name="T41" fmla="*/ 173 h 512"/>
                <a:gd name="T42" fmla="*/ 341 w 512"/>
                <a:gd name="T43" fmla="*/ 181 h 512"/>
                <a:gd name="T44" fmla="*/ 341 w 512"/>
                <a:gd name="T45" fmla="*/ 288 h 512"/>
                <a:gd name="T46" fmla="*/ 338 w 512"/>
                <a:gd name="T47" fmla="*/ 295 h 512"/>
                <a:gd name="T48" fmla="*/ 241 w 512"/>
                <a:gd name="T49" fmla="*/ 392 h 512"/>
                <a:gd name="T50" fmla="*/ 373 w 512"/>
                <a:gd name="T51" fmla="*/ 373 h 512"/>
                <a:gd name="T52" fmla="*/ 341 w 512"/>
                <a:gd name="T53" fmla="*/ 341 h 512"/>
                <a:gd name="T54" fmla="*/ 343 w 512"/>
                <a:gd name="T55" fmla="*/ 329 h 512"/>
                <a:gd name="T56" fmla="*/ 344 w 512"/>
                <a:gd name="T57" fmla="*/ 327 h 512"/>
                <a:gd name="T58" fmla="*/ 364 w 512"/>
                <a:gd name="T59" fmla="*/ 293 h 512"/>
                <a:gd name="T60" fmla="*/ 382 w 512"/>
                <a:gd name="T61" fmla="*/ 293 h 512"/>
                <a:gd name="T62" fmla="*/ 402 w 512"/>
                <a:gd name="T63" fmla="*/ 327 h 512"/>
                <a:gd name="T64" fmla="*/ 403 w 512"/>
                <a:gd name="T65" fmla="*/ 329 h 512"/>
                <a:gd name="T66" fmla="*/ 405 w 512"/>
                <a:gd name="T67" fmla="*/ 341 h 512"/>
                <a:gd name="T68" fmla="*/ 373 w 512"/>
                <a:gd name="T6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13"/>
                  </a:moveTo>
                  <a:cubicBezTo>
                    <a:pt x="362" y="207"/>
                    <a:pt x="367" y="202"/>
                    <a:pt x="373" y="202"/>
                  </a:cubicBezTo>
                  <a:cubicBezTo>
                    <a:pt x="379" y="202"/>
                    <a:pt x="384" y="207"/>
                    <a:pt x="384" y="213"/>
                  </a:cubicBezTo>
                  <a:cubicBezTo>
                    <a:pt x="384" y="256"/>
                    <a:pt x="384" y="256"/>
                    <a:pt x="384" y="256"/>
                  </a:cubicBezTo>
                  <a:cubicBezTo>
                    <a:pt x="384" y="262"/>
                    <a:pt x="379" y="266"/>
                    <a:pt x="373" y="266"/>
                  </a:cubicBezTo>
                  <a:cubicBezTo>
                    <a:pt x="367" y="266"/>
                    <a:pt x="362" y="262"/>
                    <a:pt x="362" y="256"/>
                  </a:cubicBezTo>
                  <a:lnTo>
                    <a:pt x="362" y="213"/>
                  </a:lnTo>
                  <a:close/>
                  <a:moveTo>
                    <a:pt x="241" y="392"/>
                  </a:moveTo>
                  <a:cubicBezTo>
                    <a:pt x="239" y="394"/>
                    <a:pt x="237" y="395"/>
                    <a:pt x="234" y="395"/>
                  </a:cubicBezTo>
                  <a:cubicBezTo>
                    <a:pt x="231" y="395"/>
                    <a:pt x="228" y="394"/>
                    <a:pt x="226" y="392"/>
                  </a:cubicBezTo>
                  <a:cubicBezTo>
                    <a:pt x="99" y="264"/>
                    <a:pt x="99" y="264"/>
                    <a:pt x="99" y="264"/>
                  </a:cubicBezTo>
                  <a:cubicBezTo>
                    <a:pt x="97" y="262"/>
                    <a:pt x="96" y="260"/>
                    <a:pt x="96" y="257"/>
                  </a:cubicBezTo>
                  <a:cubicBezTo>
                    <a:pt x="96" y="254"/>
                    <a:pt x="97" y="251"/>
                    <a:pt x="99" y="249"/>
                  </a:cubicBezTo>
                  <a:cubicBezTo>
                    <a:pt x="249" y="99"/>
                    <a:pt x="249" y="99"/>
                    <a:pt x="249" y="99"/>
                  </a:cubicBezTo>
                  <a:cubicBezTo>
                    <a:pt x="253" y="95"/>
                    <a:pt x="260" y="95"/>
                    <a:pt x="264" y="99"/>
                  </a:cubicBezTo>
                  <a:cubicBezTo>
                    <a:pt x="338" y="173"/>
                    <a:pt x="338" y="173"/>
                    <a:pt x="338" y="173"/>
                  </a:cubicBezTo>
                  <a:cubicBezTo>
                    <a:pt x="340" y="175"/>
                    <a:pt x="341" y="178"/>
                    <a:pt x="341" y="181"/>
                  </a:cubicBezTo>
                  <a:cubicBezTo>
                    <a:pt x="341" y="288"/>
                    <a:pt x="341" y="288"/>
                    <a:pt x="341" y="288"/>
                  </a:cubicBezTo>
                  <a:cubicBezTo>
                    <a:pt x="341" y="291"/>
                    <a:pt x="340" y="293"/>
                    <a:pt x="338" y="295"/>
                  </a:cubicBezTo>
                  <a:lnTo>
                    <a:pt x="241" y="392"/>
                  </a:lnTo>
                  <a:close/>
                  <a:moveTo>
                    <a:pt x="373" y="373"/>
                  </a:moveTo>
                  <a:cubicBezTo>
                    <a:pt x="355" y="373"/>
                    <a:pt x="341" y="359"/>
                    <a:pt x="341" y="341"/>
                  </a:cubicBezTo>
                  <a:cubicBezTo>
                    <a:pt x="341" y="337"/>
                    <a:pt x="342" y="333"/>
                    <a:pt x="343" y="329"/>
                  </a:cubicBezTo>
                  <a:cubicBezTo>
                    <a:pt x="344" y="328"/>
                    <a:pt x="344" y="328"/>
                    <a:pt x="344" y="327"/>
                  </a:cubicBezTo>
                  <a:cubicBezTo>
                    <a:pt x="364" y="293"/>
                    <a:pt x="364" y="293"/>
                    <a:pt x="364" y="293"/>
                  </a:cubicBezTo>
                  <a:cubicBezTo>
                    <a:pt x="368" y="286"/>
                    <a:pt x="378" y="286"/>
                    <a:pt x="382" y="293"/>
                  </a:cubicBezTo>
                  <a:cubicBezTo>
                    <a:pt x="402" y="327"/>
                    <a:pt x="402" y="327"/>
                    <a:pt x="402" y="327"/>
                  </a:cubicBezTo>
                  <a:cubicBezTo>
                    <a:pt x="402" y="328"/>
                    <a:pt x="402" y="328"/>
                    <a:pt x="403" y="329"/>
                  </a:cubicBezTo>
                  <a:cubicBezTo>
                    <a:pt x="404" y="333"/>
                    <a:pt x="405" y="337"/>
                    <a:pt x="405" y="341"/>
                  </a:cubicBezTo>
                  <a:cubicBezTo>
                    <a:pt x="405" y="359"/>
                    <a:pt x="391" y="373"/>
                    <a:pt x="373" y="3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0" name="Group 282"/>
          <p:cNvGrpSpPr>
            <a:grpSpLocks noChangeAspect="1"/>
          </p:cNvGrpSpPr>
          <p:nvPr/>
        </p:nvGrpSpPr>
        <p:grpSpPr bwMode="auto">
          <a:xfrm>
            <a:off x="4186744" y="3370328"/>
            <a:ext cx="369021" cy="370106"/>
            <a:chOff x="6580" y="788"/>
            <a:chExt cx="340" cy="341"/>
          </a:xfrm>
          <a:solidFill>
            <a:schemeClr val="accent3"/>
          </a:solidFill>
        </p:grpSpPr>
        <p:sp>
          <p:nvSpPr>
            <p:cNvPr id="161" name="Freeform 283"/>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284"/>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285"/>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286"/>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287"/>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288"/>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7" name="Group 883"/>
          <p:cNvGrpSpPr>
            <a:grpSpLocks noChangeAspect="1"/>
          </p:cNvGrpSpPr>
          <p:nvPr/>
        </p:nvGrpSpPr>
        <p:grpSpPr bwMode="auto">
          <a:xfrm>
            <a:off x="5026800" y="3370328"/>
            <a:ext cx="370106" cy="369021"/>
            <a:chOff x="5070" y="3459"/>
            <a:chExt cx="341" cy="340"/>
          </a:xfrm>
          <a:solidFill>
            <a:schemeClr val="accent4"/>
          </a:solidFill>
        </p:grpSpPr>
        <p:sp>
          <p:nvSpPr>
            <p:cNvPr id="168" name="Freeform 884"/>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885"/>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0" name="Freeform 889"/>
          <p:cNvSpPr>
            <a:spLocks noChangeAspect="1" noEditPoints="1"/>
          </p:cNvSpPr>
          <p:nvPr/>
        </p:nvSpPr>
        <p:spPr bwMode="auto">
          <a:xfrm>
            <a:off x="4606772" y="3370328"/>
            <a:ext cx="369021" cy="369021"/>
          </a:xfrm>
          <a:custGeom>
            <a:avLst/>
            <a:gdLst>
              <a:gd name="T0" fmla="*/ 181 w 512"/>
              <a:gd name="T1" fmla="*/ 388 h 512"/>
              <a:gd name="T2" fmla="*/ 160 w 512"/>
              <a:gd name="T3" fmla="*/ 394 h 512"/>
              <a:gd name="T4" fmla="*/ 310 w 512"/>
              <a:gd name="T5" fmla="*/ 250 h 512"/>
              <a:gd name="T6" fmla="*/ 224 w 512"/>
              <a:gd name="T7" fmla="*/ 234 h 512"/>
              <a:gd name="T8" fmla="*/ 195 w 512"/>
              <a:gd name="T9" fmla="*/ 277 h 512"/>
              <a:gd name="T10" fmla="*/ 310 w 512"/>
              <a:gd name="T11" fmla="*/ 250 h 512"/>
              <a:gd name="T12" fmla="*/ 352 w 512"/>
              <a:gd name="T13" fmla="*/ 394 h 512"/>
              <a:gd name="T14" fmla="*/ 330 w 512"/>
              <a:gd name="T15" fmla="*/ 388 h 512"/>
              <a:gd name="T16" fmla="*/ 362 w 512"/>
              <a:gd name="T17" fmla="*/ 330 h 512"/>
              <a:gd name="T18" fmla="*/ 256 w 512"/>
              <a:gd name="T19" fmla="*/ 373 h 512"/>
              <a:gd name="T20" fmla="*/ 149 w 512"/>
              <a:gd name="T21" fmla="*/ 330 h 512"/>
              <a:gd name="T22" fmla="*/ 330 w 512"/>
              <a:gd name="T23" fmla="*/ 298 h 512"/>
              <a:gd name="T24" fmla="*/ 195 w 512"/>
              <a:gd name="T25" fmla="*/ 334 h 512"/>
              <a:gd name="T26" fmla="*/ 175 w 512"/>
              <a:gd name="T27" fmla="*/ 334 h 512"/>
              <a:gd name="T28" fmla="*/ 195 w 512"/>
              <a:gd name="T29" fmla="*/ 334 h 512"/>
              <a:gd name="T30" fmla="*/ 277 w 512"/>
              <a:gd name="T31" fmla="*/ 320 h 512"/>
              <a:gd name="T32" fmla="*/ 224 w 512"/>
              <a:gd name="T33" fmla="*/ 330 h 512"/>
              <a:gd name="T34" fmla="*/ 277 w 512"/>
              <a:gd name="T35" fmla="*/ 341 h 512"/>
              <a:gd name="T36" fmla="*/ 336 w 512"/>
              <a:gd name="T37" fmla="*/ 334 h 512"/>
              <a:gd name="T38" fmla="*/ 316 w 512"/>
              <a:gd name="T39" fmla="*/ 334 h 512"/>
              <a:gd name="T40" fmla="*/ 336 w 512"/>
              <a:gd name="T41" fmla="*/ 334 h 512"/>
              <a:gd name="T42" fmla="*/ 256 w 512"/>
              <a:gd name="T43" fmla="*/ 512 h 512"/>
              <a:gd name="T44" fmla="*/ 256 w 512"/>
              <a:gd name="T45" fmla="*/ 0 h 512"/>
              <a:gd name="T46" fmla="*/ 142 w 512"/>
              <a:gd name="T47" fmla="*/ 176 h 512"/>
              <a:gd name="T48" fmla="*/ 157 w 512"/>
              <a:gd name="T49" fmla="*/ 175 h 512"/>
              <a:gd name="T50" fmla="*/ 354 w 512"/>
              <a:gd name="T51" fmla="*/ 175 h 512"/>
              <a:gd name="T52" fmla="*/ 370 w 512"/>
              <a:gd name="T53" fmla="*/ 161 h 512"/>
              <a:gd name="T54" fmla="*/ 141 w 512"/>
              <a:gd name="T55" fmla="*/ 161 h 512"/>
              <a:gd name="T56" fmla="*/ 340 w 512"/>
              <a:gd name="T57" fmla="*/ 195 h 512"/>
              <a:gd name="T58" fmla="*/ 171 w 512"/>
              <a:gd name="T59" fmla="*/ 195 h 512"/>
              <a:gd name="T60" fmla="*/ 179 w 512"/>
              <a:gd name="T61" fmla="*/ 213 h 512"/>
              <a:gd name="T62" fmla="*/ 256 w 512"/>
              <a:gd name="T63" fmla="*/ 176 h 512"/>
              <a:gd name="T64" fmla="*/ 339 w 512"/>
              <a:gd name="T65" fmla="*/ 210 h 512"/>
              <a:gd name="T66" fmla="*/ 384 w 512"/>
              <a:gd name="T67" fmla="*/ 330 h 512"/>
              <a:gd name="T68" fmla="*/ 362 w 512"/>
              <a:gd name="T69" fmla="*/ 277 h 512"/>
              <a:gd name="T70" fmla="*/ 336 w 512"/>
              <a:gd name="T71" fmla="*/ 266 h 512"/>
              <a:gd name="T72" fmla="*/ 328 w 512"/>
              <a:gd name="T73" fmla="*/ 239 h 512"/>
              <a:gd name="T74" fmla="*/ 224 w 512"/>
              <a:gd name="T75" fmla="*/ 213 h 512"/>
              <a:gd name="T76" fmla="*/ 181 w 512"/>
              <a:gd name="T77" fmla="*/ 242 h 512"/>
              <a:gd name="T78" fmla="*/ 160 w 512"/>
              <a:gd name="T79" fmla="*/ 266 h 512"/>
              <a:gd name="T80" fmla="*/ 153 w 512"/>
              <a:gd name="T81" fmla="*/ 285 h 512"/>
              <a:gd name="T82" fmla="*/ 128 w 512"/>
              <a:gd name="T83" fmla="*/ 351 h 512"/>
              <a:gd name="T84" fmla="*/ 138 w 512"/>
              <a:gd name="T85" fmla="*/ 371 h 512"/>
              <a:gd name="T86" fmla="*/ 149 w 512"/>
              <a:gd name="T87" fmla="*/ 416 h 512"/>
              <a:gd name="T88" fmla="*/ 202 w 512"/>
              <a:gd name="T89" fmla="*/ 405 h 512"/>
              <a:gd name="T90" fmla="*/ 256 w 512"/>
              <a:gd name="T91" fmla="*/ 394 h 512"/>
              <a:gd name="T92" fmla="*/ 309 w 512"/>
              <a:gd name="T93" fmla="*/ 405 h 512"/>
              <a:gd name="T94" fmla="*/ 362 w 512"/>
              <a:gd name="T95" fmla="*/ 416 h 512"/>
              <a:gd name="T96" fmla="*/ 373 w 512"/>
              <a:gd name="T97" fmla="*/ 371 h 512"/>
              <a:gd name="T98" fmla="*/ 384 w 512"/>
              <a:gd name="T99"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60" y="383"/>
                </a:moveTo>
                <a:cubicBezTo>
                  <a:pt x="166" y="385"/>
                  <a:pt x="173" y="387"/>
                  <a:pt x="181" y="388"/>
                </a:cubicBezTo>
                <a:cubicBezTo>
                  <a:pt x="181" y="394"/>
                  <a:pt x="181" y="394"/>
                  <a:pt x="181" y="394"/>
                </a:cubicBezTo>
                <a:cubicBezTo>
                  <a:pt x="160" y="394"/>
                  <a:pt x="160" y="394"/>
                  <a:pt x="160" y="394"/>
                </a:cubicBezTo>
                <a:lnTo>
                  <a:pt x="160" y="383"/>
                </a:lnTo>
                <a:close/>
                <a:moveTo>
                  <a:pt x="310" y="250"/>
                </a:moveTo>
                <a:cubicBezTo>
                  <a:pt x="304" y="243"/>
                  <a:pt x="294" y="234"/>
                  <a:pt x="288" y="234"/>
                </a:cubicBezTo>
                <a:cubicBezTo>
                  <a:pt x="224" y="234"/>
                  <a:pt x="224" y="234"/>
                  <a:pt x="224" y="234"/>
                </a:cubicBezTo>
                <a:cubicBezTo>
                  <a:pt x="217" y="234"/>
                  <a:pt x="207" y="243"/>
                  <a:pt x="201" y="250"/>
                </a:cubicBezTo>
                <a:cubicBezTo>
                  <a:pt x="195" y="277"/>
                  <a:pt x="195" y="277"/>
                  <a:pt x="195" y="277"/>
                </a:cubicBezTo>
                <a:cubicBezTo>
                  <a:pt x="317" y="277"/>
                  <a:pt x="317" y="277"/>
                  <a:pt x="317" y="277"/>
                </a:cubicBezTo>
                <a:lnTo>
                  <a:pt x="310" y="250"/>
                </a:lnTo>
                <a:close/>
                <a:moveTo>
                  <a:pt x="330" y="394"/>
                </a:moveTo>
                <a:cubicBezTo>
                  <a:pt x="352" y="394"/>
                  <a:pt x="352" y="394"/>
                  <a:pt x="352" y="394"/>
                </a:cubicBezTo>
                <a:cubicBezTo>
                  <a:pt x="352" y="383"/>
                  <a:pt x="352" y="383"/>
                  <a:pt x="352" y="383"/>
                </a:cubicBezTo>
                <a:cubicBezTo>
                  <a:pt x="345" y="385"/>
                  <a:pt x="338" y="387"/>
                  <a:pt x="330" y="388"/>
                </a:cubicBezTo>
                <a:lnTo>
                  <a:pt x="330" y="394"/>
                </a:lnTo>
                <a:close/>
                <a:moveTo>
                  <a:pt x="362" y="330"/>
                </a:moveTo>
                <a:cubicBezTo>
                  <a:pt x="362" y="351"/>
                  <a:pt x="362" y="351"/>
                  <a:pt x="362" y="351"/>
                </a:cubicBezTo>
                <a:cubicBezTo>
                  <a:pt x="361" y="353"/>
                  <a:pt x="350" y="373"/>
                  <a:pt x="256" y="373"/>
                </a:cubicBezTo>
                <a:cubicBezTo>
                  <a:pt x="162" y="373"/>
                  <a:pt x="150" y="353"/>
                  <a:pt x="149" y="351"/>
                </a:cubicBezTo>
                <a:cubicBezTo>
                  <a:pt x="149" y="330"/>
                  <a:pt x="149" y="330"/>
                  <a:pt x="149" y="330"/>
                </a:cubicBezTo>
                <a:cubicBezTo>
                  <a:pt x="149" y="314"/>
                  <a:pt x="165" y="298"/>
                  <a:pt x="181" y="298"/>
                </a:cubicBezTo>
                <a:cubicBezTo>
                  <a:pt x="330" y="298"/>
                  <a:pt x="330" y="298"/>
                  <a:pt x="330" y="298"/>
                </a:cubicBezTo>
                <a:cubicBezTo>
                  <a:pt x="347" y="298"/>
                  <a:pt x="362" y="314"/>
                  <a:pt x="362" y="330"/>
                </a:cubicBezTo>
                <a:close/>
                <a:moveTo>
                  <a:pt x="195" y="334"/>
                </a:moveTo>
                <a:cubicBezTo>
                  <a:pt x="195" y="329"/>
                  <a:pt x="191" y="324"/>
                  <a:pt x="185" y="324"/>
                </a:cubicBezTo>
                <a:cubicBezTo>
                  <a:pt x="180" y="324"/>
                  <a:pt x="175" y="329"/>
                  <a:pt x="175" y="334"/>
                </a:cubicBezTo>
                <a:cubicBezTo>
                  <a:pt x="175" y="340"/>
                  <a:pt x="180" y="345"/>
                  <a:pt x="185" y="345"/>
                </a:cubicBezTo>
                <a:cubicBezTo>
                  <a:pt x="191" y="345"/>
                  <a:pt x="195" y="340"/>
                  <a:pt x="195" y="334"/>
                </a:cubicBezTo>
                <a:close/>
                <a:moveTo>
                  <a:pt x="288" y="330"/>
                </a:moveTo>
                <a:cubicBezTo>
                  <a:pt x="288" y="324"/>
                  <a:pt x="283" y="320"/>
                  <a:pt x="277" y="320"/>
                </a:cubicBezTo>
                <a:cubicBezTo>
                  <a:pt x="234" y="320"/>
                  <a:pt x="234" y="320"/>
                  <a:pt x="234" y="320"/>
                </a:cubicBezTo>
                <a:cubicBezTo>
                  <a:pt x="228" y="320"/>
                  <a:pt x="224" y="324"/>
                  <a:pt x="224" y="330"/>
                </a:cubicBezTo>
                <a:cubicBezTo>
                  <a:pt x="224" y="336"/>
                  <a:pt x="228" y="341"/>
                  <a:pt x="234" y="341"/>
                </a:cubicBezTo>
                <a:cubicBezTo>
                  <a:pt x="277" y="341"/>
                  <a:pt x="277" y="341"/>
                  <a:pt x="277" y="341"/>
                </a:cubicBezTo>
                <a:cubicBezTo>
                  <a:pt x="283" y="341"/>
                  <a:pt x="288" y="336"/>
                  <a:pt x="288" y="330"/>
                </a:cubicBezTo>
                <a:close/>
                <a:moveTo>
                  <a:pt x="336" y="334"/>
                </a:moveTo>
                <a:cubicBezTo>
                  <a:pt x="336" y="329"/>
                  <a:pt x="332" y="324"/>
                  <a:pt x="326" y="324"/>
                </a:cubicBezTo>
                <a:cubicBezTo>
                  <a:pt x="321" y="324"/>
                  <a:pt x="316" y="329"/>
                  <a:pt x="316" y="334"/>
                </a:cubicBezTo>
                <a:cubicBezTo>
                  <a:pt x="316" y="340"/>
                  <a:pt x="321" y="345"/>
                  <a:pt x="326" y="345"/>
                </a:cubicBezTo>
                <a:cubicBezTo>
                  <a:pt x="332" y="345"/>
                  <a:pt x="336" y="340"/>
                  <a:pt x="336" y="3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2" y="176"/>
                </a:moveTo>
                <a:cubicBezTo>
                  <a:pt x="144" y="178"/>
                  <a:pt x="147" y="179"/>
                  <a:pt x="149" y="179"/>
                </a:cubicBezTo>
                <a:cubicBezTo>
                  <a:pt x="152" y="179"/>
                  <a:pt x="155" y="178"/>
                  <a:pt x="157" y="175"/>
                </a:cubicBezTo>
                <a:cubicBezTo>
                  <a:pt x="183" y="145"/>
                  <a:pt x="218" y="128"/>
                  <a:pt x="256" y="128"/>
                </a:cubicBezTo>
                <a:cubicBezTo>
                  <a:pt x="293" y="128"/>
                  <a:pt x="328" y="145"/>
                  <a:pt x="354" y="175"/>
                </a:cubicBezTo>
                <a:cubicBezTo>
                  <a:pt x="358" y="180"/>
                  <a:pt x="365" y="180"/>
                  <a:pt x="369" y="176"/>
                </a:cubicBezTo>
                <a:cubicBezTo>
                  <a:pt x="374" y="172"/>
                  <a:pt x="374" y="166"/>
                  <a:pt x="370" y="161"/>
                </a:cubicBezTo>
                <a:cubicBezTo>
                  <a:pt x="340" y="126"/>
                  <a:pt x="299" y="106"/>
                  <a:pt x="256" y="106"/>
                </a:cubicBezTo>
                <a:cubicBezTo>
                  <a:pt x="212" y="106"/>
                  <a:pt x="171" y="126"/>
                  <a:pt x="141" y="161"/>
                </a:cubicBezTo>
                <a:cubicBezTo>
                  <a:pt x="137" y="166"/>
                  <a:pt x="138" y="172"/>
                  <a:pt x="142" y="176"/>
                </a:cubicBezTo>
                <a:close/>
                <a:moveTo>
                  <a:pt x="340" y="195"/>
                </a:moveTo>
                <a:cubicBezTo>
                  <a:pt x="318" y="169"/>
                  <a:pt x="288" y="155"/>
                  <a:pt x="256" y="155"/>
                </a:cubicBezTo>
                <a:cubicBezTo>
                  <a:pt x="224" y="155"/>
                  <a:pt x="194" y="169"/>
                  <a:pt x="171" y="195"/>
                </a:cubicBezTo>
                <a:cubicBezTo>
                  <a:pt x="168" y="200"/>
                  <a:pt x="168" y="207"/>
                  <a:pt x="173" y="210"/>
                </a:cubicBezTo>
                <a:cubicBezTo>
                  <a:pt x="175" y="212"/>
                  <a:pt x="177" y="213"/>
                  <a:pt x="179" y="213"/>
                </a:cubicBezTo>
                <a:cubicBezTo>
                  <a:pt x="182" y="213"/>
                  <a:pt x="185" y="212"/>
                  <a:pt x="188" y="209"/>
                </a:cubicBezTo>
                <a:cubicBezTo>
                  <a:pt x="206" y="188"/>
                  <a:pt x="230" y="176"/>
                  <a:pt x="256" y="176"/>
                </a:cubicBezTo>
                <a:cubicBezTo>
                  <a:pt x="281" y="176"/>
                  <a:pt x="306" y="188"/>
                  <a:pt x="324" y="209"/>
                </a:cubicBezTo>
                <a:cubicBezTo>
                  <a:pt x="328" y="214"/>
                  <a:pt x="334" y="214"/>
                  <a:pt x="339" y="210"/>
                </a:cubicBezTo>
                <a:cubicBezTo>
                  <a:pt x="343" y="207"/>
                  <a:pt x="344" y="200"/>
                  <a:pt x="340" y="195"/>
                </a:cubicBezTo>
                <a:close/>
                <a:moveTo>
                  <a:pt x="384" y="330"/>
                </a:moveTo>
                <a:cubicBezTo>
                  <a:pt x="384" y="312"/>
                  <a:pt x="373" y="295"/>
                  <a:pt x="358" y="285"/>
                </a:cubicBezTo>
                <a:cubicBezTo>
                  <a:pt x="361" y="283"/>
                  <a:pt x="362" y="281"/>
                  <a:pt x="362" y="277"/>
                </a:cubicBezTo>
                <a:cubicBezTo>
                  <a:pt x="362" y="271"/>
                  <a:pt x="358" y="266"/>
                  <a:pt x="352" y="266"/>
                </a:cubicBezTo>
                <a:cubicBezTo>
                  <a:pt x="336" y="266"/>
                  <a:pt x="336" y="266"/>
                  <a:pt x="336" y="266"/>
                </a:cubicBezTo>
                <a:cubicBezTo>
                  <a:pt x="330" y="242"/>
                  <a:pt x="330" y="242"/>
                  <a:pt x="330" y="242"/>
                </a:cubicBezTo>
                <a:cubicBezTo>
                  <a:pt x="330" y="241"/>
                  <a:pt x="329" y="240"/>
                  <a:pt x="328" y="239"/>
                </a:cubicBezTo>
                <a:cubicBezTo>
                  <a:pt x="326" y="236"/>
                  <a:pt x="308" y="213"/>
                  <a:pt x="288" y="213"/>
                </a:cubicBezTo>
                <a:cubicBezTo>
                  <a:pt x="224" y="213"/>
                  <a:pt x="224" y="213"/>
                  <a:pt x="224" y="213"/>
                </a:cubicBezTo>
                <a:cubicBezTo>
                  <a:pt x="203" y="213"/>
                  <a:pt x="185" y="236"/>
                  <a:pt x="183" y="239"/>
                </a:cubicBezTo>
                <a:cubicBezTo>
                  <a:pt x="182" y="240"/>
                  <a:pt x="182" y="241"/>
                  <a:pt x="181" y="242"/>
                </a:cubicBezTo>
                <a:cubicBezTo>
                  <a:pt x="175" y="266"/>
                  <a:pt x="175" y="266"/>
                  <a:pt x="175" y="266"/>
                </a:cubicBezTo>
                <a:cubicBezTo>
                  <a:pt x="160" y="266"/>
                  <a:pt x="160" y="266"/>
                  <a:pt x="160" y="266"/>
                </a:cubicBezTo>
                <a:cubicBezTo>
                  <a:pt x="154" y="266"/>
                  <a:pt x="149" y="271"/>
                  <a:pt x="149" y="277"/>
                </a:cubicBezTo>
                <a:cubicBezTo>
                  <a:pt x="149" y="281"/>
                  <a:pt x="151" y="283"/>
                  <a:pt x="153" y="285"/>
                </a:cubicBezTo>
                <a:cubicBezTo>
                  <a:pt x="138" y="295"/>
                  <a:pt x="128" y="312"/>
                  <a:pt x="128" y="330"/>
                </a:cubicBezTo>
                <a:cubicBezTo>
                  <a:pt x="128" y="351"/>
                  <a:pt x="128" y="351"/>
                  <a:pt x="128" y="351"/>
                </a:cubicBezTo>
                <a:cubicBezTo>
                  <a:pt x="128" y="354"/>
                  <a:pt x="128" y="361"/>
                  <a:pt x="134" y="368"/>
                </a:cubicBezTo>
                <a:cubicBezTo>
                  <a:pt x="136" y="369"/>
                  <a:pt x="137" y="370"/>
                  <a:pt x="138" y="371"/>
                </a:cubicBezTo>
                <a:cubicBezTo>
                  <a:pt x="138" y="405"/>
                  <a:pt x="138" y="405"/>
                  <a:pt x="138" y="405"/>
                </a:cubicBezTo>
                <a:cubicBezTo>
                  <a:pt x="138" y="411"/>
                  <a:pt x="143" y="416"/>
                  <a:pt x="149" y="416"/>
                </a:cubicBezTo>
                <a:cubicBezTo>
                  <a:pt x="192" y="416"/>
                  <a:pt x="192" y="416"/>
                  <a:pt x="192" y="416"/>
                </a:cubicBezTo>
                <a:cubicBezTo>
                  <a:pt x="198" y="416"/>
                  <a:pt x="202" y="411"/>
                  <a:pt x="202" y="405"/>
                </a:cubicBezTo>
                <a:cubicBezTo>
                  <a:pt x="202" y="392"/>
                  <a:pt x="202" y="392"/>
                  <a:pt x="202" y="392"/>
                </a:cubicBezTo>
                <a:cubicBezTo>
                  <a:pt x="218" y="393"/>
                  <a:pt x="235" y="394"/>
                  <a:pt x="256" y="394"/>
                </a:cubicBezTo>
                <a:cubicBezTo>
                  <a:pt x="276" y="394"/>
                  <a:pt x="293" y="393"/>
                  <a:pt x="309" y="392"/>
                </a:cubicBezTo>
                <a:cubicBezTo>
                  <a:pt x="309" y="405"/>
                  <a:pt x="309" y="405"/>
                  <a:pt x="309" y="405"/>
                </a:cubicBezTo>
                <a:cubicBezTo>
                  <a:pt x="309" y="411"/>
                  <a:pt x="314" y="416"/>
                  <a:pt x="320" y="416"/>
                </a:cubicBezTo>
                <a:cubicBezTo>
                  <a:pt x="362" y="416"/>
                  <a:pt x="362" y="416"/>
                  <a:pt x="362" y="416"/>
                </a:cubicBezTo>
                <a:cubicBezTo>
                  <a:pt x="368" y="416"/>
                  <a:pt x="373" y="411"/>
                  <a:pt x="373" y="405"/>
                </a:cubicBezTo>
                <a:cubicBezTo>
                  <a:pt x="373" y="371"/>
                  <a:pt x="373" y="371"/>
                  <a:pt x="373" y="371"/>
                </a:cubicBezTo>
                <a:cubicBezTo>
                  <a:pt x="374" y="370"/>
                  <a:pt x="376" y="369"/>
                  <a:pt x="377" y="368"/>
                </a:cubicBezTo>
                <a:cubicBezTo>
                  <a:pt x="383" y="361"/>
                  <a:pt x="384" y="354"/>
                  <a:pt x="384" y="351"/>
                </a:cubicBezTo>
                <a:lnTo>
                  <a:pt x="384" y="33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71" name="Group 890"/>
          <p:cNvGrpSpPr>
            <a:grpSpLocks noChangeAspect="1"/>
          </p:cNvGrpSpPr>
          <p:nvPr/>
        </p:nvGrpSpPr>
        <p:grpSpPr bwMode="auto">
          <a:xfrm>
            <a:off x="7549028" y="1697038"/>
            <a:ext cx="370763" cy="369676"/>
            <a:chOff x="1153" y="3104"/>
            <a:chExt cx="341" cy="340"/>
          </a:xfrm>
          <a:solidFill>
            <a:schemeClr val="accent3"/>
          </a:solidFill>
        </p:grpSpPr>
        <p:sp>
          <p:nvSpPr>
            <p:cNvPr id="172" name="Freeform 891"/>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Freeform 892"/>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Freeform 893"/>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Freeform 894"/>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895"/>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7" name="Group 176"/>
          <p:cNvGrpSpPr>
            <a:grpSpLocks noChangeAspect="1"/>
          </p:cNvGrpSpPr>
          <p:nvPr/>
        </p:nvGrpSpPr>
        <p:grpSpPr bwMode="auto">
          <a:xfrm>
            <a:off x="7125910" y="1697038"/>
            <a:ext cx="369676" cy="369676"/>
            <a:chOff x="787" y="3068"/>
            <a:chExt cx="340" cy="340"/>
          </a:xfrm>
          <a:solidFill>
            <a:schemeClr val="accent3"/>
          </a:solidFill>
        </p:grpSpPr>
        <p:sp>
          <p:nvSpPr>
            <p:cNvPr id="178" name="Oval 899"/>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900"/>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0" name="Group 657"/>
          <p:cNvGrpSpPr>
            <a:grpSpLocks noChangeAspect="1"/>
          </p:cNvGrpSpPr>
          <p:nvPr/>
        </p:nvGrpSpPr>
        <p:grpSpPr bwMode="auto">
          <a:xfrm>
            <a:off x="5868596" y="3370328"/>
            <a:ext cx="370763" cy="369676"/>
            <a:chOff x="2738" y="2314"/>
            <a:chExt cx="341" cy="340"/>
          </a:xfrm>
          <a:solidFill>
            <a:schemeClr val="accent1"/>
          </a:solidFill>
        </p:grpSpPr>
        <p:sp>
          <p:nvSpPr>
            <p:cNvPr id="181"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3" name="Group 662"/>
          <p:cNvGrpSpPr>
            <a:grpSpLocks noChangeAspect="1"/>
          </p:cNvGrpSpPr>
          <p:nvPr/>
        </p:nvGrpSpPr>
        <p:grpSpPr bwMode="auto">
          <a:xfrm>
            <a:off x="5447913" y="3370328"/>
            <a:ext cx="369676" cy="369676"/>
            <a:chOff x="2340" y="2340"/>
            <a:chExt cx="340" cy="340"/>
          </a:xfrm>
          <a:solidFill>
            <a:schemeClr val="accent1"/>
          </a:solidFill>
        </p:grpSpPr>
        <p:sp>
          <p:nvSpPr>
            <p:cNvPr id="184"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88" name="Freeform 516"/>
          <p:cNvSpPr>
            <a:spLocks noChangeAspect="1" noEditPoints="1"/>
          </p:cNvSpPr>
          <p:nvPr/>
        </p:nvSpPr>
        <p:spPr bwMode="auto">
          <a:xfrm>
            <a:off x="6290366" y="3370328"/>
            <a:ext cx="369064" cy="367982"/>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89" name="Group 519"/>
          <p:cNvGrpSpPr>
            <a:grpSpLocks noChangeAspect="1"/>
          </p:cNvGrpSpPr>
          <p:nvPr/>
        </p:nvGrpSpPr>
        <p:grpSpPr bwMode="auto">
          <a:xfrm>
            <a:off x="6710437" y="3370328"/>
            <a:ext cx="367982" cy="367982"/>
            <a:chOff x="4190" y="2983"/>
            <a:chExt cx="340" cy="340"/>
          </a:xfrm>
          <a:solidFill>
            <a:schemeClr val="accent6"/>
          </a:solidFill>
        </p:grpSpPr>
        <p:sp>
          <p:nvSpPr>
            <p:cNvPr id="190"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226"/>
          <p:cNvGrpSpPr>
            <a:grpSpLocks noChangeAspect="1"/>
          </p:cNvGrpSpPr>
          <p:nvPr/>
        </p:nvGrpSpPr>
        <p:grpSpPr bwMode="auto">
          <a:xfrm>
            <a:off x="7550115" y="3370328"/>
            <a:ext cx="369676" cy="369676"/>
            <a:chOff x="5048" y="783"/>
            <a:chExt cx="340" cy="340"/>
          </a:xfrm>
          <a:solidFill>
            <a:schemeClr val="accent3"/>
          </a:solidFill>
        </p:grpSpPr>
        <p:sp>
          <p:nvSpPr>
            <p:cNvPr id="193" name="Freeform 227"/>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228"/>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5" name="Freeform 232"/>
          <p:cNvSpPr>
            <a:spLocks noChangeAspect="1" noEditPoints="1"/>
          </p:cNvSpPr>
          <p:nvPr/>
        </p:nvSpPr>
        <p:spPr bwMode="auto">
          <a:xfrm>
            <a:off x="7129426" y="3370328"/>
            <a:ext cx="369676" cy="369676"/>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96" name="Group 305"/>
          <p:cNvGrpSpPr>
            <a:grpSpLocks noChangeAspect="1"/>
          </p:cNvGrpSpPr>
          <p:nvPr/>
        </p:nvGrpSpPr>
        <p:grpSpPr bwMode="auto">
          <a:xfrm>
            <a:off x="825223" y="4184268"/>
            <a:ext cx="369676" cy="369676"/>
            <a:chOff x="6599" y="1143"/>
            <a:chExt cx="340" cy="340"/>
          </a:xfrm>
          <a:solidFill>
            <a:schemeClr val="accent4"/>
          </a:solidFill>
        </p:grpSpPr>
        <p:sp>
          <p:nvSpPr>
            <p:cNvPr id="197" name="Freeform 306"/>
            <p:cNvSpPr>
              <a:spLocks noEditPoints="1"/>
            </p:cNvSpPr>
            <p:nvPr/>
          </p:nvSpPr>
          <p:spPr bwMode="auto">
            <a:xfrm>
              <a:off x="6599" y="114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307"/>
            <p:cNvSpPr>
              <a:spLocks noEditPoints="1"/>
            </p:cNvSpPr>
            <p:nvPr/>
          </p:nvSpPr>
          <p:spPr bwMode="auto">
            <a:xfrm>
              <a:off x="6712" y="1205"/>
              <a:ext cx="113" cy="214"/>
            </a:xfrm>
            <a:custGeom>
              <a:avLst/>
              <a:gdLst>
                <a:gd name="T0" fmla="*/ 160 w 171"/>
                <a:gd name="T1" fmla="*/ 88 h 323"/>
                <a:gd name="T2" fmla="*/ 128 w 171"/>
                <a:gd name="T3" fmla="*/ 88 h 323"/>
                <a:gd name="T4" fmla="*/ 128 w 171"/>
                <a:gd name="T5" fmla="*/ 35 h 323"/>
                <a:gd name="T6" fmla="*/ 128 w 171"/>
                <a:gd name="T7" fmla="*/ 35 h 323"/>
                <a:gd name="T8" fmla="*/ 138 w 171"/>
                <a:gd name="T9" fmla="*/ 27 h 323"/>
                <a:gd name="T10" fmla="*/ 132 w 171"/>
                <a:gd name="T11" fmla="*/ 12 h 323"/>
                <a:gd name="T12" fmla="*/ 39 w 171"/>
                <a:gd name="T13" fmla="*/ 12 h 323"/>
                <a:gd name="T14" fmla="*/ 33 w 171"/>
                <a:gd name="T15" fmla="*/ 25 h 323"/>
                <a:gd name="T16" fmla="*/ 43 w 171"/>
                <a:gd name="T17" fmla="*/ 32 h 323"/>
                <a:gd name="T18" fmla="*/ 43 w 171"/>
                <a:gd name="T19" fmla="*/ 88 h 323"/>
                <a:gd name="T20" fmla="*/ 11 w 171"/>
                <a:gd name="T21" fmla="*/ 88 h 323"/>
                <a:gd name="T22" fmla="*/ 0 w 171"/>
                <a:gd name="T23" fmla="*/ 99 h 323"/>
                <a:gd name="T24" fmla="*/ 0 w 171"/>
                <a:gd name="T25" fmla="*/ 291 h 323"/>
                <a:gd name="T26" fmla="*/ 11 w 171"/>
                <a:gd name="T27" fmla="*/ 301 h 323"/>
                <a:gd name="T28" fmla="*/ 22 w 171"/>
                <a:gd name="T29" fmla="*/ 301 h 323"/>
                <a:gd name="T30" fmla="*/ 22 w 171"/>
                <a:gd name="T31" fmla="*/ 312 h 323"/>
                <a:gd name="T32" fmla="*/ 32 w 171"/>
                <a:gd name="T33" fmla="*/ 323 h 323"/>
                <a:gd name="T34" fmla="*/ 43 w 171"/>
                <a:gd name="T35" fmla="*/ 312 h 323"/>
                <a:gd name="T36" fmla="*/ 43 w 171"/>
                <a:gd name="T37" fmla="*/ 301 h 323"/>
                <a:gd name="T38" fmla="*/ 128 w 171"/>
                <a:gd name="T39" fmla="*/ 301 h 323"/>
                <a:gd name="T40" fmla="*/ 128 w 171"/>
                <a:gd name="T41" fmla="*/ 312 h 323"/>
                <a:gd name="T42" fmla="*/ 139 w 171"/>
                <a:gd name="T43" fmla="*/ 323 h 323"/>
                <a:gd name="T44" fmla="*/ 150 w 171"/>
                <a:gd name="T45" fmla="*/ 312 h 323"/>
                <a:gd name="T46" fmla="*/ 150 w 171"/>
                <a:gd name="T47" fmla="*/ 301 h 323"/>
                <a:gd name="T48" fmla="*/ 160 w 171"/>
                <a:gd name="T49" fmla="*/ 301 h 323"/>
                <a:gd name="T50" fmla="*/ 171 w 171"/>
                <a:gd name="T51" fmla="*/ 291 h 323"/>
                <a:gd name="T52" fmla="*/ 171 w 171"/>
                <a:gd name="T53" fmla="*/ 99 h 323"/>
                <a:gd name="T54" fmla="*/ 160 w 171"/>
                <a:gd name="T55" fmla="*/ 88 h 323"/>
                <a:gd name="T56" fmla="*/ 64 w 171"/>
                <a:gd name="T57" fmla="*/ 26 h 323"/>
                <a:gd name="T58" fmla="*/ 107 w 171"/>
                <a:gd name="T59" fmla="*/ 26 h 323"/>
                <a:gd name="T60" fmla="*/ 107 w 171"/>
                <a:gd name="T61" fmla="*/ 88 h 323"/>
                <a:gd name="T62" fmla="*/ 64 w 171"/>
                <a:gd name="T63" fmla="*/ 88 h 323"/>
                <a:gd name="T64" fmla="*/ 64 w 171"/>
                <a:gd name="T65" fmla="*/ 26 h 323"/>
                <a:gd name="T66" fmla="*/ 150 w 171"/>
                <a:gd name="T67" fmla="*/ 280 h 323"/>
                <a:gd name="T68" fmla="*/ 22 w 171"/>
                <a:gd name="T69" fmla="*/ 280 h 323"/>
                <a:gd name="T70" fmla="*/ 22 w 171"/>
                <a:gd name="T71" fmla="*/ 109 h 323"/>
                <a:gd name="T72" fmla="*/ 150 w 171"/>
                <a:gd name="T73" fmla="*/ 109 h 323"/>
                <a:gd name="T74" fmla="*/ 150 w 171"/>
                <a:gd name="T75" fmla="*/ 280 h 323"/>
                <a:gd name="T76" fmla="*/ 118 w 171"/>
                <a:gd name="T77" fmla="*/ 131 h 323"/>
                <a:gd name="T78" fmla="*/ 128 w 171"/>
                <a:gd name="T79" fmla="*/ 141 h 323"/>
                <a:gd name="T80" fmla="*/ 118 w 171"/>
                <a:gd name="T81" fmla="*/ 152 h 323"/>
                <a:gd name="T82" fmla="*/ 54 w 171"/>
                <a:gd name="T83" fmla="*/ 152 h 323"/>
                <a:gd name="T84" fmla="*/ 43 w 171"/>
                <a:gd name="T85" fmla="*/ 141 h 323"/>
                <a:gd name="T86" fmla="*/ 54 w 171"/>
                <a:gd name="T87" fmla="*/ 131 h 323"/>
                <a:gd name="T88" fmla="*/ 118 w 171"/>
                <a:gd name="T89" fmla="*/ 131 h 323"/>
                <a:gd name="T90" fmla="*/ 128 w 171"/>
                <a:gd name="T91" fmla="*/ 248 h 323"/>
                <a:gd name="T92" fmla="*/ 118 w 171"/>
                <a:gd name="T93" fmla="*/ 259 h 323"/>
                <a:gd name="T94" fmla="*/ 54 w 171"/>
                <a:gd name="T95" fmla="*/ 259 h 323"/>
                <a:gd name="T96" fmla="*/ 43 w 171"/>
                <a:gd name="T97" fmla="*/ 248 h 323"/>
                <a:gd name="T98" fmla="*/ 54 w 171"/>
                <a:gd name="T99" fmla="*/ 237 h 323"/>
                <a:gd name="T100" fmla="*/ 118 w 171"/>
                <a:gd name="T101" fmla="*/ 237 h 323"/>
                <a:gd name="T102" fmla="*/ 128 w 171"/>
                <a:gd name="T103" fmla="*/ 24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1" h="323">
                  <a:moveTo>
                    <a:pt x="160" y="88"/>
                  </a:moveTo>
                  <a:cubicBezTo>
                    <a:pt x="128" y="88"/>
                    <a:pt x="128" y="88"/>
                    <a:pt x="128" y="88"/>
                  </a:cubicBezTo>
                  <a:cubicBezTo>
                    <a:pt x="128" y="35"/>
                    <a:pt x="128" y="35"/>
                    <a:pt x="128" y="35"/>
                  </a:cubicBezTo>
                  <a:cubicBezTo>
                    <a:pt x="128" y="35"/>
                    <a:pt x="128" y="35"/>
                    <a:pt x="128" y="35"/>
                  </a:cubicBezTo>
                  <a:cubicBezTo>
                    <a:pt x="133" y="35"/>
                    <a:pt x="137" y="31"/>
                    <a:pt x="138" y="27"/>
                  </a:cubicBezTo>
                  <a:cubicBezTo>
                    <a:pt x="140" y="21"/>
                    <a:pt x="138" y="14"/>
                    <a:pt x="132" y="12"/>
                  </a:cubicBezTo>
                  <a:cubicBezTo>
                    <a:pt x="103" y="0"/>
                    <a:pt x="69" y="0"/>
                    <a:pt x="39" y="12"/>
                  </a:cubicBezTo>
                  <a:cubicBezTo>
                    <a:pt x="34" y="14"/>
                    <a:pt x="31" y="20"/>
                    <a:pt x="33" y="25"/>
                  </a:cubicBezTo>
                  <a:cubicBezTo>
                    <a:pt x="35" y="30"/>
                    <a:pt x="39" y="32"/>
                    <a:pt x="43" y="32"/>
                  </a:cubicBezTo>
                  <a:cubicBezTo>
                    <a:pt x="43" y="88"/>
                    <a:pt x="43" y="88"/>
                    <a:pt x="43" y="88"/>
                  </a:cubicBezTo>
                  <a:cubicBezTo>
                    <a:pt x="11" y="88"/>
                    <a:pt x="11" y="88"/>
                    <a:pt x="11" y="88"/>
                  </a:cubicBezTo>
                  <a:cubicBezTo>
                    <a:pt x="5" y="88"/>
                    <a:pt x="0" y="93"/>
                    <a:pt x="0" y="99"/>
                  </a:cubicBezTo>
                  <a:cubicBezTo>
                    <a:pt x="0" y="291"/>
                    <a:pt x="0" y="291"/>
                    <a:pt x="0" y="291"/>
                  </a:cubicBezTo>
                  <a:cubicBezTo>
                    <a:pt x="0" y="297"/>
                    <a:pt x="5" y="301"/>
                    <a:pt x="11" y="301"/>
                  </a:cubicBezTo>
                  <a:cubicBezTo>
                    <a:pt x="22" y="301"/>
                    <a:pt x="22" y="301"/>
                    <a:pt x="22" y="301"/>
                  </a:cubicBezTo>
                  <a:cubicBezTo>
                    <a:pt x="22" y="312"/>
                    <a:pt x="22" y="312"/>
                    <a:pt x="22" y="312"/>
                  </a:cubicBezTo>
                  <a:cubicBezTo>
                    <a:pt x="22" y="318"/>
                    <a:pt x="26" y="323"/>
                    <a:pt x="32" y="323"/>
                  </a:cubicBezTo>
                  <a:cubicBezTo>
                    <a:pt x="38" y="323"/>
                    <a:pt x="43" y="318"/>
                    <a:pt x="43" y="312"/>
                  </a:cubicBezTo>
                  <a:cubicBezTo>
                    <a:pt x="43" y="301"/>
                    <a:pt x="43" y="301"/>
                    <a:pt x="43" y="301"/>
                  </a:cubicBezTo>
                  <a:cubicBezTo>
                    <a:pt x="128" y="301"/>
                    <a:pt x="128" y="301"/>
                    <a:pt x="128" y="301"/>
                  </a:cubicBezTo>
                  <a:cubicBezTo>
                    <a:pt x="128" y="312"/>
                    <a:pt x="128" y="312"/>
                    <a:pt x="128" y="312"/>
                  </a:cubicBezTo>
                  <a:cubicBezTo>
                    <a:pt x="128" y="318"/>
                    <a:pt x="133" y="323"/>
                    <a:pt x="139" y="323"/>
                  </a:cubicBezTo>
                  <a:cubicBezTo>
                    <a:pt x="145" y="323"/>
                    <a:pt x="150" y="318"/>
                    <a:pt x="150" y="312"/>
                  </a:cubicBezTo>
                  <a:cubicBezTo>
                    <a:pt x="150" y="301"/>
                    <a:pt x="150" y="301"/>
                    <a:pt x="150" y="301"/>
                  </a:cubicBezTo>
                  <a:cubicBezTo>
                    <a:pt x="160" y="301"/>
                    <a:pt x="160" y="301"/>
                    <a:pt x="160" y="301"/>
                  </a:cubicBezTo>
                  <a:cubicBezTo>
                    <a:pt x="166" y="301"/>
                    <a:pt x="171" y="297"/>
                    <a:pt x="171" y="291"/>
                  </a:cubicBezTo>
                  <a:cubicBezTo>
                    <a:pt x="171" y="99"/>
                    <a:pt x="171" y="99"/>
                    <a:pt x="171" y="99"/>
                  </a:cubicBezTo>
                  <a:cubicBezTo>
                    <a:pt x="171" y="93"/>
                    <a:pt x="166" y="88"/>
                    <a:pt x="160" y="88"/>
                  </a:cubicBezTo>
                  <a:close/>
                  <a:moveTo>
                    <a:pt x="64" y="26"/>
                  </a:moveTo>
                  <a:cubicBezTo>
                    <a:pt x="78" y="23"/>
                    <a:pt x="93" y="23"/>
                    <a:pt x="107" y="26"/>
                  </a:cubicBezTo>
                  <a:cubicBezTo>
                    <a:pt x="107" y="88"/>
                    <a:pt x="107" y="88"/>
                    <a:pt x="107" y="88"/>
                  </a:cubicBezTo>
                  <a:cubicBezTo>
                    <a:pt x="64" y="88"/>
                    <a:pt x="64" y="88"/>
                    <a:pt x="64" y="88"/>
                  </a:cubicBezTo>
                  <a:lnTo>
                    <a:pt x="64" y="26"/>
                  </a:lnTo>
                  <a:close/>
                  <a:moveTo>
                    <a:pt x="150" y="280"/>
                  </a:moveTo>
                  <a:cubicBezTo>
                    <a:pt x="22" y="280"/>
                    <a:pt x="22" y="280"/>
                    <a:pt x="22" y="280"/>
                  </a:cubicBezTo>
                  <a:cubicBezTo>
                    <a:pt x="22" y="109"/>
                    <a:pt x="22" y="109"/>
                    <a:pt x="22" y="109"/>
                  </a:cubicBezTo>
                  <a:cubicBezTo>
                    <a:pt x="150" y="109"/>
                    <a:pt x="150" y="109"/>
                    <a:pt x="150" y="109"/>
                  </a:cubicBezTo>
                  <a:lnTo>
                    <a:pt x="150" y="280"/>
                  </a:lnTo>
                  <a:close/>
                  <a:moveTo>
                    <a:pt x="118" y="131"/>
                  </a:moveTo>
                  <a:cubicBezTo>
                    <a:pt x="124" y="131"/>
                    <a:pt x="128" y="135"/>
                    <a:pt x="128" y="141"/>
                  </a:cubicBezTo>
                  <a:cubicBezTo>
                    <a:pt x="128" y="147"/>
                    <a:pt x="124" y="152"/>
                    <a:pt x="118" y="152"/>
                  </a:cubicBezTo>
                  <a:cubicBezTo>
                    <a:pt x="54" y="152"/>
                    <a:pt x="54" y="152"/>
                    <a:pt x="54" y="152"/>
                  </a:cubicBezTo>
                  <a:cubicBezTo>
                    <a:pt x="48" y="152"/>
                    <a:pt x="43" y="147"/>
                    <a:pt x="43" y="141"/>
                  </a:cubicBezTo>
                  <a:cubicBezTo>
                    <a:pt x="43" y="135"/>
                    <a:pt x="48" y="131"/>
                    <a:pt x="54" y="131"/>
                  </a:cubicBezTo>
                  <a:lnTo>
                    <a:pt x="118" y="131"/>
                  </a:lnTo>
                  <a:close/>
                  <a:moveTo>
                    <a:pt x="128" y="248"/>
                  </a:moveTo>
                  <a:cubicBezTo>
                    <a:pt x="128" y="254"/>
                    <a:pt x="124" y="259"/>
                    <a:pt x="118" y="259"/>
                  </a:cubicBezTo>
                  <a:cubicBezTo>
                    <a:pt x="54" y="259"/>
                    <a:pt x="54" y="259"/>
                    <a:pt x="54" y="259"/>
                  </a:cubicBezTo>
                  <a:cubicBezTo>
                    <a:pt x="48" y="259"/>
                    <a:pt x="43" y="254"/>
                    <a:pt x="43" y="248"/>
                  </a:cubicBezTo>
                  <a:cubicBezTo>
                    <a:pt x="43" y="242"/>
                    <a:pt x="48" y="237"/>
                    <a:pt x="54" y="237"/>
                  </a:cubicBezTo>
                  <a:cubicBezTo>
                    <a:pt x="118" y="237"/>
                    <a:pt x="118" y="237"/>
                    <a:pt x="118" y="237"/>
                  </a:cubicBezTo>
                  <a:cubicBezTo>
                    <a:pt x="124" y="237"/>
                    <a:pt x="128" y="242"/>
                    <a:pt x="128"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9" name="Freeform 311"/>
          <p:cNvSpPr>
            <a:spLocks noChangeAspect="1" noEditPoints="1"/>
          </p:cNvSpPr>
          <p:nvPr/>
        </p:nvSpPr>
        <p:spPr bwMode="auto">
          <a:xfrm>
            <a:off x="406400" y="4184268"/>
            <a:ext cx="369676" cy="369676"/>
          </a:xfrm>
          <a:custGeom>
            <a:avLst/>
            <a:gdLst>
              <a:gd name="T0" fmla="*/ 277 w 512"/>
              <a:gd name="T1" fmla="*/ 181 h 512"/>
              <a:gd name="T2" fmla="*/ 234 w 512"/>
              <a:gd name="T3" fmla="*/ 181 h 512"/>
              <a:gd name="T4" fmla="*/ 234 w 512"/>
              <a:gd name="T5" fmla="*/ 119 h 512"/>
              <a:gd name="T6" fmla="*/ 277 w 512"/>
              <a:gd name="T7" fmla="*/ 119 h 512"/>
              <a:gd name="T8" fmla="*/ 277 w 512"/>
              <a:gd name="T9" fmla="*/ 181 h 512"/>
              <a:gd name="T10" fmla="*/ 192 w 512"/>
              <a:gd name="T11" fmla="*/ 202 h 512"/>
              <a:gd name="T12" fmla="*/ 320 w 512"/>
              <a:gd name="T13" fmla="*/ 202 h 512"/>
              <a:gd name="T14" fmla="*/ 320 w 512"/>
              <a:gd name="T15" fmla="*/ 373 h 512"/>
              <a:gd name="T16" fmla="*/ 192 w 512"/>
              <a:gd name="T17" fmla="*/ 373 h 512"/>
              <a:gd name="T18" fmla="*/ 192 w 512"/>
              <a:gd name="T19" fmla="*/ 202 h 512"/>
              <a:gd name="T20" fmla="*/ 213 w 512"/>
              <a:gd name="T21" fmla="*/ 234 h 512"/>
              <a:gd name="T22" fmla="*/ 224 w 512"/>
              <a:gd name="T23" fmla="*/ 245 h 512"/>
              <a:gd name="T24" fmla="*/ 288 w 512"/>
              <a:gd name="T25" fmla="*/ 245 h 512"/>
              <a:gd name="T26" fmla="*/ 298 w 512"/>
              <a:gd name="T27" fmla="*/ 234 h 512"/>
              <a:gd name="T28" fmla="*/ 288 w 512"/>
              <a:gd name="T29" fmla="*/ 224 h 512"/>
              <a:gd name="T30" fmla="*/ 224 w 512"/>
              <a:gd name="T31" fmla="*/ 224 h 512"/>
              <a:gd name="T32" fmla="*/ 213 w 512"/>
              <a:gd name="T33" fmla="*/ 234 h 512"/>
              <a:gd name="T34" fmla="*/ 213 w 512"/>
              <a:gd name="T35" fmla="*/ 341 h 512"/>
              <a:gd name="T36" fmla="*/ 224 w 512"/>
              <a:gd name="T37" fmla="*/ 352 h 512"/>
              <a:gd name="T38" fmla="*/ 288 w 512"/>
              <a:gd name="T39" fmla="*/ 352 h 512"/>
              <a:gd name="T40" fmla="*/ 298 w 512"/>
              <a:gd name="T41" fmla="*/ 341 h 512"/>
              <a:gd name="T42" fmla="*/ 288 w 512"/>
              <a:gd name="T43" fmla="*/ 330 h 512"/>
              <a:gd name="T44" fmla="*/ 224 w 512"/>
              <a:gd name="T45" fmla="*/ 330 h 512"/>
              <a:gd name="T46" fmla="*/ 213 w 512"/>
              <a:gd name="T47" fmla="*/ 341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41 w 512"/>
              <a:gd name="T59" fmla="*/ 192 h 512"/>
              <a:gd name="T60" fmla="*/ 330 w 512"/>
              <a:gd name="T61" fmla="*/ 181 h 512"/>
              <a:gd name="T62" fmla="*/ 298 w 512"/>
              <a:gd name="T63" fmla="*/ 181 h 512"/>
              <a:gd name="T64" fmla="*/ 298 w 512"/>
              <a:gd name="T65" fmla="*/ 128 h 512"/>
              <a:gd name="T66" fmla="*/ 298 w 512"/>
              <a:gd name="T67" fmla="*/ 128 h 512"/>
              <a:gd name="T68" fmla="*/ 308 w 512"/>
              <a:gd name="T69" fmla="*/ 120 h 512"/>
              <a:gd name="T70" fmla="*/ 302 w 512"/>
              <a:gd name="T71" fmla="*/ 105 h 512"/>
              <a:gd name="T72" fmla="*/ 209 w 512"/>
              <a:gd name="T73" fmla="*/ 105 h 512"/>
              <a:gd name="T74" fmla="*/ 203 w 512"/>
              <a:gd name="T75" fmla="*/ 118 h 512"/>
              <a:gd name="T76" fmla="*/ 213 w 512"/>
              <a:gd name="T77" fmla="*/ 125 h 512"/>
              <a:gd name="T78" fmla="*/ 213 w 512"/>
              <a:gd name="T79" fmla="*/ 181 h 512"/>
              <a:gd name="T80" fmla="*/ 181 w 512"/>
              <a:gd name="T81" fmla="*/ 181 h 512"/>
              <a:gd name="T82" fmla="*/ 170 w 512"/>
              <a:gd name="T83" fmla="*/ 192 h 512"/>
              <a:gd name="T84" fmla="*/ 170 w 512"/>
              <a:gd name="T85" fmla="*/ 384 h 512"/>
              <a:gd name="T86" fmla="*/ 181 w 512"/>
              <a:gd name="T87" fmla="*/ 394 h 512"/>
              <a:gd name="T88" fmla="*/ 192 w 512"/>
              <a:gd name="T89" fmla="*/ 394 h 512"/>
              <a:gd name="T90" fmla="*/ 192 w 512"/>
              <a:gd name="T91" fmla="*/ 405 h 512"/>
              <a:gd name="T92" fmla="*/ 202 w 512"/>
              <a:gd name="T93" fmla="*/ 416 h 512"/>
              <a:gd name="T94" fmla="*/ 213 w 512"/>
              <a:gd name="T95" fmla="*/ 405 h 512"/>
              <a:gd name="T96" fmla="*/ 213 w 512"/>
              <a:gd name="T97" fmla="*/ 394 h 512"/>
              <a:gd name="T98" fmla="*/ 298 w 512"/>
              <a:gd name="T99" fmla="*/ 394 h 512"/>
              <a:gd name="T100" fmla="*/ 298 w 512"/>
              <a:gd name="T101" fmla="*/ 405 h 512"/>
              <a:gd name="T102" fmla="*/ 309 w 512"/>
              <a:gd name="T103" fmla="*/ 416 h 512"/>
              <a:gd name="T104" fmla="*/ 320 w 512"/>
              <a:gd name="T105" fmla="*/ 405 h 512"/>
              <a:gd name="T106" fmla="*/ 320 w 512"/>
              <a:gd name="T107" fmla="*/ 394 h 512"/>
              <a:gd name="T108" fmla="*/ 330 w 512"/>
              <a:gd name="T109" fmla="*/ 394 h 512"/>
              <a:gd name="T110" fmla="*/ 341 w 512"/>
              <a:gd name="T111" fmla="*/ 384 h 512"/>
              <a:gd name="T112" fmla="*/ 341 w 512"/>
              <a:gd name="T11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77" y="181"/>
                </a:moveTo>
                <a:cubicBezTo>
                  <a:pt x="234" y="181"/>
                  <a:pt x="234" y="181"/>
                  <a:pt x="234" y="181"/>
                </a:cubicBezTo>
                <a:cubicBezTo>
                  <a:pt x="234" y="119"/>
                  <a:pt x="234" y="119"/>
                  <a:pt x="234" y="119"/>
                </a:cubicBezTo>
                <a:cubicBezTo>
                  <a:pt x="248" y="116"/>
                  <a:pt x="263" y="116"/>
                  <a:pt x="277" y="119"/>
                </a:cubicBezTo>
                <a:lnTo>
                  <a:pt x="277" y="181"/>
                </a:lnTo>
                <a:close/>
                <a:moveTo>
                  <a:pt x="192" y="202"/>
                </a:moveTo>
                <a:cubicBezTo>
                  <a:pt x="320" y="202"/>
                  <a:pt x="320" y="202"/>
                  <a:pt x="320" y="202"/>
                </a:cubicBezTo>
                <a:cubicBezTo>
                  <a:pt x="320" y="373"/>
                  <a:pt x="320" y="373"/>
                  <a:pt x="320" y="373"/>
                </a:cubicBezTo>
                <a:cubicBezTo>
                  <a:pt x="192" y="373"/>
                  <a:pt x="192" y="373"/>
                  <a:pt x="192" y="373"/>
                </a:cubicBezTo>
                <a:lnTo>
                  <a:pt x="192" y="202"/>
                </a:lnTo>
                <a:close/>
                <a:moveTo>
                  <a:pt x="213" y="234"/>
                </a:moveTo>
                <a:cubicBezTo>
                  <a:pt x="213" y="240"/>
                  <a:pt x="218" y="245"/>
                  <a:pt x="224" y="245"/>
                </a:cubicBezTo>
                <a:cubicBezTo>
                  <a:pt x="288" y="245"/>
                  <a:pt x="288" y="245"/>
                  <a:pt x="288" y="245"/>
                </a:cubicBezTo>
                <a:cubicBezTo>
                  <a:pt x="294" y="245"/>
                  <a:pt x="298" y="240"/>
                  <a:pt x="298" y="234"/>
                </a:cubicBezTo>
                <a:cubicBezTo>
                  <a:pt x="298" y="228"/>
                  <a:pt x="294" y="224"/>
                  <a:pt x="288" y="224"/>
                </a:cubicBezTo>
                <a:cubicBezTo>
                  <a:pt x="224" y="224"/>
                  <a:pt x="224" y="224"/>
                  <a:pt x="224" y="224"/>
                </a:cubicBezTo>
                <a:cubicBezTo>
                  <a:pt x="218" y="224"/>
                  <a:pt x="213" y="228"/>
                  <a:pt x="213" y="234"/>
                </a:cubicBezTo>
                <a:close/>
                <a:moveTo>
                  <a:pt x="213" y="341"/>
                </a:moveTo>
                <a:cubicBezTo>
                  <a:pt x="213" y="347"/>
                  <a:pt x="218" y="352"/>
                  <a:pt x="224" y="352"/>
                </a:cubicBezTo>
                <a:cubicBezTo>
                  <a:pt x="288" y="352"/>
                  <a:pt x="288" y="352"/>
                  <a:pt x="288" y="352"/>
                </a:cubicBezTo>
                <a:cubicBezTo>
                  <a:pt x="294" y="352"/>
                  <a:pt x="298" y="347"/>
                  <a:pt x="298" y="341"/>
                </a:cubicBezTo>
                <a:cubicBezTo>
                  <a:pt x="298" y="335"/>
                  <a:pt x="294" y="330"/>
                  <a:pt x="288" y="330"/>
                </a:cubicBezTo>
                <a:cubicBezTo>
                  <a:pt x="224" y="330"/>
                  <a:pt x="224" y="330"/>
                  <a:pt x="224" y="330"/>
                </a:cubicBezTo>
                <a:cubicBezTo>
                  <a:pt x="218" y="330"/>
                  <a:pt x="213" y="335"/>
                  <a:pt x="213" y="34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298" y="181"/>
                  <a:pt x="298" y="181"/>
                  <a:pt x="298" y="181"/>
                </a:cubicBezTo>
                <a:cubicBezTo>
                  <a:pt x="298" y="128"/>
                  <a:pt x="298" y="128"/>
                  <a:pt x="298" y="128"/>
                </a:cubicBezTo>
                <a:cubicBezTo>
                  <a:pt x="298" y="128"/>
                  <a:pt x="298" y="128"/>
                  <a:pt x="298" y="128"/>
                </a:cubicBezTo>
                <a:cubicBezTo>
                  <a:pt x="303" y="128"/>
                  <a:pt x="307" y="124"/>
                  <a:pt x="308" y="120"/>
                </a:cubicBezTo>
                <a:cubicBezTo>
                  <a:pt x="310" y="114"/>
                  <a:pt x="308" y="107"/>
                  <a:pt x="302" y="105"/>
                </a:cubicBezTo>
                <a:cubicBezTo>
                  <a:pt x="273" y="93"/>
                  <a:pt x="239" y="93"/>
                  <a:pt x="209" y="105"/>
                </a:cubicBezTo>
                <a:cubicBezTo>
                  <a:pt x="204" y="107"/>
                  <a:pt x="201" y="113"/>
                  <a:pt x="203" y="118"/>
                </a:cubicBezTo>
                <a:cubicBezTo>
                  <a:pt x="205" y="123"/>
                  <a:pt x="209" y="125"/>
                  <a:pt x="213" y="125"/>
                </a:cubicBezTo>
                <a:cubicBezTo>
                  <a:pt x="213" y="181"/>
                  <a:pt x="213" y="181"/>
                  <a:pt x="213" y="181"/>
                </a:cubicBezTo>
                <a:cubicBezTo>
                  <a:pt x="181" y="181"/>
                  <a:pt x="181" y="181"/>
                  <a:pt x="181" y="181"/>
                </a:cubicBezTo>
                <a:cubicBezTo>
                  <a:pt x="175" y="181"/>
                  <a:pt x="170" y="186"/>
                  <a:pt x="170" y="192"/>
                </a:cubicBezTo>
                <a:cubicBezTo>
                  <a:pt x="170" y="384"/>
                  <a:pt x="170" y="384"/>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98" y="394"/>
                  <a:pt x="298" y="394"/>
                  <a:pt x="298" y="394"/>
                </a:cubicBezTo>
                <a:cubicBezTo>
                  <a:pt x="298" y="405"/>
                  <a:pt x="298" y="405"/>
                  <a:pt x="298" y="405"/>
                </a:cubicBezTo>
                <a:cubicBezTo>
                  <a:pt x="298" y="411"/>
                  <a:pt x="303" y="416"/>
                  <a:pt x="309" y="416"/>
                </a:cubicBezTo>
                <a:cubicBezTo>
                  <a:pt x="315" y="416"/>
                  <a:pt x="320" y="411"/>
                  <a:pt x="320" y="405"/>
                </a:cubicBezTo>
                <a:cubicBezTo>
                  <a:pt x="320" y="394"/>
                  <a:pt x="320" y="394"/>
                  <a:pt x="320" y="394"/>
                </a:cubicBezTo>
                <a:cubicBezTo>
                  <a:pt x="330" y="394"/>
                  <a:pt x="330" y="394"/>
                  <a:pt x="330" y="394"/>
                </a:cubicBezTo>
                <a:cubicBezTo>
                  <a:pt x="336" y="394"/>
                  <a:pt x="341" y="390"/>
                  <a:pt x="341" y="384"/>
                </a:cubicBezTo>
                <a:lnTo>
                  <a:pt x="341" y="1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00" name="Freeform 768"/>
          <p:cNvSpPr>
            <a:spLocks noChangeAspect="1" noEditPoints="1"/>
          </p:cNvSpPr>
          <p:nvPr/>
        </p:nvSpPr>
        <p:spPr bwMode="auto">
          <a:xfrm>
            <a:off x="1281862" y="4184268"/>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01" name="Group 784"/>
          <p:cNvGrpSpPr>
            <a:grpSpLocks noChangeAspect="1"/>
          </p:cNvGrpSpPr>
          <p:nvPr/>
        </p:nvGrpSpPr>
        <p:grpSpPr bwMode="auto">
          <a:xfrm>
            <a:off x="1699884" y="4184268"/>
            <a:ext cx="367041" cy="367041"/>
            <a:chOff x="2657" y="3361"/>
            <a:chExt cx="340" cy="340"/>
          </a:xfrm>
          <a:solidFill>
            <a:schemeClr val="accent3"/>
          </a:solidFill>
        </p:grpSpPr>
        <p:sp>
          <p:nvSpPr>
            <p:cNvPr id="202" name="Freeform 785"/>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786"/>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4" name="Freeform 288"/>
          <p:cNvSpPr>
            <a:spLocks noChangeAspect="1" noEditPoints="1"/>
          </p:cNvSpPr>
          <p:nvPr/>
        </p:nvSpPr>
        <p:spPr bwMode="auto">
          <a:xfrm>
            <a:off x="2107306" y="4184268"/>
            <a:ext cx="367041" cy="367041"/>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05" name="Group 291"/>
          <p:cNvGrpSpPr>
            <a:grpSpLocks noChangeAspect="1"/>
          </p:cNvGrpSpPr>
          <p:nvPr/>
        </p:nvGrpSpPr>
        <p:grpSpPr bwMode="auto">
          <a:xfrm>
            <a:off x="2525384" y="4184268"/>
            <a:ext cx="367041" cy="367041"/>
            <a:chOff x="1197" y="1315"/>
            <a:chExt cx="340" cy="340"/>
          </a:xfrm>
          <a:solidFill>
            <a:schemeClr val="accent4"/>
          </a:solidFill>
        </p:grpSpPr>
        <p:sp>
          <p:nvSpPr>
            <p:cNvPr id="206" name="Freeform 292"/>
            <p:cNvSpPr>
              <a:spLocks noEditPoints="1"/>
            </p:cNvSpPr>
            <p:nvPr/>
          </p:nvSpPr>
          <p:spPr bwMode="auto">
            <a:xfrm>
              <a:off x="1197" y="13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293"/>
            <p:cNvSpPr>
              <a:spLocks noEditPoints="1"/>
            </p:cNvSpPr>
            <p:nvPr/>
          </p:nvSpPr>
          <p:spPr bwMode="auto">
            <a:xfrm>
              <a:off x="1261" y="1442"/>
              <a:ext cx="212" cy="113"/>
            </a:xfrm>
            <a:custGeom>
              <a:avLst/>
              <a:gdLst>
                <a:gd name="T0" fmla="*/ 317 w 320"/>
                <a:gd name="T1" fmla="*/ 45 h 170"/>
                <a:gd name="T2" fmla="*/ 295 w 320"/>
                <a:gd name="T3" fmla="*/ 24 h 170"/>
                <a:gd name="T4" fmla="*/ 288 w 320"/>
                <a:gd name="T5" fmla="*/ 21 h 170"/>
                <a:gd name="T6" fmla="*/ 245 w 320"/>
                <a:gd name="T7" fmla="*/ 21 h 170"/>
                <a:gd name="T8" fmla="*/ 245 w 320"/>
                <a:gd name="T9" fmla="*/ 10 h 170"/>
                <a:gd name="T10" fmla="*/ 234 w 320"/>
                <a:gd name="T11" fmla="*/ 0 h 170"/>
                <a:gd name="T12" fmla="*/ 10 w 320"/>
                <a:gd name="T13" fmla="*/ 0 h 170"/>
                <a:gd name="T14" fmla="*/ 0 w 320"/>
                <a:gd name="T15" fmla="*/ 10 h 170"/>
                <a:gd name="T16" fmla="*/ 0 w 320"/>
                <a:gd name="T17" fmla="*/ 117 h 170"/>
                <a:gd name="T18" fmla="*/ 10 w 320"/>
                <a:gd name="T19" fmla="*/ 128 h 170"/>
                <a:gd name="T20" fmla="*/ 23 w 320"/>
                <a:gd name="T21" fmla="*/ 128 h 170"/>
                <a:gd name="T22" fmla="*/ 21 w 320"/>
                <a:gd name="T23" fmla="*/ 138 h 170"/>
                <a:gd name="T24" fmla="*/ 53 w 320"/>
                <a:gd name="T25" fmla="*/ 170 h 170"/>
                <a:gd name="T26" fmla="*/ 80 w 320"/>
                <a:gd name="T27" fmla="*/ 156 h 170"/>
                <a:gd name="T28" fmla="*/ 106 w 320"/>
                <a:gd name="T29" fmla="*/ 170 h 170"/>
                <a:gd name="T30" fmla="*/ 138 w 320"/>
                <a:gd name="T31" fmla="*/ 138 h 170"/>
                <a:gd name="T32" fmla="*/ 136 w 320"/>
                <a:gd name="T33" fmla="*/ 128 h 170"/>
                <a:gd name="T34" fmla="*/ 234 w 320"/>
                <a:gd name="T35" fmla="*/ 128 h 170"/>
                <a:gd name="T36" fmla="*/ 236 w 320"/>
                <a:gd name="T37" fmla="*/ 128 h 170"/>
                <a:gd name="T38" fmla="*/ 234 w 320"/>
                <a:gd name="T39" fmla="*/ 138 h 170"/>
                <a:gd name="T40" fmla="*/ 266 w 320"/>
                <a:gd name="T41" fmla="*/ 170 h 170"/>
                <a:gd name="T42" fmla="*/ 298 w 320"/>
                <a:gd name="T43" fmla="*/ 138 h 170"/>
                <a:gd name="T44" fmla="*/ 296 w 320"/>
                <a:gd name="T45" fmla="*/ 128 h 170"/>
                <a:gd name="T46" fmla="*/ 309 w 320"/>
                <a:gd name="T47" fmla="*/ 128 h 170"/>
                <a:gd name="T48" fmla="*/ 320 w 320"/>
                <a:gd name="T49" fmla="*/ 117 h 170"/>
                <a:gd name="T50" fmla="*/ 320 w 320"/>
                <a:gd name="T51" fmla="*/ 53 h 170"/>
                <a:gd name="T52" fmla="*/ 317 w 320"/>
                <a:gd name="T53" fmla="*/ 45 h 170"/>
                <a:gd name="T54" fmla="*/ 21 w 320"/>
                <a:gd name="T55" fmla="*/ 21 h 170"/>
                <a:gd name="T56" fmla="*/ 224 w 320"/>
                <a:gd name="T57" fmla="*/ 21 h 170"/>
                <a:gd name="T58" fmla="*/ 224 w 320"/>
                <a:gd name="T59" fmla="*/ 32 h 170"/>
                <a:gd name="T60" fmla="*/ 224 w 320"/>
                <a:gd name="T61" fmla="*/ 106 h 170"/>
                <a:gd name="T62" fmla="*/ 21 w 320"/>
                <a:gd name="T63" fmla="*/ 106 h 170"/>
                <a:gd name="T64" fmla="*/ 21 w 320"/>
                <a:gd name="T65" fmla="*/ 21 h 170"/>
                <a:gd name="T66" fmla="*/ 53 w 320"/>
                <a:gd name="T67" fmla="*/ 149 h 170"/>
                <a:gd name="T68" fmla="*/ 42 w 320"/>
                <a:gd name="T69" fmla="*/ 138 h 170"/>
                <a:gd name="T70" fmla="*/ 53 w 320"/>
                <a:gd name="T71" fmla="*/ 128 h 170"/>
                <a:gd name="T72" fmla="*/ 64 w 320"/>
                <a:gd name="T73" fmla="*/ 138 h 170"/>
                <a:gd name="T74" fmla="*/ 53 w 320"/>
                <a:gd name="T75" fmla="*/ 149 h 170"/>
                <a:gd name="T76" fmla="*/ 117 w 320"/>
                <a:gd name="T77" fmla="*/ 138 h 170"/>
                <a:gd name="T78" fmla="*/ 106 w 320"/>
                <a:gd name="T79" fmla="*/ 149 h 170"/>
                <a:gd name="T80" fmla="*/ 96 w 320"/>
                <a:gd name="T81" fmla="*/ 138 h 170"/>
                <a:gd name="T82" fmla="*/ 106 w 320"/>
                <a:gd name="T83" fmla="*/ 128 h 170"/>
                <a:gd name="T84" fmla="*/ 117 w 320"/>
                <a:gd name="T85" fmla="*/ 138 h 170"/>
                <a:gd name="T86" fmla="*/ 277 w 320"/>
                <a:gd name="T87" fmla="*/ 138 h 170"/>
                <a:gd name="T88" fmla="*/ 266 w 320"/>
                <a:gd name="T89" fmla="*/ 149 h 170"/>
                <a:gd name="T90" fmla="*/ 256 w 320"/>
                <a:gd name="T91" fmla="*/ 138 h 170"/>
                <a:gd name="T92" fmla="*/ 266 w 320"/>
                <a:gd name="T93" fmla="*/ 128 h 170"/>
                <a:gd name="T94" fmla="*/ 277 w 320"/>
                <a:gd name="T95" fmla="*/ 138 h 170"/>
                <a:gd name="T96" fmla="*/ 298 w 320"/>
                <a:gd name="T97" fmla="*/ 106 h 170"/>
                <a:gd name="T98" fmla="*/ 245 w 320"/>
                <a:gd name="T99" fmla="*/ 106 h 170"/>
                <a:gd name="T100" fmla="*/ 245 w 320"/>
                <a:gd name="T101" fmla="*/ 42 h 170"/>
                <a:gd name="T102" fmla="*/ 283 w 320"/>
                <a:gd name="T103" fmla="*/ 42 h 170"/>
                <a:gd name="T104" fmla="*/ 298 w 320"/>
                <a:gd name="T105" fmla="*/ 57 h 170"/>
                <a:gd name="T106" fmla="*/ 298 w 320"/>
                <a:gd name="T107"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170">
                  <a:moveTo>
                    <a:pt x="317" y="45"/>
                  </a:moveTo>
                  <a:cubicBezTo>
                    <a:pt x="295" y="24"/>
                    <a:pt x="295" y="24"/>
                    <a:pt x="295" y="24"/>
                  </a:cubicBezTo>
                  <a:cubicBezTo>
                    <a:pt x="293" y="22"/>
                    <a:pt x="290" y="21"/>
                    <a:pt x="288" y="21"/>
                  </a:cubicBezTo>
                  <a:cubicBezTo>
                    <a:pt x="245" y="21"/>
                    <a:pt x="245" y="21"/>
                    <a:pt x="245" y="21"/>
                  </a:cubicBezTo>
                  <a:cubicBezTo>
                    <a:pt x="245" y="10"/>
                    <a:pt x="245" y="10"/>
                    <a:pt x="245" y="10"/>
                  </a:cubicBezTo>
                  <a:cubicBezTo>
                    <a:pt x="245" y="4"/>
                    <a:pt x="240" y="0"/>
                    <a:pt x="234" y="0"/>
                  </a:cubicBezTo>
                  <a:cubicBezTo>
                    <a:pt x="10" y="0"/>
                    <a:pt x="10" y="0"/>
                    <a:pt x="10" y="0"/>
                  </a:cubicBezTo>
                  <a:cubicBezTo>
                    <a:pt x="4" y="0"/>
                    <a:pt x="0" y="4"/>
                    <a:pt x="0" y="10"/>
                  </a:cubicBezTo>
                  <a:cubicBezTo>
                    <a:pt x="0" y="117"/>
                    <a:pt x="0" y="117"/>
                    <a:pt x="0" y="117"/>
                  </a:cubicBezTo>
                  <a:cubicBezTo>
                    <a:pt x="0" y="123"/>
                    <a:pt x="4" y="128"/>
                    <a:pt x="10" y="128"/>
                  </a:cubicBezTo>
                  <a:cubicBezTo>
                    <a:pt x="23" y="128"/>
                    <a:pt x="23" y="128"/>
                    <a:pt x="23" y="128"/>
                  </a:cubicBezTo>
                  <a:cubicBezTo>
                    <a:pt x="22" y="131"/>
                    <a:pt x="21" y="135"/>
                    <a:pt x="21" y="138"/>
                  </a:cubicBezTo>
                  <a:cubicBezTo>
                    <a:pt x="21" y="156"/>
                    <a:pt x="35" y="170"/>
                    <a:pt x="53" y="170"/>
                  </a:cubicBezTo>
                  <a:cubicBezTo>
                    <a:pt x="64" y="170"/>
                    <a:pt x="74" y="165"/>
                    <a:pt x="80" y="156"/>
                  </a:cubicBezTo>
                  <a:cubicBezTo>
                    <a:pt x="85" y="165"/>
                    <a:pt x="95" y="170"/>
                    <a:pt x="106" y="170"/>
                  </a:cubicBezTo>
                  <a:cubicBezTo>
                    <a:pt x="124" y="170"/>
                    <a:pt x="138" y="156"/>
                    <a:pt x="138" y="138"/>
                  </a:cubicBezTo>
                  <a:cubicBezTo>
                    <a:pt x="138" y="135"/>
                    <a:pt x="138" y="131"/>
                    <a:pt x="136" y="128"/>
                  </a:cubicBezTo>
                  <a:cubicBezTo>
                    <a:pt x="234" y="128"/>
                    <a:pt x="234" y="128"/>
                    <a:pt x="234" y="128"/>
                  </a:cubicBezTo>
                  <a:cubicBezTo>
                    <a:pt x="236" y="128"/>
                    <a:pt x="236" y="128"/>
                    <a:pt x="236" y="128"/>
                  </a:cubicBezTo>
                  <a:cubicBezTo>
                    <a:pt x="235" y="131"/>
                    <a:pt x="234" y="135"/>
                    <a:pt x="234" y="138"/>
                  </a:cubicBezTo>
                  <a:cubicBezTo>
                    <a:pt x="234" y="156"/>
                    <a:pt x="249" y="170"/>
                    <a:pt x="266" y="170"/>
                  </a:cubicBezTo>
                  <a:cubicBezTo>
                    <a:pt x="284" y="170"/>
                    <a:pt x="298" y="156"/>
                    <a:pt x="298" y="138"/>
                  </a:cubicBezTo>
                  <a:cubicBezTo>
                    <a:pt x="298" y="135"/>
                    <a:pt x="298" y="131"/>
                    <a:pt x="296" y="128"/>
                  </a:cubicBezTo>
                  <a:cubicBezTo>
                    <a:pt x="309" y="128"/>
                    <a:pt x="309" y="128"/>
                    <a:pt x="309" y="128"/>
                  </a:cubicBezTo>
                  <a:cubicBezTo>
                    <a:pt x="315" y="128"/>
                    <a:pt x="320" y="123"/>
                    <a:pt x="320" y="117"/>
                  </a:cubicBezTo>
                  <a:cubicBezTo>
                    <a:pt x="320" y="53"/>
                    <a:pt x="320" y="53"/>
                    <a:pt x="320" y="53"/>
                  </a:cubicBezTo>
                  <a:cubicBezTo>
                    <a:pt x="320" y="50"/>
                    <a:pt x="319" y="47"/>
                    <a:pt x="317" y="45"/>
                  </a:cubicBezTo>
                  <a:close/>
                  <a:moveTo>
                    <a:pt x="21" y="21"/>
                  </a:moveTo>
                  <a:cubicBezTo>
                    <a:pt x="224" y="21"/>
                    <a:pt x="224" y="21"/>
                    <a:pt x="224" y="21"/>
                  </a:cubicBezTo>
                  <a:cubicBezTo>
                    <a:pt x="224" y="32"/>
                    <a:pt x="224" y="32"/>
                    <a:pt x="224" y="32"/>
                  </a:cubicBezTo>
                  <a:cubicBezTo>
                    <a:pt x="224" y="106"/>
                    <a:pt x="224" y="106"/>
                    <a:pt x="224" y="106"/>
                  </a:cubicBezTo>
                  <a:cubicBezTo>
                    <a:pt x="21" y="106"/>
                    <a:pt x="21" y="106"/>
                    <a:pt x="21" y="106"/>
                  </a:cubicBezTo>
                  <a:lnTo>
                    <a:pt x="21" y="21"/>
                  </a:lnTo>
                  <a:close/>
                  <a:moveTo>
                    <a:pt x="53" y="149"/>
                  </a:moveTo>
                  <a:cubicBezTo>
                    <a:pt x="47" y="149"/>
                    <a:pt x="42" y="144"/>
                    <a:pt x="42" y="138"/>
                  </a:cubicBezTo>
                  <a:cubicBezTo>
                    <a:pt x="42" y="132"/>
                    <a:pt x="47" y="128"/>
                    <a:pt x="53" y="128"/>
                  </a:cubicBezTo>
                  <a:cubicBezTo>
                    <a:pt x="59" y="128"/>
                    <a:pt x="64" y="132"/>
                    <a:pt x="64" y="138"/>
                  </a:cubicBezTo>
                  <a:cubicBezTo>
                    <a:pt x="64" y="144"/>
                    <a:pt x="59" y="149"/>
                    <a:pt x="53" y="149"/>
                  </a:cubicBezTo>
                  <a:close/>
                  <a:moveTo>
                    <a:pt x="117" y="138"/>
                  </a:moveTo>
                  <a:cubicBezTo>
                    <a:pt x="117" y="144"/>
                    <a:pt x="112" y="149"/>
                    <a:pt x="106" y="149"/>
                  </a:cubicBezTo>
                  <a:cubicBezTo>
                    <a:pt x="100" y="149"/>
                    <a:pt x="96" y="144"/>
                    <a:pt x="96" y="138"/>
                  </a:cubicBezTo>
                  <a:cubicBezTo>
                    <a:pt x="96" y="132"/>
                    <a:pt x="100" y="128"/>
                    <a:pt x="106" y="128"/>
                  </a:cubicBezTo>
                  <a:cubicBezTo>
                    <a:pt x="112" y="128"/>
                    <a:pt x="117" y="132"/>
                    <a:pt x="117" y="138"/>
                  </a:cubicBezTo>
                  <a:close/>
                  <a:moveTo>
                    <a:pt x="277" y="138"/>
                  </a:moveTo>
                  <a:cubicBezTo>
                    <a:pt x="277" y="144"/>
                    <a:pt x="272" y="149"/>
                    <a:pt x="266" y="149"/>
                  </a:cubicBezTo>
                  <a:cubicBezTo>
                    <a:pt x="260" y="149"/>
                    <a:pt x="256" y="144"/>
                    <a:pt x="256" y="138"/>
                  </a:cubicBezTo>
                  <a:cubicBezTo>
                    <a:pt x="256" y="132"/>
                    <a:pt x="260" y="128"/>
                    <a:pt x="266" y="128"/>
                  </a:cubicBezTo>
                  <a:cubicBezTo>
                    <a:pt x="272" y="128"/>
                    <a:pt x="277" y="132"/>
                    <a:pt x="277" y="138"/>
                  </a:cubicBezTo>
                  <a:close/>
                  <a:moveTo>
                    <a:pt x="298" y="106"/>
                  </a:moveTo>
                  <a:cubicBezTo>
                    <a:pt x="245" y="106"/>
                    <a:pt x="245" y="106"/>
                    <a:pt x="245" y="106"/>
                  </a:cubicBezTo>
                  <a:cubicBezTo>
                    <a:pt x="245" y="42"/>
                    <a:pt x="245" y="42"/>
                    <a:pt x="245" y="42"/>
                  </a:cubicBezTo>
                  <a:cubicBezTo>
                    <a:pt x="283" y="42"/>
                    <a:pt x="283" y="42"/>
                    <a:pt x="283" y="42"/>
                  </a:cubicBezTo>
                  <a:cubicBezTo>
                    <a:pt x="298" y="57"/>
                    <a:pt x="298" y="57"/>
                    <a:pt x="298" y="57"/>
                  </a:cubicBezTo>
                  <a:lnTo>
                    <a:pt x="298"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9" name="Freeform 66"/>
          <p:cNvSpPr>
            <a:spLocks noChangeAspect="1" noEditPoints="1"/>
          </p:cNvSpPr>
          <p:nvPr/>
        </p:nvSpPr>
        <p:spPr bwMode="auto">
          <a:xfrm>
            <a:off x="2950279" y="4184268"/>
            <a:ext cx="367631" cy="367631"/>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10" name="Group 69"/>
          <p:cNvGrpSpPr>
            <a:grpSpLocks noChangeAspect="1"/>
          </p:cNvGrpSpPr>
          <p:nvPr/>
        </p:nvGrpSpPr>
        <p:grpSpPr bwMode="auto">
          <a:xfrm>
            <a:off x="3343289" y="4184268"/>
            <a:ext cx="367631" cy="367631"/>
            <a:chOff x="4334" y="1990"/>
            <a:chExt cx="340" cy="340"/>
          </a:xfrm>
          <a:solidFill>
            <a:schemeClr val="accent1"/>
          </a:solidFill>
        </p:grpSpPr>
        <p:sp>
          <p:nvSpPr>
            <p:cNvPr id="211" name="Freeform 70"/>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71"/>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870376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nveloping elements</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Arc 2"/>
          <p:cNvSpPr>
            <a:spLocks/>
          </p:cNvSpPr>
          <p:nvPr/>
        </p:nvSpPr>
        <p:spPr bwMode="auto">
          <a:xfrm>
            <a:off x="1914525" y="2540386"/>
            <a:ext cx="5294313" cy="2224087"/>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accent1"/>
            </a:solidFill>
            <a:round/>
            <a:headEnd/>
            <a:tailEnd/>
          </a:ln>
        </p:spPr>
        <p:txBody>
          <a:bodyPr wrap="square" lIns="0" tIns="0" rIns="0" bIns="0" anchor="ctr"/>
          <a:lstStyle/>
          <a:p>
            <a:pPr algn="ctr">
              <a:defRPr/>
            </a:pPr>
            <a:endParaRPr lang="en-GB" altLang="ja-JP" sz="1400" dirty="0">
              <a:ea typeface="ＭＳ Ｐゴシック" pitchFamily="50" charset="-128"/>
            </a:endParaRPr>
          </a:p>
        </p:txBody>
      </p:sp>
      <p:sp>
        <p:nvSpPr>
          <p:cNvPr id="5" name="AutoShape 4"/>
          <p:cNvSpPr>
            <a:spLocks noChangeArrowheads="1"/>
          </p:cNvSpPr>
          <p:nvPr/>
        </p:nvSpPr>
        <p:spPr bwMode="auto">
          <a:xfrm flipV="1">
            <a:off x="3322638" y="4543811"/>
            <a:ext cx="2473325" cy="241300"/>
          </a:xfrm>
          <a:prstGeom prst="triangle">
            <a:avLst>
              <a:gd name="adj" fmla="val 50000"/>
            </a:avLst>
          </a:prstGeom>
          <a:solidFill>
            <a:schemeClr val="tx2">
              <a:lumMod val="20000"/>
              <a:lumOff val="80000"/>
            </a:schemeClr>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6" name="Oval 5"/>
          <p:cNvSpPr>
            <a:spLocks noChangeArrowheads="1"/>
          </p:cNvSpPr>
          <p:nvPr/>
        </p:nvSpPr>
        <p:spPr bwMode="gray">
          <a:xfrm>
            <a:off x="847725" y="3761173"/>
            <a:ext cx="1738313"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7" name="Oval 6"/>
          <p:cNvSpPr>
            <a:spLocks noChangeArrowheads="1"/>
          </p:cNvSpPr>
          <p:nvPr/>
        </p:nvSpPr>
        <p:spPr bwMode="gray">
          <a:xfrm>
            <a:off x="1765300" y="2868998"/>
            <a:ext cx="1738313"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8" name="Oval 7"/>
          <p:cNvSpPr>
            <a:spLocks noChangeArrowheads="1"/>
          </p:cNvSpPr>
          <p:nvPr/>
        </p:nvSpPr>
        <p:spPr bwMode="gray">
          <a:xfrm>
            <a:off x="2681288" y="1976823"/>
            <a:ext cx="1738312"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9" name="Oval 8"/>
          <p:cNvSpPr>
            <a:spLocks noChangeArrowheads="1"/>
          </p:cNvSpPr>
          <p:nvPr/>
        </p:nvSpPr>
        <p:spPr bwMode="gray">
          <a:xfrm flipH="1">
            <a:off x="6556375" y="3761173"/>
            <a:ext cx="1738313"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10" name="Oval 9"/>
          <p:cNvSpPr>
            <a:spLocks noChangeArrowheads="1"/>
          </p:cNvSpPr>
          <p:nvPr/>
        </p:nvSpPr>
        <p:spPr bwMode="gray">
          <a:xfrm flipH="1">
            <a:off x="5630863" y="2868998"/>
            <a:ext cx="1738312"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11" name="Oval 10"/>
          <p:cNvSpPr>
            <a:spLocks noChangeArrowheads="1"/>
          </p:cNvSpPr>
          <p:nvPr/>
        </p:nvSpPr>
        <p:spPr bwMode="gray">
          <a:xfrm flipH="1">
            <a:off x="4705350" y="1976823"/>
            <a:ext cx="1738313" cy="876300"/>
          </a:xfrm>
          <a:prstGeom prst="ellipse">
            <a:avLst/>
          </a:prstGeom>
          <a:solidFill>
            <a:schemeClr val="bg1"/>
          </a:solidFill>
          <a:ln w="9525" algn="ctr">
            <a:solidFill>
              <a:schemeClr val="accent1"/>
            </a:solidFill>
            <a:round/>
            <a:headEnd/>
            <a:tailEnd/>
          </a:ln>
        </p:spPr>
        <p:txBody>
          <a:bodyPr lIns="88900" tIns="88900" rIns="88900" bIns="88900" anchor="ctr" anchorCtr="0"/>
          <a:lstStyle/>
          <a:p>
            <a:pPr algn="ctr">
              <a:lnSpc>
                <a:spcPct val="106000"/>
              </a:lnSpc>
              <a:buClr>
                <a:schemeClr val="tx1"/>
              </a:buClr>
              <a:defRPr/>
            </a:pPr>
            <a:r>
              <a:rPr lang="en-GB" sz="1200" dirty="0">
                <a:ea typeface="ＭＳ Ｐゴシック" pitchFamily="50" charset="-128"/>
              </a:rPr>
              <a:t>Text</a:t>
            </a:r>
          </a:p>
        </p:txBody>
      </p:sp>
      <p:sp>
        <p:nvSpPr>
          <p:cNvPr id="12" name="Rectangle 11"/>
          <p:cNvSpPr>
            <a:spLocks noChangeArrowheads="1"/>
          </p:cNvSpPr>
          <p:nvPr/>
        </p:nvSpPr>
        <p:spPr bwMode="auto">
          <a:xfrm>
            <a:off x="1477963" y="4742248"/>
            <a:ext cx="890587" cy="358775"/>
          </a:xfrm>
          <a:prstGeom prst="rect">
            <a:avLst/>
          </a:prstGeom>
          <a:noFill/>
          <a:ln w="6350">
            <a:noFill/>
            <a:miter lim="800000"/>
            <a:headEnd/>
            <a:tailEnd/>
          </a:ln>
        </p:spPr>
        <p:txBody>
          <a:bodyPr wrap="none" lIns="0" tIns="0" rIns="0" bIns="0" anchor="ctr"/>
          <a:lstStyle/>
          <a:p>
            <a:pPr algn="ctr"/>
            <a:endParaRPr lang="en-GB" sz="1200" dirty="0">
              <a:solidFill>
                <a:schemeClr val="tx2"/>
              </a:solidFill>
            </a:endParaRPr>
          </a:p>
        </p:txBody>
      </p:sp>
      <p:sp>
        <p:nvSpPr>
          <p:cNvPr id="13" name="Rectangle 12"/>
          <p:cNvSpPr>
            <a:spLocks noChangeArrowheads="1"/>
          </p:cNvSpPr>
          <p:nvPr/>
        </p:nvSpPr>
        <p:spPr bwMode="auto">
          <a:xfrm>
            <a:off x="6800850" y="4742248"/>
            <a:ext cx="857250" cy="371475"/>
          </a:xfrm>
          <a:prstGeom prst="rect">
            <a:avLst/>
          </a:prstGeom>
          <a:noFill/>
          <a:ln w="6350">
            <a:noFill/>
            <a:miter lim="800000"/>
            <a:headEnd/>
            <a:tailEnd/>
          </a:ln>
        </p:spPr>
        <p:txBody>
          <a:bodyPr wrap="none" lIns="0" tIns="0" rIns="0" bIns="0" anchor="ctr"/>
          <a:lstStyle/>
          <a:p>
            <a:pPr algn="ctr"/>
            <a:endParaRPr lang="en-GB" sz="1200" dirty="0">
              <a:solidFill>
                <a:schemeClr val="tx2"/>
              </a:solidFill>
            </a:endParaRPr>
          </a:p>
        </p:txBody>
      </p:sp>
      <p:sp>
        <p:nvSpPr>
          <p:cNvPr id="14" name="Rectangle 13"/>
          <p:cNvSpPr>
            <a:spLocks noChangeArrowheads="1"/>
          </p:cNvSpPr>
          <p:nvPr/>
        </p:nvSpPr>
        <p:spPr bwMode="auto">
          <a:xfrm>
            <a:off x="930275" y="4844096"/>
            <a:ext cx="7258050" cy="638175"/>
          </a:xfrm>
          <a:prstGeom prst="rect">
            <a:avLst/>
          </a:prstGeom>
          <a:solidFill>
            <a:schemeClr val="tx2"/>
          </a:solidFill>
          <a:ln w="6350" algn="ctr">
            <a:noFill/>
            <a:miter lim="800000"/>
            <a:headEnd/>
            <a:tailEnd/>
          </a:ln>
        </p:spPr>
        <p:txBody>
          <a:bodyPr lIns="88900" tIns="88900" rIns="88900" bIns="88900" anchor="ctr" anchorCtr="0"/>
          <a:lstStyle/>
          <a:p>
            <a:pPr algn="ctr"/>
            <a:r>
              <a:rPr lang="en-GB" altLang="ja-JP" sz="1200" dirty="0">
                <a:solidFill>
                  <a:schemeClr val="bg1"/>
                </a:solidFill>
                <a:ea typeface="ＭＳ Ｐゴシック" charset="-128"/>
              </a:rPr>
              <a:t>Text</a:t>
            </a:r>
          </a:p>
        </p:txBody>
      </p:sp>
      <p:sp>
        <p:nvSpPr>
          <p:cNvPr id="15" name="TextBox 14"/>
          <p:cNvSpPr txBox="1"/>
          <p:nvPr/>
        </p:nvSpPr>
        <p:spPr>
          <a:xfrm>
            <a:off x="3429000" y="3646303"/>
            <a:ext cx="2286000" cy="215444"/>
          </a:xfrm>
          <a:prstGeom prst="rect">
            <a:avLst/>
          </a:prstGeom>
          <a:noFill/>
          <a:ln>
            <a:noFill/>
          </a:ln>
        </p:spPr>
        <p:txBody>
          <a:bodyPr wrap="square" lIns="0" tIns="0" rIns="0" bIns="0" rtlCol="0" anchor="ctr">
            <a:noAutofit/>
          </a:bodyPr>
          <a:lstStyle/>
          <a:p>
            <a:pPr algn="ctr">
              <a:spcBef>
                <a:spcPts val="1200"/>
              </a:spcBef>
              <a:buSzPct val="100000"/>
            </a:pPr>
            <a:r>
              <a:rPr lang="en-US" sz="1400" dirty="0"/>
              <a:t>Text</a:t>
            </a:r>
          </a:p>
        </p:txBody>
      </p:sp>
    </p:spTree>
    <p:extLst>
      <p:ext uri="{BB962C8B-B14F-4D97-AF65-F5344CB8AC3E}">
        <p14:creationId xmlns:p14="http://schemas.microsoft.com/office/powerpoint/2010/main" val="3688925579"/>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al Estate</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374501" y="212123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Key 1</a:t>
            </a:r>
          </a:p>
        </p:txBody>
      </p:sp>
      <p:sp>
        <p:nvSpPr>
          <p:cNvPr id="423" name="TextBox 422"/>
          <p:cNvSpPr txBox="1"/>
          <p:nvPr/>
        </p:nvSpPr>
        <p:spPr>
          <a:xfrm>
            <a:off x="1204133" y="2121972"/>
            <a:ext cx="83396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Key 2</a:t>
            </a:r>
          </a:p>
        </p:txBody>
      </p:sp>
      <p:sp>
        <p:nvSpPr>
          <p:cNvPr id="424" name="TextBox 423"/>
          <p:cNvSpPr txBox="1"/>
          <p:nvPr/>
        </p:nvSpPr>
        <p:spPr>
          <a:xfrm>
            <a:off x="2889856" y="212089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ouse 2</a:t>
            </a:r>
          </a:p>
        </p:txBody>
      </p:sp>
      <p:sp>
        <p:nvSpPr>
          <p:cNvPr id="425" name="TextBox 424"/>
          <p:cNvSpPr txBox="1"/>
          <p:nvPr/>
        </p:nvSpPr>
        <p:spPr>
          <a:xfrm>
            <a:off x="2048582"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ouse 1</a:t>
            </a:r>
          </a:p>
        </p:txBody>
      </p:sp>
      <p:sp>
        <p:nvSpPr>
          <p:cNvPr id="426" name="TextBox 425"/>
          <p:cNvSpPr txBox="1"/>
          <p:nvPr/>
        </p:nvSpPr>
        <p:spPr>
          <a:xfrm>
            <a:off x="3731130"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Houses</a:t>
            </a:r>
          </a:p>
        </p:txBody>
      </p:sp>
      <p:sp>
        <p:nvSpPr>
          <p:cNvPr id="428" name="TextBox 427"/>
          <p:cNvSpPr txBox="1"/>
          <p:nvPr/>
        </p:nvSpPr>
        <p:spPr>
          <a:xfrm>
            <a:off x="5413678" y="21051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2</a:t>
            </a:r>
          </a:p>
        </p:txBody>
      </p:sp>
      <p:sp>
        <p:nvSpPr>
          <p:cNvPr id="429" name="TextBox 428"/>
          <p:cNvSpPr txBox="1"/>
          <p:nvPr/>
        </p:nvSpPr>
        <p:spPr>
          <a:xfrm>
            <a:off x="7937500" y="211613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5</a:t>
            </a:r>
          </a:p>
        </p:txBody>
      </p:sp>
      <p:sp>
        <p:nvSpPr>
          <p:cNvPr id="430" name="TextBox 429"/>
          <p:cNvSpPr txBox="1"/>
          <p:nvPr/>
        </p:nvSpPr>
        <p:spPr>
          <a:xfrm>
            <a:off x="4572404" y="2079109"/>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1</a:t>
            </a:r>
          </a:p>
        </p:txBody>
      </p:sp>
      <p:sp>
        <p:nvSpPr>
          <p:cNvPr id="431" name="TextBox 430"/>
          <p:cNvSpPr txBox="1"/>
          <p:nvPr/>
        </p:nvSpPr>
        <p:spPr>
          <a:xfrm>
            <a:off x="7096226" y="210804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4</a:t>
            </a:r>
          </a:p>
        </p:txBody>
      </p:sp>
      <p:sp>
        <p:nvSpPr>
          <p:cNvPr id="472" name="TextBox 471"/>
          <p:cNvSpPr txBox="1"/>
          <p:nvPr/>
        </p:nvSpPr>
        <p:spPr>
          <a:xfrm>
            <a:off x="406400" y="2879791"/>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altor sign</a:t>
            </a:r>
          </a:p>
        </p:txBody>
      </p:sp>
      <p:grpSp>
        <p:nvGrpSpPr>
          <p:cNvPr id="256" name="Group 447"/>
          <p:cNvGrpSpPr>
            <a:grpSpLocks noChangeAspect="1"/>
          </p:cNvGrpSpPr>
          <p:nvPr/>
        </p:nvGrpSpPr>
        <p:grpSpPr bwMode="auto">
          <a:xfrm>
            <a:off x="406400" y="1698118"/>
            <a:ext cx="367041" cy="367041"/>
            <a:chOff x="5601" y="1820"/>
            <a:chExt cx="340" cy="340"/>
          </a:xfrm>
          <a:solidFill>
            <a:schemeClr val="accent5"/>
          </a:solidFill>
        </p:grpSpPr>
        <p:sp>
          <p:nvSpPr>
            <p:cNvPr id="257"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452"/>
          <p:cNvGrpSpPr>
            <a:grpSpLocks noChangeAspect="1"/>
          </p:cNvGrpSpPr>
          <p:nvPr/>
        </p:nvGrpSpPr>
        <p:grpSpPr bwMode="auto">
          <a:xfrm>
            <a:off x="824941" y="1698118"/>
            <a:ext cx="367041" cy="367041"/>
            <a:chOff x="6020" y="1753"/>
            <a:chExt cx="340" cy="340"/>
          </a:xfrm>
          <a:solidFill>
            <a:schemeClr val="accent5"/>
          </a:solidFill>
        </p:grpSpPr>
        <p:sp>
          <p:nvSpPr>
            <p:cNvPr id="260"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3" name="Freeform 459"/>
          <p:cNvSpPr>
            <a:spLocks noChangeAspect="1" noEditPoints="1"/>
          </p:cNvSpPr>
          <p:nvPr/>
        </p:nvSpPr>
        <p:spPr bwMode="auto">
          <a:xfrm>
            <a:off x="1243482" y="1698118"/>
            <a:ext cx="367041" cy="367041"/>
          </a:xfrm>
          <a:custGeom>
            <a:avLst/>
            <a:gdLst>
              <a:gd name="T0" fmla="*/ 202 w 512"/>
              <a:gd name="T1" fmla="*/ 256 h 512"/>
              <a:gd name="T2" fmla="*/ 160 w 512"/>
              <a:gd name="T3" fmla="*/ 298 h 512"/>
              <a:gd name="T4" fmla="*/ 117 w 512"/>
              <a:gd name="T5" fmla="*/ 256 h 512"/>
              <a:gd name="T6" fmla="*/ 160 w 512"/>
              <a:gd name="T7" fmla="*/ 213 h 512"/>
              <a:gd name="T8" fmla="*/ 202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223 w 512"/>
              <a:gd name="T25" fmla="*/ 245 h 512"/>
              <a:gd name="T26" fmla="*/ 160 w 512"/>
              <a:gd name="T27" fmla="*/ 192 h 512"/>
              <a:gd name="T28" fmla="*/ 96 w 512"/>
              <a:gd name="T29" fmla="*/ 256 h 512"/>
              <a:gd name="T30" fmla="*/ 160 w 512"/>
              <a:gd name="T31" fmla="*/ 320 h 512"/>
              <a:gd name="T32" fmla="*/ 223 w 512"/>
              <a:gd name="T33" fmla="*/ 266 h 512"/>
              <a:gd name="T34" fmla="*/ 352 w 512"/>
              <a:gd name="T35" fmla="*/ 266 h 512"/>
              <a:gd name="T36" fmla="*/ 352 w 512"/>
              <a:gd name="T37" fmla="*/ 288 h 512"/>
              <a:gd name="T38" fmla="*/ 362 w 512"/>
              <a:gd name="T39" fmla="*/ 298 h 512"/>
              <a:gd name="T40" fmla="*/ 373 w 512"/>
              <a:gd name="T41" fmla="*/ 288 h 512"/>
              <a:gd name="T42" fmla="*/ 373 w 512"/>
              <a:gd name="T43" fmla="*/ 266 h 512"/>
              <a:gd name="T44" fmla="*/ 394 w 512"/>
              <a:gd name="T45" fmla="*/ 266 h 512"/>
              <a:gd name="T46" fmla="*/ 394 w 512"/>
              <a:gd name="T47" fmla="*/ 309 h 512"/>
              <a:gd name="T48" fmla="*/ 405 w 512"/>
              <a:gd name="T49" fmla="*/ 320 h 512"/>
              <a:gd name="T50" fmla="*/ 416 w 512"/>
              <a:gd name="T51" fmla="*/ 309 h 512"/>
              <a:gd name="T52" fmla="*/ 416 w 512"/>
              <a:gd name="T5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02" y="256"/>
                </a:moveTo>
                <a:cubicBezTo>
                  <a:pt x="202" y="279"/>
                  <a:pt x="183" y="298"/>
                  <a:pt x="160" y="298"/>
                </a:cubicBezTo>
                <a:cubicBezTo>
                  <a:pt x="136" y="298"/>
                  <a:pt x="117" y="279"/>
                  <a:pt x="117" y="256"/>
                </a:cubicBezTo>
                <a:cubicBezTo>
                  <a:pt x="117" y="232"/>
                  <a:pt x="136" y="213"/>
                  <a:pt x="160" y="213"/>
                </a:cubicBezTo>
                <a:cubicBezTo>
                  <a:pt x="183" y="213"/>
                  <a:pt x="202" y="232"/>
                  <a:pt x="202"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223" y="245"/>
                  <a:pt x="223" y="245"/>
                  <a:pt x="223" y="245"/>
                </a:cubicBezTo>
                <a:cubicBezTo>
                  <a:pt x="218" y="215"/>
                  <a:pt x="191" y="192"/>
                  <a:pt x="160" y="192"/>
                </a:cubicBezTo>
                <a:cubicBezTo>
                  <a:pt x="124" y="192"/>
                  <a:pt x="96" y="220"/>
                  <a:pt x="96" y="256"/>
                </a:cubicBezTo>
                <a:cubicBezTo>
                  <a:pt x="96" y="291"/>
                  <a:pt x="124" y="320"/>
                  <a:pt x="160" y="320"/>
                </a:cubicBezTo>
                <a:cubicBezTo>
                  <a:pt x="191" y="320"/>
                  <a:pt x="218" y="297"/>
                  <a:pt x="223" y="266"/>
                </a:cubicBezTo>
                <a:cubicBezTo>
                  <a:pt x="352" y="266"/>
                  <a:pt x="352" y="266"/>
                  <a:pt x="352" y="266"/>
                </a:cubicBezTo>
                <a:cubicBezTo>
                  <a:pt x="352" y="288"/>
                  <a:pt x="352" y="288"/>
                  <a:pt x="352" y="288"/>
                </a:cubicBezTo>
                <a:cubicBezTo>
                  <a:pt x="352" y="294"/>
                  <a:pt x="356" y="298"/>
                  <a:pt x="362" y="298"/>
                </a:cubicBezTo>
                <a:cubicBezTo>
                  <a:pt x="368" y="298"/>
                  <a:pt x="373" y="294"/>
                  <a:pt x="373" y="288"/>
                </a:cubicBezTo>
                <a:cubicBezTo>
                  <a:pt x="373" y="266"/>
                  <a:pt x="373" y="266"/>
                  <a:pt x="373" y="266"/>
                </a:cubicBezTo>
                <a:cubicBezTo>
                  <a:pt x="394" y="266"/>
                  <a:pt x="394" y="266"/>
                  <a:pt x="394" y="266"/>
                </a:cubicBezTo>
                <a:cubicBezTo>
                  <a:pt x="394" y="309"/>
                  <a:pt x="394" y="309"/>
                  <a:pt x="394" y="309"/>
                </a:cubicBezTo>
                <a:cubicBezTo>
                  <a:pt x="394" y="315"/>
                  <a:pt x="399" y="320"/>
                  <a:pt x="405" y="320"/>
                </a:cubicBezTo>
                <a:cubicBezTo>
                  <a:pt x="411" y="320"/>
                  <a:pt x="416" y="315"/>
                  <a:pt x="416" y="309"/>
                </a:cubicBezTo>
                <a:lnTo>
                  <a:pt x="416" y="25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4" name="Group 462"/>
          <p:cNvGrpSpPr>
            <a:grpSpLocks noChangeAspect="1"/>
          </p:cNvGrpSpPr>
          <p:nvPr/>
        </p:nvGrpSpPr>
        <p:grpSpPr bwMode="auto">
          <a:xfrm>
            <a:off x="1662023" y="1698118"/>
            <a:ext cx="368121" cy="367041"/>
            <a:chOff x="6232" y="2834"/>
            <a:chExt cx="341" cy="340"/>
          </a:xfrm>
          <a:solidFill>
            <a:schemeClr val="accent5"/>
          </a:solidFill>
        </p:grpSpPr>
        <p:sp>
          <p:nvSpPr>
            <p:cNvPr id="265" name="Freeform 463"/>
            <p:cNvSpPr>
              <a:spLocks noEditPoints="1"/>
            </p:cNvSpPr>
            <p:nvPr/>
          </p:nvSpPr>
          <p:spPr bwMode="auto">
            <a:xfrm>
              <a:off x="6232" y="28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464"/>
            <p:cNvSpPr>
              <a:spLocks noEditPoints="1"/>
            </p:cNvSpPr>
            <p:nvPr/>
          </p:nvSpPr>
          <p:spPr bwMode="auto">
            <a:xfrm>
              <a:off x="6296" y="2961"/>
              <a:ext cx="213" cy="85"/>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9" name="Freeform 314"/>
          <p:cNvSpPr>
            <a:spLocks noChangeAspect="1" noEditPoints="1"/>
          </p:cNvSpPr>
          <p:nvPr/>
        </p:nvSpPr>
        <p:spPr bwMode="auto">
          <a:xfrm>
            <a:off x="2919805" y="1698118"/>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90" name="Group 317"/>
          <p:cNvGrpSpPr>
            <a:grpSpLocks noChangeAspect="1"/>
          </p:cNvGrpSpPr>
          <p:nvPr/>
        </p:nvGrpSpPr>
        <p:grpSpPr bwMode="auto">
          <a:xfrm>
            <a:off x="3338346" y="1698118"/>
            <a:ext cx="367041" cy="367041"/>
            <a:chOff x="3039" y="1341"/>
            <a:chExt cx="340" cy="340"/>
          </a:xfrm>
          <a:solidFill>
            <a:schemeClr val="accent4"/>
          </a:solidFill>
        </p:grpSpPr>
        <p:sp>
          <p:nvSpPr>
            <p:cNvPr id="291" name="Freeform 318"/>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319"/>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320"/>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321"/>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3" name="Freeform 337"/>
          <p:cNvSpPr>
            <a:spLocks noChangeAspect="1" noEditPoints="1"/>
          </p:cNvSpPr>
          <p:nvPr/>
        </p:nvSpPr>
        <p:spPr bwMode="auto">
          <a:xfrm>
            <a:off x="2081644" y="1697039"/>
            <a:ext cx="368120"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4" name="Group 340"/>
          <p:cNvGrpSpPr>
            <a:grpSpLocks noChangeAspect="1"/>
          </p:cNvGrpSpPr>
          <p:nvPr/>
        </p:nvGrpSpPr>
        <p:grpSpPr bwMode="auto">
          <a:xfrm>
            <a:off x="2501264" y="1698118"/>
            <a:ext cx="367041" cy="367041"/>
            <a:chOff x="4436" y="1680"/>
            <a:chExt cx="340" cy="340"/>
          </a:xfrm>
          <a:solidFill>
            <a:schemeClr val="accent4"/>
          </a:solidFill>
        </p:grpSpPr>
        <p:sp>
          <p:nvSpPr>
            <p:cNvPr id="305" name="Freeform 341"/>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342"/>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7" name="Freeform 346"/>
          <p:cNvSpPr>
            <a:spLocks noChangeAspect="1" noEditPoints="1"/>
          </p:cNvSpPr>
          <p:nvPr/>
        </p:nvSpPr>
        <p:spPr bwMode="auto">
          <a:xfrm>
            <a:off x="3756887" y="1698118"/>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08" name="Group 349"/>
          <p:cNvGrpSpPr>
            <a:grpSpLocks noChangeAspect="1"/>
          </p:cNvGrpSpPr>
          <p:nvPr/>
        </p:nvGrpSpPr>
        <p:grpSpPr bwMode="auto">
          <a:xfrm>
            <a:off x="4175428" y="1698118"/>
            <a:ext cx="367041" cy="367041"/>
            <a:chOff x="5071" y="1628"/>
            <a:chExt cx="340" cy="340"/>
          </a:xfrm>
          <a:solidFill>
            <a:schemeClr val="accent4"/>
          </a:solidFill>
        </p:grpSpPr>
        <p:sp>
          <p:nvSpPr>
            <p:cNvPr id="309"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1" name="Freeform 26"/>
          <p:cNvSpPr>
            <a:spLocks noEditPoints="1"/>
          </p:cNvSpPr>
          <p:nvPr/>
        </p:nvSpPr>
        <p:spPr bwMode="auto">
          <a:xfrm>
            <a:off x="7115305" y="1693684"/>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12" name="Group 29"/>
          <p:cNvGrpSpPr>
            <a:grpSpLocks noChangeAspect="1"/>
          </p:cNvGrpSpPr>
          <p:nvPr/>
        </p:nvGrpSpPr>
        <p:grpSpPr bwMode="auto">
          <a:xfrm>
            <a:off x="7535105" y="1693684"/>
            <a:ext cx="371475" cy="371475"/>
            <a:chOff x="2077" y="567"/>
            <a:chExt cx="234" cy="234"/>
          </a:xfrm>
          <a:solidFill>
            <a:schemeClr val="accent1"/>
          </a:solidFill>
        </p:grpSpPr>
        <p:sp>
          <p:nvSpPr>
            <p:cNvPr id="3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5" name="Freeform 5"/>
          <p:cNvSpPr>
            <a:spLocks noChangeAspect="1" noEditPoints="1"/>
          </p:cNvSpPr>
          <p:nvPr/>
        </p:nvSpPr>
        <p:spPr bwMode="auto">
          <a:xfrm>
            <a:off x="6273178" y="1696138"/>
            <a:ext cx="369021" cy="369021"/>
          </a:xfrm>
          <a:custGeom>
            <a:avLst/>
            <a:gdLst>
              <a:gd name="T0" fmla="*/ 138 w 512"/>
              <a:gd name="T1" fmla="*/ 277 h 512"/>
              <a:gd name="T2" fmla="*/ 202 w 512"/>
              <a:gd name="T3" fmla="*/ 277 h 512"/>
              <a:gd name="T4" fmla="*/ 394 w 512"/>
              <a:gd name="T5" fmla="*/ 160 h 512"/>
              <a:gd name="T6" fmla="*/ 362 w 512"/>
              <a:gd name="T7" fmla="*/ 181 h 512"/>
              <a:gd name="T8" fmla="*/ 352 w 512"/>
              <a:gd name="T9" fmla="*/ 192 h 512"/>
              <a:gd name="T10" fmla="*/ 373 w 512"/>
              <a:gd name="T11" fmla="*/ 234 h 512"/>
              <a:gd name="T12" fmla="*/ 362 w 512"/>
              <a:gd name="T13" fmla="*/ 224 h 512"/>
              <a:gd name="T14" fmla="*/ 362 w 512"/>
              <a:gd name="T15" fmla="*/ 288 h 512"/>
              <a:gd name="T16" fmla="*/ 362 w 512"/>
              <a:gd name="T17" fmla="*/ 309 h 512"/>
              <a:gd name="T18" fmla="*/ 352 w 512"/>
              <a:gd name="T19" fmla="*/ 320 h 512"/>
              <a:gd name="T20" fmla="*/ 330 w 512"/>
              <a:gd name="T21" fmla="*/ 192 h 512"/>
              <a:gd name="T22" fmla="*/ 320 w 512"/>
              <a:gd name="T23" fmla="*/ 181 h 512"/>
              <a:gd name="T24" fmla="*/ 320 w 512"/>
              <a:gd name="T25" fmla="*/ 245 h 512"/>
              <a:gd name="T26" fmla="*/ 320 w 512"/>
              <a:gd name="T27" fmla="*/ 266 h 512"/>
              <a:gd name="T28" fmla="*/ 309 w 512"/>
              <a:gd name="T29" fmla="*/ 277 h 512"/>
              <a:gd name="T30" fmla="*/ 330 w 512"/>
              <a:gd name="T31" fmla="*/ 320 h 512"/>
              <a:gd name="T32" fmla="*/ 320 w 512"/>
              <a:gd name="T33" fmla="*/ 309 h 512"/>
              <a:gd name="T34" fmla="*/ 277 w 512"/>
              <a:gd name="T35" fmla="*/ 202 h 512"/>
              <a:gd name="T36" fmla="*/ 277 w 512"/>
              <a:gd name="T37" fmla="*/ 224 h 512"/>
              <a:gd name="T38" fmla="*/ 266 w 512"/>
              <a:gd name="T39" fmla="*/ 234 h 512"/>
              <a:gd name="T40" fmla="*/ 288 w 512"/>
              <a:gd name="T41" fmla="*/ 277 h 512"/>
              <a:gd name="T42" fmla="*/ 277 w 512"/>
              <a:gd name="T43" fmla="*/ 266 h 512"/>
              <a:gd name="T44" fmla="*/ 277 w 512"/>
              <a:gd name="T45" fmla="*/ 330 h 512"/>
              <a:gd name="T46" fmla="*/ 234 w 512"/>
              <a:gd name="T47" fmla="*/ 181 h 512"/>
              <a:gd name="T48" fmla="*/ 224 w 512"/>
              <a:gd name="T49" fmla="*/ 192 h 512"/>
              <a:gd name="T50" fmla="*/ 245 w 512"/>
              <a:gd name="T51" fmla="*/ 234 h 512"/>
              <a:gd name="T52" fmla="*/ 234 w 512"/>
              <a:gd name="T53" fmla="*/ 224 h 512"/>
              <a:gd name="T54" fmla="*/ 234 w 512"/>
              <a:gd name="T55" fmla="*/ 288 h 512"/>
              <a:gd name="T56" fmla="*/ 234 w 512"/>
              <a:gd name="T57" fmla="*/ 309 h 512"/>
              <a:gd name="T58" fmla="*/ 224 w 512"/>
              <a:gd name="T59" fmla="*/ 320 h 512"/>
              <a:gd name="T60" fmla="*/ 202 w 512"/>
              <a:gd name="T61" fmla="*/ 192 h 512"/>
              <a:gd name="T62" fmla="*/ 192 w 512"/>
              <a:gd name="T63" fmla="*/ 181 h 512"/>
              <a:gd name="T64" fmla="*/ 192 w 512"/>
              <a:gd name="T65" fmla="*/ 245 h 512"/>
              <a:gd name="T66" fmla="*/ 149 w 512"/>
              <a:gd name="T67" fmla="*/ 181 h 512"/>
              <a:gd name="T68" fmla="*/ 138 w 512"/>
              <a:gd name="T69" fmla="*/ 192 h 512"/>
              <a:gd name="T70" fmla="*/ 160 w 512"/>
              <a:gd name="T71" fmla="*/ 234 h 512"/>
              <a:gd name="T72" fmla="*/ 149 w 512"/>
              <a:gd name="T73" fmla="*/ 224 h 512"/>
              <a:gd name="T74" fmla="*/ 256 w 512"/>
              <a:gd name="T75" fmla="*/ 512 h 512"/>
              <a:gd name="T76" fmla="*/ 416 w 512"/>
              <a:gd name="T77" fmla="*/ 362 h 512"/>
              <a:gd name="T78" fmla="*/ 96 w 512"/>
              <a:gd name="T79" fmla="*/ 362 h 512"/>
              <a:gd name="T80" fmla="*/ 405 w 512"/>
              <a:gd name="T81" fmla="*/ 138 h 512"/>
              <a:gd name="T82" fmla="*/ 160 w 512"/>
              <a:gd name="T83" fmla="*/ 288 h 512"/>
              <a:gd name="T84" fmla="*/ 160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17" y="352"/>
                </a:moveTo>
                <a:cubicBezTo>
                  <a:pt x="138" y="352"/>
                  <a:pt x="138" y="352"/>
                  <a:pt x="138" y="352"/>
                </a:cubicBezTo>
                <a:cubicBezTo>
                  <a:pt x="138" y="277"/>
                  <a:pt x="138" y="277"/>
                  <a:pt x="138" y="277"/>
                </a:cubicBezTo>
                <a:cubicBezTo>
                  <a:pt x="138" y="271"/>
                  <a:pt x="143" y="266"/>
                  <a:pt x="149" y="266"/>
                </a:cubicBezTo>
                <a:cubicBezTo>
                  <a:pt x="192" y="266"/>
                  <a:pt x="192" y="266"/>
                  <a:pt x="192" y="266"/>
                </a:cubicBezTo>
                <a:cubicBezTo>
                  <a:pt x="198" y="266"/>
                  <a:pt x="202" y="271"/>
                  <a:pt x="202" y="277"/>
                </a:cubicBezTo>
                <a:cubicBezTo>
                  <a:pt x="202" y="352"/>
                  <a:pt x="202" y="352"/>
                  <a:pt x="202" y="352"/>
                </a:cubicBezTo>
                <a:cubicBezTo>
                  <a:pt x="394" y="352"/>
                  <a:pt x="394" y="352"/>
                  <a:pt x="394" y="352"/>
                </a:cubicBezTo>
                <a:cubicBezTo>
                  <a:pt x="394" y="160"/>
                  <a:pt x="394" y="160"/>
                  <a:pt x="394" y="160"/>
                </a:cubicBezTo>
                <a:cubicBezTo>
                  <a:pt x="117" y="160"/>
                  <a:pt x="117" y="160"/>
                  <a:pt x="117" y="160"/>
                </a:cubicBezTo>
                <a:lnTo>
                  <a:pt x="117" y="352"/>
                </a:lnTo>
                <a:close/>
                <a:moveTo>
                  <a:pt x="362" y="181"/>
                </a:moveTo>
                <a:cubicBezTo>
                  <a:pt x="368" y="181"/>
                  <a:pt x="373" y="186"/>
                  <a:pt x="373" y="192"/>
                </a:cubicBezTo>
                <a:cubicBezTo>
                  <a:pt x="373" y="198"/>
                  <a:pt x="368" y="202"/>
                  <a:pt x="362" y="202"/>
                </a:cubicBezTo>
                <a:cubicBezTo>
                  <a:pt x="356" y="202"/>
                  <a:pt x="352" y="198"/>
                  <a:pt x="352" y="192"/>
                </a:cubicBezTo>
                <a:cubicBezTo>
                  <a:pt x="352" y="186"/>
                  <a:pt x="356" y="181"/>
                  <a:pt x="362" y="181"/>
                </a:cubicBezTo>
                <a:close/>
                <a:moveTo>
                  <a:pt x="362" y="224"/>
                </a:moveTo>
                <a:cubicBezTo>
                  <a:pt x="368" y="224"/>
                  <a:pt x="373" y="228"/>
                  <a:pt x="373" y="234"/>
                </a:cubicBezTo>
                <a:cubicBezTo>
                  <a:pt x="373" y="240"/>
                  <a:pt x="368" y="245"/>
                  <a:pt x="362" y="245"/>
                </a:cubicBezTo>
                <a:cubicBezTo>
                  <a:pt x="356" y="245"/>
                  <a:pt x="352" y="240"/>
                  <a:pt x="352" y="234"/>
                </a:cubicBezTo>
                <a:cubicBezTo>
                  <a:pt x="352" y="228"/>
                  <a:pt x="356" y="224"/>
                  <a:pt x="362" y="224"/>
                </a:cubicBezTo>
                <a:close/>
                <a:moveTo>
                  <a:pt x="362" y="266"/>
                </a:moveTo>
                <a:cubicBezTo>
                  <a:pt x="368" y="266"/>
                  <a:pt x="373" y="271"/>
                  <a:pt x="373" y="277"/>
                </a:cubicBezTo>
                <a:cubicBezTo>
                  <a:pt x="373" y="283"/>
                  <a:pt x="368" y="288"/>
                  <a:pt x="362" y="288"/>
                </a:cubicBezTo>
                <a:cubicBezTo>
                  <a:pt x="356" y="288"/>
                  <a:pt x="352" y="283"/>
                  <a:pt x="352" y="277"/>
                </a:cubicBezTo>
                <a:cubicBezTo>
                  <a:pt x="352" y="271"/>
                  <a:pt x="356" y="266"/>
                  <a:pt x="362" y="266"/>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181"/>
                </a:moveTo>
                <a:cubicBezTo>
                  <a:pt x="326" y="181"/>
                  <a:pt x="330" y="186"/>
                  <a:pt x="330" y="192"/>
                </a:cubicBezTo>
                <a:cubicBezTo>
                  <a:pt x="330" y="198"/>
                  <a:pt x="326" y="202"/>
                  <a:pt x="320" y="202"/>
                </a:cubicBezTo>
                <a:cubicBezTo>
                  <a:pt x="314" y="202"/>
                  <a:pt x="309" y="198"/>
                  <a:pt x="309" y="192"/>
                </a:cubicBezTo>
                <a:cubicBezTo>
                  <a:pt x="309" y="186"/>
                  <a:pt x="314" y="181"/>
                  <a:pt x="320" y="181"/>
                </a:cubicBezTo>
                <a:close/>
                <a:moveTo>
                  <a:pt x="320" y="224"/>
                </a:moveTo>
                <a:cubicBezTo>
                  <a:pt x="326" y="224"/>
                  <a:pt x="330" y="228"/>
                  <a:pt x="330" y="234"/>
                </a:cubicBezTo>
                <a:cubicBezTo>
                  <a:pt x="330" y="240"/>
                  <a:pt x="326" y="245"/>
                  <a:pt x="320" y="245"/>
                </a:cubicBezTo>
                <a:cubicBezTo>
                  <a:pt x="314" y="245"/>
                  <a:pt x="309" y="240"/>
                  <a:pt x="309" y="234"/>
                </a:cubicBezTo>
                <a:cubicBezTo>
                  <a:pt x="309" y="228"/>
                  <a:pt x="314" y="224"/>
                  <a:pt x="320" y="224"/>
                </a:cubicBezTo>
                <a:close/>
                <a:moveTo>
                  <a:pt x="320" y="266"/>
                </a:moveTo>
                <a:cubicBezTo>
                  <a:pt x="326" y="266"/>
                  <a:pt x="330" y="271"/>
                  <a:pt x="330" y="277"/>
                </a:cubicBezTo>
                <a:cubicBezTo>
                  <a:pt x="330" y="283"/>
                  <a:pt x="326" y="288"/>
                  <a:pt x="320" y="288"/>
                </a:cubicBezTo>
                <a:cubicBezTo>
                  <a:pt x="314" y="288"/>
                  <a:pt x="309" y="283"/>
                  <a:pt x="309" y="277"/>
                </a:cubicBezTo>
                <a:cubicBezTo>
                  <a:pt x="309" y="271"/>
                  <a:pt x="314" y="266"/>
                  <a:pt x="320" y="266"/>
                </a:cubicBezTo>
                <a:close/>
                <a:moveTo>
                  <a:pt x="320" y="309"/>
                </a:moveTo>
                <a:cubicBezTo>
                  <a:pt x="326" y="309"/>
                  <a:pt x="330" y="314"/>
                  <a:pt x="330" y="320"/>
                </a:cubicBezTo>
                <a:cubicBezTo>
                  <a:pt x="330" y="326"/>
                  <a:pt x="326" y="330"/>
                  <a:pt x="320" y="330"/>
                </a:cubicBezTo>
                <a:cubicBezTo>
                  <a:pt x="314" y="330"/>
                  <a:pt x="309" y="326"/>
                  <a:pt x="309" y="320"/>
                </a:cubicBezTo>
                <a:cubicBezTo>
                  <a:pt x="309" y="314"/>
                  <a:pt x="314" y="309"/>
                  <a:pt x="320" y="309"/>
                </a:cubicBezTo>
                <a:close/>
                <a:moveTo>
                  <a:pt x="277" y="181"/>
                </a:moveTo>
                <a:cubicBezTo>
                  <a:pt x="283" y="181"/>
                  <a:pt x="288" y="186"/>
                  <a:pt x="288" y="192"/>
                </a:cubicBezTo>
                <a:cubicBezTo>
                  <a:pt x="288" y="198"/>
                  <a:pt x="283" y="202"/>
                  <a:pt x="277" y="202"/>
                </a:cubicBezTo>
                <a:cubicBezTo>
                  <a:pt x="271" y="202"/>
                  <a:pt x="266" y="198"/>
                  <a:pt x="266" y="192"/>
                </a:cubicBezTo>
                <a:cubicBezTo>
                  <a:pt x="266" y="186"/>
                  <a:pt x="271" y="181"/>
                  <a:pt x="277" y="181"/>
                </a:cubicBezTo>
                <a:close/>
                <a:moveTo>
                  <a:pt x="277" y="224"/>
                </a:moveTo>
                <a:cubicBezTo>
                  <a:pt x="283" y="224"/>
                  <a:pt x="288" y="228"/>
                  <a:pt x="288" y="234"/>
                </a:cubicBezTo>
                <a:cubicBezTo>
                  <a:pt x="288" y="240"/>
                  <a:pt x="283" y="245"/>
                  <a:pt x="277" y="245"/>
                </a:cubicBezTo>
                <a:cubicBezTo>
                  <a:pt x="271" y="245"/>
                  <a:pt x="266" y="240"/>
                  <a:pt x="266" y="234"/>
                </a:cubicBezTo>
                <a:cubicBezTo>
                  <a:pt x="266" y="228"/>
                  <a:pt x="271" y="224"/>
                  <a:pt x="277" y="224"/>
                </a:cubicBezTo>
                <a:close/>
                <a:moveTo>
                  <a:pt x="277" y="266"/>
                </a:moveTo>
                <a:cubicBezTo>
                  <a:pt x="283" y="266"/>
                  <a:pt x="288" y="271"/>
                  <a:pt x="288" y="277"/>
                </a:cubicBezTo>
                <a:cubicBezTo>
                  <a:pt x="288" y="283"/>
                  <a:pt x="283" y="288"/>
                  <a:pt x="277" y="288"/>
                </a:cubicBezTo>
                <a:cubicBezTo>
                  <a:pt x="271" y="288"/>
                  <a:pt x="266" y="283"/>
                  <a:pt x="266" y="277"/>
                </a:cubicBezTo>
                <a:cubicBezTo>
                  <a:pt x="266" y="271"/>
                  <a:pt x="271" y="266"/>
                  <a:pt x="277" y="266"/>
                </a:cubicBezTo>
                <a:close/>
                <a:moveTo>
                  <a:pt x="277" y="309"/>
                </a:moveTo>
                <a:cubicBezTo>
                  <a:pt x="283" y="309"/>
                  <a:pt x="288" y="314"/>
                  <a:pt x="288" y="320"/>
                </a:cubicBezTo>
                <a:cubicBezTo>
                  <a:pt x="288" y="326"/>
                  <a:pt x="283" y="330"/>
                  <a:pt x="277" y="330"/>
                </a:cubicBezTo>
                <a:cubicBezTo>
                  <a:pt x="271" y="330"/>
                  <a:pt x="266" y="326"/>
                  <a:pt x="266" y="320"/>
                </a:cubicBezTo>
                <a:cubicBezTo>
                  <a:pt x="266" y="314"/>
                  <a:pt x="271" y="309"/>
                  <a:pt x="277" y="309"/>
                </a:cubicBezTo>
                <a:close/>
                <a:moveTo>
                  <a:pt x="234" y="181"/>
                </a:moveTo>
                <a:cubicBezTo>
                  <a:pt x="240" y="181"/>
                  <a:pt x="245" y="186"/>
                  <a:pt x="245" y="192"/>
                </a:cubicBezTo>
                <a:cubicBezTo>
                  <a:pt x="245" y="198"/>
                  <a:pt x="240" y="202"/>
                  <a:pt x="234" y="202"/>
                </a:cubicBezTo>
                <a:cubicBezTo>
                  <a:pt x="228" y="202"/>
                  <a:pt x="224" y="198"/>
                  <a:pt x="224" y="192"/>
                </a:cubicBezTo>
                <a:cubicBezTo>
                  <a:pt x="224" y="186"/>
                  <a:pt x="228" y="181"/>
                  <a:pt x="234" y="181"/>
                </a:cubicBezTo>
                <a:close/>
                <a:moveTo>
                  <a:pt x="234" y="224"/>
                </a:moveTo>
                <a:cubicBezTo>
                  <a:pt x="240" y="224"/>
                  <a:pt x="245" y="228"/>
                  <a:pt x="245" y="234"/>
                </a:cubicBezTo>
                <a:cubicBezTo>
                  <a:pt x="245" y="240"/>
                  <a:pt x="240" y="245"/>
                  <a:pt x="234" y="245"/>
                </a:cubicBezTo>
                <a:cubicBezTo>
                  <a:pt x="228" y="245"/>
                  <a:pt x="224" y="240"/>
                  <a:pt x="224" y="234"/>
                </a:cubicBezTo>
                <a:cubicBezTo>
                  <a:pt x="224" y="228"/>
                  <a:pt x="228" y="224"/>
                  <a:pt x="234" y="224"/>
                </a:cubicBezTo>
                <a:close/>
                <a:moveTo>
                  <a:pt x="234" y="266"/>
                </a:moveTo>
                <a:cubicBezTo>
                  <a:pt x="240" y="266"/>
                  <a:pt x="245" y="271"/>
                  <a:pt x="245" y="277"/>
                </a:cubicBezTo>
                <a:cubicBezTo>
                  <a:pt x="245" y="283"/>
                  <a:pt x="240" y="288"/>
                  <a:pt x="234" y="288"/>
                </a:cubicBezTo>
                <a:cubicBezTo>
                  <a:pt x="228" y="288"/>
                  <a:pt x="224" y="283"/>
                  <a:pt x="224" y="277"/>
                </a:cubicBezTo>
                <a:cubicBezTo>
                  <a:pt x="224" y="271"/>
                  <a:pt x="228" y="266"/>
                  <a:pt x="234" y="266"/>
                </a:cubicBezTo>
                <a:close/>
                <a:moveTo>
                  <a:pt x="234" y="309"/>
                </a:moveTo>
                <a:cubicBezTo>
                  <a:pt x="240" y="309"/>
                  <a:pt x="245" y="314"/>
                  <a:pt x="245" y="320"/>
                </a:cubicBezTo>
                <a:cubicBezTo>
                  <a:pt x="245" y="326"/>
                  <a:pt x="240" y="330"/>
                  <a:pt x="234" y="330"/>
                </a:cubicBezTo>
                <a:cubicBezTo>
                  <a:pt x="228" y="330"/>
                  <a:pt x="224" y="326"/>
                  <a:pt x="224" y="320"/>
                </a:cubicBezTo>
                <a:cubicBezTo>
                  <a:pt x="224" y="314"/>
                  <a:pt x="228" y="309"/>
                  <a:pt x="234" y="309"/>
                </a:cubicBezTo>
                <a:close/>
                <a:moveTo>
                  <a:pt x="192" y="181"/>
                </a:moveTo>
                <a:cubicBezTo>
                  <a:pt x="198" y="181"/>
                  <a:pt x="202" y="186"/>
                  <a:pt x="202" y="192"/>
                </a:cubicBezTo>
                <a:cubicBezTo>
                  <a:pt x="202" y="198"/>
                  <a:pt x="198" y="202"/>
                  <a:pt x="192" y="202"/>
                </a:cubicBezTo>
                <a:cubicBezTo>
                  <a:pt x="186" y="202"/>
                  <a:pt x="181" y="198"/>
                  <a:pt x="181" y="192"/>
                </a:cubicBezTo>
                <a:cubicBezTo>
                  <a:pt x="181" y="186"/>
                  <a:pt x="186" y="181"/>
                  <a:pt x="192" y="181"/>
                </a:cubicBezTo>
                <a:close/>
                <a:moveTo>
                  <a:pt x="192" y="224"/>
                </a:moveTo>
                <a:cubicBezTo>
                  <a:pt x="198" y="224"/>
                  <a:pt x="202" y="228"/>
                  <a:pt x="202" y="234"/>
                </a:cubicBezTo>
                <a:cubicBezTo>
                  <a:pt x="202" y="240"/>
                  <a:pt x="198" y="245"/>
                  <a:pt x="192" y="245"/>
                </a:cubicBezTo>
                <a:cubicBezTo>
                  <a:pt x="186" y="245"/>
                  <a:pt x="181" y="240"/>
                  <a:pt x="181" y="234"/>
                </a:cubicBezTo>
                <a:cubicBezTo>
                  <a:pt x="181" y="228"/>
                  <a:pt x="186" y="224"/>
                  <a:pt x="192" y="224"/>
                </a:cubicBezTo>
                <a:close/>
                <a:moveTo>
                  <a:pt x="149" y="181"/>
                </a:moveTo>
                <a:cubicBezTo>
                  <a:pt x="155" y="181"/>
                  <a:pt x="160" y="186"/>
                  <a:pt x="160" y="192"/>
                </a:cubicBezTo>
                <a:cubicBezTo>
                  <a:pt x="160" y="198"/>
                  <a:pt x="155" y="202"/>
                  <a:pt x="149" y="202"/>
                </a:cubicBezTo>
                <a:cubicBezTo>
                  <a:pt x="143" y="202"/>
                  <a:pt x="138" y="198"/>
                  <a:pt x="138" y="192"/>
                </a:cubicBezTo>
                <a:cubicBezTo>
                  <a:pt x="138" y="186"/>
                  <a:pt x="143" y="181"/>
                  <a:pt x="149" y="181"/>
                </a:cubicBezTo>
                <a:close/>
                <a:moveTo>
                  <a:pt x="149" y="224"/>
                </a:moveTo>
                <a:cubicBezTo>
                  <a:pt x="155" y="224"/>
                  <a:pt x="160" y="228"/>
                  <a:pt x="160" y="234"/>
                </a:cubicBezTo>
                <a:cubicBezTo>
                  <a:pt x="160" y="240"/>
                  <a:pt x="155" y="245"/>
                  <a:pt x="149" y="245"/>
                </a:cubicBezTo>
                <a:cubicBezTo>
                  <a:pt x="143" y="245"/>
                  <a:pt x="138" y="240"/>
                  <a:pt x="138" y="234"/>
                </a:cubicBezTo>
                <a:cubicBezTo>
                  <a:pt x="138" y="228"/>
                  <a:pt x="143" y="224"/>
                  <a:pt x="149"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60" y="288"/>
                </a:moveTo>
                <a:cubicBezTo>
                  <a:pt x="181" y="288"/>
                  <a:pt x="181" y="288"/>
                  <a:pt x="181" y="288"/>
                </a:cubicBezTo>
                <a:cubicBezTo>
                  <a:pt x="181" y="352"/>
                  <a:pt x="181" y="352"/>
                  <a:pt x="181" y="352"/>
                </a:cubicBezTo>
                <a:cubicBezTo>
                  <a:pt x="160" y="352"/>
                  <a:pt x="160" y="352"/>
                  <a:pt x="160" y="352"/>
                </a:cubicBezTo>
                <a:lnTo>
                  <a:pt x="160" y="28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16" name="Group 8"/>
          <p:cNvGrpSpPr>
            <a:grpSpLocks noChangeAspect="1"/>
          </p:cNvGrpSpPr>
          <p:nvPr/>
        </p:nvGrpSpPr>
        <p:grpSpPr bwMode="auto">
          <a:xfrm>
            <a:off x="6693699" y="1696138"/>
            <a:ext cx="370106" cy="369021"/>
            <a:chOff x="407" y="-13"/>
            <a:chExt cx="341" cy="340"/>
          </a:xfrm>
          <a:solidFill>
            <a:schemeClr val="accent1"/>
          </a:solidFill>
        </p:grpSpPr>
        <p:sp>
          <p:nvSpPr>
            <p:cNvPr id="317" name="Freeform 9"/>
            <p:cNvSpPr>
              <a:spLocks noEditPoints="1"/>
            </p:cNvSpPr>
            <p:nvPr/>
          </p:nvSpPr>
          <p:spPr bwMode="auto">
            <a:xfrm>
              <a:off x="407" y="-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10"/>
            <p:cNvSpPr>
              <a:spLocks noEditPoints="1"/>
            </p:cNvSpPr>
            <p:nvPr/>
          </p:nvSpPr>
          <p:spPr bwMode="auto">
            <a:xfrm>
              <a:off x="471" y="79"/>
              <a:ext cx="213" cy="15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9" name="Freeform 14"/>
          <p:cNvSpPr>
            <a:spLocks noChangeAspect="1" noEditPoints="1"/>
          </p:cNvSpPr>
          <p:nvPr/>
        </p:nvSpPr>
        <p:spPr bwMode="auto">
          <a:xfrm>
            <a:off x="7958080" y="1696138"/>
            <a:ext cx="369021" cy="369021"/>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0" name="Group 17"/>
          <p:cNvGrpSpPr>
            <a:grpSpLocks noChangeAspect="1"/>
          </p:cNvGrpSpPr>
          <p:nvPr/>
        </p:nvGrpSpPr>
        <p:grpSpPr bwMode="auto">
          <a:xfrm>
            <a:off x="8378605" y="1696138"/>
            <a:ext cx="369021" cy="369021"/>
            <a:chOff x="1240" y="-1"/>
            <a:chExt cx="340" cy="340"/>
          </a:xfrm>
          <a:solidFill>
            <a:schemeClr val="accent1"/>
          </a:solidFill>
        </p:grpSpPr>
        <p:sp>
          <p:nvSpPr>
            <p:cNvPr id="321" name="Freeform 18"/>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19"/>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3" name="Freeform 23"/>
          <p:cNvSpPr>
            <a:spLocks noChangeAspect="1" noEditPoints="1"/>
          </p:cNvSpPr>
          <p:nvPr/>
        </p:nvSpPr>
        <p:spPr bwMode="auto">
          <a:xfrm>
            <a:off x="5431051" y="1696138"/>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24" name="Group 323"/>
          <p:cNvGrpSpPr>
            <a:grpSpLocks noChangeAspect="1"/>
          </p:cNvGrpSpPr>
          <p:nvPr/>
        </p:nvGrpSpPr>
        <p:grpSpPr bwMode="auto">
          <a:xfrm>
            <a:off x="5852657" y="1696138"/>
            <a:ext cx="369021" cy="369021"/>
            <a:chOff x="1925" y="6"/>
            <a:chExt cx="340" cy="340"/>
          </a:xfrm>
          <a:solidFill>
            <a:schemeClr val="accent1"/>
          </a:solidFill>
        </p:grpSpPr>
        <p:sp>
          <p:nvSpPr>
            <p:cNvPr id="325" name="Freeform 324"/>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Freeform 325"/>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7" name="TextBox 326"/>
          <p:cNvSpPr txBox="1"/>
          <p:nvPr/>
        </p:nvSpPr>
        <p:spPr>
          <a:xfrm>
            <a:off x="6254952" y="2109887"/>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3</a:t>
            </a:r>
          </a:p>
        </p:txBody>
      </p:sp>
      <p:grpSp>
        <p:nvGrpSpPr>
          <p:cNvPr id="328" name="Group 603"/>
          <p:cNvGrpSpPr>
            <a:grpSpLocks noChangeAspect="1"/>
          </p:cNvGrpSpPr>
          <p:nvPr/>
        </p:nvGrpSpPr>
        <p:grpSpPr bwMode="auto">
          <a:xfrm>
            <a:off x="843829" y="2481436"/>
            <a:ext cx="369021" cy="369021"/>
            <a:chOff x="5044" y="2340"/>
            <a:chExt cx="340" cy="340"/>
          </a:xfrm>
          <a:solidFill>
            <a:schemeClr val="accent1"/>
          </a:solidFill>
        </p:grpSpPr>
        <p:sp>
          <p:nvSpPr>
            <p:cNvPr id="329" name="Freeform 604"/>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605"/>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1" name="Freeform 609"/>
          <p:cNvSpPr>
            <a:spLocks noChangeAspect="1" noEditPoints="1"/>
          </p:cNvSpPr>
          <p:nvPr/>
        </p:nvSpPr>
        <p:spPr bwMode="auto">
          <a:xfrm>
            <a:off x="403514" y="2481436"/>
            <a:ext cx="369021" cy="369021"/>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332" name="Group 1037"/>
          <p:cNvGrpSpPr>
            <a:grpSpLocks noChangeAspect="1"/>
          </p:cNvGrpSpPr>
          <p:nvPr/>
        </p:nvGrpSpPr>
        <p:grpSpPr bwMode="auto">
          <a:xfrm>
            <a:off x="5012510" y="1697039"/>
            <a:ext cx="367041" cy="368120"/>
            <a:chOff x="7382" y="4025"/>
            <a:chExt cx="340" cy="341"/>
          </a:xfrm>
          <a:solidFill>
            <a:schemeClr val="accent5"/>
          </a:solidFill>
        </p:grpSpPr>
        <p:sp>
          <p:nvSpPr>
            <p:cNvPr id="333" name="Freeform 1038"/>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Freeform 1039"/>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5" name="Freeform 1043"/>
          <p:cNvSpPr>
            <a:spLocks noChangeAspect="1" noEditPoints="1"/>
          </p:cNvSpPr>
          <p:nvPr/>
        </p:nvSpPr>
        <p:spPr bwMode="auto">
          <a:xfrm>
            <a:off x="4593969" y="1698118"/>
            <a:ext cx="367041" cy="367041"/>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872447891"/>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Deloitte specific</a:t>
            </a:r>
            <a:endParaRPr lang="en-GB" dirty="0"/>
          </a:p>
        </p:txBody>
      </p:sp>
      <p:sp>
        <p:nvSpPr>
          <p:cNvPr id="4" name="Title 3"/>
          <p:cNvSpPr>
            <a:spLocks noGrp="1"/>
          </p:cNvSpPr>
          <p:nvPr>
            <p:ph type="title"/>
          </p:nvPr>
        </p:nvSpPr>
        <p:spPr/>
        <p:txBody>
          <a:bodyPr/>
          <a:lstStyle/>
          <a:p>
            <a:r>
              <a:rPr lang="en-GB" dirty="0"/>
              <a:t>Iconography</a:t>
            </a:r>
          </a:p>
        </p:txBody>
      </p:sp>
      <p:sp>
        <p:nvSpPr>
          <p:cNvPr id="422" name="TextBox 421"/>
          <p:cNvSpPr txBox="1"/>
          <p:nvPr/>
        </p:nvSpPr>
        <p:spPr>
          <a:xfrm>
            <a:off x="406400" y="2121232"/>
            <a:ext cx="819150"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ubmit RFP</a:t>
            </a:r>
          </a:p>
        </p:txBody>
      </p:sp>
      <p:sp>
        <p:nvSpPr>
          <p:cNvPr id="423" name="TextBox 422"/>
          <p:cNvSpPr txBox="1"/>
          <p:nvPr/>
        </p:nvSpPr>
        <p:spPr>
          <a:xfrm>
            <a:off x="1232958" y="2121972"/>
            <a:ext cx="83396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Office locator</a:t>
            </a:r>
          </a:p>
        </p:txBody>
      </p:sp>
      <p:sp>
        <p:nvSpPr>
          <p:cNvPr id="424" name="TextBox 423"/>
          <p:cNvSpPr txBox="1"/>
          <p:nvPr/>
        </p:nvSpPr>
        <p:spPr>
          <a:xfrm>
            <a:off x="2074333" y="2121972"/>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arch jobs</a:t>
            </a:r>
          </a:p>
        </p:txBody>
      </p:sp>
      <p:grpSp>
        <p:nvGrpSpPr>
          <p:cNvPr id="256" name="Group 314"/>
          <p:cNvGrpSpPr>
            <a:grpSpLocks noChangeAspect="1"/>
          </p:cNvGrpSpPr>
          <p:nvPr/>
        </p:nvGrpSpPr>
        <p:grpSpPr bwMode="auto">
          <a:xfrm>
            <a:off x="825755" y="1701021"/>
            <a:ext cx="369676" cy="369676"/>
            <a:chOff x="5811" y="1152"/>
            <a:chExt cx="340" cy="340"/>
          </a:xfrm>
          <a:solidFill>
            <a:schemeClr val="accent4"/>
          </a:solidFill>
        </p:grpSpPr>
        <p:sp>
          <p:nvSpPr>
            <p:cNvPr id="257" name="Freeform 315"/>
            <p:cNvSpPr>
              <a:spLocks noEditPoints="1"/>
            </p:cNvSpPr>
            <p:nvPr/>
          </p:nvSpPr>
          <p:spPr bwMode="auto">
            <a:xfrm>
              <a:off x="5889" y="1222"/>
              <a:ext cx="184" cy="192"/>
            </a:xfrm>
            <a:custGeom>
              <a:avLst/>
              <a:gdLst>
                <a:gd name="T0" fmla="*/ 267 w 277"/>
                <a:gd name="T1" fmla="*/ 32 h 288"/>
                <a:gd name="T2" fmla="*/ 224 w 277"/>
                <a:gd name="T3" fmla="*/ 32 h 288"/>
                <a:gd name="T4" fmla="*/ 224 w 277"/>
                <a:gd name="T5" fmla="*/ 11 h 288"/>
                <a:gd name="T6" fmla="*/ 213 w 277"/>
                <a:gd name="T7" fmla="*/ 0 h 288"/>
                <a:gd name="T8" fmla="*/ 64 w 277"/>
                <a:gd name="T9" fmla="*/ 0 h 288"/>
                <a:gd name="T10" fmla="*/ 53 w 277"/>
                <a:gd name="T11" fmla="*/ 11 h 288"/>
                <a:gd name="T12" fmla="*/ 53 w 277"/>
                <a:gd name="T13" fmla="*/ 32 h 288"/>
                <a:gd name="T14" fmla="*/ 11 w 277"/>
                <a:gd name="T15" fmla="*/ 32 h 288"/>
                <a:gd name="T16" fmla="*/ 0 w 277"/>
                <a:gd name="T17" fmla="*/ 43 h 288"/>
                <a:gd name="T18" fmla="*/ 0 w 277"/>
                <a:gd name="T19" fmla="*/ 278 h 288"/>
                <a:gd name="T20" fmla="*/ 11 w 277"/>
                <a:gd name="T21" fmla="*/ 288 h 288"/>
                <a:gd name="T22" fmla="*/ 267 w 277"/>
                <a:gd name="T23" fmla="*/ 288 h 288"/>
                <a:gd name="T24" fmla="*/ 277 w 277"/>
                <a:gd name="T25" fmla="*/ 278 h 288"/>
                <a:gd name="T26" fmla="*/ 277 w 277"/>
                <a:gd name="T27" fmla="*/ 43 h 288"/>
                <a:gd name="T28" fmla="*/ 267 w 277"/>
                <a:gd name="T29" fmla="*/ 32 h 288"/>
                <a:gd name="T30" fmla="*/ 75 w 277"/>
                <a:gd name="T31" fmla="*/ 22 h 288"/>
                <a:gd name="T32" fmla="*/ 203 w 277"/>
                <a:gd name="T33" fmla="*/ 22 h 288"/>
                <a:gd name="T34" fmla="*/ 203 w 277"/>
                <a:gd name="T35" fmla="*/ 105 h 288"/>
                <a:gd name="T36" fmla="*/ 138 w 277"/>
                <a:gd name="T37" fmla="*/ 139 h 288"/>
                <a:gd name="T38" fmla="*/ 75 w 277"/>
                <a:gd name="T39" fmla="*/ 105 h 288"/>
                <a:gd name="T40" fmla="*/ 75 w 277"/>
                <a:gd name="T41" fmla="*/ 22 h 288"/>
                <a:gd name="T42" fmla="*/ 256 w 277"/>
                <a:gd name="T43" fmla="*/ 267 h 288"/>
                <a:gd name="T44" fmla="*/ 21 w 277"/>
                <a:gd name="T45" fmla="*/ 267 h 288"/>
                <a:gd name="T46" fmla="*/ 21 w 277"/>
                <a:gd name="T47" fmla="*/ 54 h 288"/>
                <a:gd name="T48" fmla="*/ 53 w 277"/>
                <a:gd name="T49" fmla="*/ 54 h 288"/>
                <a:gd name="T50" fmla="*/ 53 w 277"/>
                <a:gd name="T51" fmla="*/ 107 h 288"/>
                <a:gd name="T52" fmla="*/ 54 w 277"/>
                <a:gd name="T53" fmla="*/ 111 h 288"/>
                <a:gd name="T54" fmla="*/ 138 w 277"/>
                <a:gd name="T55" fmla="*/ 160 h 288"/>
                <a:gd name="T56" fmla="*/ 223 w 277"/>
                <a:gd name="T57" fmla="*/ 111 h 288"/>
                <a:gd name="T58" fmla="*/ 224 w 277"/>
                <a:gd name="T59" fmla="*/ 107 h 288"/>
                <a:gd name="T60" fmla="*/ 224 w 277"/>
                <a:gd name="T61" fmla="*/ 54 h 288"/>
                <a:gd name="T62" fmla="*/ 256 w 277"/>
                <a:gd name="T63" fmla="*/ 54 h 288"/>
                <a:gd name="T64" fmla="*/ 256 w 277"/>
                <a:gd name="T65" fmla="*/ 267 h 288"/>
                <a:gd name="T66" fmla="*/ 99 w 277"/>
                <a:gd name="T67" fmla="*/ 83 h 288"/>
                <a:gd name="T68" fmla="*/ 99 w 277"/>
                <a:gd name="T69" fmla="*/ 67 h 288"/>
                <a:gd name="T70" fmla="*/ 114 w 277"/>
                <a:gd name="T71" fmla="*/ 67 h 288"/>
                <a:gd name="T72" fmla="*/ 128 w 277"/>
                <a:gd name="T73" fmla="*/ 81 h 288"/>
                <a:gd name="T74" fmla="*/ 128 w 277"/>
                <a:gd name="T75" fmla="*/ 54 h 288"/>
                <a:gd name="T76" fmla="*/ 139 w 277"/>
                <a:gd name="T77" fmla="*/ 43 h 288"/>
                <a:gd name="T78" fmla="*/ 149 w 277"/>
                <a:gd name="T79" fmla="*/ 54 h 288"/>
                <a:gd name="T80" fmla="*/ 149 w 277"/>
                <a:gd name="T81" fmla="*/ 81 h 288"/>
                <a:gd name="T82" fmla="*/ 163 w 277"/>
                <a:gd name="T83" fmla="*/ 67 h 288"/>
                <a:gd name="T84" fmla="*/ 178 w 277"/>
                <a:gd name="T85" fmla="*/ 67 h 288"/>
                <a:gd name="T86" fmla="*/ 178 w 277"/>
                <a:gd name="T87" fmla="*/ 83 h 288"/>
                <a:gd name="T88" fmla="*/ 146 w 277"/>
                <a:gd name="T89" fmla="*/ 115 h 288"/>
                <a:gd name="T90" fmla="*/ 139 w 277"/>
                <a:gd name="T91" fmla="*/ 118 h 288"/>
                <a:gd name="T92" fmla="*/ 131 w 277"/>
                <a:gd name="T93" fmla="*/ 115 h 288"/>
                <a:gd name="T94" fmla="*/ 99 w 277"/>
                <a:gd name="T95" fmla="*/ 83 h 288"/>
                <a:gd name="T96" fmla="*/ 235 w 277"/>
                <a:gd name="T97" fmla="*/ 192 h 288"/>
                <a:gd name="T98" fmla="*/ 224 w 277"/>
                <a:gd name="T99" fmla="*/ 203 h 288"/>
                <a:gd name="T100" fmla="*/ 53 w 277"/>
                <a:gd name="T101" fmla="*/ 203 h 288"/>
                <a:gd name="T102" fmla="*/ 43 w 277"/>
                <a:gd name="T103" fmla="*/ 192 h 288"/>
                <a:gd name="T104" fmla="*/ 53 w 277"/>
                <a:gd name="T105" fmla="*/ 182 h 288"/>
                <a:gd name="T106" fmla="*/ 224 w 277"/>
                <a:gd name="T107" fmla="*/ 182 h 288"/>
                <a:gd name="T108" fmla="*/ 235 w 277"/>
                <a:gd name="T109" fmla="*/ 192 h 288"/>
                <a:gd name="T110" fmla="*/ 235 w 277"/>
                <a:gd name="T111" fmla="*/ 235 h 288"/>
                <a:gd name="T112" fmla="*/ 224 w 277"/>
                <a:gd name="T113" fmla="*/ 246 h 288"/>
                <a:gd name="T114" fmla="*/ 53 w 277"/>
                <a:gd name="T115" fmla="*/ 246 h 288"/>
                <a:gd name="T116" fmla="*/ 43 w 277"/>
                <a:gd name="T117" fmla="*/ 235 h 288"/>
                <a:gd name="T118" fmla="*/ 53 w 277"/>
                <a:gd name="T119" fmla="*/ 224 h 288"/>
                <a:gd name="T120" fmla="*/ 224 w 277"/>
                <a:gd name="T121" fmla="*/ 224 h 288"/>
                <a:gd name="T122" fmla="*/ 235 w 277"/>
                <a:gd name="T123" fmla="*/ 23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88">
                  <a:moveTo>
                    <a:pt x="267" y="32"/>
                  </a:moveTo>
                  <a:cubicBezTo>
                    <a:pt x="224" y="32"/>
                    <a:pt x="224" y="32"/>
                    <a:pt x="224" y="32"/>
                  </a:cubicBezTo>
                  <a:cubicBezTo>
                    <a:pt x="224" y="11"/>
                    <a:pt x="224" y="11"/>
                    <a:pt x="224" y="11"/>
                  </a:cubicBezTo>
                  <a:cubicBezTo>
                    <a:pt x="224" y="5"/>
                    <a:pt x="219" y="0"/>
                    <a:pt x="213" y="0"/>
                  </a:cubicBezTo>
                  <a:cubicBezTo>
                    <a:pt x="64" y="0"/>
                    <a:pt x="64" y="0"/>
                    <a:pt x="64" y="0"/>
                  </a:cubicBezTo>
                  <a:cubicBezTo>
                    <a:pt x="58" y="0"/>
                    <a:pt x="53" y="5"/>
                    <a:pt x="53" y="11"/>
                  </a:cubicBezTo>
                  <a:cubicBezTo>
                    <a:pt x="53" y="32"/>
                    <a:pt x="53" y="32"/>
                    <a:pt x="53" y="32"/>
                  </a:cubicBezTo>
                  <a:cubicBezTo>
                    <a:pt x="11" y="32"/>
                    <a:pt x="11" y="32"/>
                    <a:pt x="11" y="32"/>
                  </a:cubicBezTo>
                  <a:cubicBezTo>
                    <a:pt x="5" y="32"/>
                    <a:pt x="0" y="37"/>
                    <a:pt x="0" y="43"/>
                  </a:cubicBezTo>
                  <a:cubicBezTo>
                    <a:pt x="0" y="278"/>
                    <a:pt x="0" y="278"/>
                    <a:pt x="0" y="278"/>
                  </a:cubicBezTo>
                  <a:cubicBezTo>
                    <a:pt x="0" y="284"/>
                    <a:pt x="5" y="288"/>
                    <a:pt x="11" y="288"/>
                  </a:cubicBezTo>
                  <a:cubicBezTo>
                    <a:pt x="267" y="288"/>
                    <a:pt x="267" y="288"/>
                    <a:pt x="267" y="288"/>
                  </a:cubicBezTo>
                  <a:cubicBezTo>
                    <a:pt x="273" y="288"/>
                    <a:pt x="277" y="284"/>
                    <a:pt x="277" y="278"/>
                  </a:cubicBezTo>
                  <a:cubicBezTo>
                    <a:pt x="277" y="43"/>
                    <a:pt x="277" y="43"/>
                    <a:pt x="277" y="43"/>
                  </a:cubicBezTo>
                  <a:cubicBezTo>
                    <a:pt x="277" y="37"/>
                    <a:pt x="273" y="32"/>
                    <a:pt x="267" y="32"/>
                  </a:cubicBezTo>
                  <a:close/>
                  <a:moveTo>
                    <a:pt x="75" y="22"/>
                  </a:moveTo>
                  <a:cubicBezTo>
                    <a:pt x="203" y="22"/>
                    <a:pt x="203" y="22"/>
                    <a:pt x="203" y="22"/>
                  </a:cubicBezTo>
                  <a:cubicBezTo>
                    <a:pt x="203" y="105"/>
                    <a:pt x="203" y="105"/>
                    <a:pt x="203" y="105"/>
                  </a:cubicBezTo>
                  <a:cubicBezTo>
                    <a:pt x="192" y="125"/>
                    <a:pt x="166" y="139"/>
                    <a:pt x="138" y="139"/>
                  </a:cubicBezTo>
                  <a:cubicBezTo>
                    <a:pt x="106" y="139"/>
                    <a:pt x="84" y="122"/>
                    <a:pt x="75" y="105"/>
                  </a:cubicBezTo>
                  <a:lnTo>
                    <a:pt x="75" y="22"/>
                  </a:lnTo>
                  <a:close/>
                  <a:moveTo>
                    <a:pt x="256" y="267"/>
                  </a:moveTo>
                  <a:cubicBezTo>
                    <a:pt x="21" y="267"/>
                    <a:pt x="21" y="267"/>
                    <a:pt x="21" y="267"/>
                  </a:cubicBezTo>
                  <a:cubicBezTo>
                    <a:pt x="21" y="54"/>
                    <a:pt x="21" y="54"/>
                    <a:pt x="21" y="54"/>
                  </a:cubicBezTo>
                  <a:cubicBezTo>
                    <a:pt x="53" y="54"/>
                    <a:pt x="53" y="54"/>
                    <a:pt x="53" y="54"/>
                  </a:cubicBezTo>
                  <a:cubicBezTo>
                    <a:pt x="53" y="107"/>
                    <a:pt x="53" y="107"/>
                    <a:pt x="53" y="107"/>
                  </a:cubicBezTo>
                  <a:cubicBezTo>
                    <a:pt x="53" y="109"/>
                    <a:pt x="54" y="110"/>
                    <a:pt x="54" y="111"/>
                  </a:cubicBezTo>
                  <a:cubicBezTo>
                    <a:pt x="68" y="141"/>
                    <a:pt x="101" y="160"/>
                    <a:pt x="138" y="160"/>
                  </a:cubicBezTo>
                  <a:cubicBezTo>
                    <a:pt x="176" y="160"/>
                    <a:pt x="210" y="141"/>
                    <a:pt x="223" y="111"/>
                  </a:cubicBezTo>
                  <a:cubicBezTo>
                    <a:pt x="224" y="110"/>
                    <a:pt x="224" y="109"/>
                    <a:pt x="224" y="107"/>
                  </a:cubicBezTo>
                  <a:cubicBezTo>
                    <a:pt x="224" y="54"/>
                    <a:pt x="224" y="54"/>
                    <a:pt x="224" y="54"/>
                  </a:cubicBezTo>
                  <a:cubicBezTo>
                    <a:pt x="256" y="54"/>
                    <a:pt x="256" y="54"/>
                    <a:pt x="256" y="54"/>
                  </a:cubicBezTo>
                  <a:lnTo>
                    <a:pt x="256" y="267"/>
                  </a:lnTo>
                  <a:close/>
                  <a:moveTo>
                    <a:pt x="99" y="83"/>
                  </a:moveTo>
                  <a:cubicBezTo>
                    <a:pt x="95" y="78"/>
                    <a:pt x="95" y="72"/>
                    <a:pt x="99" y="67"/>
                  </a:cubicBezTo>
                  <a:cubicBezTo>
                    <a:pt x="103" y="63"/>
                    <a:pt x="110" y="63"/>
                    <a:pt x="114" y="67"/>
                  </a:cubicBezTo>
                  <a:cubicBezTo>
                    <a:pt x="128" y="81"/>
                    <a:pt x="128" y="81"/>
                    <a:pt x="128" y="81"/>
                  </a:cubicBezTo>
                  <a:cubicBezTo>
                    <a:pt x="128" y="54"/>
                    <a:pt x="128" y="54"/>
                    <a:pt x="128" y="54"/>
                  </a:cubicBezTo>
                  <a:cubicBezTo>
                    <a:pt x="128" y="48"/>
                    <a:pt x="133" y="43"/>
                    <a:pt x="139" y="43"/>
                  </a:cubicBezTo>
                  <a:cubicBezTo>
                    <a:pt x="145" y="43"/>
                    <a:pt x="149" y="48"/>
                    <a:pt x="149" y="54"/>
                  </a:cubicBezTo>
                  <a:cubicBezTo>
                    <a:pt x="149" y="81"/>
                    <a:pt x="149" y="81"/>
                    <a:pt x="149" y="81"/>
                  </a:cubicBezTo>
                  <a:cubicBezTo>
                    <a:pt x="163" y="67"/>
                    <a:pt x="163" y="67"/>
                    <a:pt x="163" y="67"/>
                  </a:cubicBezTo>
                  <a:cubicBezTo>
                    <a:pt x="167" y="63"/>
                    <a:pt x="174" y="63"/>
                    <a:pt x="178" y="67"/>
                  </a:cubicBezTo>
                  <a:cubicBezTo>
                    <a:pt x="182" y="72"/>
                    <a:pt x="182" y="78"/>
                    <a:pt x="178" y="83"/>
                  </a:cubicBezTo>
                  <a:cubicBezTo>
                    <a:pt x="146" y="115"/>
                    <a:pt x="146" y="115"/>
                    <a:pt x="146" y="115"/>
                  </a:cubicBezTo>
                  <a:cubicBezTo>
                    <a:pt x="144" y="117"/>
                    <a:pt x="141" y="118"/>
                    <a:pt x="139" y="118"/>
                  </a:cubicBezTo>
                  <a:cubicBezTo>
                    <a:pt x="136" y="118"/>
                    <a:pt x="133" y="117"/>
                    <a:pt x="131" y="115"/>
                  </a:cubicBezTo>
                  <a:lnTo>
                    <a:pt x="99" y="83"/>
                  </a:lnTo>
                  <a:close/>
                  <a:moveTo>
                    <a:pt x="235" y="192"/>
                  </a:moveTo>
                  <a:cubicBezTo>
                    <a:pt x="235" y="198"/>
                    <a:pt x="230" y="203"/>
                    <a:pt x="224" y="203"/>
                  </a:cubicBezTo>
                  <a:cubicBezTo>
                    <a:pt x="53" y="203"/>
                    <a:pt x="53" y="203"/>
                    <a:pt x="53" y="203"/>
                  </a:cubicBezTo>
                  <a:cubicBezTo>
                    <a:pt x="47" y="203"/>
                    <a:pt x="43" y="198"/>
                    <a:pt x="43" y="192"/>
                  </a:cubicBezTo>
                  <a:cubicBezTo>
                    <a:pt x="43" y="186"/>
                    <a:pt x="47" y="182"/>
                    <a:pt x="53" y="182"/>
                  </a:cubicBezTo>
                  <a:cubicBezTo>
                    <a:pt x="224" y="182"/>
                    <a:pt x="224" y="182"/>
                    <a:pt x="224" y="182"/>
                  </a:cubicBezTo>
                  <a:cubicBezTo>
                    <a:pt x="230" y="182"/>
                    <a:pt x="235" y="186"/>
                    <a:pt x="235" y="192"/>
                  </a:cubicBezTo>
                  <a:close/>
                  <a:moveTo>
                    <a:pt x="235" y="235"/>
                  </a:moveTo>
                  <a:cubicBezTo>
                    <a:pt x="235" y="241"/>
                    <a:pt x="230" y="246"/>
                    <a:pt x="224" y="246"/>
                  </a:cubicBezTo>
                  <a:cubicBezTo>
                    <a:pt x="53" y="246"/>
                    <a:pt x="53" y="246"/>
                    <a:pt x="53" y="246"/>
                  </a:cubicBezTo>
                  <a:cubicBezTo>
                    <a:pt x="47" y="246"/>
                    <a:pt x="43" y="241"/>
                    <a:pt x="43" y="235"/>
                  </a:cubicBezTo>
                  <a:cubicBezTo>
                    <a:pt x="43" y="229"/>
                    <a:pt x="47" y="224"/>
                    <a:pt x="53" y="224"/>
                  </a:cubicBezTo>
                  <a:cubicBezTo>
                    <a:pt x="224" y="224"/>
                    <a:pt x="224" y="224"/>
                    <a:pt x="224" y="224"/>
                  </a:cubicBezTo>
                  <a:cubicBezTo>
                    <a:pt x="230" y="224"/>
                    <a:pt x="235" y="229"/>
                    <a:pt x="235" y="2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316"/>
            <p:cNvSpPr>
              <a:spLocks noEditPoints="1"/>
            </p:cNvSpPr>
            <p:nvPr/>
          </p:nvSpPr>
          <p:spPr bwMode="auto">
            <a:xfrm>
              <a:off x="5811" y="1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319"/>
          <p:cNvGrpSpPr>
            <a:grpSpLocks noChangeAspect="1"/>
          </p:cNvGrpSpPr>
          <p:nvPr/>
        </p:nvGrpSpPr>
        <p:grpSpPr bwMode="auto">
          <a:xfrm>
            <a:off x="403085" y="1701021"/>
            <a:ext cx="369676" cy="369676"/>
            <a:chOff x="5426" y="1148"/>
            <a:chExt cx="340" cy="340"/>
          </a:xfrm>
          <a:solidFill>
            <a:schemeClr val="accent4"/>
          </a:solidFill>
        </p:grpSpPr>
        <p:sp>
          <p:nvSpPr>
            <p:cNvPr id="260" name="Freeform 320"/>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321"/>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322"/>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3" name="Freeform 32"/>
          <p:cNvSpPr>
            <a:spLocks noChangeAspect="1" noEditPoints="1"/>
          </p:cNvSpPr>
          <p:nvPr/>
        </p:nvSpPr>
        <p:spPr bwMode="auto">
          <a:xfrm>
            <a:off x="1248425" y="1701021"/>
            <a:ext cx="369021" cy="369021"/>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64" name="Group 35"/>
          <p:cNvGrpSpPr>
            <a:grpSpLocks noChangeAspect="1"/>
          </p:cNvGrpSpPr>
          <p:nvPr/>
        </p:nvGrpSpPr>
        <p:grpSpPr bwMode="auto">
          <a:xfrm>
            <a:off x="1670440" y="1701021"/>
            <a:ext cx="369021" cy="369021"/>
            <a:chOff x="2709" y="6"/>
            <a:chExt cx="340" cy="340"/>
          </a:xfrm>
          <a:solidFill>
            <a:schemeClr val="accent1"/>
          </a:solidFill>
        </p:grpSpPr>
        <p:sp>
          <p:nvSpPr>
            <p:cNvPr id="265" name="Freeform 36"/>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Oval 37"/>
            <p:cNvSpPr>
              <a:spLocks noChangeArrowheads="1"/>
            </p:cNvSpPr>
            <p:nvPr/>
          </p:nvSpPr>
          <p:spPr bwMode="auto">
            <a:xfrm>
              <a:off x="2808" y="112"/>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38"/>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39"/>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9" name="Group 902"/>
          <p:cNvGrpSpPr>
            <a:grpSpLocks noChangeAspect="1"/>
          </p:cNvGrpSpPr>
          <p:nvPr/>
        </p:nvGrpSpPr>
        <p:grpSpPr bwMode="auto">
          <a:xfrm>
            <a:off x="2514470" y="1701021"/>
            <a:ext cx="370106" cy="369021"/>
            <a:chOff x="3456" y="3471"/>
            <a:chExt cx="341" cy="340"/>
          </a:xfrm>
          <a:solidFill>
            <a:schemeClr val="accent4"/>
          </a:solidFill>
        </p:grpSpPr>
        <p:sp>
          <p:nvSpPr>
            <p:cNvPr id="270" name="Freeform 903"/>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904"/>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2" name="Freeform 908"/>
          <p:cNvSpPr>
            <a:spLocks noChangeAspect="1" noEditPoints="1"/>
          </p:cNvSpPr>
          <p:nvPr/>
        </p:nvSpPr>
        <p:spPr bwMode="auto">
          <a:xfrm>
            <a:off x="2092455" y="1701021"/>
            <a:ext cx="369021" cy="369021"/>
          </a:xfrm>
          <a:custGeom>
            <a:avLst/>
            <a:gdLst>
              <a:gd name="T0" fmla="*/ 160 w 512"/>
              <a:gd name="T1" fmla="*/ 224 h 512"/>
              <a:gd name="T2" fmla="*/ 213 w 512"/>
              <a:gd name="T3" fmla="*/ 224 h 512"/>
              <a:gd name="T4" fmla="*/ 213 w 512"/>
              <a:gd name="T5" fmla="*/ 245 h 512"/>
              <a:gd name="T6" fmla="*/ 160 w 512"/>
              <a:gd name="T7" fmla="*/ 245 h 512"/>
              <a:gd name="T8" fmla="*/ 160 w 512"/>
              <a:gd name="T9" fmla="*/ 224 h 512"/>
              <a:gd name="T10" fmla="*/ 234 w 512"/>
              <a:gd name="T11" fmla="*/ 352 h 512"/>
              <a:gd name="T12" fmla="*/ 256 w 512"/>
              <a:gd name="T13" fmla="*/ 352 h 512"/>
              <a:gd name="T14" fmla="*/ 256 w 512"/>
              <a:gd name="T15" fmla="*/ 266 h 512"/>
              <a:gd name="T16" fmla="*/ 234 w 512"/>
              <a:gd name="T17" fmla="*/ 266 h 512"/>
              <a:gd name="T18" fmla="*/ 234 w 512"/>
              <a:gd name="T19" fmla="*/ 352 h 512"/>
              <a:gd name="T20" fmla="*/ 160 w 512"/>
              <a:gd name="T21" fmla="*/ 352 h 512"/>
              <a:gd name="T22" fmla="*/ 213 w 512"/>
              <a:gd name="T23" fmla="*/ 352 h 512"/>
              <a:gd name="T24" fmla="*/ 213 w 512"/>
              <a:gd name="T25" fmla="*/ 266 h 512"/>
              <a:gd name="T26" fmla="*/ 160 w 512"/>
              <a:gd name="T27" fmla="*/ 266 h 512"/>
              <a:gd name="T28" fmla="*/ 160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77 w 512"/>
              <a:gd name="T41" fmla="*/ 256 h 512"/>
              <a:gd name="T42" fmla="*/ 266 w 512"/>
              <a:gd name="T43" fmla="*/ 245 h 512"/>
              <a:gd name="T44" fmla="*/ 234 w 512"/>
              <a:gd name="T45" fmla="*/ 245 h 512"/>
              <a:gd name="T46" fmla="*/ 234 w 512"/>
              <a:gd name="T47" fmla="*/ 213 h 512"/>
              <a:gd name="T48" fmla="*/ 224 w 512"/>
              <a:gd name="T49" fmla="*/ 202 h 512"/>
              <a:gd name="T50" fmla="*/ 149 w 512"/>
              <a:gd name="T51" fmla="*/ 202 h 512"/>
              <a:gd name="T52" fmla="*/ 138 w 512"/>
              <a:gd name="T53" fmla="*/ 213 h 512"/>
              <a:gd name="T54" fmla="*/ 138 w 512"/>
              <a:gd name="T55" fmla="*/ 245 h 512"/>
              <a:gd name="T56" fmla="*/ 106 w 512"/>
              <a:gd name="T57" fmla="*/ 245 h 512"/>
              <a:gd name="T58" fmla="*/ 96 w 512"/>
              <a:gd name="T59" fmla="*/ 256 h 512"/>
              <a:gd name="T60" fmla="*/ 96 w 512"/>
              <a:gd name="T61" fmla="*/ 362 h 512"/>
              <a:gd name="T62" fmla="*/ 106 w 512"/>
              <a:gd name="T63" fmla="*/ 373 h 512"/>
              <a:gd name="T64" fmla="*/ 266 w 512"/>
              <a:gd name="T65" fmla="*/ 373 h 512"/>
              <a:gd name="T66" fmla="*/ 277 w 512"/>
              <a:gd name="T67" fmla="*/ 362 h 512"/>
              <a:gd name="T68" fmla="*/ 277 w 512"/>
              <a:gd name="T69" fmla="*/ 256 h 512"/>
              <a:gd name="T70" fmla="*/ 413 w 512"/>
              <a:gd name="T71" fmla="*/ 259 h 512"/>
              <a:gd name="T72" fmla="*/ 362 w 512"/>
              <a:gd name="T73" fmla="*/ 209 h 512"/>
              <a:gd name="T74" fmla="*/ 374 w 512"/>
              <a:gd name="T75" fmla="*/ 174 h 512"/>
              <a:gd name="T76" fmla="*/ 356 w 512"/>
              <a:gd name="T77" fmla="*/ 131 h 512"/>
              <a:gd name="T78" fmla="*/ 313 w 512"/>
              <a:gd name="T79" fmla="*/ 113 h 512"/>
              <a:gd name="T80" fmla="*/ 269 w 512"/>
              <a:gd name="T81" fmla="*/ 131 h 512"/>
              <a:gd name="T82" fmla="*/ 252 w 512"/>
              <a:gd name="T83" fmla="*/ 174 h 512"/>
              <a:gd name="T84" fmla="*/ 269 w 512"/>
              <a:gd name="T85" fmla="*/ 217 h 512"/>
              <a:gd name="T86" fmla="*/ 313 w 512"/>
              <a:gd name="T87" fmla="*/ 235 h 512"/>
              <a:gd name="T88" fmla="*/ 347 w 512"/>
              <a:gd name="T89" fmla="*/ 224 h 512"/>
              <a:gd name="T90" fmla="*/ 397 w 512"/>
              <a:gd name="T91" fmla="*/ 274 h 512"/>
              <a:gd name="T92" fmla="*/ 405 w 512"/>
              <a:gd name="T93" fmla="*/ 277 h 512"/>
              <a:gd name="T94" fmla="*/ 413 w 512"/>
              <a:gd name="T95" fmla="*/ 274 h 512"/>
              <a:gd name="T96" fmla="*/ 413 w 512"/>
              <a:gd name="T97" fmla="*/ 259 h 512"/>
              <a:gd name="T98" fmla="*/ 117 w 512"/>
              <a:gd name="T99" fmla="*/ 352 h 512"/>
              <a:gd name="T100" fmla="*/ 138 w 512"/>
              <a:gd name="T101" fmla="*/ 352 h 512"/>
              <a:gd name="T102" fmla="*/ 138 w 512"/>
              <a:gd name="T103" fmla="*/ 266 h 512"/>
              <a:gd name="T104" fmla="*/ 117 w 512"/>
              <a:gd name="T105" fmla="*/ 266 h 512"/>
              <a:gd name="T106" fmla="*/ 117 w 512"/>
              <a:gd name="T107" fmla="*/ 352 h 512"/>
              <a:gd name="T108" fmla="*/ 313 w 512"/>
              <a:gd name="T109" fmla="*/ 134 h 512"/>
              <a:gd name="T110" fmla="*/ 285 w 512"/>
              <a:gd name="T111" fmla="*/ 146 h 512"/>
              <a:gd name="T112" fmla="*/ 285 w 512"/>
              <a:gd name="T113" fmla="*/ 202 h 512"/>
              <a:gd name="T114" fmla="*/ 341 w 512"/>
              <a:gd name="T115" fmla="*/ 202 h 512"/>
              <a:gd name="T116" fmla="*/ 352 w 512"/>
              <a:gd name="T117" fmla="*/ 174 h 512"/>
              <a:gd name="T118" fmla="*/ 341 w 512"/>
              <a:gd name="T119" fmla="*/ 146 h 512"/>
              <a:gd name="T120" fmla="*/ 313 w 512"/>
              <a:gd name="T12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60" y="224"/>
                </a:moveTo>
                <a:cubicBezTo>
                  <a:pt x="213" y="224"/>
                  <a:pt x="213" y="224"/>
                  <a:pt x="213" y="224"/>
                </a:cubicBezTo>
                <a:cubicBezTo>
                  <a:pt x="213" y="245"/>
                  <a:pt x="213" y="245"/>
                  <a:pt x="213" y="245"/>
                </a:cubicBezTo>
                <a:cubicBezTo>
                  <a:pt x="160" y="245"/>
                  <a:pt x="160" y="245"/>
                  <a:pt x="160" y="245"/>
                </a:cubicBezTo>
                <a:lnTo>
                  <a:pt x="160" y="224"/>
                </a:lnTo>
                <a:close/>
                <a:moveTo>
                  <a:pt x="234" y="352"/>
                </a:moveTo>
                <a:cubicBezTo>
                  <a:pt x="256" y="352"/>
                  <a:pt x="256" y="352"/>
                  <a:pt x="256" y="352"/>
                </a:cubicBezTo>
                <a:cubicBezTo>
                  <a:pt x="256" y="266"/>
                  <a:pt x="256" y="266"/>
                  <a:pt x="256" y="266"/>
                </a:cubicBezTo>
                <a:cubicBezTo>
                  <a:pt x="234" y="266"/>
                  <a:pt x="234" y="266"/>
                  <a:pt x="234" y="266"/>
                </a:cubicBezTo>
                <a:lnTo>
                  <a:pt x="234" y="352"/>
                </a:lnTo>
                <a:close/>
                <a:moveTo>
                  <a:pt x="160" y="352"/>
                </a:moveTo>
                <a:cubicBezTo>
                  <a:pt x="213" y="352"/>
                  <a:pt x="213" y="352"/>
                  <a:pt x="213" y="352"/>
                </a:cubicBezTo>
                <a:cubicBezTo>
                  <a:pt x="213" y="266"/>
                  <a:pt x="213" y="266"/>
                  <a:pt x="213" y="266"/>
                </a:cubicBezTo>
                <a:cubicBezTo>
                  <a:pt x="160" y="266"/>
                  <a:pt x="160" y="266"/>
                  <a:pt x="160" y="266"/>
                </a:cubicBezTo>
                <a:lnTo>
                  <a:pt x="160"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7" y="256"/>
                </a:moveTo>
                <a:cubicBezTo>
                  <a:pt x="277" y="250"/>
                  <a:pt x="272" y="245"/>
                  <a:pt x="266" y="245"/>
                </a:cubicBezTo>
                <a:cubicBezTo>
                  <a:pt x="234" y="245"/>
                  <a:pt x="234" y="245"/>
                  <a:pt x="234" y="245"/>
                </a:cubicBezTo>
                <a:cubicBezTo>
                  <a:pt x="234" y="213"/>
                  <a:pt x="234" y="213"/>
                  <a:pt x="234" y="213"/>
                </a:cubicBezTo>
                <a:cubicBezTo>
                  <a:pt x="234" y="207"/>
                  <a:pt x="230" y="202"/>
                  <a:pt x="224" y="202"/>
                </a:cubicBezTo>
                <a:cubicBezTo>
                  <a:pt x="149" y="202"/>
                  <a:pt x="149" y="202"/>
                  <a:pt x="149" y="202"/>
                </a:cubicBezTo>
                <a:cubicBezTo>
                  <a:pt x="143" y="202"/>
                  <a:pt x="138" y="207"/>
                  <a:pt x="138" y="213"/>
                </a:cubicBezTo>
                <a:cubicBezTo>
                  <a:pt x="138" y="245"/>
                  <a:pt x="138" y="245"/>
                  <a:pt x="138" y="245"/>
                </a:cubicBezTo>
                <a:cubicBezTo>
                  <a:pt x="106" y="245"/>
                  <a:pt x="106" y="245"/>
                  <a:pt x="106" y="245"/>
                </a:cubicBezTo>
                <a:cubicBezTo>
                  <a:pt x="100" y="245"/>
                  <a:pt x="96" y="250"/>
                  <a:pt x="96" y="256"/>
                </a:cubicBezTo>
                <a:cubicBezTo>
                  <a:pt x="96" y="362"/>
                  <a:pt x="96" y="362"/>
                  <a:pt x="96" y="362"/>
                </a:cubicBezTo>
                <a:cubicBezTo>
                  <a:pt x="96" y="368"/>
                  <a:pt x="100" y="373"/>
                  <a:pt x="106" y="373"/>
                </a:cubicBezTo>
                <a:cubicBezTo>
                  <a:pt x="266" y="373"/>
                  <a:pt x="266" y="373"/>
                  <a:pt x="266" y="373"/>
                </a:cubicBezTo>
                <a:cubicBezTo>
                  <a:pt x="272" y="373"/>
                  <a:pt x="277" y="368"/>
                  <a:pt x="277" y="362"/>
                </a:cubicBezTo>
                <a:lnTo>
                  <a:pt x="277" y="256"/>
                </a:lnTo>
                <a:close/>
                <a:moveTo>
                  <a:pt x="413" y="259"/>
                </a:moveTo>
                <a:cubicBezTo>
                  <a:pt x="362" y="209"/>
                  <a:pt x="362" y="209"/>
                  <a:pt x="362" y="209"/>
                </a:cubicBezTo>
                <a:cubicBezTo>
                  <a:pt x="370" y="199"/>
                  <a:pt x="374" y="187"/>
                  <a:pt x="374" y="174"/>
                </a:cubicBezTo>
                <a:cubicBezTo>
                  <a:pt x="374" y="158"/>
                  <a:pt x="367" y="142"/>
                  <a:pt x="356" y="131"/>
                </a:cubicBezTo>
                <a:cubicBezTo>
                  <a:pt x="344" y="119"/>
                  <a:pt x="329" y="113"/>
                  <a:pt x="313" y="113"/>
                </a:cubicBezTo>
                <a:cubicBezTo>
                  <a:pt x="296" y="113"/>
                  <a:pt x="281" y="119"/>
                  <a:pt x="269" y="131"/>
                </a:cubicBezTo>
                <a:cubicBezTo>
                  <a:pt x="258" y="142"/>
                  <a:pt x="252" y="158"/>
                  <a:pt x="252" y="174"/>
                </a:cubicBezTo>
                <a:cubicBezTo>
                  <a:pt x="252" y="190"/>
                  <a:pt x="258" y="205"/>
                  <a:pt x="269" y="217"/>
                </a:cubicBezTo>
                <a:cubicBezTo>
                  <a:pt x="281" y="229"/>
                  <a:pt x="296" y="235"/>
                  <a:pt x="313" y="235"/>
                </a:cubicBezTo>
                <a:cubicBezTo>
                  <a:pt x="325" y="235"/>
                  <a:pt x="337" y="231"/>
                  <a:pt x="347" y="224"/>
                </a:cubicBezTo>
                <a:cubicBezTo>
                  <a:pt x="397" y="274"/>
                  <a:pt x="397" y="274"/>
                  <a:pt x="397" y="274"/>
                </a:cubicBezTo>
                <a:cubicBezTo>
                  <a:pt x="400" y="276"/>
                  <a:pt x="402" y="277"/>
                  <a:pt x="405" y="277"/>
                </a:cubicBezTo>
                <a:cubicBezTo>
                  <a:pt x="408" y="277"/>
                  <a:pt x="410" y="276"/>
                  <a:pt x="413" y="274"/>
                </a:cubicBezTo>
                <a:cubicBezTo>
                  <a:pt x="417" y="270"/>
                  <a:pt x="417" y="263"/>
                  <a:pt x="413" y="259"/>
                </a:cubicBezTo>
                <a:close/>
                <a:moveTo>
                  <a:pt x="117" y="352"/>
                </a:moveTo>
                <a:cubicBezTo>
                  <a:pt x="138" y="352"/>
                  <a:pt x="138" y="352"/>
                  <a:pt x="138" y="352"/>
                </a:cubicBezTo>
                <a:cubicBezTo>
                  <a:pt x="138" y="266"/>
                  <a:pt x="138" y="266"/>
                  <a:pt x="138" y="266"/>
                </a:cubicBezTo>
                <a:cubicBezTo>
                  <a:pt x="117" y="266"/>
                  <a:pt x="117" y="266"/>
                  <a:pt x="117" y="266"/>
                </a:cubicBezTo>
                <a:lnTo>
                  <a:pt x="117" y="352"/>
                </a:lnTo>
                <a:close/>
                <a:moveTo>
                  <a:pt x="313" y="134"/>
                </a:moveTo>
                <a:cubicBezTo>
                  <a:pt x="302" y="134"/>
                  <a:pt x="292" y="138"/>
                  <a:pt x="285" y="146"/>
                </a:cubicBezTo>
                <a:cubicBezTo>
                  <a:pt x="269" y="161"/>
                  <a:pt x="269" y="186"/>
                  <a:pt x="285" y="202"/>
                </a:cubicBezTo>
                <a:cubicBezTo>
                  <a:pt x="300" y="217"/>
                  <a:pt x="325" y="217"/>
                  <a:pt x="341" y="202"/>
                </a:cubicBezTo>
                <a:cubicBezTo>
                  <a:pt x="348" y="194"/>
                  <a:pt x="352" y="184"/>
                  <a:pt x="352" y="174"/>
                </a:cubicBezTo>
                <a:cubicBezTo>
                  <a:pt x="352" y="163"/>
                  <a:pt x="348" y="153"/>
                  <a:pt x="341" y="146"/>
                </a:cubicBezTo>
                <a:cubicBezTo>
                  <a:pt x="333" y="138"/>
                  <a:pt x="323" y="134"/>
                  <a:pt x="313" y="13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053695982"/>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95287" y="2933205"/>
            <a:ext cx="6377653" cy="3448546"/>
          </a:xfrm>
        </p:spPr>
        <p:txBody>
          <a:bodyPr>
            <a:noAutofit/>
          </a:bodyPr>
          <a:lstStyle/>
          <a:p>
            <a:r>
              <a:rPr lang="en-US" dirty="0"/>
              <a:t>[Insert the Standard legal description]</a:t>
            </a:r>
          </a:p>
          <a:p>
            <a:r>
              <a:rPr lang="en-US" dirty="0"/>
              <a:t>Caption </a:t>
            </a:r>
            <a:r>
              <a:rPr lang="en-US" dirty="0" err="1"/>
              <a:t>vel</a:t>
            </a:r>
            <a:r>
              <a:rPr lang="en-US" dirty="0"/>
              <a:t> </a:t>
            </a:r>
            <a:r>
              <a:rPr lang="en-US" dirty="0" err="1"/>
              <a:t>doloreet</a:t>
            </a:r>
            <a:r>
              <a:rPr lang="en-US" dirty="0"/>
              <a:t> </a:t>
            </a:r>
            <a:r>
              <a:rPr lang="en-US" dirty="0" err="1"/>
              <a:t>wisit</a:t>
            </a:r>
            <a:r>
              <a:rPr lang="en-US" dirty="0"/>
              <a:t> </a:t>
            </a:r>
            <a:r>
              <a:rPr lang="en-US" dirty="0" err="1"/>
              <a:t>acincil</a:t>
            </a:r>
            <a:r>
              <a:rPr lang="en-US" dirty="0"/>
              <a:t> </a:t>
            </a:r>
            <a:r>
              <a:rPr lang="en-US" dirty="0" err="1"/>
              <a:t>iquatem</a:t>
            </a:r>
            <a:r>
              <a:rPr lang="en-US" dirty="0"/>
              <a:t> </a:t>
            </a:r>
            <a:r>
              <a:rPr lang="en-US" dirty="0" err="1"/>
              <a:t>dio</a:t>
            </a:r>
            <a:r>
              <a:rPr lang="en-US" dirty="0"/>
              <a:t> </a:t>
            </a:r>
            <a:r>
              <a:rPr lang="en-US" dirty="0" err="1"/>
              <a:t>odigna</a:t>
            </a:r>
            <a:r>
              <a:rPr lang="en-US" dirty="0"/>
              <a:t> </a:t>
            </a:r>
            <a:r>
              <a:rPr lang="en-US" dirty="0" err="1"/>
              <a:t>feugiamcommy</a:t>
            </a:r>
            <a:r>
              <a:rPr lang="en-US" dirty="0"/>
              <a:t> </a:t>
            </a:r>
            <a:r>
              <a:rPr lang="en-US" dirty="0" err="1"/>
              <a:t>nim</a:t>
            </a:r>
            <a:r>
              <a:rPr lang="en-US" dirty="0"/>
              <a:t> </a:t>
            </a:r>
            <a:r>
              <a:rPr lang="en-US" dirty="0" err="1"/>
              <a:t>vulput</a:t>
            </a:r>
            <a:r>
              <a:rPr lang="en-US" dirty="0"/>
              <a:t> </a:t>
            </a:r>
            <a:r>
              <a:rPr lang="en-US" dirty="0" err="1"/>
              <a:t>adip</a:t>
            </a:r>
            <a:r>
              <a:rPr lang="en-US" dirty="0"/>
              <a:t> </a:t>
            </a:r>
            <a:r>
              <a:rPr lang="en-US" dirty="0" err="1"/>
              <a:t>exerosto</a:t>
            </a:r>
            <a:r>
              <a:rPr lang="en-US" dirty="0"/>
              <a:t> </a:t>
            </a:r>
            <a:r>
              <a:rPr lang="en-US" dirty="0" err="1"/>
              <a:t>essi</a:t>
            </a:r>
            <a:r>
              <a:rPr lang="en-US" dirty="0"/>
              <a:t>. </a:t>
            </a:r>
            <a:r>
              <a:rPr lang="en-US" dirty="0" err="1"/>
              <a:t>Rud</a:t>
            </a:r>
            <a:r>
              <a:rPr lang="en-US" dirty="0"/>
              <a:t> min </a:t>
            </a:r>
            <a:r>
              <a:rPr lang="en-US" dirty="0" err="1"/>
              <a:t>ver</a:t>
            </a:r>
            <a:r>
              <a:rPr lang="en-US" dirty="0"/>
              <a:t> </a:t>
            </a:r>
            <a:r>
              <a:rPr lang="en-US" dirty="0" err="1"/>
              <a:t>sed</a:t>
            </a:r>
            <a:r>
              <a:rPr lang="en-US" dirty="0"/>
              <a:t> magna ate tat, </a:t>
            </a:r>
            <a:r>
              <a:rPr lang="en-US" dirty="0" err="1"/>
              <a:t>vendigna</a:t>
            </a:r>
            <a:r>
              <a:rPr lang="en-US" dirty="0"/>
              <a:t> </a:t>
            </a:r>
            <a:r>
              <a:rPr lang="en-US" dirty="0" err="1"/>
              <a:t>conulputat</a:t>
            </a:r>
            <a:r>
              <a:rPr lang="en-US" dirty="0"/>
              <a:t>. </a:t>
            </a:r>
            <a:r>
              <a:rPr lang="en-US" dirty="0" err="1"/>
              <a:t>Ulput</a:t>
            </a:r>
            <a:r>
              <a:rPr lang="en-US" dirty="0"/>
              <a:t> </a:t>
            </a:r>
            <a:r>
              <a:rPr lang="en-US" dirty="0" err="1"/>
              <a:t>pratie</a:t>
            </a:r>
            <a:r>
              <a:rPr lang="en-US" dirty="0"/>
              <a:t> </a:t>
            </a:r>
            <a:r>
              <a:rPr lang="en-US" dirty="0" err="1"/>
              <a:t>ming</a:t>
            </a:r>
            <a:r>
              <a:rPr lang="en-US" dirty="0"/>
              <a:t> et, </a:t>
            </a:r>
            <a:r>
              <a:rPr lang="en-US" dirty="0" err="1"/>
              <a:t>commy</a:t>
            </a:r>
            <a:r>
              <a:rPr lang="en-US" dirty="0"/>
              <a:t> </a:t>
            </a:r>
            <a:r>
              <a:rPr lang="en-US" dirty="0" err="1"/>
              <a:t>nos</a:t>
            </a:r>
            <a:r>
              <a:rPr lang="en-US" dirty="0"/>
              <a:t> et </a:t>
            </a:r>
            <a:r>
              <a:rPr lang="en-US" dirty="0" err="1"/>
              <a:t>nim</a:t>
            </a:r>
            <a:r>
              <a:rPr lang="en-US" dirty="0"/>
              <a:t> </a:t>
            </a:r>
            <a:r>
              <a:rPr lang="en-US" dirty="0" err="1"/>
              <a:t>il</a:t>
            </a:r>
            <a:r>
              <a:rPr lang="en-US" dirty="0"/>
              <a:t> et at. </a:t>
            </a:r>
            <a:r>
              <a:rPr lang="en-US" dirty="0" err="1"/>
              <a:t>Ut</a:t>
            </a:r>
            <a:r>
              <a:rPr lang="en-US" dirty="0"/>
              <a:t> </a:t>
            </a:r>
            <a:r>
              <a:rPr lang="en-US" dirty="0" err="1"/>
              <a:t>aliquipit</a:t>
            </a:r>
            <a:r>
              <a:rPr lang="en-US" dirty="0"/>
              <a:t> </a:t>
            </a:r>
            <a:r>
              <a:rPr lang="en-US" dirty="0" err="1"/>
              <a:t>amcommy</a:t>
            </a:r>
            <a:r>
              <a:rPr lang="en-US" dirty="0"/>
              <a:t> </a:t>
            </a:r>
            <a:r>
              <a:rPr lang="en-US" dirty="0" err="1"/>
              <a:t>nullaore</a:t>
            </a:r>
            <a:r>
              <a:rPr lang="en-US" dirty="0"/>
              <a:t> </a:t>
            </a:r>
            <a:r>
              <a:rPr lang="en-US" dirty="0" err="1"/>
              <a:t>endrem</a:t>
            </a:r>
            <a:r>
              <a:rPr lang="en-US" dirty="0"/>
              <a:t> </a:t>
            </a:r>
            <a:r>
              <a:rPr lang="en-US" dirty="0" err="1"/>
              <a:t>er</a:t>
            </a:r>
            <a:r>
              <a:rPr lang="en-US" dirty="0"/>
              <a:t> </a:t>
            </a:r>
            <a:r>
              <a:rPr lang="en-US" dirty="0" err="1"/>
              <a:t>incilla</a:t>
            </a:r>
            <a:r>
              <a:rPr lang="en-US" dirty="0"/>
              <a:t> </a:t>
            </a:r>
            <a:r>
              <a:rPr lang="en-US" dirty="0" err="1"/>
              <a:t>conse</a:t>
            </a:r>
            <a:r>
              <a:rPr lang="en-US" dirty="0"/>
              <a:t> feu </a:t>
            </a:r>
            <a:r>
              <a:rPr lang="en-US" dirty="0" err="1"/>
              <a:t>facin</a:t>
            </a:r>
            <a:r>
              <a:rPr lang="en-US" dirty="0"/>
              <a:t> </a:t>
            </a:r>
            <a:r>
              <a:rPr lang="en-US" dirty="0" err="1"/>
              <a:t>venisi</a:t>
            </a:r>
            <a:r>
              <a:rPr lang="en-US" dirty="0"/>
              <a:t>.</a:t>
            </a:r>
          </a:p>
          <a:p>
            <a:r>
              <a:rPr lang="en-US" dirty="0"/>
              <a:t> </a:t>
            </a:r>
          </a:p>
          <a:p>
            <a:r>
              <a:rPr lang="en-US" dirty="0"/>
              <a:t>[Click here for more information about the </a:t>
            </a:r>
            <a:r>
              <a:rPr lang="en-US" b="1" u="sng" dirty="0">
                <a:hlinkClick r:id="rId3"/>
              </a:rPr>
              <a:t>DTTL Language &amp; Style Guide</a:t>
            </a:r>
            <a:r>
              <a:rPr lang="en-US" dirty="0"/>
              <a:t>]</a:t>
            </a:r>
          </a:p>
          <a:p>
            <a:r>
              <a:rPr lang="en-US" dirty="0"/>
              <a:t> </a:t>
            </a:r>
          </a:p>
          <a:p>
            <a:r>
              <a:rPr lang="en-US" dirty="0"/>
              <a:t>[Insert the Deloitte local profile]</a:t>
            </a:r>
          </a:p>
          <a:p>
            <a:r>
              <a:rPr lang="en-US" dirty="0"/>
              <a:t>Met prat, </a:t>
            </a:r>
            <a:r>
              <a:rPr lang="en-US" dirty="0" err="1"/>
              <a:t>venim</a:t>
            </a:r>
            <a:r>
              <a:rPr lang="en-US" dirty="0"/>
              <a:t> </a:t>
            </a:r>
            <a:r>
              <a:rPr lang="en-US" dirty="0" err="1"/>
              <a:t>estrud</a:t>
            </a:r>
            <a:r>
              <a:rPr lang="en-US" dirty="0"/>
              <a:t> </a:t>
            </a:r>
            <a:r>
              <a:rPr lang="en-US" dirty="0" err="1"/>
              <a:t>modignibh</a:t>
            </a:r>
            <a:r>
              <a:rPr lang="en-US" dirty="0"/>
              <a:t> </a:t>
            </a:r>
            <a:r>
              <a:rPr lang="en-US" dirty="0" err="1"/>
              <a:t>eumsan</a:t>
            </a:r>
            <a:r>
              <a:rPr lang="en-US" dirty="0"/>
              <a:t> </a:t>
            </a:r>
            <a:r>
              <a:rPr lang="en-US" dirty="0" err="1"/>
              <a:t>vel</a:t>
            </a:r>
            <a:r>
              <a:rPr lang="en-US" dirty="0"/>
              <a:t> </a:t>
            </a:r>
            <a:r>
              <a:rPr lang="en-US" dirty="0" err="1"/>
              <a:t>dolore</a:t>
            </a:r>
            <a:r>
              <a:rPr lang="en-US" dirty="0"/>
              <a:t> </a:t>
            </a:r>
            <a:r>
              <a:rPr lang="en-US" dirty="0" err="1"/>
              <a:t>coreetuercin</a:t>
            </a:r>
            <a:r>
              <a:rPr lang="en-US" dirty="0"/>
              <a:t> </a:t>
            </a:r>
            <a:r>
              <a:rPr lang="en-US" dirty="0" err="1"/>
              <a:t>venibh</a:t>
            </a:r>
            <a:r>
              <a:rPr lang="en-US" dirty="0"/>
              <a:t> </a:t>
            </a:r>
            <a:r>
              <a:rPr lang="en-US" dirty="0" err="1"/>
              <a:t>eugait</a:t>
            </a:r>
            <a:r>
              <a:rPr lang="en-US" dirty="0"/>
              <a:t> </a:t>
            </a:r>
            <a:r>
              <a:rPr lang="en-US" dirty="0" err="1"/>
              <a:t>nonsed</a:t>
            </a:r>
            <a:r>
              <a:rPr lang="en-US" dirty="0"/>
              <a:t> magna </a:t>
            </a:r>
            <a:r>
              <a:rPr lang="en-US" dirty="0" err="1"/>
              <a:t>conum</a:t>
            </a:r>
            <a:r>
              <a:rPr lang="en-US" dirty="0"/>
              <a:t> ad </a:t>
            </a:r>
            <a:r>
              <a:rPr lang="en-US" dirty="0" err="1"/>
              <a:t>tio</a:t>
            </a:r>
            <a:r>
              <a:rPr lang="en-US" dirty="0"/>
              <a:t> od et, </a:t>
            </a:r>
            <a:r>
              <a:rPr lang="en-US" dirty="0" err="1"/>
              <a:t>consequis</a:t>
            </a:r>
            <a:r>
              <a:rPr lang="en-US" dirty="0"/>
              <a:t> </a:t>
            </a:r>
            <a:r>
              <a:rPr lang="en-US" dirty="0" err="1"/>
              <a:t>amconsequat</a:t>
            </a:r>
            <a:endParaRPr lang="en-US" dirty="0"/>
          </a:p>
          <a:p>
            <a:r>
              <a:rPr lang="en-US" dirty="0"/>
              <a:t> </a:t>
            </a:r>
          </a:p>
          <a:p>
            <a:r>
              <a:rPr lang="en-US" dirty="0"/>
              <a:t>[Insert the appropriate internal / external disclaimer]</a:t>
            </a:r>
          </a:p>
          <a:p>
            <a:r>
              <a:rPr lang="en-US" dirty="0" err="1"/>
              <a:t>Ut</a:t>
            </a:r>
            <a:r>
              <a:rPr lang="en-US" dirty="0"/>
              <a:t> </a:t>
            </a:r>
            <a:r>
              <a:rPr lang="en-US" dirty="0" err="1"/>
              <a:t>iustionulput</a:t>
            </a:r>
            <a:r>
              <a:rPr lang="en-US" dirty="0"/>
              <a:t> </a:t>
            </a:r>
            <a:r>
              <a:rPr lang="en-US" dirty="0" err="1"/>
              <a:t>endre</a:t>
            </a:r>
            <a:r>
              <a:rPr lang="en-US" dirty="0"/>
              <a:t> </a:t>
            </a:r>
            <a:r>
              <a:rPr lang="en-US" dirty="0" err="1"/>
              <a:t>cor</a:t>
            </a:r>
            <a:r>
              <a:rPr lang="en-US" dirty="0"/>
              <a:t> </a:t>
            </a:r>
            <a:r>
              <a:rPr lang="en-US" dirty="0" err="1"/>
              <a:t>ilis</a:t>
            </a:r>
            <a:r>
              <a:rPr lang="en-US" dirty="0"/>
              <a:t> </a:t>
            </a:r>
            <a:r>
              <a:rPr lang="en-US" dirty="0" err="1"/>
              <a:t>ent</a:t>
            </a:r>
            <a:r>
              <a:rPr lang="en-US" dirty="0"/>
              <a:t> </a:t>
            </a:r>
            <a:r>
              <a:rPr lang="en-US" dirty="0" err="1"/>
              <a:t>accum</a:t>
            </a:r>
            <a:r>
              <a:rPr lang="en-US" dirty="0"/>
              <a:t> </a:t>
            </a:r>
            <a:r>
              <a:rPr lang="en-US" dirty="0" err="1"/>
              <a:t>vullan</a:t>
            </a:r>
            <a:r>
              <a:rPr lang="en-US" dirty="0"/>
              <a:t> </a:t>
            </a:r>
            <a:r>
              <a:rPr lang="en-US" dirty="0" err="1"/>
              <a:t>voluptate</a:t>
            </a:r>
            <a:r>
              <a:rPr lang="en-US" dirty="0"/>
              <a:t> </a:t>
            </a:r>
            <a:r>
              <a:rPr lang="en-US" dirty="0" err="1"/>
              <a:t>feui</a:t>
            </a:r>
            <a:r>
              <a:rPr lang="en-US" dirty="0"/>
              <a:t> tat. </a:t>
            </a:r>
            <a:r>
              <a:rPr lang="en-US" dirty="0" err="1"/>
              <a:t>Tionsed</a:t>
            </a:r>
            <a:r>
              <a:rPr lang="en-US" dirty="0"/>
              <a:t> dolor </a:t>
            </a:r>
            <a:r>
              <a:rPr lang="en-US" dirty="0" err="1"/>
              <a:t>irilis</a:t>
            </a:r>
            <a:r>
              <a:rPr lang="en-US" dirty="0"/>
              <a:t> </a:t>
            </a:r>
            <a:r>
              <a:rPr lang="en-US" dirty="0" err="1"/>
              <a:t>elit</a:t>
            </a:r>
            <a:r>
              <a:rPr lang="en-US" dirty="0"/>
              <a:t> </a:t>
            </a:r>
            <a:r>
              <a:rPr lang="en-US" dirty="0" err="1"/>
              <a:t>dolumsan</a:t>
            </a:r>
            <a:r>
              <a:rPr lang="en-US" dirty="0"/>
              <a:t> </a:t>
            </a:r>
            <a:r>
              <a:rPr lang="en-US" dirty="0" err="1"/>
              <a:t>velent</a:t>
            </a:r>
            <a:r>
              <a:rPr lang="en-US" dirty="0"/>
              <a:t> </a:t>
            </a:r>
            <a:r>
              <a:rPr lang="en-US" dirty="0" err="1"/>
              <a:t>praesse</a:t>
            </a:r>
            <a:r>
              <a:rPr lang="en-US" dirty="0"/>
              <a:t> </a:t>
            </a:r>
            <a:r>
              <a:rPr lang="en-US" dirty="0" err="1"/>
              <a:t>quisci</a:t>
            </a:r>
            <a:r>
              <a:rPr lang="en-US" dirty="0"/>
              <a:t> </a:t>
            </a:r>
            <a:r>
              <a:rPr lang="en-US" dirty="0" err="1"/>
              <a:t>tatet</a:t>
            </a:r>
            <a:r>
              <a:rPr lang="en-US" dirty="0"/>
              <a:t>, </a:t>
            </a:r>
            <a:r>
              <a:rPr lang="en-US" dirty="0" err="1"/>
              <a:t>volessi</a:t>
            </a:r>
            <a:r>
              <a:rPr lang="en-US" dirty="0"/>
              <a:t> </a:t>
            </a:r>
            <a:r>
              <a:rPr lang="en-US" dirty="0" err="1"/>
              <a:t>blan</a:t>
            </a:r>
            <a:r>
              <a:rPr lang="en-US" dirty="0"/>
              <a:t> </a:t>
            </a:r>
            <a:r>
              <a:rPr lang="en-US" dirty="0" err="1"/>
              <a:t>veleui</a:t>
            </a:r>
            <a:r>
              <a:rPr lang="en-US" dirty="0"/>
              <a:t> </a:t>
            </a:r>
            <a:r>
              <a:rPr lang="en-US" dirty="0" err="1"/>
              <a:t>eniam</a:t>
            </a:r>
            <a:r>
              <a:rPr lang="en-US" dirty="0"/>
              <a:t> </a:t>
            </a:r>
            <a:r>
              <a:rPr lang="en-US" dirty="0" err="1"/>
              <a:t>vullaortisi</a:t>
            </a:r>
            <a:r>
              <a:rPr lang="en-US" dirty="0"/>
              <a:t> </a:t>
            </a:r>
            <a:r>
              <a:rPr lang="en-US" dirty="0" err="1"/>
              <a:t>bla</a:t>
            </a:r>
            <a:r>
              <a:rPr lang="en-US" dirty="0"/>
              <a:t> </a:t>
            </a:r>
            <a:r>
              <a:rPr lang="en-US" dirty="0" err="1"/>
              <a:t>faccum</a:t>
            </a:r>
            <a:r>
              <a:rPr lang="en-US" dirty="0"/>
              <a:t> </a:t>
            </a:r>
            <a:r>
              <a:rPr lang="en-US" dirty="0" err="1"/>
              <a:t>vel</a:t>
            </a:r>
            <a:r>
              <a:rPr lang="en-US" dirty="0"/>
              <a:t> </a:t>
            </a:r>
            <a:r>
              <a:rPr lang="en-US" dirty="0" err="1"/>
              <a:t>utet</a:t>
            </a:r>
            <a:r>
              <a:rPr lang="en-US" dirty="0"/>
              <a:t> </a:t>
            </a:r>
            <a:r>
              <a:rPr lang="en-US" dirty="0" err="1"/>
              <a:t>aut</a:t>
            </a:r>
            <a:r>
              <a:rPr lang="en-US" dirty="0"/>
              <a:t> </a:t>
            </a:r>
            <a:r>
              <a:rPr lang="en-US" dirty="0" err="1"/>
              <a:t>iriure</a:t>
            </a:r>
            <a:r>
              <a:rPr lang="en-US" dirty="0"/>
              <a:t> </a:t>
            </a:r>
            <a:r>
              <a:rPr lang="en-US" dirty="0" err="1"/>
              <a:t>eu</a:t>
            </a:r>
            <a:r>
              <a:rPr lang="en-US" dirty="0"/>
              <a:t> </a:t>
            </a:r>
            <a:r>
              <a:rPr lang="en-US" dirty="0" err="1"/>
              <a:t>faccum</a:t>
            </a:r>
            <a:r>
              <a:rPr lang="en-US" dirty="0"/>
              <a:t> </a:t>
            </a:r>
            <a:r>
              <a:rPr lang="en-US" dirty="0" err="1"/>
              <a:t>adigniat</a:t>
            </a:r>
            <a:r>
              <a:rPr lang="en-US" dirty="0"/>
              <a:t>, core </a:t>
            </a:r>
            <a:r>
              <a:rPr lang="en-US" dirty="0" err="1"/>
              <a:t>te</a:t>
            </a:r>
            <a:r>
              <a:rPr lang="en-US" dirty="0"/>
              <a:t> do </a:t>
            </a:r>
            <a:r>
              <a:rPr lang="en-US" dirty="0" err="1"/>
              <a:t>dionsenisim</a:t>
            </a:r>
            <a:r>
              <a:rPr lang="en-US" dirty="0"/>
              <a:t> </a:t>
            </a:r>
            <a:r>
              <a:rPr lang="en-US" dirty="0" err="1"/>
              <a:t>erciliquatue</a:t>
            </a:r>
            <a:r>
              <a:rPr lang="en-US" dirty="0"/>
              <a:t> </a:t>
            </a:r>
            <a:r>
              <a:rPr lang="en-US" dirty="0" err="1"/>
              <a:t>te</a:t>
            </a:r>
            <a:r>
              <a:rPr lang="en-US" dirty="0"/>
              <a:t> </a:t>
            </a:r>
            <a:r>
              <a:rPr lang="en-US" dirty="0" err="1"/>
              <a:t>ming</a:t>
            </a:r>
            <a:r>
              <a:rPr lang="en-US" dirty="0"/>
              <a:t> </a:t>
            </a:r>
            <a:r>
              <a:rPr lang="en-US" dirty="0" err="1"/>
              <a:t>ea</a:t>
            </a:r>
            <a:r>
              <a:rPr lang="en-US" dirty="0"/>
              <a:t> </a:t>
            </a:r>
            <a:r>
              <a:rPr lang="en-US" dirty="0" err="1"/>
              <a:t>facincillut</a:t>
            </a:r>
            <a:r>
              <a:rPr lang="en-US" dirty="0"/>
              <a:t> </a:t>
            </a:r>
            <a:r>
              <a:rPr lang="en-US" dirty="0" err="1"/>
              <a:t>lan</a:t>
            </a:r>
            <a:r>
              <a:rPr lang="en-US" dirty="0"/>
              <a:t> </a:t>
            </a:r>
            <a:r>
              <a:rPr lang="en-US" dirty="0" err="1"/>
              <a:t>henim</a:t>
            </a:r>
            <a:endParaRPr lang="en-US" dirty="0"/>
          </a:p>
          <a:p>
            <a:r>
              <a:rPr lang="en-US" dirty="0"/>
              <a:t> </a:t>
            </a:r>
          </a:p>
          <a:p>
            <a:r>
              <a:rPr lang="en-US" dirty="0"/>
              <a:t>[For MF communications, please consult with your internal risk or legal teams as to what additional language is appropriate.]</a:t>
            </a:r>
          </a:p>
          <a:p>
            <a:r>
              <a:rPr lang="en-US" dirty="0"/>
              <a:t> </a:t>
            </a:r>
          </a:p>
          <a:p>
            <a:r>
              <a:rPr lang="en-US" dirty="0"/>
              <a:t>© [Year] [Legal entity name]</a:t>
            </a:r>
          </a:p>
        </p:txBody>
      </p:sp>
    </p:spTree>
    <p:extLst>
      <p:ext uri="{BB962C8B-B14F-4D97-AF65-F5344CB8AC3E}">
        <p14:creationId xmlns:p14="http://schemas.microsoft.com/office/powerpoint/2010/main" val="2652619916"/>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ppendix</a:t>
            </a:r>
            <a:endParaRPr lang="en-US" dirty="0"/>
          </a:p>
        </p:txBody>
      </p:sp>
    </p:spTree>
    <p:extLst>
      <p:ext uri="{BB962C8B-B14F-4D97-AF65-F5344CB8AC3E}">
        <p14:creationId xmlns:p14="http://schemas.microsoft.com/office/powerpoint/2010/main" val="2674014039"/>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noProof="0" dirty="0"/>
              <a:t>Color palette</a:t>
            </a:r>
          </a:p>
        </p:txBody>
      </p:sp>
      <p:sp>
        <p:nvSpPr>
          <p:cNvPr id="2" name="Title 1"/>
          <p:cNvSpPr>
            <a:spLocks noGrp="1"/>
          </p:cNvSpPr>
          <p:nvPr>
            <p:ph type="title"/>
          </p:nvPr>
        </p:nvSpPr>
        <p:spPr/>
        <p:txBody>
          <a:bodyPr/>
          <a:lstStyle/>
          <a:p>
            <a:r>
              <a:rPr lang="en-US" noProof="0" dirty="0"/>
              <a:t>Appendix</a:t>
            </a:r>
          </a:p>
        </p:txBody>
      </p:sp>
      <p:sp>
        <p:nvSpPr>
          <p:cNvPr id="3" name="Content Placeholder 2"/>
          <p:cNvSpPr>
            <a:spLocks noGrp="1"/>
          </p:cNvSpPr>
          <p:nvPr>
            <p:ph idx="1"/>
          </p:nvPr>
        </p:nvSpPr>
        <p:spPr>
          <a:xfrm>
            <a:off x="396000" y="1700213"/>
            <a:ext cx="3452100" cy="4681538"/>
          </a:xfrm>
        </p:spPr>
        <p:txBody>
          <a:bodyPr/>
          <a:lstStyle/>
          <a:p>
            <a:r>
              <a:rPr lang="en-US" noProof="0" dirty="0"/>
              <a:t>All of these colors can be selected using the Deloitte color theme which is set to default in this presentation.</a:t>
            </a:r>
          </a:p>
          <a:p>
            <a:r>
              <a:rPr lang="en-US" noProof="0" dirty="0"/>
              <a:t>Where necessary (e.g., in heat charts) red, orange and yellow can be used. These colors must have a functional association and cannot be used otherwise.</a:t>
            </a:r>
          </a:p>
        </p:txBody>
      </p:sp>
      <p:sp>
        <p:nvSpPr>
          <p:cNvPr id="21" name="Rectangle 20"/>
          <p:cNvSpPr/>
          <p:nvPr/>
        </p:nvSpPr>
        <p:spPr>
          <a:xfrm>
            <a:off x="7283094" y="1700755"/>
            <a:ext cx="1503971" cy="1503971"/>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Green 6</a:t>
            </a:r>
          </a:p>
          <a:p>
            <a:endParaRPr lang="en-GB" sz="1100" dirty="0">
              <a:solidFill>
                <a:schemeClr val="bg1"/>
              </a:solidFill>
            </a:endParaRPr>
          </a:p>
          <a:p>
            <a:r>
              <a:rPr lang="en-GB" sz="1100" dirty="0">
                <a:solidFill>
                  <a:schemeClr val="bg1"/>
                </a:solidFill>
              </a:rPr>
              <a:t>#046A38</a:t>
            </a:r>
          </a:p>
          <a:p>
            <a:r>
              <a:rPr lang="en-GB" sz="1100" dirty="0">
                <a:solidFill>
                  <a:schemeClr val="bg1"/>
                </a:solidFill>
              </a:rPr>
              <a:t>R 4</a:t>
            </a:r>
          </a:p>
          <a:p>
            <a:r>
              <a:rPr lang="en-GB" sz="1100" dirty="0">
                <a:solidFill>
                  <a:schemeClr val="bg1"/>
                </a:solidFill>
              </a:rPr>
              <a:t>G 106</a:t>
            </a:r>
          </a:p>
          <a:p>
            <a:r>
              <a:rPr lang="en-GB" sz="1100" dirty="0">
                <a:solidFill>
                  <a:schemeClr val="bg1"/>
                </a:solidFill>
              </a:rPr>
              <a:t>B 56</a:t>
            </a:r>
          </a:p>
        </p:txBody>
      </p:sp>
      <p:sp>
        <p:nvSpPr>
          <p:cNvPr id="22" name="Rectangle 21"/>
          <p:cNvSpPr/>
          <p:nvPr/>
        </p:nvSpPr>
        <p:spPr>
          <a:xfrm>
            <a:off x="7281441" y="3279353"/>
            <a:ext cx="1503971" cy="15039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Blue 6</a:t>
            </a:r>
          </a:p>
          <a:p>
            <a:endParaRPr lang="en-GB" sz="1100" dirty="0">
              <a:solidFill>
                <a:schemeClr val="bg1"/>
              </a:solidFill>
            </a:endParaRPr>
          </a:p>
          <a:p>
            <a:r>
              <a:rPr lang="en-GB" sz="1100" dirty="0">
                <a:solidFill>
                  <a:schemeClr val="bg1"/>
                </a:solidFill>
              </a:rPr>
              <a:t>#012169</a:t>
            </a:r>
          </a:p>
          <a:p>
            <a:r>
              <a:rPr lang="en-GB" sz="1100" dirty="0">
                <a:solidFill>
                  <a:schemeClr val="bg1"/>
                </a:solidFill>
              </a:rPr>
              <a:t>R 1</a:t>
            </a:r>
          </a:p>
          <a:p>
            <a:r>
              <a:rPr lang="en-GB" sz="1100" dirty="0">
                <a:solidFill>
                  <a:schemeClr val="bg1"/>
                </a:solidFill>
              </a:rPr>
              <a:t>G 33</a:t>
            </a:r>
          </a:p>
          <a:p>
            <a:r>
              <a:rPr lang="en-GB" sz="1100" dirty="0">
                <a:solidFill>
                  <a:schemeClr val="bg1"/>
                </a:solidFill>
              </a:rPr>
              <a:t>B 105</a:t>
            </a:r>
          </a:p>
        </p:txBody>
      </p:sp>
      <p:sp>
        <p:nvSpPr>
          <p:cNvPr id="23" name="Rectangle 22"/>
          <p:cNvSpPr/>
          <p:nvPr/>
        </p:nvSpPr>
        <p:spPr>
          <a:xfrm>
            <a:off x="4121509" y="4066034"/>
            <a:ext cx="1503971" cy="231571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tx1"/>
                </a:solidFill>
              </a:rPr>
              <a:t>White</a:t>
            </a:r>
          </a:p>
        </p:txBody>
      </p:sp>
      <p:sp>
        <p:nvSpPr>
          <p:cNvPr id="24" name="Rectangle 23"/>
          <p:cNvSpPr/>
          <p:nvPr/>
        </p:nvSpPr>
        <p:spPr>
          <a:xfrm>
            <a:off x="5702301" y="4858492"/>
            <a:ext cx="1503971" cy="15232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tx1"/>
                </a:solidFill>
              </a:rPr>
              <a:t>Teal 5</a:t>
            </a:r>
          </a:p>
          <a:p>
            <a:endParaRPr lang="en-GB" sz="1100" dirty="0">
              <a:solidFill>
                <a:schemeClr val="tx1"/>
              </a:solidFill>
            </a:endParaRPr>
          </a:p>
          <a:p>
            <a:r>
              <a:rPr lang="en-GB" sz="1100" dirty="0">
                <a:solidFill>
                  <a:schemeClr val="tx1"/>
                </a:solidFill>
              </a:rPr>
              <a:t>#0097A9</a:t>
            </a:r>
          </a:p>
          <a:p>
            <a:r>
              <a:rPr lang="en-GB" sz="1100" dirty="0">
                <a:solidFill>
                  <a:schemeClr val="tx1"/>
                </a:solidFill>
              </a:rPr>
              <a:t>R 0</a:t>
            </a:r>
          </a:p>
          <a:p>
            <a:r>
              <a:rPr lang="en-GB" sz="1100" dirty="0">
                <a:solidFill>
                  <a:schemeClr val="tx1"/>
                </a:solidFill>
              </a:rPr>
              <a:t>G 151</a:t>
            </a:r>
          </a:p>
          <a:p>
            <a:r>
              <a:rPr lang="en-GB" sz="1100" dirty="0">
                <a:solidFill>
                  <a:schemeClr val="tx1"/>
                </a:solidFill>
              </a:rPr>
              <a:t>B 169</a:t>
            </a:r>
          </a:p>
        </p:txBody>
      </p:sp>
      <p:sp>
        <p:nvSpPr>
          <p:cNvPr id="25" name="Rectangle 24"/>
          <p:cNvSpPr/>
          <p:nvPr/>
        </p:nvSpPr>
        <p:spPr>
          <a:xfrm>
            <a:off x="7281441" y="4858493"/>
            <a:ext cx="1503971" cy="15232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Cool </a:t>
            </a:r>
            <a:r>
              <a:rPr lang="en-GB" sz="1100" dirty="0" err="1">
                <a:solidFill>
                  <a:schemeClr val="bg1"/>
                </a:solidFill>
              </a:rPr>
              <a:t>gray</a:t>
            </a:r>
            <a:r>
              <a:rPr lang="en-GB" sz="1100" dirty="0">
                <a:solidFill>
                  <a:schemeClr val="bg1"/>
                </a:solidFill>
              </a:rPr>
              <a:t> 9</a:t>
            </a:r>
          </a:p>
          <a:p>
            <a:endParaRPr lang="en-GB" sz="1100" dirty="0">
              <a:solidFill>
                <a:schemeClr val="bg1"/>
              </a:solidFill>
            </a:endParaRPr>
          </a:p>
          <a:p>
            <a:r>
              <a:rPr lang="en-GB" sz="1100" dirty="0">
                <a:solidFill>
                  <a:schemeClr val="bg1"/>
                </a:solidFill>
              </a:rPr>
              <a:t>#75787B</a:t>
            </a:r>
          </a:p>
          <a:p>
            <a:r>
              <a:rPr lang="en-GB" sz="1100" dirty="0">
                <a:solidFill>
                  <a:schemeClr val="bg1"/>
                </a:solidFill>
              </a:rPr>
              <a:t>R 117</a:t>
            </a:r>
          </a:p>
          <a:p>
            <a:r>
              <a:rPr lang="en-GB" sz="1100" dirty="0">
                <a:solidFill>
                  <a:schemeClr val="bg1"/>
                </a:solidFill>
              </a:rPr>
              <a:t>G 120</a:t>
            </a:r>
          </a:p>
          <a:p>
            <a:r>
              <a:rPr lang="en-GB" sz="1100" dirty="0">
                <a:solidFill>
                  <a:schemeClr val="bg1"/>
                </a:solidFill>
              </a:rPr>
              <a:t>B 123</a:t>
            </a:r>
          </a:p>
        </p:txBody>
      </p:sp>
      <p:sp>
        <p:nvSpPr>
          <p:cNvPr id="26" name="Rectangle 25"/>
          <p:cNvSpPr/>
          <p:nvPr/>
        </p:nvSpPr>
        <p:spPr>
          <a:xfrm>
            <a:off x="5702301" y="1700755"/>
            <a:ext cx="1503971" cy="15039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tx1"/>
                </a:solidFill>
              </a:rPr>
              <a:t>Deloitte Green</a:t>
            </a:r>
          </a:p>
          <a:p>
            <a:endParaRPr lang="en-GB" sz="1100" dirty="0">
              <a:solidFill>
                <a:schemeClr val="tx1"/>
              </a:solidFill>
            </a:endParaRPr>
          </a:p>
          <a:p>
            <a:r>
              <a:rPr lang="en-GB" sz="1100" dirty="0">
                <a:solidFill>
                  <a:schemeClr val="tx1"/>
                </a:solidFill>
              </a:rPr>
              <a:t>#86BC25</a:t>
            </a:r>
          </a:p>
          <a:p>
            <a:r>
              <a:rPr lang="en-GB" sz="1100" dirty="0">
                <a:solidFill>
                  <a:schemeClr val="tx1"/>
                </a:solidFill>
              </a:rPr>
              <a:t>R 134</a:t>
            </a:r>
          </a:p>
          <a:p>
            <a:r>
              <a:rPr lang="en-GB" sz="1100" dirty="0">
                <a:solidFill>
                  <a:schemeClr val="tx1"/>
                </a:solidFill>
              </a:rPr>
              <a:t>G 188</a:t>
            </a:r>
          </a:p>
          <a:p>
            <a:r>
              <a:rPr lang="en-GB" sz="1100" dirty="0">
                <a:solidFill>
                  <a:schemeClr val="tx1"/>
                </a:solidFill>
              </a:rPr>
              <a:t>B 37</a:t>
            </a:r>
          </a:p>
        </p:txBody>
      </p:sp>
      <p:sp>
        <p:nvSpPr>
          <p:cNvPr id="27" name="Rectangle 26"/>
          <p:cNvSpPr/>
          <p:nvPr/>
        </p:nvSpPr>
        <p:spPr>
          <a:xfrm>
            <a:off x="5703374" y="3279353"/>
            <a:ext cx="1503971" cy="1503971"/>
          </a:xfrm>
          <a:prstGeom prst="rect">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tx1"/>
                </a:solidFill>
              </a:rPr>
              <a:t>Blue 2</a:t>
            </a:r>
          </a:p>
          <a:p>
            <a:endParaRPr lang="en-GB" sz="1100" dirty="0">
              <a:solidFill>
                <a:schemeClr val="tx1"/>
              </a:solidFill>
            </a:endParaRPr>
          </a:p>
          <a:p>
            <a:r>
              <a:rPr lang="en-GB" sz="1100" dirty="0">
                <a:solidFill>
                  <a:schemeClr val="tx1"/>
                </a:solidFill>
              </a:rPr>
              <a:t>#62B5E5</a:t>
            </a:r>
          </a:p>
          <a:p>
            <a:r>
              <a:rPr lang="en-GB" sz="1100" dirty="0">
                <a:solidFill>
                  <a:schemeClr val="tx1"/>
                </a:solidFill>
              </a:rPr>
              <a:t>R 98</a:t>
            </a:r>
          </a:p>
          <a:p>
            <a:r>
              <a:rPr lang="en-GB" sz="1100" dirty="0">
                <a:solidFill>
                  <a:schemeClr val="tx1"/>
                </a:solidFill>
              </a:rPr>
              <a:t>G 181</a:t>
            </a:r>
          </a:p>
          <a:p>
            <a:r>
              <a:rPr lang="en-GB" sz="1100" dirty="0">
                <a:solidFill>
                  <a:schemeClr val="tx1"/>
                </a:solidFill>
              </a:rPr>
              <a:t>B 229</a:t>
            </a:r>
          </a:p>
        </p:txBody>
      </p:sp>
      <p:sp>
        <p:nvSpPr>
          <p:cNvPr id="28" name="Rectangle 27"/>
          <p:cNvSpPr/>
          <p:nvPr/>
        </p:nvSpPr>
        <p:spPr>
          <a:xfrm>
            <a:off x="4121509" y="1700212"/>
            <a:ext cx="1503971" cy="22964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Black</a:t>
            </a:r>
          </a:p>
        </p:txBody>
      </p:sp>
      <p:sp>
        <p:nvSpPr>
          <p:cNvPr id="15" name="Rectangle 14"/>
          <p:cNvSpPr/>
          <p:nvPr/>
        </p:nvSpPr>
        <p:spPr>
          <a:xfrm>
            <a:off x="385432" y="4858492"/>
            <a:ext cx="1152000" cy="1523258"/>
          </a:xfrm>
          <a:prstGeom prst="rect">
            <a:avLst/>
          </a:prstGeom>
          <a:solidFill>
            <a:srgbClr val="DB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Red</a:t>
            </a:r>
          </a:p>
          <a:p>
            <a:endParaRPr lang="en-GB" sz="1100" dirty="0">
              <a:solidFill>
                <a:schemeClr val="bg1"/>
              </a:solidFill>
            </a:endParaRPr>
          </a:p>
          <a:p>
            <a:r>
              <a:rPr lang="en-GB" sz="1100" dirty="0">
                <a:solidFill>
                  <a:schemeClr val="bg1"/>
                </a:solidFill>
              </a:rPr>
              <a:t>#DA291C</a:t>
            </a:r>
          </a:p>
          <a:p>
            <a:r>
              <a:rPr lang="en-GB" sz="1100" dirty="0">
                <a:solidFill>
                  <a:schemeClr val="bg1"/>
                </a:solidFill>
              </a:rPr>
              <a:t>R 219</a:t>
            </a:r>
          </a:p>
          <a:p>
            <a:r>
              <a:rPr lang="en-GB" sz="1100" dirty="0">
                <a:solidFill>
                  <a:schemeClr val="bg1"/>
                </a:solidFill>
              </a:rPr>
              <a:t>G 41</a:t>
            </a:r>
          </a:p>
          <a:p>
            <a:r>
              <a:rPr lang="en-GB" sz="1100" dirty="0">
                <a:solidFill>
                  <a:schemeClr val="bg1"/>
                </a:solidFill>
              </a:rPr>
              <a:t>B 28</a:t>
            </a:r>
          </a:p>
        </p:txBody>
      </p:sp>
      <p:sp>
        <p:nvSpPr>
          <p:cNvPr id="16" name="Rectangle 15"/>
          <p:cNvSpPr/>
          <p:nvPr/>
        </p:nvSpPr>
        <p:spPr>
          <a:xfrm>
            <a:off x="1608859" y="4858493"/>
            <a:ext cx="1152000" cy="1523257"/>
          </a:xfrm>
          <a:prstGeom prst="rect">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bg1"/>
                </a:solidFill>
              </a:rPr>
              <a:t>Orange</a:t>
            </a:r>
          </a:p>
          <a:p>
            <a:endParaRPr lang="en-GB" sz="1100" dirty="0">
              <a:solidFill>
                <a:schemeClr val="bg1"/>
              </a:solidFill>
            </a:endParaRPr>
          </a:p>
          <a:p>
            <a:r>
              <a:rPr lang="en-GB" sz="1100" dirty="0">
                <a:solidFill>
                  <a:schemeClr val="bg1"/>
                </a:solidFill>
              </a:rPr>
              <a:t>#ED8B00</a:t>
            </a:r>
          </a:p>
          <a:p>
            <a:r>
              <a:rPr lang="en-GB" sz="1100" dirty="0">
                <a:solidFill>
                  <a:schemeClr val="bg1"/>
                </a:solidFill>
              </a:rPr>
              <a:t>R 237</a:t>
            </a:r>
          </a:p>
          <a:p>
            <a:r>
              <a:rPr lang="en-GB" sz="1100" dirty="0">
                <a:solidFill>
                  <a:schemeClr val="bg1"/>
                </a:solidFill>
              </a:rPr>
              <a:t>G 139</a:t>
            </a:r>
          </a:p>
          <a:p>
            <a:r>
              <a:rPr lang="en-GB" sz="1100" dirty="0">
                <a:solidFill>
                  <a:schemeClr val="bg1"/>
                </a:solidFill>
              </a:rPr>
              <a:t>B 0</a:t>
            </a:r>
          </a:p>
        </p:txBody>
      </p:sp>
      <p:sp>
        <p:nvSpPr>
          <p:cNvPr id="17" name="Rectangle 16"/>
          <p:cNvSpPr/>
          <p:nvPr/>
        </p:nvSpPr>
        <p:spPr>
          <a:xfrm>
            <a:off x="2832286" y="4858493"/>
            <a:ext cx="1152000" cy="1523257"/>
          </a:xfrm>
          <a:prstGeom prst="rect">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dirty="0">
                <a:solidFill>
                  <a:schemeClr val="accent2"/>
                </a:solidFill>
              </a:rPr>
              <a:t>Yellow</a:t>
            </a:r>
          </a:p>
          <a:p>
            <a:endParaRPr lang="en-GB" sz="1100" dirty="0">
              <a:solidFill>
                <a:schemeClr val="accent2"/>
              </a:solidFill>
            </a:endParaRPr>
          </a:p>
          <a:p>
            <a:r>
              <a:rPr lang="en-GB" sz="1100" dirty="0">
                <a:solidFill>
                  <a:schemeClr val="accent2"/>
                </a:solidFill>
              </a:rPr>
              <a:t>#FFCD00</a:t>
            </a:r>
          </a:p>
          <a:p>
            <a:r>
              <a:rPr lang="en-GB" sz="1100" dirty="0">
                <a:solidFill>
                  <a:schemeClr val="accent2"/>
                </a:solidFill>
              </a:rPr>
              <a:t>R 255</a:t>
            </a:r>
          </a:p>
          <a:p>
            <a:r>
              <a:rPr lang="en-GB" sz="1100" dirty="0">
                <a:solidFill>
                  <a:schemeClr val="accent2"/>
                </a:solidFill>
              </a:rPr>
              <a:t>G 205</a:t>
            </a:r>
          </a:p>
          <a:p>
            <a:r>
              <a:rPr lang="en-GB" sz="1100" dirty="0">
                <a:solidFill>
                  <a:schemeClr val="accent2"/>
                </a:solidFill>
              </a:rPr>
              <a:t>B 0</a:t>
            </a:r>
          </a:p>
        </p:txBody>
      </p:sp>
    </p:spTree>
    <p:extLst>
      <p:ext uri="{BB962C8B-B14F-4D97-AF65-F5344CB8AC3E}">
        <p14:creationId xmlns:p14="http://schemas.microsoft.com/office/powerpoint/2010/main" val="1366107879"/>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noProof="0"/>
              <a:t>Typography 1</a:t>
            </a:r>
            <a:endParaRPr lang="en-US" noProof="0" dirty="0"/>
          </a:p>
        </p:txBody>
      </p:sp>
      <p:sp>
        <p:nvSpPr>
          <p:cNvPr id="2" name="Title 1"/>
          <p:cNvSpPr>
            <a:spLocks noGrp="1"/>
          </p:cNvSpPr>
          <p:nvPr>
            <p:ph type="title"/>
          </p:nvPr>
        </p:nvSpPr>
        <p:spPr/>
        <p:txBody>
          <a:bodyPr/>
          <a:lstStyle/>
          <a:p>
            <a:r>
              <a:rPr lang="en-US" noProof="0" dirty="0"/>
              <a:t>Appendix</a:t>
            </a:r>
          </a:p>
        </p:txBody>
      </p:sp>
      <p:sp>
        <p:nvSpPr>
          <p:cNvPr id="9" name="Content Placeholder 3"/>
          <p:cNvSpPr>
            <a:spLocks noGrp="1"/>
          </p:cNvSpPr>
          <p:nvPr>
            <p:ph idx="1"/>
          </p:nvPr>
        </p:nvSpPr>
        <p:spPr/>
        <p:txBody>
          <a:bodyPr/>
          <a:lstStyle/>
          <a:p>
            <a:r>
              <a:rPr lang="en-US" noProof="0"/>
              <a:t>MS Office templates use the system typeface Verdana.</a:t>
            </a:r>
            <a:br>
              <a:rPr lang="en-US" noProof="0"/>
            </a:br>
            <a:r>
              <a:rPr lang="en-US" noProof="0"/>
              <a:t>Below shows the hierarchy and variations that can be used.</a:t>
            </a:r>
          </a:p>
          <a:p>
            <a:endParaRPr lang="en-US" noProof="0"/>
          </a:p>
          <a:p>
            <a:endParaRPr lang="en-US" noProof="0" dirty="0"/>
          </a:p>
        </p:txBody>
      </p:sp>
      <p:sp>
        <p:nvSpPr>
          <p:cNvPr id="8" name="Content Placeholder 3"/>
          <p:cNvSpPr txBox="1">
            <a:spLocks/>
          </p:cNvSpPr>
          <p:nvPr/>
        </p:nvSpPr>
        <p:spPr>
          <a:xfrm>
            <a:off x="376239" y="2647950"/>
            <a:ext cx="8391524" cy="3311525"/>
          </a:xfrm>
          <a:prstGeom prst="rect">
            <a:avLst/>
          </a:prstGeom>
          <a:ln w="3175">
            <a:solidFill>
              <a:schemeClr val="tx1"/>
            </a:solidFill>
          </a:ln>
        </p:spPr>
        <p:txBody>
          <a:bodyPr vert="horz" lIns="180000" tIns="180000" rIns="180000" bIns="180000" rtlCol="0">
            <a:noAutofit/>
          </a:bodyPr>
          <a:lstStyle>
            <a:lvl1pPr marL="0" indent="0" algn="l" defTabSz="914400" rtl="0" eaLnBrk="1" latinLnBrk="0" hangingPunct="1">
              <a:lnSpc>
                <a:spcPct val="140000"/>
              </a:lnSpc>
              <a:spcBef>
                <a:spcPts val="0"/>
              </a:spcBef>
              <a:spcAft>
                <a:spcPts val="1000"/>
              </a:spcAft>
              <a:buFont typeface="Arial" panose="020B0604020202020204" pitchFamily="34" charset="0"/>
              <a:buNone/>
              <a:defRPr sz="1200" kern="1200">
                <a:solidFill>
                  <a:schemeClr val="tx1"/>
                </a:solidFill>
                <a:latin typeface="+mn-lt"/>
                <a:ea typeface="+mn-ea"/>
                <a:cs typeface="+mn-cs"/>
              </a:defRPr>
            </a:lvl1pPr>
            <a:lvl2pPr marL="0" indent="0" algn="l" defTabSz="914400" rtl="0" eaLnBrk="1" latinLnBrk="0" hangingPunct="1">
              <a:lnSpc>
                <a:spcPct val="140000"/>
              </a:lnSpc>
              <a:spcBef>
                <a:spcPts val="0"/>
              </a:spcBef>
              <a:spcAft>
                <a:spcPts val="0"/>
              </a:spcAft>
              <a:buFont typeface="Arial" panose="020B0604020202020204" pitchFamily="34" charset="0"/>
              <a:buNone/>
              <a:defRPr sz="1200" b="1" kern="1200">
                <a:solidFill>
                  <a:schemeClr val="tx1"/>
                </a:solidFill>
                <a:latin typeface="+mn-lt"/>
                <a:ea typeface="Open Sans" panose="020B0606030504020204" pitchFamily="34" charset="0"/>
                <a:cs typeface="Open Sans" panose="020B0606030504020204" pitchFamily="34" charset="0"/>
              </a:defRPr>
            </a:lvl2pPr>
            <a:lvl3pPr marL="177800" indent="-177800" algn="l" defTabSz="914400" rtl="0" eaLnBrk="1" latinLnBrk="0" hangingPunct="1">
              <a:lnSpc>
                <a:spcPct val="140000"/>
              </a:lnSpc>
              <a:spcBef>
                <a:spcPts val="1000"/>
              </a:spcBef>
              <a:spcAft>
                <a:spcPts val="0"/>
              </a:spcAft>
              <a:buFont typeface="Arial" panose="020B0604020202020204" pitchFamily="34" charset="0"/>
              <a:buChar char="•"/>
              <a:defRPr sz="1200" kern="1200">
                <a:solidFill>
                  <a:schemeClr val="tx1"/>
                </a:solidFill>
                <a:latin typeface="+mn-lt"/>
                <a:ea typeface="+mn-ea"/>
                <a:cs typeface="+mn-cs"/>
              </a:defRPr>
            </a:lvl3pPr>
            <a:lvl4pPr marL="355600" indent="-177800" algn="l" defTabSz="914400" rtl="0" eaLnBrk="1" latinLnBrk="0" hangingPunct="1">
              <a:lnSpc>
                <a:spcPct val="140000"/>
              </a:lnSpc>
              <a:spcBef>
                <a:spcPts val="0"/>
              </a:spcBef>
              <a:spcAft>
                <a:spcPts val="0"/>
              </a:spcAft>
              <a:buFont typeface="Metric Light" pitchFamily="34" charset="0"/>
              <a:buChar char="−"/>
              <a:defRPr sz="1200" kern="1200">
                <a:solidFill>
                  <a:schemeClr val="tx1"/>
                </a:solidFill>
                <a:latin typeface="+mn-lt"/>
                <a:ea typeface="+mn-ea"/>
                <a:cs typeface="+mn-cs"/>
              </a:defRPr>
            </a:lvl4pPr>
            <a:lvl5pPr marL="533400" indent="-177800" algn="l" defTabSz="914400" rtl="0" eaLnBrk="1" latinLnBrk="0" hangingPunct="1">
              <a:lnSpc>
                <a:spcPct val="140000"/>
              </a:lnSpc>
              <a:spcBef>
                <a:spcPts val="0"/>
              </a:spcBef>
              <a:spcAft>
                <a:spcPts val="0"/>
              </a:spcAft>
              <a:buFont typeface="Metric Light"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pPr>
            <a:r>
              <a:rPr lang="en-GB" sz="1800" b="1" dirty="0"/>
              <a:t>Document headline 18pt</a:t>
            </a:r>
          </a:p>
          <a:p>
            <a:pPr>
              <a:lnSpc>
                <a:spcPct val="110000"/>
              </a:lnSpc>
              <a:spcAft>
                <a:spcPts val="0"/>
              </a:spcAft>
            </a:pPr>
            <a:r>
              <a:rPr lang="en-GB" sz="1600" dirty="0"/>
              <a:t>Document subheading 16pt</a:t>
            </a:r>
          </a:p>
          <a:p>
            <a:pPr>
              <a:spcAft>
                <a:spcPts val="0"/>
              </a:spcAft>
            </a:pPr>
            <a:r>
              <a:rPr lang="en-GB" sz="1000" dirty="0"/>
              <a:t>Cover information 10pt</a:t>
            </a:r>
          </a:p>
          <a:p>
            <a:pPr>
              <a:lnSpc>
                <a:spcPct val="95000"/>
              </a:lnSpc>
              <a:spcAft>
                <a:spcPts val="0"/>
              </a:spcAft>
            </a:pPr>
            <a:r>
              <a:rPr lang="en-GB" sz="3850" b="1" dirty="0"/>
              <a:t>Section heading 38.5pt</a:t>
            </a:r>
          </a:p>
          <a:p>
            <a:pPr>
              <a:lnSpc>
                <a:spcPct val="95000"/>
              </a:lnSpc>
              <a:spcAft>
                <a:spcPts val="0"/>
              </a:spcAft>
            </a:pPr>
            <a:r>
              <a:rPr lang="en-GB" sz="3850" dirty="0"/>
              <a:t>Section subheading 38.5pt</a:t>
            </a:r>
          </a:p>
          <a:p>
            <a:pPr>
              <a:lnSpc>
                <a:spcPct val="110000"/>
              </a:lnSpc>
              <a:spcAft>
                <a:spcPts val="0"/>
              </a:spcAft>
            </a:pPr>
            <a:r>
              <a:rPr lang="en-GB" sz="2800" dirty="0"/>
              <a:t>Quote slide </a:t>
            </a:r>
            <a:r>
              <a:rPr lang="en-GB" sz="2800" dirty="0" err="1">
                <a:solidFill>
                  <a:schemeClr val="accent1"/>
                </a:solidFill>
              </a:rPr>
              <a:t>color</a:t>
            </a:r>
            <a:r>
              <a:rPr lang="en-GB" sz="2800" dirty="0">
                <a:solidFill>
                  <a:schemeClr val="accent1"/>
                </a:solidFill>
              </a:rPr>
              <a:t> highlight 28pt</a:t>
            </a:r>
          </a:p>
          <a:p>
            <a:pPr>
              <a:lnSpc>
                <a:spcPct val="100000"/>
              </a:lnSpc>
              <a:spcAft>
                <a:spcPts val="0"/>
              </a:spcAft>
            </a:pPr>
            <a:r>
              <a:rPr lang="en-GB" sz="2300" dirty="0">
                <a:solidFill>
                  <a:schemeClr val="accent3"/>
                </a:solidFill>
              </a:rPr>
              <a:t>Pull out quote </a:t>
            </a:r>
            <a:r>
              <a:rPr lang="en-GB" sz="2300" dirty="0" err="1">
                <a:solidFill>
                  <a:schemeClr val="accent3"/>
                </a:solidFill>
              </a:rPr>
              <a:t>color</a:t>
            </a:r>
            <a:r>
              <a:rPr lang="en-GB" sz="2300" dirty="0">
                <a:solidFill>
                  <a:schemeClr val="accent3"/>
                </a:solidFill>
              </a:rPr>
              <a:t> 23pt</a:t>
            </a:r>
          </a:p>
        </p:txBody>
      </p:sp>
    </p:spTree>
    <p:extLst>
      <p:ext uri="{BB962C8B-B14F-4D97-AF65-F5344CB8AC3E}">
        <p14:creationId xmlns:p14="http://schemas.microsoft.com/office/powerpoint/2010/main" val="4127156198"/>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noProof="0"/>
              <a:t>Typography 2</a:t>
            </a:r>
            <a:endParaRPr lang="en-US" noProof="0" dirty="0"/>
          </a:p>
        </p:txBody>
      </p:sp>
      <p:sp>
        <p:nvSpPr>
          <p:cNvPr id="2" name="Title 1"/>
          <p:cNvSpPr>
            <a:spLocks noGrp="1"/>
          </p:cNvSpPr>
          <p:nvPr>
            <p:ph type="title"/>
          </p:nvPr>
        </p:nvSpPr>
        <p:spPr/>
        <p:txBody>
          <a:bodyPr/>
          <a:lstStyle/>
          <a:p>
            <a:r>
              <a:rPr lang="en-US" noProof="0"/>
              <a:t>Appendix</a:t>
            </a:r>
            <a:endParaRPr lang="en-US" noProof="0" dirty="0"/>
          </a:p>
        </p:txBody>
      </p:sp>
      <p:sp>
        <p:nvSpPr>
          <p:cNvPr id="4" name="Content Placeholder 3"/>
          <p:cNvSpPr>
            <a:spLocks noGrp="1"/>
          </p:cNvSpPr>
          <p:nvPr>
            <p:ph idx="1"/>
          </p:nvPr>
        </p:nvSpPr>
        <p:spPr/>
        <p:txBody>
          <a:bodyPr/>
          <a:lstStyle/>
          <a:p>
            <a:r>
              <a:rPr lang="en-US" noProof="0" dirty="0"/>
              <a:t>MS Office templates use the system typeface Verdana.</a:t>
            </a:r>
            <a:br>
              <a:rPr lang="en-US" noProof="0" dirty="0"/>
            </a:br>
            <a:r>
              <a:rPr lang="en-US" noProof="0" dirty="0"/>
              <a:t>Below shows the hierarchy and variations that can be used.</a:t>
            </a:r>
          </a:p>
          <a:p>
            <a:endParaRPr lang="en-US" noProof="0" dirty="0"/>
          </a:p>
          <a:p>
            <a:endParaRPr lang="en-US" noProof="0" dirty="0"/>
          </a:p>
        </p:txBody>
      </p:sp>
      <p:sp>
        <p:nvSpPr>
          <p:cNvPr id="7" name="Content Placeholder 3"/>
          <p:cNvSpPr txBox="1">
            <a:spLocks/>
          </p:cNvSpPr>
          <p:nvPr/>
        </p:nvSpPr>
        <p:spPr>
          <a:xfrm>
            <a:off x="376237" y="2649600"/>
            <a:ext cx="8391525" cy="3392235"/>
          </a:xfrm>
          <a:prstGeom prst="rect">
            <a:avLst/>
          </a:prstGeom>
          <a:ln w="3175">
            <a:solidFill>
              <a:schemeClr val="tx1"/>
            </a:solidFill>
          </a:ln>
        </p:spPr>
        <p:txBody>
          <a:bodyPr vert="horz" lIns="180000" tIns="180000" rIns="180000" bIns="18000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10000"/>
              </a:lnSpc>
              <a:spcAft>
                <a:spcPts val="0"/>
              </a:spcAft>
            </a:pPr>
            <a:r>
              <a:rPr lang="en-GB" sz="2000" dirty="0"/>
              <a:t>Page heading 20pt</a:t>
            </a:r>
          </a:p>
          <a:p>
            <a:pPr>
              <a:lnSpc>
                <a:spcPct val="110000"/>
              </a:lnSpc>
              <a:spcAft>
                <a:spcPts val="0"/>
              </a:spcAft>
            </a:pPr>
            <a:r>
              <a:rPr lang="en-GB" sz="1600" dirty="0">
                <a:solidFill>
                  <a:schemeClr val="accent6"/>
                </a:solidFill>
              </a:rPr>
              <a:t>Page subheading 16pt</a:t>
            </a:r>
          </a:p>
          <a:p>
            <a:pPr lvl="1"/>
            <a:r>
              <a:rPr lang="en-GB" dirty="0"/>
              <a:t>Heading in text 12pt</a:t>
            </a:r>
          </a:p>
          <a:p>
            <a:pPr>
              <a:spcAft>
                <a:spcPts val="0"/>
              </a:spcAft>
            </a:pPr>
            <a:r>
              <a:rPr lang="en-GB" dirty="0"/>
              <a:t>Body text 12pt</a:t>
            </a:r>
          </a:p>
          <a:p>
            <a:pPr lvl="2"/>
            <a:r>
              <a:rPr lang="en-GB" dirty="0"/>
              <a:t>Bullet level 1 12pt</a:t>
            </a:r>
          </a:p>
          <a:p>
            <a:pPr lvl="3"/>
            <a:r>
              <a:rPr lang="en-GB" dirty="0"/>
              <a:t>Bullet level 2 12pt</a:t>
            </a:r>
          </a:p>
          <a:p>
            <a:pPr lvl="4"/>
            <a:r>
              <a:rPr lang="en-GB" dirty="0"/>
              <a:t>Bullet level 3 12pt</a:t>
            </a:r>
          </a:p>
          <a:p>
            <a:pPr lvl="4"/>
            <a:endParaRPr lang="en-GB" dirty="0"/>
          </a:p>
          <a:p>
            <a:pPr>
              <a:spcAft>
                <a:spcPts val="0"/>
              </a:spcAft>
            </a:pPr>
            <a:r>
              <a:rPr lang="en-GB" dirty="0"/>
              <a:t>Chart text 12pt</a:t>
            </a:r>
          </a:p>
          <a:p>
            <a:pPr>
              <a:spcAft>
                <a:spcPts val="0"/>
              </a:spcAft>
            </a:pPr>
            <a:r>
              <a:rPr lang="en-GB" sz="900" dirty="0">
                <a:solidFill>
                  <a:schemeClr val="accent6"/>
                </a:solidFill>
              </a:rPr>
              <a:t>Graph labels 9pt</a:t>
            </a:r>
          </a:p>
          <a:p>
            <a:pPr>
              <a:spcAft>
                <a:spcPts val="0"/>
              </a:spcAft>
            </a:pPr>
            <a:r>
              <a:rPr lang="en-GB" sz="900" dirty="0"/>
              <a:t>Source descriptor 9pt</a:t>
            </a:r>
          </a:p>
          <a:p>
            <a:pPr>
              <a:spcAft>
                <a:spcPts val="0"/>
              </a:spcAft>
            </a:pPr>
            <a:r>
              <a:rPr lang="en-GB" sz="650" dirty="0"/>
              <a:t>Page footer 6.5pt</a:t>
            </a:r>
          </a:p>
          <a:p>
            <a:endParaRPr lang="en-GB" dirty="0"/>
          </a:p>
        </p:txBody>
      </p:sp>
    </p:spTree>
    <p:extLst>
      <p:ext uri="{BB962C8B-B14F-4D97-AF65-F5344CB8AC3E}">
        <p14:creationId xmlns:p14="http://schemas.microsoft.com/office/powerpoint/2010/main" val="3464178560"/>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ppendix</a:t>
            </a:r>
          </a:p>
        </p:txBody>
      </p:sp>
      <p:sp>
        <p:nvSpPr>
          <p:cNvPr id="3" name="Text Placeholder 2"/>
          <p:cNvSpPr>
            <a:spLocks noGrp="1"/>
          </p:cNvSpPr>
          <p:nvPr>
            <p:ph type="body" sz="quarter" idx="13"/>
          </p:nvPr>
        </p:nvSpPr>
        <p:spPr/>
        <p:txBody>
          <a:bodyPr/>
          <a:lstStyle/>
          <a:p>
            <a:r>
              <a:rPr lang="en-US" noProof="0"/>
              <a:t>Imagery</a:t>
            </a:r>
            <a:endParaRPr lang="en-US" noProof="0" dirty="0"/>
          </a:p>
        </p:txBody>
      </p:sp>
      <p:sp>
        <p:nvSpPr>
          <p:cNvPr id="12" name="Content Placeholder 11"/>
          <p:cNvSpPr>
            <a:spLocks noGrp="1"/>
          </p:cNvSpPr>
          <p:nvPr>
            <p:ph sz="quarter" idx="10"/>
          </p:nvPr>
        </p:nvSpPr>
        <p:spPr/>
        <p:txBody>
          <a:bodyPr>
            <a:normAutofit fontScale="92500" lnSpcReduction="10000"/>
          </a:bodyPr>
          <a:lstStyle/>
          <a:p>
            <a:r>
              <a:rPr lang="en-US" noProof="0" dirty="0"/>
              <a:t>There are two styles of imagery available for this template; circular imagery for covers and secondary imagery to support content.</a:t>
            </a:r>
          </a:p>
          <a:p>
            <a:pPr lvl="1"/>
            <a:r>
              <a:rPr lang="en-US" noProof="0" dirty="0"/>
              <a:t>Brand space</a:t>
            </a:r>
          </a:p>
          <a:p>
            <a:r>
              <a:rPr lang="en-US" noProof="0" dirty="0"/>
              <a:t>Circular and secondary images should be selected from </a:t>
            </a:r>
            <a:r>
              <a:rPr lang="en-US" noProof="0" dirty="0">
                <a:hlinkClick r:id="rId3"/>
              </a:rPr>
              <a:t>Brand Space </a:t>
            </a:r>
            <a:r>
              <a:rPr lang="en-US" noProof="0" dirty="0"/>
              <a:t>where you will find royalty-free images that can be used without limitation, unless otherwise noted. </a:t>
            </a:r>
          </a:p>
          <a:p>
            <a:r>
              <a:rPr lang="en-US" b="1" noProof="0" dirty="0"/>
              <a:t>Need a custom secondary image?</a:t>
            </a:r>
          </a:p>
          <a:p>
            <a:r>
              <a:rPr lang="en-US" noProof="0" dirty="0"/>
              <a:t>If what you are looking for isn’t on Brand Space, we strongly encourage you to open accounts with DTTL approved vendors, which have been carefully reviewed by General Counsel. Deloitte has agreements and discount pricing with the following vendors:</a:t>
            </a:r>
          </a:p>
          <a:p>
            <a:pPr marL="171450" indent="-171450">
              <a:spcAft>
                <a:spcPts val="400"/>
              </a:spcAft>
              <a:buFont typeface="Arial" charset="0"/>
              <a:buChar char="•"/>
            </a:pPr>
            <a:r>
              <a:rPr lang="en-US" noProof="0" dirty="0"/>
              <a:t>Premier.Shutterstock.com</a:t>
            </a:r>
          </a:p>
          <a:p>
            <a:pPr marL="171450" indent="-171450">
              <a:spcAft>
                <a:spcPts val="400"/>
              </a:spcAft>
              <a:buFont typeface="Arial" charset="0"/>
              <a:buChar char="•"/>
            </a:pPr>
            <a:r>
              <a:rPr lang="en-US" noProof="0" dirty="0"/>
              <a:t>Offset.com</a:t>
            </a:r>
          </a:p>
          <a:p>
            <a:pPr marL="171450" indent="-171450">
              <a:spcAft>
                <a:spcPts val="400"/>
              </a:spcAft>
              <a:buFont typeface="Arial" charset="0"/>
              <a:buChar char="•"/>
            </a:pPr>
            <a:r>
              <a:rPr lang="en-US" noProof="0" dirty="0"/>
              <a:t>Alamy.com </a:t>
            </a:r>
          </a:p>
          <a:p>
            <a:pPr marL="171450" indent="-171450">
              <a:spcAft>
                <a:spcPts val="400"/>
              </a:spcAft>
              <a:buFont typeface="Arial" charset="0"/>
              <a:buChar char="•"/>
            </a:pPr>
            <a:r>
              <a:rPr lang="en-US" noProof="0" dirty="0"/>
              <a:t>Corbis.com</a:t>
            </a:r>
          </a:p>
          <a:p>
            <a:pPr marL="171450" indent="-171450">
              <a:spcAft>
                <a:spcPts val="400"/>
              </a:spcAft>
              <a:buFont typeface="Arial" charset="0"/>
              <a:buChar char="•"/>
            </a:pPr>
            <a:r>
              <a:rPr lang="en-US" noProof="0" dirty="0"/>
              <a:t>Gettyimages.com</a:t>
            </a:r>
          </a:p>
          <a:p>
            <a:endParaRPr lang="en-US" noProof="0" dirty="0"/>
          </a:p>
          <a:p>
            <a:r>
              <a:rPr lang="en-US" noProof="0" dirty="0"/>
              <a:t>To learn more, visit the </a:t>
            </a:r>
            <a:r>
              <a:rPr lang="en-US" noProof="0" dirty="0">
                <a:hlinkClick r:id="rId4"/>
              </a:rPr>
              <a:t>vendor agreements section </a:t>
            </a:r>
            <a:r>
              <a:rPr lang="en-US" noProof="0" dirty="0"/>
              <a:t>on Brand Space. </a:t>
            </a:r>
            <a:r>
              <a:rPr lang="en-US" noProof="0" dirty="0">
                <a:hlinkClick r:id="rId5"/>
              </a:rPr>
              <a:t>brandspace.deloitte.com</a:t>
            </a:r>
            <a:endParaRPr lang="en-US" noProof="0" dirty="0"/>
          </a:p>
          <a:p>
            <a:endParaRPr lang="en-US" noProof="0" dirty="0"/>
          </a:p>
        </p:txBody>
      </p:sp>
      <p:pic>
        <p:nvPicPr>
          <p:cNvPr id="8" name="Picture 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34107" y="1712999"/>
            <a:ext cx="1905713" cy="1423150"/>
          </a:xfrm>
          <a:prstGeom prst="rect">
            <a:avLst/>
          </a:prstGeom>
          <a:ln>
            <a:solidFill>
              <a:schemeClr val="tx1"/>
            </a:solidFill>
          </a:ln>
        </p:spPr>
      </p:pic>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796891" y="1708401"/>
            <a:ext cx="1897534" cy="1423151"/>
          </a:xfrm>
          <a:prstGeom prst="rect">
            <a:avLst/>
          </a:prstGeom>
          <a:ln>
            <a:solidFill>
              <a:schemeClr val="tx1"/>
            </a:solidFill>
          </a:ln>
        </p:spPr>
      </p:pic>
      <p:pic>
        <p:nvPicPr>
          <p:cNvPr id="10"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88713" y="3833975"/>
            <a:ext cx="1905713" cy="1429284"/>
          </a:xfrm>
          <a:prstGeom prst="rect">
            <a:avLst/>
          </a:prstGeom>
          <a:ln w="6350">
            <a:solidFill>
              <a:schemeClr val="tx1"/>
            </a:solidFill>
          </a:ln>
        </p:spPr>
      </p:pic>
      <p:sp>
        <p:nvSpPr>
          <p:cNvPr id="15" name="TextBox 14"/>
          <p:cNvSpPr txBox="1"/>
          <p:nvPr/>
        </p:nvSpPr>
        <p:spPr>
          <a:xfrm>
            <a:off x="6834107" y="3172245"/>
            <a:ext cx="1905713" cy="395785"/>
          </a:xfrm>
          <a:prstGeom prst="rect">
            <a:avLst/>
          </a:prstGeom>
          <a:noFill/>
        </p:spPr>
        <p:txBody>
          <a:bodyPr wrap="square" lIns="0" tIns="0" rIns="0" bIns="0" rtlCol="0">
            <a:noAutofit/>
          </a:bodyPr>
          <a:lstStyle/>
          <a:p>
            <a:r>
              <a:rPr lang="en-GB" sz="1100" dirty="0"/>
              <a:t>Circular image with black background on cover</a:t>
            </a:r>
          </a:p>
        </p:txBody>
      </p:sp>
      <p:sp>
        <p:nvSpPr>
          <p:cNvPr id="16" name="TextBox 15"/>
          <p:cNvSpPr txBox="1"/>
          <p:nvPr/>
        </p:nvSpPr>
        <p:spPr>
          <a:xfrm>
            <a:off x="4796891" y="3167648"/>
            <a:ext cx="1905713" cy="395785"/>
          </a:xfrm>
          <a:prstGeom prst="rect">
            <a:avLst/>
          </a:prstGeom>
          <a:noFill/>
        </p:spPr>
        <p:txBody>
          <a:bodyPr wrap="square" lIns="0" tIns="0" rIns="0" bIns="0" rtlCol="0">
            <a:noAutofit/>
          </a:bodyPr>
          <a:lstStyle/>
          <a:p>
            <a:r>
              <a:rPr lang="en-GB" sz="1100" dirty="0"/>
              <a:t>Circular image with white background on cover</a:t>
            </a:r>
          </a:p>
        </p:txBody>
      </p:sp>
      <p:sp>
        <p:nvSpPr>
          <p:cNvPr id="17" name="TextBox 16"/>
          <p:cNvSpPr txBox="1"/>
          <p:nvPr/>
        </p:nvSpPr>
        <p:spPr>
          <a:xfrm>
            <a:off x="4788712" y="5308038"/>
            <a:ext cx="1905713" cy="395785"/>
          </a:xfrm>
          <a:prstGeom prst="rect">
            <a:avLst/>
          </a:prstGeom>
          <a:noFill/>
        </p:spPr>
        <p:txBody>
          <a:bodyPr wrap="square" lIns="0" tIns="0" rIns="0" bIns="0" rtlCol="0">
            <a:noAutofit/>
          </a:bodyPr>
          <a:lstStyle/>
          <a:p>
            <a:r>
              <a:rPr lang="en-GB" sz="1100" dirty="0"/>
              <a:t>Secondary image content page</a:t>
            </a:r>
          </a:p>
        </p:txBody>
      </p:sp>
    </p:spTree>
    <p:extLst>
      <p:ext uri="{BB962C8B-B14F-4D97-AF65-F5344CB8AC3E}">
        <p14:creationId xmlns:p14="http://schemas.microsoft.com/office/powerpoint/2010/main" val="4234450243"/>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Appendix</a:t>
            </a:r>
            <a:endParaRPr lang="en-US" noProof="0" dirty="0"/>
          </a:p>
        </p:txBody>
      </p:sp>
      <p:sp>
        <p:nvSpPr>
          <p:cNvPr id="39" name="Text Placeholder 38"/>
          <p:cNvSpPr>
            <a:spLocks noGrp="1"/>
          </p:cNvSpPr>
          <p:nvPr>
            <p:ph type="body" sz="quarter" idx="13"/>
          </p:nvPr>
        </p:nvSpPr>
        <p:spPr/>
        <p:txBody>
          <a:bodyPr/>
          <a:lstStyle/>
          <a:p>
            <a:r>
              <a:rPr lang="en-US" noProof="0"/>
              <a:t>Circular imagery</a:t>
            </a:r>
            <a:endParaRPr lang="en-US" noProof="0" dirty="0"/>
          </a:p>
        </p:txBody>
      </p:sp>
      <p:sp>
        <p:nvSpPr>
          <p:cNvPr id="41" name="Content Placeholder 40"/>
          <p:cNvSpPr>
            <a:spLocks noGrp="1"/>
          </p:cNvSpPr>
          <p:nvPr>
            <p:ph sz="quarter" idx="10"/>
          </p:nvPr>
        </p:nvSpPr>
        <p:spPr/>
        <p:txBody>
          <a:bodyPr/>
          <a:lstStyle/>
          <a:p>
            <a:r>
              <a:rPr lang="en-US" noProof="0"/>
              <a:t>All covers have a circular image, these circular images can be grouped into five categories. These are photography, illustration, typography, infographics and iconography.</a:t>
            </a:r>
          </a:p>
          <a:p>
            <a:pPr lvl="2"/>
            <a:r>
              <a:rPr lang="en-US" noProof="0"/>
              <a:t>If you want to print your document, use a circular cover image with a white background.</a:t>
            </a:r>
          </a:p>
          <a:p>
            <a:endParaRPr lang="en-US" noProof="0" dirty="0"/>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2742" y="4772499"/>
            <a:ext cx="1648968" cy="1237488"/>
          </a:xfrm>
          <a:prstGeom prst="rect">
            <a:avLst/>
          </a:prstGeom>
          <a:ln>
            <a:solidFill>
              <a:schemeClr val="tx1"/>
            </a:solidFill>
          </a:ln>
        </p:spPr>
      </p:pic>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95904" y="1712999"/>
            <a:ext cx="1655064" cy="1240536"/>
          </a:xfrm>
          <a:prstGeom prst="rect">
            <a:avLst/>
          </a:prstGeom>
          <a:ln>
            <a:solidFill>
              <a:schemeClr val="tx1"/>
            </a:solidFill>
          </a:ln>
        </p:spPr>
      </p:pic>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95904" y="3242749"/>
            <a:ext cx="1655064" cy="1240536"/>
          </a:xfrm>
          <a:prstGeom prst="rect">
            <a:avLst/>
          </a:prstGeom>
          <a:ln>
            <a:solidFill>
              <a:schemeClr val="tx1"/>
            </a:solidFill>
          </a:ln>
        </p:spPr>
      </p:pic>
      <p:pic>
        <p:nvPicPr>
          <p:cNvPr id="12" name="Picture 1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96646" y="3242749"/>
            <a:ext cx="1655064" cy="1240536"/>
          </a:xfrm>
          <a:prstGeom prst="rect">
            <a:avLst/>
          </a:prstGeom>
          <a:ln>
            <a:solidFill>
              <a:schemeClr val="tx1"/>
            </a:solidFill>
          </a:ln>
        </p:spPr>
      </p:pic>
      <p:sp>
        <p:nvSpPr>
          <p:cNvPr id="13" name="TextBox 12"/>
          <p:cNvSpPr txBox="1"/>
          <p:nvPr/>
        </p:nvSpPr>
        <p:spPr>
          <a:xfrm>
            <a:off x="5208679" y="2937663"/>
            <a:ext cx="1655064" cy="227723"/>
          </a:xfrm>
          <a:prstGeom prst="rect">
            <a:avLst/>
          </a:prstGeom>
          <a:noFill/>
        </p:spPr>
        <p:txBody>
          <a:bodyPr wrap="square" lIns="0" tIns="0" rIns="0" bIns="0" rtlCol="0">
            <a:noAutofit/>
          </a:bodyPr>
          <a:lstStyle/>
          <a:p>
            <a:pPr>
              <a:lnSpc>
                <a:spcPct val="140000"/>
              </a:lnSpc>
              <a:spcAft>
                <a:spcPts val="1550"/>
              </a:spcAft>
            </a:pPr>
            <a:r>
              <a:rPr lang="en-GB" sz="1100" dirty="0"/>
              <a:t>Photography</a:t>
            </a:r>
          </a:p>
        </p:txBody>
      </p:sp>
      <p:sp>
        <p:nvSpPr>
          <p:cNvPr id="14" name="TextBox 13"/>
          <p:cNvSpPr txBox="1"/>
          <p:nvPr/>
        </p:nvSpPr>
        <p:spPr>
          <a:xfrm>
            <a:off x="7107936" y="2937663"/>
            <a:ext cx="1655064" cy="227723"/>
          </a:xfrm>
          <a:prstGeom prst="rect">
            <a:avLst/>
          </a:prstGeom>
          <a:noFill/>
        </p:spPr>
        <p:txBody>
          <a:bodyPr wrap="square" lIns="0" tIns="0" rIns="0" bIns="0" rtlCol="0">
            <a:noAutofit/>
          </a:bodyPr>
          <a:lstStyle/>
          <a:p>
            <a:pPr>
              <a:lnSpc>
                <a:spcPct val="140000"/>
              </a:lnSpc>
              <a:spcAft>
                <a:spcPts val="1550"/>
              </a:spcAft>
            </a:pPr>
            <a:r>
              <a:rPr lang="en-GB" sz="1100" dirty="0"/>
              <a:t>Illustration</a:t>
            </a:r>
          </a:p>
        </p:txBody>
      </p:sp>
      <p:sp>
        <p:nvSpPr>
          <p:cNvPr id="15" name="TextBox 14"/>
          <p:cNvSpPr txBox="1"/>
          <p:nvPr/>
        </p:nvSpPr>
        <p:spPr>
          <a:xfrm>
            <a:off x="5208678" y="4474970"/>
            <a:ext cx="1655064" cy="227723"/>
          </a:xfrm>
          <a:prstGeom prst="rect">
            <a:avLst/>
          </a:prstGeom>
          <a:noFill/>
        </p:spPr>
        <p:txBody>
          <a:bodyPr wrap="square" lIns="0" tIns="0" rIns="0" bIns="0" rtlCol="0">
            <a:noAutofit/>
          </a:bodyPr>
          <a:lstStyle/>
          <a:p>
            <a:pPr>
              <a:lnSpc>
                <a:spcPct val="140000"/>
              </a:lnSpc>
              <a:spcAft>
                <a:spcPts val="1550"/>
              </a:spcAft>
            </a:pPr>
            <a:r>
              <a:rPr lang="en-GB" sz="1100" dirty="0"/>
              <a:t>Typography</a:t>
            </a:r>
          </a:p>
        </p:txBody>
      </p:sp>
      <p:sp>
        <p:nvSpPr>
          <p:cNvPr id="16" name="TextBox 15"/>
          <p:cNvSpPr txBox="1"/>
          <p:nvPr/>
        </p:nvSpPr>
        <p:spPr>
          <a:xfrm>
            <a:off x="7107936" y="4472654"/>
            <a:ext cx="1655064" cy="227723"/>
          </a:xfrm>
          <a:prstGeom prst="rect">
            <a:avLst/>
          </a:prstGeom>
          <a:noFill/>
        </p:spPr>
        <p:txBody>
          <a:bodyPr wrap="square" lIns="0" tIns="0" rIns="0" bIns="0" rtlCol="0">
            <a:noAutofit/>
          </a:bodyPr>
          <a:lstStyle/>
          <a:p>
            <a:pPr>
              <a:lnSpc>
                <a:spcPct val="140000"/>
              </a:lnSpc>
              <a:spcAft>
                <a:spcPts val="1550"/>
              </a:spcAft>
            </a:pPr>
            <a:r>
              <a:rPr lang="en-GB" sz="1100" dirty="0"/>
              <a:t>Infographic</a:t>
            </a:r>
          </a:p>
        </p:txBody>
      </p:sp>
      <p:sp>
        <p:nvSpPr>
          <p:cNvPr id="17" name="TextBox 16"/>
          <p:cNvSpPr txBox="1"/>
          <p:nvPr/>
        </p:nvSpPr>
        <p:spPr>
          <a:xfrm>
            <a:off x="5208678" y="6007603"/>
            <a:ext cx="1655064" cy="227723"/>
          </a:xfrm>
          <a:prstGeom prst="rect">
            <a:avLst/>
          </a:prstGeom>
          <a:noFill/>
        </p:spPr>
        <p:txBody>
          <a:bodyPr wrap="square" lIns="0" tIns="0" rIns="0" bIns="0" rtlCol="0">
            <a:noAutofit/>
          </a:bodyPr>
          <a:lstStyle/>
          <a:p>
            <a:pPr>
              <a:lnSpc>
                <a:spcPct val="140000"/>
              </a:lnSpc>
              <a:spcAft>
                <a:spcPts val="1550"/>
              </a:spcAft>
            </a:pPr>
            <a:r>
              <a:rPr lang="en-GB" sz="1100" dirty="0"/>
              <a:t>Iconography</a:t>
            </a:r>
          </a:p>
        </p:txBody>
      </p:sp>
      <p:pic>
        <p:nvPicPr>
          <p:cNvPr id="42" name="Content Placeholder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96646" y="1712999"/>
            <a:ext cx="1650076" cy="1238596"/>
          </a:xfrm>
          <a:prstGeom prst="rect">
            <a:avLst/>
          </a:prstGeom>
        </p:spPr>
      </p:pic>
    </p:spTree>
    <p:extLst>
      <p:ext uri="{BB962C8B-B14F-4D97-AF65-F5344CB8AC3E}">
        <p14:creationId xmlns:p14="http://schemas.microsoft.com/office/powerpoint/2010/main" val="4003717017"/>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Appendix</a:t>
            </a:r>
            <a:endParaRPr lang="en-US" noProof="0" dirty="0"/>
          </a:p>
        </p:txBody>
      </p:sp>
      <p:sp>
        <p:nvSpPr>
          <p:cNvPr id="3" name="Text Placeholder 2"/>
          <p:cNvSpPr>
            <a:spLocks noGrp="1"/>
          </p:cNvSpPr>
          <p:nvPr>
            <p:ph type="body" sz="quarter" idx="13"/>
          </p:nvPr>
        </p:nvSpPr>
        <p:spPr/>
        <p:txBody>
          <a:bodyPr/>
          <a:lstStyle/>
          <a:p>
            <a:r>
              <a:rPr lang="en-US" noProof="0"/>
              <a:t>Printing in black and white</a:t>
            </a:r>
            <a:endParaRPr lang="en-US" noProof="0" dirty="0"/>
          </a:p>
        </p:txBody>
      </p:sp>
      <p:sp>
        <p:nvSpPr>
          <p:cNvPr id="9" name="Content Placeholder 8"/>
          <p:cNvSpPr>
            <a:spLocks noGrp="1"/>
          </p:cNvSpPr>
          <p:nvPr>
            <p:ph sz="quarter" idx="10"/>
          </p:nvPr>
        </p:nvSpPr>
        <p:spPr>
          <a:xfrm>
            <a:off x="393700" y="1700212"/>
            <a:ext cx="2835275" cy="4681537"/>
          </a:xfrm>
        </p:spPr>
        <p:txBody>
          <a:bodyPr/>
          <a:lstStyle/>
          <a:p>
            <a:r>
              <a:rPr lang="en-US" noProof="0" dirty="0"/>
              <a:t>PowerPoint is automatically set to print the document 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pic>
        <p:nvPicPr>
          <p:cNvPr id="10" name="Content Placeholder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21653" y="1700212"/>
            <a:ext cx="5356587" cy="3218421"/>
          </a:xfrm>
          <a:prstGeom prst="rect">
            <a:avLst/>
          </a:prstGeom>
          <a:ln>
            <a:solidFill>
              <a:schemeClr val="tx1"/>
            </a:solidFill>
          </a:ln>
        </p:spPr>
      </p:pic>
    </p:spTree>
    <p:extLst>
      <p:ext uri="{BB962C8B-B14F-4D97-AF65-F5344CB8AC3E}">
        <p14:creationId xmlns:p14="http://schemas.microsoft.com/office/powerpoint/2010/main" val="13609458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395998" y="1700213"/>
            <a:ext cx="6967969" cy="4644603"/>
          </a:xfrm>
        </p:spPr>
        <p:txBody>
          <a:bodyPr/>
          <a:lstStyle/>
          <a:p>
            <a:r>
              <a:rPr lang="en-US" dirty="0"/>
              <a:t>Structured text	4</a:t>
            </a:r>
          </a:p>
          <a:p>
            <a:r>
              <a:rPr lang="en-US" dirty="0"/>
              <a:t>Trees	43</a:t>
            </a:r>
          </a:p>
          <a:p>
            <a:r>
              <a:rPr lang="en-US" dirty="0"/>
              <a:t>Graphs	64</a:t>
            </a:r>
          </a:p>
          <a:p>
            <a:r>
              <a:rPr lang="en-US" dirty="0"/>
              <a:t>Shapes	116</a:t>
            </a:r>
          </a:p>
          <a:p>
            <a:r>
              <a:rPr lang="en-US" dirty="0"/>
              <a:t>Special graphics	140</a:t>
            </a:r>
          </a:p>
          <a:p>
            <a:r>
              <a:rPr lang="en-US" dirty="0"/>
              <a:t>Conceptual charts	167</a:t>
            </a:r>
          </a:p>
          <a:p>
            <a:r>
              <a:rPr lang="en-US" dirty="0"/>
              <a:t>Maps	218</a:t>
            </a:r>
          </a:p>
          <a:p>
            <a:r>
              <a:rPr lang="en-US" dirty="0"/>
              <a:t>Infographics	220</a:t>
            </a:r>
          </a:p>
          <a:p>
            <a:r>
              <a:rPr lang="en-US" dirty="0"/>
              <a:t>Iconography	270</a:t>
            </a:r>
          </a:p>
          <a:p>
            <a:r>
              <a:rPr lang="en-US" dirty="0"/>
              <a:t>Appendix	293</a:t>
            </a:r>
          </a:p>
        </p:txBody>
      </p:sp>
      <p:sp>
        <p:nvSpPr>
          <p:cNvPr id="15" name="Title 14"/>
          <p:cNvSpPr>
            <a:spLocks noGrp="1"/>
          </p:cNvSpPr>
          <p:nvPr>
            <p:ph type="title"/>
          </p:nvPr>
        </p:nvSpPr>
        <p:spPr/>
        <p:txBody>
          <a:bodyPr/>
          <a:lstStyle/>
          <a:p>
            <a:r>
              <a:rPr lang="en-US"/>
              <a:t>Contents</a:t>
            </a:r>
            <a:endParaRPr lang="en-US" dirty="0"/>
          </a:p>
        </p:txBody>
      </p:sp>
    </p:spTree>
    <p:extLst>
      <p:ext uri="{BB962C8B-B14F-4D97-AF65-F5344CB8AC3E}">
        <p14:creationId xmlns:p14="http://schemas.microsoft.com/office/powerpoint/2010/main" val="9032714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Michelangelo (top alignment)</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7" name="Trapezoid 2"/>
          <p:cNvSpPr/>
          <p:nvPr/>
        </p:nvSpPr>
        <p:spPr bwMode="gray">
          <a:xfrm>
            <a:off x="369401" y="2522474"/>
            <a:ext cx="8402437" cy="673727"/>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effectLst/>
                <a:uLnTx/>
                <a:uFillTx/>
                <a:latin typeface="+mj-lt"/>
              </a:rPr>
              <a:t>Text</a:t>
            </a:r>
          </a:p>
        </p:txBody>
      </p:sp>
      <p:sp>
        <p:nvSpPr>
          <p:cNvPr id="8" name="Rectangle 7"/>
          <p:cNvSpPr/>
          <p:nvPr/>
        </p:nvSpPr>
        <p:spPr bwMode="gray">
          <a:xfrm>
            <a:off x="548223" y="1611785"/>
            <a:ext cx="1828800" cy="915312"/>
          </a:xfrm>
          <a:prstGeom prst="rect">
            <a:avLst/>
          </a:prstGeom>
          <a:solidFill>
            <a:sysClr val="window" lastClr="FFFFFF"/>
          </a:solidFill>
          <a:ln w="6350" algn="ctr">
            <a:solidFill>
              <a:srgbClr val="BBBCBC"/>
            </a:solid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Image or </a:t>
            </a:r>
            <a:br>
              <a:rPr kumimoji="0" lang="en-US" sz="1400" b="0" i="0" u="none" strike="noStrike" kern="0" cap="none" spc="0" normalizeH="0" baseline="0" noProof="0" dirty="0">
                <a:ln>
                  <a:noFill/>
                </a:ln>
                <a:effectLst/>
                <a:uLnTx/>
                <a:uFillTx/>
                <a:latin typeface="+mj-lt"/>
              </a:rPr>
            </a:br>
            <a:r>
              <a:rPr kumimoji="0" lang="en-US" sz="1400" b="0" i="0" u="none" strike="noStrike" kern="0" cap="none" spc="0" normalizeH="0" baseline="0" noProof="0" dirty="0">
                <a:ln>
                  <a:noFill/>
                </a:ln>
                <a:effectLst/>
                <a:uLnTx/>
                <a:uFillTx/>
                <a:latin typeface="+mj-lt"/>
              </a:rPr>
              <a:t>text area</a:t>
            </a:r>
          </a:p>
        </p:txBody>
      </p:sp>
      <p:sp>
        <p:nvSpPr>
          <p:cNvPr id="9" name="SHP_229"/>
          <p:cNvSpPr txBox="1">
            <a:spLocks/>
          </p:cNvSpPr>
          <p:nvPr/>
        </p:nvSpPr>
        <p:spPr bwMode="gray">
          <a:xfrm>
            <a:off x="365760" y="3231820"/>
            <a:ext cx="8412480" cy="1965325"/>
          </a:xfrm>
          <a:prstGeom prst="rect">
            <a:avLst/>
          </a:prstGeom>
        </p:spPr>
        <p:txBody>
          <a:bodyPr lIns="0" tIns="0" rIns="0" bIns="0"/>
          <a:lstStyle/>
          <a:p>
            <a:pPr marL="114300" lvl="1" indent="-114300">
              <a:spcBef>
                <a:spcPts val="600"/>
              </a:spcBef>
              <a:buSzPct val="100000"/>
              <a:buFont typeface="Arial"/>
              <a:buChar char="•"/>
            </a:pPr>
            <a:r>
              <a:rPr lang="en-US" sz="1100" dirty="0">
                <a:latin typeface="+mj-lt"/>
              </a:rPr>
              <a:t>This is dummy text it is not here to be read this is dummy text it is not here to be read</a:t>
            </a:r>
          </a:p>
          <a:p>
            <a:pPr marL="114300" lvl="1" indent="-114300">
              <a:spcBef>
                <a:spcPts val="600"/>
              </a:spcBef>
              <a:buSzPct val="100000"/>
              <a:buFont typeface="Arial"/>
              <a:buChar char="•"/>
            </a:pPr>
            <a:r>
              <a:rPr lang="en-US" sz="1100" dirty="0">
                <a:latin typeface="+mj-lt"/>
              </a:rPr>
              <a:t>This is dummy text it is not here to be read</a:t>
            </a:r>
          </a:p>
          <a:p>
            <a:pPr marL="114300" lvl="1" indent="-114300">
              <a:spcBef>
                <a:spcPts val="600"/>
              </a:spcBef>
              <a:buSzPct val="100000"/>
              <a:buFont typeface="Arial"/>
              <a:buChar char="•"/>
            </a:pPr>
            <a:r>
              <a:rPr lang="en-US" sz="1100" dirty="0">
                <a:latin typeface="+mj-lt"/>
              </a:rPr>
              <a:t>This is dummy text it is not here to be read 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p:txBody>
      </p:sp>
    </p:spTree>
    <p:extLst>
      <p:ext uri="{BB962C8B-B14F-4D97-AF65-F5344CB8AC3E}">
        <p14:creationId xmlns:p14="http://schemas.microsoft.com/office/powerpoint/2010/main" val="2522747804"/>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noProof="0" dirty="0"/>
              <a:t>Appendix</a:t>
            </a:r>
          </a:p>
        </p:txBody>
      </p:sp>
      <p:sp>
        <p:nvSpPr>
          <p:cNvPr id="2" name="Text Placeholder 1"/>
          <p:cNvSpPr>
            <a:spLocks noGrp="1"/>
          </p:cNvSpPr>
          <p:nvPr>
            <p:ph type="body" sz="quarter" idx="13"/>
          </p:nvPr>
        </p:nvSpPr>
        <p:spPr/>
        <p:txBody>
          <a:bodyPr/>
          <a:lstStyle/>
          <a:p>
            <a:r>
              <a:rPr lang="en-US" noProof="0" dirty="0"/>
              <a:t>Co-brands and wordmarks</a:t>
            </a:r>
          </a:p>
        </p:txBody>
      </p:sp>
      <p:sp>
        <p:nvSpPr>
          <p:cNvPr id="13" name="Content Placeholder 12"/>
          <p:cNvSpPr>
            <a:spLocks noGrp="1"/>
          </p:cNvSpPr>
          <p:nvPr>
            <p:ph sz="quarter" idx="10"/>
          </p:nvPr>
        </p:nvSpPr>
        <p:spPr/>
        <p:txBody>
          <a:bodyPr/>
          <a:lstStyle/>
          <a:p>
            <a:r>
              <a:rPr lang="en-US" noProof="0" dirty="0"/>
              <a:t>A co-branding or sponsorship logo should be placed in the top right of the page if required on the cover.</a:t>
            </a:r>
          </a:p>
          <a:p>
            <a:r>
              <a:rPr lang="en-US" noProof="0" dirty="0"/>
              <a:t>It should never be bigger than the Deloitte logo.</a:t>
            </a:r>
          </a:p>
        </p:txBody>
      </p:sp>
      <p:sp>
        <p:nvSpPr>
          <p:cNvPr id="14" name="Content Placeholder 13"/>
          <p:cNvSpPr>
            <a:spLocks noGrp="1"/>
          </p:cNvSpPr>
          <p:nvPr>
            <p:ph sz="quarter" idx="20"/>
          </p:nvPr>
        </p:nvSpPr>
        <p:spPr/>
        <p:txBody>
          <a:bodyPr/>
          <a:lstStyle/>
          <a:p>
            <a:r>
              <a:rPr lang="en-US" noProof="0" dirty="0"/>
              <a:t>A wordmark should be placed in the bottom right of the page if required on the cover.</a:t>
            </a:r>
          </a:p>
        </p:txBody>
      </p:sp>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5422" y="3197075"/>
            <a:ext cx="3997191" cy="3000832"/>
          </a:xfrm>
          <a:prstGeom prst="rect">
            <a:avLst/>
          </a:prstGeom>
          <a:ln>
            <a:solidFill>
              <a:schemeClr val="tx1"/>
            </a:solidFill>
          </a:ln>
        </p:spPr>
      </p:pic>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51387" y="3187439"/>
            <a:ext cx="4010025" cy="3010467"/>
          </a:xfrm>
          <a:prstGeom prst="rect">
            <a:avLst/>
          </a:prstGeom>
          <a:ln>
            <a:solidFill>
              <a:schemeClr val="tx1"/>
            </a:solidFill>
          </a:ln>
        </p:spPr>
      </p:pic>
    </p:spTree>
    <p:extLst>
      <p:ext uri="{BB962C8B-B14F-4D97-AF65-F5344CB8AC3E}">
        <p14:creationId xmlns:p14="http://schemas.microsoft.com/office/powerpoint/2010/main" val="37036722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Michelangelo (left alignment)</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7" name="Trapezoid 2"/>
          <p:cNvSpPr/>
          <p:nvPr/>
        </p:nvSpPr>
        <p:spPr bwMode="gray">
          <a:xfrm rot="16200000">
            <a:off x="1004813" y="2808849"/>
            <a:ext cx="4663440" cy="2280110"/>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effectLst/>
                <a:uLnTx/>
                <a:uFillTx/>
                <a:latin typeface="+mj-lt"/>
              </a:rPr>
              <a:t>Text</a:t>
            </a:r>
          </a:p>
        </p:txBody>
      </p:sp>
      <p:sp>
        <p:nvSpPr>
          <p:cNvPr id="8" name="Rectangle 7"/>
          <p:cNvSpPr/>
          <p:nvPr/>
        </p:nvSpPr>
        <p:spPr bwMode="gray">
          <a:xfrm>
            <a:off x="365760" y="3491247"/>
            <a:ext cx="1828800" cy="915312"/>
          </a:xfrm>
          <a:prstGeom prst="rect">
            <a:avLst/>
          </a:prstGeom>
          <a:solidFill>
            <a:sysClr val="window" lastClr="FFFFFF"/>
          </a:solidFill>
          <a:ln w="6350" algn="ctr">
            <a:solidFill>
              <a:srgbClr val="BBBCBC"/>
            </a:solid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Image or </a:t>
            </a:r>
            <a:br>
              <a:rPr kumimoji="0" lang="en-US" sz="1400" b="0" i="0" u="none" strike="noStrike" kern="0" cap="none" spc="0" normalizeH="0" baseline="0" noProof="0" dirty="0">
                <a:ln>
                  <a:noFill/>
                </a:ln>
                <a:effectLst/>
                <a:uLnTx/>
                <a:uFillTx/>
                <a:latin typeface="+mj-lt"/>
              </a:rPr>
            </a:br>
            <a:r>
              <a:rPr kumimoji="0" lang="en-US" sz="1400" b="0" i="0" u="none" strike="noStrike" kern="0" cap="none" spc="0" normalizeH="0" baseline="0" noProof="0" dirty="0">
                <a:ln>
                  <a:noFill/>
                </a:ln>
                <a:effectLst/>
                <a:uLnTx/>
                <a:uFillTx/>
                <a:latin typeface="+mj-lt"/>
              </a:rPr>
              <a:t>text area</a:t>
            </a:r>
          </a:p>
        </p:txBody>
      </p:sp>
      <p:sp>
        <p:nvSpPr>
          <p:cNvPr id="9" name="SHP_229"/>
          <p:cNvSpPr txBox="1">
            <a:spLocks/>
          </p:cNvSpPr>
          <p:nvPr/>
        </p:nvSpPr>
        <p:spPr bwMode="gray">
          <a:xfrm>
            <a:off x="4660900" y="1620838"/>
            <a:ext cx="4117340" cy="4663440"/>
          </a:xfrm>
          <a:prstGeom prst="rect">
            <a:avLst/>
          </a:prstGeom>
        </p:spPr>
        <p:txBody>
          <a:bodyPr lIns="0" tIns="0" rIns="0" bIns="0"/>
          <a:lstStyle/>
          <a:p>
            <a:pPr marL="114300" lvl="1" indent="-114300">
              <a:spcBef>
                <a:spcPts val="600"/>
              </a:spcBef>
              <a:buSzPct val="100000"/>
              <a:buFont typeface="Arial"/>
              <a:buChar char="•"/>
            </a:pPr>
            <a:r>
              <a:rPr lang="en-US" sz="1100" dirty="0">
                <a:latin typeface="+mj-lt"/>
              </a:rPr>
              <a:t>This is dummy text it is not here to be read this is dummy text it is not here to be read</a:t>
            </a:r>
          </a:p>
          <a:p>
            <a:pPr marL="114300" lvl="1" indent="-114300">
              <a:spcBef>
                <a:spcPts val="600"/>
              </a:spcBef>
              <a:buSzPct val="100000"/>
              <a:buFont typeface="Arial"/>
              <a:buChar char="•"/>
            </a:pPr>
            <a:r>
              <a:rPr lang="en-US" sz="1100" dirty="0">
                <a:latin typeface="+mj-lt"/>
              </a:rPr>
              <a:t>This is dummy text it is not here to be read</a:t>
            </a:r>
          </a:p>
          <a:p>
            <a:pPr marL="114300" lvl="1" indent="-114300">
              <a:spcBef>
                <a:spcPts val="600"/>
              </a:spcBef>
              <a:buSzPct val="100000"/>
              <a:buFont typeface="Arial"/>
              <a:buChar char="•"/>
            </a:pPr>
            <a:r>
              <a:rPr lang="en-US" sz="1100" dirty="0">
                <a:latin typeface="+mj-lt"/>
              </a:rPr>
              <a:t>This is dummy text it is not here to be read 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a:p>
            <a:pPr marL="254000" lvl="2" indent="-114300">
              <a:spcBef>
                <a:spcPts val="600"/>
              </a:spcBef>
              <a:buSzPct val="100000"/>
              <a:buFont typeface="Arial"/>
              <a:buChar char="−"/>
            </a:pPr>
            <a:r>
              <a:rPr lang="en-US" sz="1100" dirty="0">
                <a:latin typeface="+mj-lt"/>
              </a:rPr>
              <a:t>This is dummy text it is not here to be read</a:t>
            </a:r>
          </a:p>
        </p:txBody>
      </p:sp>
    </p:spTree>
    <p:extLst>
      <p:ext uri="{BB962C8B-B14F-4D97-AF65-F5344CB8AC3E}">
        <p14:creationId xmlns:p14="http://schemas.microsoft.com/office/powerpoint/2010/main" val="2602814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Two squares</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Text Placeholder 5"/>
          <p:cNvSpPr txBox="1">
            <a:spLocks/>
          </p:cNvSpPr>
          <p:nvPr/>
        </p:nvSpPr>
        <p:spPr>
          <a:xfrm>
            <a:off x="4651375" y="1620838"/>
            <a:ext cx="3600000" cy="4140000"/>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1200"/>
              </a:spcBef>
              <a:spcAft>
                <a:spcPts val="0"/>
              </a:spcAft>
              <a:buClrTx/>
              <a:buSzTx/>
              <a:buFont typeface="Arial" charset="0"/>
              <a:buNone/>
              <a:tabLst/>
              <a:defRPr/>
            </a:pPr>
            <a:r>
              <a:rPr kumimoji="0" lang="en-US" sz="1100" b="0" i="0" u="none" strike="noStrike" kern="1200" cap="none" spc="0" normalizeH="0" baseline="0" noProof="0" dirty="0">
                <a:ln>
                  <a:noFill/>
                </a:ln>
                <a:solidFill>
                  <a:schemeClr val="tx1"/>
                </a:solidFill>
                <a:effectLst/>
                <a:uLnTx/>
                <a:uFillTx/>
                <a:latin typeface="+mj-lt"/>
              </a:rPr>
              <a:t>This is dummy text its not here to be read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1 bullet </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2 bullet</a:t>
            </a:r>
          </a:p>
        </p:txBody>
      </p:sp>
      <p:sp>
        <p:nvSpPr>
          <p:cNvPr id="5" name="Trapezoid 4"/>
          <p:cNvSpPr/>
          <p:nvPr/>
        </p:nvSpPr>
        <p:spPr>
          <a:xfrm rot="16200000">
            <a:off x="2264911" y="3375838"/>
            <a:ext cx="4140000" cy="630000"/>
          </a:xfrm>
          <a:prstGeom prst="trapezoid">
            <a:avLst>
              <a:gd name="adj" fmla="val 98866"/>
            </a:avLst>
          </a:pr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non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 typeface="Wingdings 2" pitchFamily="18" charset="2"/>
              <a:buNone/>
              <a:tabLst/>
              <a:defRPr/>
            </a:pPr>
            <a:endParaRPr kumimoji="0" lang="en-GB" sz="1200" b="0" i="0" u="none" strike="noStrike" kern="0" cap="none" spc="0" normalizeH="0" baseline="0" noProof="0" dirty="0">
              <a:ln>
                <a:noFill/>
              </a:ln>
              <a:effectLst/>
              <a:uLnTx/>
              <a:uFillTx/>
              <a:latin typeface="+mj-lt"/>
            </a:endParaRPr>
          </a:p>
        </p:txBody>
      </p:sp>
      <p:sp>
        <p:nvSpPr>
          <p:cNvPr id="6" name="Text Placeholder 5"/>
          <p:cNvSpPr txBox="1">
            <a:spLocks/>
          </p:cNvSpPr>
          <p:nvPr/>
        </p:nvSpPr>
        <p:spPr>
          <a:xfrm>
            <a:off x="780301" y="2250838"/>
            <a:ext cx="3240000" cy="2880000"/>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1200"/>
              </a:spcBef>
              <a:spcAft>
                <a:spcPts val="0"/>
              </a:spcAft>
              <a:buClrTx/>
              <a:buSzTx/>
              <a:buFont typeface="Arial" charset="0"/>
              <a:buNone/>
              <a:tabLst/>
              <a:defRPr/>
            </a:pPr>
            <a:r>
              <a:rPr kumimoji="0" lang="en-US" sz="1100" b="0" i="0" u="none" strike="noStrike" kern="1200" cap="none" spc="0" normalizeH="0" baseline="0" noProof="0" dirty="0">
                <a:ln>
                  <a:noFill/>
                </a:ln>
                <a:solidFill>
                  <a:schemeClr val="tx1"/>
                </a:solidFill>
                <a:effectLst/>
                <a:uLnTx/>
                <a:uFillTx/>
                <a:latin typeface="+mj-lt"/>
              </a:rPr>
              <a:t>This is dummy text its not here to be read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1 bullet </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2 bullet</a:t>
            </a:r>
          </a:p>
        </p:txBody>
      </p:sp>
    </p:spTree>
    <p:extLst>
      <p:ext uri="{BB962C8B-B14F-4D97-AF65-F5344CB8AC3E}">
        <p14:creationId xmlns:p14="http://schemas.microsoft.com/office/powerpoint/2010/main" val="40182545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365760" y="1756981"/>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5" name="Rectangle 16"/>
          <p:cNvSpPr>
            <a:spLocks noChangeArrowheads="1"/>
          </p:cNvSpPr>
          <p:nvPr>
            <p:custDataLst>
              <p:tags r:id="rId2"/>
            </p:custDataLst>
          </p:nvPr>
        </p:nvSpPr>
        <p:spPr bwMode="gray">
          <a:xfrm>
            <a:off x="6291282" y="1756981"/>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6" name="Rectangle 17"/>
          <p:cNvSpPr>
            <a:spLocks noChangeArrowheads="1"/>
          </p:cNvSpPr>
          <p:nvPr>
            <p:custDataLst>
              <p:tags r:id="rId3"/>
            </p:custDataLst>
          </p:nvPr>
        </p:nvSpPr>
        <p:spPr bwMode="gray">
          <a:xfrm>
            <a:off x="365760" y="2438649"/>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7" name="Rectangle 18"/>
          <p:cNvSpPr>
            <a:spLocks noChangeArrowheads="1"/>
          </p:cNvSpPr>
          <p:nvPr>
            <p:custDataLst>
              <p:tags r:id="rId4"/>
            </p:custDataLst>
          </p:nvPr>
        </p:nvSpPr>
        <p:spPr bwMode="gray">
          <a:xfrm>
            <a:off x="6291282" y="2438649"/>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8" name="Rectangle 19"/>
          <p:cNvSpPr>
            <a:spLocks noChangeArrowheads="1"/>
          </p:cNvSpPr>
          <p:nvPr>
            <p:custDataLst>
              <p:tags r:id="rId5"/>
            </p:custDataLst>
          </p:nvPr>
        </p:nvSpPr>
        <p:spPr bwMode="gray">
          <a:xfrm>
            <a:off x="365760" y="3400774"/>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9" name="Rectangle 20"/>
          <p:cNvSpPr>
            <a:spLocks noChangeArrowheads="1"/>
          </p:cNvSpPr>
          <p:nvPr>
            <p:custDataLst>
              <p:tags r:id="rId6"/>
            </p:custDataLst>
          </p:nvPr>
        </p:nvSpPr>
        <p:spPr bwMode="gray">
          <a:xfrm>
            <a:off x="6291282" y="3400774"/>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10" name="Rectangle 21"/>
          <p:cNvSpPr>
            <a:spLocks noChangeArrowheads="1"/>
          </p:cNvSpPr>
          <p:nvPr>
            <p:custDataLst>
              <p:tags r:id="rId7"/>
            </p:custDataLst>
          </p:nvPr>
        </p:nvSpPr>
        <p:spPr bwMode="gray">
          <a:xfrm>
            <a:off x="365760" y="4361201"/>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11" name="Rectangle 22"/>
          <p:cNvSpPr>
            <a:spLocks noChangeArrowheads="1"/>
          </p:cNvSpPr>
          <p:nvPr>
            <p:custDataLst>
              <p:tags r:id="rId8"/>
            </p:custDataLst>
          </p:nvPr>
        </p:nvSpPr>
        <p:spPr bwMode="gray">
          <a:xfrm>
            <a:off x="6291282" y="4361201"/>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12" name="Rectangle 23"/>
          <p:cNvSpPr>
            <a:spLocks noChangeArrowheads="1"/>
          </p:cNvSpPr>
          <p:nvPr>
            <p:custDataLst>
              <p:tags r:id="rId9"/>
            </p:custDataLst>
          </p:nvPr>
        </p:nvSpPr>
        <p:spPr bwMode="gray">
          <a:xfrm>
            <a:off x="365760" y="5045792"/>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sp>
        <p:nvSpPr>
          <p:cNvPr id="13" name="Rectangle 24"/>
          <p:cNvSpPr>
            <a:spLocks noChangeArrowheads="1"/>
          </p:cNvSpPr>
          <p:nvPr>
            <p:custDataLst>
              <p:tags r:id="rId10"/>
            </p:custDataLst>
          </p:nvPr>
        </p:nvSpPr>
        <p:spPr bwMode="gray">
          <a:xfrm>
            <a:off x="6291282" y="5045792"/>
            <a:ext cx="2486958" cy="397913"/>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200" b="0" dirty="0"/>
              <a:t>Text</a:t>
            </a:r>
          </a:p>
        </p:txBody>
      </p:sp>
      <p:grpSp>
        <p:nvGrpSpPr>
          <p:cNvPr id="27" name="Group 26"/>
          <p:cNvGrpSpPr/>
          <p:nvPr/>
        </p:nvGrpSpPr>
        <p:grpSpPr>
          <a:xfrm>
            <a:off x="397764" y="1610155"/>
            <a:ext cx="8348472" cy="3977202"/>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grpSp>
      <p:sp>
        <p:nvSpPr>
          <p:cNvPr id="26" name="Oval 5"/>
          <p:cNvSpPr>
            <a:spLocks noChangeArrowheads="1"/>
          </p:cNvSpPr>
          <p:nvPr/>
        </p:nvSpPr>
        <p:spPr bwMode="blackWhite">
          <a:xfrm>
            <a:off x="3180167" y="2206060"/>
            <a:ext cx="2785392" cy="2785392"/>
          </a:xfrm>
          <a:prstGeom prst="ellipse">
            <a:avLst/>
          </a:prstGeom>
          <a:solidFill>
            <a:schemeClr val="accent2"/>
          </a:solidFill>
          <a:ln w="12700">
            <a:noFill/>
            <a:round/>
            <a:headEnd/>
            <a:tailEnd/>
          </a:ln>
        </p:spPr>
        <p:txBody>
          <a:bodyPr wrap="square" lIns="88900" tIns="88900" rIns="88900" bIns="88900" anchor="ctr"/>
          <a:lstStyle/>
          <a:p>
            <a:pPr algn="ctr">
              <a:defRPr/>
            </a:pPr>
            <a:r>
              <a:rPr lang="en-GB" sz="1400"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action</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6" name="Freeform 8"/>
          <p:cNvSpPr>
            <a:spLocks/>
          </p:cNvSpPr>
          <p:nvPr/>
        </p:nvSpPr>
        <p:spPr bwMode="auto">
          <a:xfrm>
            <a:off x="4041775" y="1614488"/>
            <a:ext cx="3824288" cy="3916362"/>
          </a:xfrm>
          <a:custGeom>
            <a:avLst/>
            <a:gdLst>
              <a:gd name="T0" fmla="*/ 520 w 2409"/>
              <a:gd name="T1" fmla="*/ 0 h 2467"/>
              <a:gd name="T2" fmla="*/ 476 w 2409"/>
              <a:gd name="T3" fmla="*/ 457 h 2467"/>
              <a:gd name="T4" fmla="*/ 667 w 2409"/>
              <a:gd name="T5" fmla="*/ 869 h 2467"/>
              <a:gd name="T6" fmla="*/ 426 w 2409"/>
              <a:gd name="T7" fmla="*/ 1388 h 2467"/>
              <a:gd name="T8" fmla="*/ 426 w 2409"/>
              <a:gd name="T9" fmla="*/ 1067 h 2467"/>
              <a:gd name="T10" fmla="*/ 420 w 2409"/>
              <a:gd name="T11" fmla="*/ 1067 h 2467"/>
              <a:gd name="T12" fmla="*/ 388 w 2409"/>
              <a:gd name="T13" fmla="*/ 1398 h 2467"/>
              <a:gd name="T14" fmla="*/ 250 w 2409"/>
              <a:gd name="T15" fmla="*/ 1398 h 2467"/>
              <a:gd name="T16" fmla="*/ 242 w 2409"/>
              <a:gd name="T17" fmla="*/ 1398 h 2467"/>
              <a:gd name="T18" fmla="*/ 242 w 2409"/>
              <a:gd name="T19" fmla="*/ 1079 h 2467"/>
              <a:gd name="T20" fmla="*/ 0 w 2409"/>
              <a:gd name="T21" fmla="*/ 1598 h 2467"/>
              <a:gd name="T22" fmla="*/ 192 w 2409"/>
              <a:gd name="T23" fmla="*/ 2007 h 2467"/>
              <a:gd name="T24" fmla="*/ 242 w 2409"/>
              <a:gd name="T25" fmla="*/ 2115 h 2467"/>
              <a:gd name="T26" fmla="*/ 242 w 2409"/>
              <a:gd name="T27" fmla="*/ 1796 h 2467"/>
              <a:gd name="T28" fmla="*/ 350 w 2409"/>
              <a:gd name="T29" fmla="*/ 1796 h 2467"/>
              <a:gd name="T30" fmla="*/ 286 w 2409"/>
              <a:gd name="T31" fmla="*/ 2467 h 2467"/>
              <a:gd name="T32" fmla="*/ 2409 w 2409"/>
              <a:gd name="T33" fmla="*/ 2467 h 2467"/>
              <a:gd name="T34" fmla="*/ 2409 w 2409"/>
              <a:gd name="T35" fmla="*/ 0 h 2467"/>
              <a:gd name="T36" fmla="*/ 520 w 2409"/>
              <a:gd name="T3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9" h="2467">
                <a:moveTo>
                  <a:pt x="520" y="0"/>
                </a:moveTo>
                <a:lnTo>
                  <a:pt x="476" y="457"/>
                </a:lnTo>
                <a:lnTo>
                  <a:pt x="667" y="869"/>
                </a:lnTo>
                <a:lnTo>
                  <a:pt x="426" y="1388"/>
                </a:lnTo>
                <a:lnTo>
                  <a:pt x="426" y="1067"/>
                </a:lnTo>
                <a:lnTo>
                  <a:pt x="420" y="1067"/>
                </a:lnTo>
                <a:lnTo>
                  <a:pt x="388" y="1398"/>
                </a:lnTo>
                <a:lnTo>
                  <a:pt x="250" y="1398"/>
                </a:lnTo>
                <a:lnTo>
                  <a:pt x="242" y="1398"/>
                </a:lnTo>
                <a:lnTo>
                  <a:pt x="242" y="1079"/>
                </a:lnTo>
                <a:lnTo>
                  <a:pt x="0" y="1598"/>
                </a:lnTo>
                <a:lnTo>
                  <a:pt x="192" y="2007"/>
                </a:lnTo>
                <a:lnTo>
                  <a:pt x="242" y="2115"/>
                </a:lnTo>
                <a:lnTo>
                  <a:pt x="242" y="1796"/>
                </a:lnTo>
                <a:lnTo>
                  <a:pt x="350" y="1796"/>
                </a:lnTo>
                <a:lnTo>
                  <a:pt x="286" y="2467"/>
                </a:lnTo>
                <a:lnTo>
                  <a:pt x="2409" y="2467"/>
                </a:lnTo>
                <a:lnTo>
                  <a:pt x="2409" y="0"/>
                </a:lnTo>
                <a:lnTo>
                  <a:pt x="520" y="0"/>
                </a:lnTo>
                <a:close/>
              </a:path>
            </a:pathLst>
          </a:custGeom>
          <a:solidFill>
            <a:schemeClr val="accent1"/>
          </a:solidFill>
          <a:ln w="6" cap="flat">
            <a:noFill/>
            <a:prstDash val="solid"/>
            <a:miter lim="800000"/>
            <a:headEnd/>
            <a:tailEnd/>
          </a:ln>
        </p:spPr>
        <p:txBody>
          <a:bodyPr vert="horz" wrap="square" lIns="1097280" tIns="9144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2 bullet</a:t>
            </a:r>
          </a:p>
        </p:txBody>
      </p:sp>
      <p:sp>
        <p:nvSpPr>
          <p:cNvPr id="7" name="Freeform 7"/>
          <p:cNvSpPr>
            <a:spLocks/>
          </p:cNvSpPr>
          <p:nvPr/>
        </p:nvSpPr>
        <p:spPr bwMode="auto">
          <a:xfrm>
            <a:off x="1277937" y="1614488"/>
            <a:ext cx="3822700" cy="3916362"/>
          </a:xfrm>
          <a:custGeom>
            <a:avLst/>
            <a:gdLst>
              <a:gd name="T0" fmla="*/ 2408 w 2408"/>
              <a:gd name="T1" fmla="*/ 869 h 2467"/>
              <a:gd name="T2" fmla="*/ 2217 w 2408"/>
              <a:gd name="T3" fmla="*/ 457 h 2467"/>
              <a:gd name="T4" fmla="*/ 2167 w 2408"/>
              <a:gd name="T5" fmla="*/ 349 h 2467"/>
              <a:gd name="T6" fmla="*/ 2167 w 2408"/>
              <a:gd name="T7" fmla="*/ 669 h 2467"/>
              <a:gd name="T8" fmla="*/ 2059 w 2408"/>
              <a:gd name="T9" fmla="*/ 669 h 2467"/>
              <a:gd name="T10" fmla="*/ 2123 w 2408"/>
              <a:gd name="T11" fmla="*/ 0 h 2467"/>
              <a:gd name="T12" fmla="*/ 0 w 2408"/>
              <a:gd name="T13" fmla="*/ 0 h 2467"/>
              <a:gd name="T14" fmla="*/ 0 w 2408"/>
              <a:gd name="T15" fmla="*/ 2467 h 2467"/>
              <a:gd name="T16" fmla="*/ 1889 w 2408"/>
              <a:gd name="T17" fmla="*/ 2467 h 2467"/>
              <a:gd name="T18" fmla="*/ 1933 w 2408"/>
              <a:gd name="T19" fmla="*/ 2007 h 2467"/>
              <a:gd name="T20" fmla="*/ 1741 w 2408"/>
              <a:gd name="T21" fmla="*/ 1598 h 2467"/>
              <a:gd name="T22" fmla="*/ 1983 w 2408"/>
              <a:gd name="T23" fmla="*/ 1079 h 2467"/>
              <a:gd name="T24" fmla="*/ 1983 w 2408"/>
              <a:gd name="T25" fmla="*/ 1398 h 2467"/>
              <a:gd name="T26" fmla="*/ 1991 w 2408"/>
              <a:gd name="T27" fmla="*/ 1398 h 2467"/>
              <a:gd name="T28" fmla="*/ 2023 w 2408"/>
              <a:gd name="T29" fmla="*/ 1067 h 2467"/>
              <a:gd name="T30" fmla="*/ 2161 w 2408"/>
              <a:gd name="T31" fmla="*/ 1067 h 2467"/>
              <a:gd name="T32" fmla="*/ 2167 w 2408"/>
              <a:gd name="T33" fmla="*/ 1067 h 2467"/>
              <a:gd name="T34" fmla="*/ 2167 w 2408"/>
              <a:gd name="T35" fmla="*/ 1388 h 2467"/>
              <a:gd name="T36" fmla="*/ 2408 w 2408"/>
              <a:gd name="T37" fmla="*/ 86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8" h="2467">
                <a:moveTo>
                  <a:pt x="2408" y="869"/>
                </a:moveTo>
                <a:lnTo>
                  <a:pt x="2217" y="457"/>
                </a:lnTo>
                <a:lnTo>
                  <a:pt x="2167" y="349"/>
                </a:lnTo>
                <a:lnTo>
                  <a:pt x="2167" y="669"/>
                </a:lnTo>
                <a:lnTo>
                  <a:pt x="2059" y="669"/>
                </a:lnTo>
                <a:lnTo>
                  <a:pt x="2123" y="0"/>
                </a:lnTo>
                <a:lnTo>
                  <a:pt x="0" y="0"/>
                </a:lnTo>
                <a:lnTo>
                  <a:pt x="0" y="2467"/>
                </a:lnTo>
                <a:lnTo>
                  <a:pt x="1889" y="2467"/>
                </a:lnTo>
                <a:lnTo>
                  <a:pt x="1933" y="2007"/>
                </a:lnTo>
                <a:lnTo>
                  <a:pt x="1741" y="1598"/>
                </a:lnTo>
                <a:lnTo>
                  <a:pt x="1983" y="1079"/>
                </a:lnTo>
                <a:lnTo>
                  <a:pt x="1983" y="1398"/>
                </a:lnTo>
                <a:lnTo>
                  <a:pt x="1991" y="1398"/>
                </a:lnTo>
                <a:lnTo>
                  <a:pt x="2023" y="1067"/>
                </a:lnTo>
                <a:lnTo>
                  <a:pt x="2161" y="1067"/>
                </a:lnTo>
                <a:lnTo>
                  <a:pt x="2167" y="1067"/>
                </a:lnTo>
                <a:lnTo>
                  <a:pt x="2167" y="1388"/>
                </a:lnTo>
                <a:lnTo>
                  <a:pt x="2408" y="869"/>
                </a:lnTo>
                <a:close/>
              </a:path>
            </a:pathLst>
          </a:custGeom>
          <a:solidFill>
            <a:sysClr val="window" lastClr="FFFFFF"/>
          </a:solidFill>
          <a:ln w="6350" cap="flat">
            <a:solidFill>
              <a:srgbClr val="BBBCBC"/>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2 bullet</a:t>
            </a:r>
          </a:p>
        </p:txBody>
      </p:sp>
    </p:spTree>
    <p:extLst>
      <p:ext uri="{BB962C8B-B14F-4D97-AF65-F5344CB8AC3E}">
        <p14:creationId xmlns:p14="http://schemas.microsoft.com/office/powerpoint/2010/main" val="14880380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oupled vertical</a:t>
            </a:r>
          </a:p>
        </p:txBody>
      </p:sp>
      <p:sp>
        <p:nvSpPr>
          <p:cNvPr id="3" name="Title 2"/>
          <p:cNvSpPr>
            <a:spLocks noGrp="1"/>
          </p:cNvSpPr>
          <p:nvPr>
            <p:ph type="title"/>
          </p:nvPr>
        </p:nvSpPr>
        <p:spPr/>
        <p:txBody>
          <a:bodyPr/>
          <a:lstStyle/>
          <a:p>
            <a:r>
              <a:rPr lang="en-US" dirty="0"/>
              <a:t>Text blocks </a:t>
            </a:r>
          </a:p>
        </p:txBody>
      </p:sp>
      <p:sp>
        <p:nvSpPr>
          <p:cNvPr id="4" name="Freeform 6"/>
          <p:cNvSpPr>
            <a:spLocks/>
          </p:cNvSpPr>
          <p:nvPr/>
        </p:nvSpPr>
        <p:spPr bwMode="auto">
          <a:xfrm>
            <a:off x="2377282" y="2315430"/>
            <a:ext cx="4389437" cy="3265487"/>
          </a:xfrm>
          <a:custGeom>
            <a:avLst/>
            <a:gdLst>
              <a:gd name="T0" fmla="*/ 2293 w 2765"/>
              <a:gd name="T1" fmla="*/ 930 h 2057"/>
              <a:gd name="T2" fmla="*/ 2293 w 2765"/>
              <a:gd name="T3" fmla="*/ 817 h 2057"/>
              <a:gd name="T4" fmla="*/ 2293 w 2765"/>
              <a:gd name="T5" fmla="*/ 135 h 2057"/>
              <a:gd name="T6" fmla="*/ 2411 w 2765"/>
              <a:gd name="T7" fmla="*/ 135 h 2057"/>
              <a:gd name="T8" fmla="*/ 2166 w 2765"/>
              <a:gd name="T9" fmla="*/ 0 h 2057"/>
              <a:gd name="T10" fmla="*/ 1922 w 2765"/>
              <a:gd name="T11" fmla="*/ 135 h 2057"/>
              <a:gd name="T12" fmla="*/ 2038 w 2765"/>
              <a:gd name="T13" fmla="*/ 135 h 2057"/>
              <a:gd name="T14" fmla="*/ 2038 w 2765"/>
              <a:gd name="T15" fmla="*/ 799 h 2057"/>
              <a:gd name="T16" fmla="*/ 2038 w 2765"/>
              <a:gd name="T17" fmla="*/ 912 h 2057"/>
              <a:gd name="T18" fmla="*/ 727 w 2765"/>
              <a:gd name="T19" fmla="*/ 823 h 2057"/>
              <a:gd name="T20" fmla="*/ 727 w 2765"/>
              <a:gd name="T21" fmla="*/ 1484 h 2057"/>
              <a:gd name="T22" fmla="*/ 843 w 2765"/>
              <a:gd name="T23" fmla="*/ 1484 h 2057"/>
              <a:gd name="T24" fmla="*/ 599 w 2765"/>
              <a:gd name="T25" fmla="*/ 1620 h 2057"/>
              <a:gd name="T26" fmla="*/ 354 w 2765"/>
              <a:gd name="T27" fmla="*/ 1484 h 2057"/>
              <a:gd name="T28" fmla="*/ 472 w 2765"/>
              <a:gd name="T29" fmla="*/ 1484 h 2057"/>
              <a:gd name="T30" fmla="*/ 472 w 2765"/>
              <a:gd name="T31" fmla="*/ 805 h 2057"/>
              <a:gd name="T32" fmla="*/ 0 w 2765"/>
              <a:gd name="T33" fmla="*/ 771 h 2057"/>
              <a:gd name="T34" fmla="*/ 0 w 2765"/>
              <a:gd name="T35" fmla="*/ 2057 h 2057"/>
              <a:gd name="T36" fmla="*/ 2765 w 2765"/>
              <a:gd name="T37" fmla="*/ 2057 h 2057"/>
              <a:gd name="T38" fmla="*/ 2765 w 2765"/>
              <a:gd name="T39" fmla="*/ 964 h 2057"/>
              <a:gd name="T40" fmla="*/ 2293 w 2765"/>
              <a:gd name="T41" fmla="*/ 930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65" h="2057">
                <a:moveTo>
                  <a:pt x="2293" y="930"/>
                </a:moveTo>
                <a:lnTo>
                  <a:pt x="2293" y="817"/>
                </a:lnTo>
                <a:lnTo>
                  <a:pt x="2293" y="135"/>
                </a:lnTo>
                <a:lnTo>
                  <a:pt x="2411" y="135"/>
                </a:lnTo>
                <a:lnTo>
                  <a:pt x="2166" y="0"/>
                </a:lnTo>
                <a:lnTo>
                  <a:pt x="1922" y="135"/>
                </a:lnTo>
                <a:lnTo>
                  <a:pt x="2038" y="135"/>
                </a:lnTo>
                <a:lnTo>
                  <a:pt x="2038" y="799"/>
                </a:lnTo>
                <a:lnTo>
                  <a:pt x="2038" y="912"/>
                </a:lnTo>
                <a:lnTo>
                  <a:pt x="727" y="823"/>
                </a:lnTo>
                <a:lnTo>
                  <a:pt x="727" y="1484"/>
                </a:lnTo>
                <a:lnTo>
                  <a:pt x="843" y="1484"/>
                </a:lnTo>
                <a:lnTo>
                  <a:pt x="599" y="1620"/>
                </a:lnTo>
                <a:lnTo>
                  <a:pt x="354" y="1484"/>
                </a:lnTo>
                <a:lnTo>
                  <a:pt x="472" y="1484"/>
                </a:lnTo>
                <a:lnTo>
                  <a:pt x="472" y="805"/>
                </a:lnTo>
                <a:lnTo>
                  <a:pt x="0" y="771"/>
                </a:lnTo>
                <a:lnTo>
                  <a:pt x="0" y="2057"/>
                </a:lnTo>
                <a:lnTo>
                  <a:pt x="2765" y="2057"/>
                </a:lnTo>
                <a:lnTo>
                  <a:pt x="2765" y="964"/>
                </a:lnTo>
                <a:lnTo>
                  <a:pt x="2293" y="930"/>
                </a:lnTo>
                <a:close/>
              </a:path>
            </a:pathLst>
          </a:custGeom>
          <a:solidFill>
            <a:schemeClr val="accent5"/>
          </a:solidFill>
          <a:ln w="9525" cap="flat">
            <a:noFill/>
            <a:prstDash val="solid"/>
            <a:miter lim="800000"/>
            <a:headEnd/>
            <a:tailEnd/>
          </a:ln>
        </p:spPr>
        <p:txBody>
          <a:bodyPr vert="horz" wrap="square" lIns="1554480" tIns="164592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solidFill>
                  <a:schemeClr val="bg1"/>
                </a:solidFill>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solidFill>
                  <a:schemeClr val="bg1"/>
                </a:solidFill>
                <a:effectLst/>
                <a:uLnTx/>
                <a:uFillTx/>
                <a:latin typeface="+mj-lt"/>
              </a:rPr>
              <a:t>This is a level 2 bullet</a:t>
            </a:r>
          </a:p>
        </p:txBody>
      </p:sp>
      <p:sp>
        <p:nvSpPr>
          <p:cNvPr id="5" name="Freeform 7"/>
          <p:cNvSpPr>
            <a:spLocks/>
          </p:cNvSpPr>
          <p:nvPr/>
        </p:nvSpPr>
        <p:spPr bwMode="auto">
          <a:xfrm>
            <a:off x="2377282" y="1614488"/>
            <a:ext cx="4389437" cy="3263900"/>
          </a:xfrm>
          <a:custGeom>
            <a:avLst/>
            <a:gdLst>
              <a:gd name="T0" fmla="*/ 0 w 2765"/>
              <a:gd name="T1" fmla="*/ 0 h 2056"/>
              <a:gd name="T2" fmla="*/ 0 w 2765"/>
              <a:gd name="T3" fmla="*/ 1093 h 2056"/>
              <a:gd name="T4" fmla="*/ 472 w 2765"/>
              <a:gd name="T5" fmla="*/ 1125 h 2056"/>
              <a:gd name="T6" fmla="*/ 472 w 2765"/>
              <a:gd name="T7" fmla="*/ 1241 h 2056"/>
              <a:gd name="T8" fmla="*/ 472 w 2765"/>
              <a:gd name="T9" fmla="*/ 1920 h 2056"/>
              <a:gd name="T10" fmla="*/ 354 w 2765"/>
              <a:gd name="T11" fmla="*/ 1920 h 2056"/>
              <a:gd name="T12" fmla="*/ 599 w 2765"/>
              <a:gd name="T13" fmla="*/ 2056 h 2056"/>
              <a:gd name="T14" fmla="*/ 843 w 2765"/>
              <a:gd name="T15" fmla="*/ 1920 h 2056"/>
              <a:gd name="T16" fmla="*/ 727 w 2765"/>
              <a:gd name="T17" fmla="*/ 1920 h 2056"/>
              <a:gd name="T18" fmla="*/ 727 w 2765"/>
              <a:gd name="T19" fmla="*/ 1259 h 2056"/>
              <a:gd name="T20" fmla="*/ 727 w 2765"/>
              <a:gd name="T21" fmla="*/ 1143 h 2056"/>
              <a:gd name="T22" fmla="*/ 2038 w 2765"/>
              <a:gd name="T23" fmla="*/ 1235 h 2056"/>
              <a:gd name="T24" fmla="*/ 2038 w 2765"/>
              <a:gd name="T25" fmla="*/ 571 h 2056"/>
              <a:gd name="T26" fmla="*/ 1922 w 2765"/>
              <a:gd name="T27" fmla="*/ 571 h 2056"/>
              <a:gd name="T28" fmla="*/ 2166 w 2765"/>
              <a:gd name="T29" fmla="*/ 436 h 2056"/>
              <a:gd name="T30" fmla="*/ 2411 w 2765"/>
              <a:gd name="T31" fmla="*/ 571 h 2056"/>
              <a:gd name="T32" fmla="*/ 2293 w 2765"/>
              <a:gd name="T33" fmla="*/ 571 h 2056"/>
              <a:gd name="T34" fmla="*/ 2293 w 2765"/>
              <a:gd name="T35" fmla="*/ 1253 h 2056"/>
              <a:gd name="T36" fmla="*/ 2765 w 2765"/>
              <a:gd name="T37" fmla="*/ 1285 h 2056"/>
              <a:gd name="T38" fmla="*/ 2765 w 2765"/>
              <a:gd name="T39" fmla="*/ 0 h 2056"/>
              <a:gd name="T40" fmla="*/ 0 w 2765"/>
              <a:gd name="T41" fmla="*/ 0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65" h="2056">
                <a:moveTo>
                  <a:pt x="0" y="0"/>
                </a:moveTo>
                <a:lnTo>
                  <a:pt x="0" y="1093"/>
                </a:lnTo>
                <a:lnTo>
                  <a:pt x="472" y="1125"/>
                </a:lnTo>
                <a:lnTo>
                  <a:pt x="472" y="1241"/>
                </a:lnTo>
                <a:lnTo>
                  <a:pt x="472" y="1920"/>
                </a:lnTo>
                <a:lnTo>
                  <a:pt x="354" y="1920"/>
                </a:lnTo>
                <a:lnTo>
                  <a:pt x="599" y="2056"/>
                </a:lnTo>
                <a:lnTo>
                  <a:pt x="843" y="1920"/>
                </a:lnTo>
                <a:lnTo>
                  <a:pt x="727" y="1920"/>
                </a:lnTo>
                <a:lnTo>
                  <a:pt x="727" y="1259"/>
                </a:lnTo>
                <a:lnTo>
                  <a:pt x="727" y="1143"/>
                </a:lnTo>
                <a:lnTo>
                  <a:pt x="2038" y="1235"/>
                </a:lnTo>
                <a:lnTo>
                  <a:pt x="2038" y="571"/>
                </a:lnTo>
                <a:lnTo>
                  <a:pt x="1922" y="571"/>
                </a:lnTo>
                <a:lnTo>
                  <a:pt x="2166" y="436"/>
                </a:lnTo>
                <a:lnTo>
                  <a:pt x="2411" y="571"/>
                </a:lnTo>
                <a:lnTo>
                  <a:pt x="2293" y="571"/>
                </a:lnTo>
                <a:lnTo>
                  <a:pt x="2293" y="1253"/>
                </a:lnTo>
                <a:lnTo>
                  <a:pt x="2765" y="1285"/>
                </a:lnTo>
                <a:lnTo>
                  <a:pt x="2765" y="0"/>
                </a:lnTo>
                <a:lnTo>
                  <a:pt x="0" y="0"/>
                </a:lnTo>
                <a:close/>
              </a:path>
            </a:pathLst>
          </a:custGeom>
          <a:solidFill>
            <a:sysClr val="window" lastClr="FFFFFF"/>
          </a:solidFill>
          <a:ln w="6350" cap="flat">
            <a:solidFill>
              <a:srgbClr val="BBBCBC"/>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2 bullet</a:t>
            </a:r>
          </a:p>
        </p:txBody>
      </p:sp>
    </p:spTree>
    <p:extLst>
      <p:ext uri="{BB962C8B-B14F-4D97-AF65-F5344CB8AC3E}">
        <p14:creationId xmlns:p14="http://schemas.microsoft.com/office/powerpoint/2010/main" val="28947621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Working together</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4" name="Group 3"/>
          <p:cNvGrpSpPr/>
          <p:nvPr/>
        </p:nvGrpSpPr>
        <p:grpSpPr>
          <a:xfrm>
            <a:off x="1523206" y="1614488"/>
            <a:ext cx="6097588" cy="3721100"/>
            <a:chOff x="1523206" y="1616075"/>
            <a:chExt cx="6097588" cy="3721100"/>
          </a:xfrm>
        </p:grpSpPr>
        <p:sp>
          <p:nvSpPr>
            <p:cNvPr id="5" name="Freeform 6"/>
            <p:cNvSpPr>
              <a:spLocks/>
            </p:cNvSpPr>
            <p:nvPr/>
          </p:nvSpPr>
          <p:spPr bwMode="auto">
            <a:xfrm>
              <a:off x="1523206" y="3286125"/>
              <a:ext cx="6097588" cy="2051050"/>
            </a:xfrm>
            <a:custGeom>
              <a:avLst/>
              <a:gdLst>
                <a:gd name="T0" fmla="*/ 2182 w 3841"/>
                <a:gd name="T1" fmla="*/ 0 h 1292"/>
                <a:gd name="T2" fmla="*/ 2182 w 3841"/>
                <a:gd name="T3" fmla="*/ 98 h 1292"/>
                <a:gd name="T4" fmla="*/ 2338 w 3841"/>
                <a:gd name="T5" fmla="*/ 98 h 1292"/>
                <a:gd name="T6" fmla="*/ 1920 w 3841"/>
                <a:gd name="T7" fmla="*/ 212 h 1292"/>
                <a:gd name="T8" fmla="*/ 1503 w 3841"/>
                <a:gd name="T9" fmla="*/ 98 h 1292"/>
                <a:gd name="T10" fmla="*/ 1659 w 3841"/>
                <a:gd name="T11" fmla="*/ 98 h 1292"/>
                <a:gd name="T12" fmla="*/ 1659 w 3841"/>
                <a:gd name="T13" fmla="*/ 0 h 1292"/>
                <a:gd name="T14" fmla="*/ 0 w 3841"/>
                <a:gd name="T15" fmla="*/ 0 h 1292"/>
                <a:gd name="T16" fmla="*/ 0 w 3841"/>
                <a:gd name="T17" fmla="*/ 1292 h 1292"/>
                <a:gd name="T18" fmla="*/ 3841 w 3841"/>
                <a:gd name="T19" fmla="*/ 1292 h 1292"/>
                <a:gd name="T20" fmla="*/ 3841 w 3841"/>
                <a:gd name="T21" fmla="*/ 0 h 1292"/>
                <a:gd name="T22" fmla="*/ 2182 w 3841"/>
                <a:gd name="T23" fmla="*/ 0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41" h="1292">
                  <a:moveTo>
                    <a:pt x="2182" y="0"/>
                  </a:moveTo>
                  <a:lnTo>
                    <a:pt x="2182" y="98"/>
                  </a:lnTo>
                  <a:lnTo>
                    <a:pt x="2338" y="98"/>
                  </a:lnTo>
                  <a:lnTo>
                    <a:pt x="1920" y="212"/>
                  </a:lnTo>
                  <a:lnTo>
                    <a:pt x="1503" y="98"/>
                  </a:lnTo>
                  <a:lnTo>
                    <a:pt x="1659" y="98"/>
                  </a:lnTo>
                  <a:lnTo>
                    <a:pt x="1659" y="0"/>
                  </a:lnTo>
                  <a:lnTo>
                    <a:pt x="0" y="0"/>
                  </a:lnTo>
                  <a:lnTo>
                    <a:pt x="0" y="1292"/>
                  </a:lnTo>
                  <a:lnTo>
                    <a:pt x="3841" y="1292"/>
                  </a:lnTo>
                  <a:lnTo>
                    <a:pt x="3841" y="0"/>
                  </a:lnTo>
                  <a:lnTo>
                    <a:pt x="2182" y="0"/>
                  </a:lnTo>
                  <a:close/>
                </a:path>
              </a:pathLst>
            </a:custGeom>
            <a:solidFill>
              <a:schemeClr val="accent1"/>
            </a:solidFill>
            <a:ln w="9525" cap="flat">
              <a:noFill/>
              <a:prstDash val="solid"/>
              <a:miter lim="800000"/>
              <a:headEnd/>
              <a:tailEnd/>
            </a:ln>
          </p:spPr>
          <p:txBody>
            <a:bodyPr vert="horz" wrap="square" lIns="91440" tIns="45720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2 bullet</a:t>
              </a:r>
            </a:p>
          </p:txBody>
        </p:sp>
        <p:sp>
          <p:nvSpPr>
            <p:cNvPr id="6" name="Freeform 5"/>
            <p:cNvSpPr>
              <a:spLocks/>
            </p:cNvSpPr>
            <p:nvPr/>
          </p:nvSpPr>
          <p:spPr bwMode="auto">
            <a:xfrm>
              <a:off x="1523206" y="1616075"/>
              <a:ext cx="6097588" cy="2006600"/>
            </a:xfrm>
            <a:custGeom>
              <a:avLst/>
              <a:gdLst>
                <a:gd name="T0" fmla="*/ 3841 w 3841"/>
                <a:gd name="T1" fmla="*/ 1052 h 1264"/>
                <a:gd name="T2" fmla="*/ 3841 w 3841"/>
                <a:gd name="T3" fmla="*/ 0 h 1264"/>
                <a:gd name="T4" fmla="*/ 0 w 3841"/>
                <a:gd name="T5" fmla="*/ 0 h 1264"/>
                <a:gd name="T6" fmla="*/ 0 w 3841"/>
                <a:gd name="T7" fmla="*/ 1052 h 1264"/>
                <a:gd name="T8" fmla="*/ 1659 w 3841"/>
                <a:gd name="T9" fmla="*/ 1052 h 1264"/>
                <a:gd name="T10" fmla="*/ 1659 w 3841"/>
                <a:gd name="T11" fmla="*/ 1150 h 1264"/>
                <a:gd name="T12" fmla="*/ 1503 w 3841"/>
                <a:gd name="T13" fmla="*/ 1150 h 1264"/>
                <a:gd name="T14" fmla="*/ 1920 w 3841"/>
                <a:gd name="T15" fmla="*/ 1264 h 1264"/>
                <a:gd name="T16" fmla="*/ 2338 w 3841"/>
                <a:gd name="T17" fmla="*/ 1150 h 1264"/>
                <a:gd name="T18" fmla="*/ 2182 w 3841"/>
                <a:gd name="T19" fmla="*/ 1150 h 1264"/>
                <a:gd name="T20" fmla="*/ 2182 w 3841"/>
                <a:gd name="T21" fmla="*/ 1052 h 1264"/>
                <a:gd name="T22" fmla="*/ 3841 w 3841"/>
                <a:gd name="T23" fmla="*/ 1052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41" h="1264">
                  <a:moveTo>
                    <a:pt x="3841" y="1052"/>
                  </a:moveTo>
                  <a:lnTo>
                    <a:pt x="3841" y="0"/>
                  </a:lnTo>
                  <a:lnTo>
                    <a:pt x="0" y="0"/>
                  </a:lnTo>
                  <a:lnTo>
                    <a:pt x="0" y="1052"/>
                  </a:lnTo>
                  <a:lnTo>
                    <a:pt x="1659" y="1052"/>
                  </a:lnTo>
                  <a:lnTo>
                    <a:pt x="1659" y="1150"/>
                  </a:lnTo>
                  <a:lnTo>
                    <a:pt x="1503" y="1150"/>
                  </a:lnTo>
                  <a:lnTo>
                    <a:pt x="1920" y="1264"/>
                  </a:lnTo>
                  <a:lnTo>
                    <a:pt x="2338" y="1150"/>
                  </a:lnTo>
                  <a:lnTo>
                    <a:pt x="2182" y="1150"/>
                  </a:lnTo>
                  <a:lnTo>
                    <a:pt x="2182" y="1052"/>
                  </a:lnTo>
                  <a:lnTo>
                    <a:pt x="3841" y="1052"/>
                  </a:lnTo>
                  <a:close/>
                </a:path>
              </a:pathLst>
            </a:custGeom>
            <a:solidFill>
              <a:sysClr val="window" lastClr="FFFFFF"/>
            </a:solidFill>
            <a:ln w="6350" cap="flat">
              <a:solidFill>
                <a:srgbClr val="BBBCBC"/>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defTabSz="957263"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effectLst/>
                  <a:uLnTx/>
                  <a:uFillTx/>
                  <a:latin typeface="+mj-lt"/>
                </a:rPr>
                <a:t>This is dummy text it is not here to be read </a:t>
              </a:r>
            </a:p>
            <a:p>
              <a:pPr marL="114300" marR="0" lvl="1"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1 bullet </a:t>
              </a:r>
            </a:p>
            <a:p>
              <a:pPr marL="254000" marR="0" lvl="2" indent="-114300" defTabSz="957263" eaLnBrk="1" fontAlgn="auto" latinLnBrk="0" hangingPunct="1">
                <a:lnSpc>
                  <a:spcPct val="100000"/>
                </a:lnSpc>
                <a:spcBef>
                  <a:spcPts val="600"/>
                </a:spcBef>
                <a:spcAft>
                  <a:spcPts val="0"/>
                </a:spcAft>
                <a:buClrTx/>
                <a:buSzPct val="100000"/>
                <a:buFont typeface="Arial"/>
                <a:buChar char="−"/>
                <a:tabLst/>
                <a:defRPr/>
              </a:pPr>
              <a:r>
                <a:rPr kumimoji="0" lang="en-US" sz="1100" b="0" i="0" u="none" strike="noStrike" kern="0" cap="none" spc="0" normalizeH="0" baseline="0" noProof="0" dirty="0">
                  <a:ln>
                    <a:noFill/>
                  </a:ln>
                  <a:effectLst/>
                  <a:uLnTx/>
                  <a:uFillTx/>
                  <a:latin typeface="+mj-lt"/>
                </a:rPr>
                <a:t>This is a level 2 bullet</a:t>
              </a:r>
            </a:p>
          </p:txBody>
        </p:sp>
        <p:sp>
          <p:nvSpPr>
            <p:cNvPr id="7" name="Freeform 6"/>
            <p:cNvSpPr>
              <a:spLocks/>
            </p:cNvSpPr>
            <p:nvPr/>
          </p:nvSpPr>
          <p:spPr bwMode="auto">
            <a:xfrm>
              <a:off x="3909219" y="2951163"/>
              <a:ext cx="1325563" cy="334963"/>
            </a:xfrm>
            <a:custGeom>
              <a:avLst/>
              <a:gdLst>
                <a:gd name="T0" fmla="*/ 835 w 835"/>
                <a:gd name="T1" fmla="*/ 113 h 211"/>
                <a:gd name="T2" fmla="*/ 417 w 835"/>
                <a:gd name="T3" fmla="*/ 0 h 211"/>
                <a:gd name="T4" fmla="*/ 0 w 835"/>
                <a:gd name="T5" fmla="*/ 113 h 211"/>
                <a:gd name="T6" fmla="*/ 156 w 835"/>
                <a:gd name="T7" fmla="*/ 113 h 211"/>
                <a:gd name="T8" fmla="*/ 156 w 835"/>
                <a:gd name="T9" fmla="*/ 211 h 211"/>
                <a:gd name="T10" fmla="*/ 679 w 835"/>
                <a:gd name="T11" fmla="*/ 211 h 211"/>
                <a:gd name="T12" fmla="*/ 679 w 835"/>
                <a:gd name="T13" fmla="*/ 113 h 211"/>
                <a:gd name="T14" fmla="*/ 835 w 835"/>
                <a:gd name="T15" fmla="*/ 113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5" h="211">
                  <a:moveTo>
                    <a:pt x="835" y="113"/>
                  </a:moveTo>
                  <a:lnTo>
                    <a:pt x="417" y="0"/>
                  </a:lnTo>
                  <a:lnTo>
                    <a:pt x="0" y="113"/>
                  </a:lnTo>
                  <a:lnTo>
                    <a:pt x="156" y="113"/>
                  </a:lnTo>
                  <a:lnTo>
                    <a:pt x="156" y="211"/>
                  </a:lnTo>
                  <a:lnTo>
                    <a:pt x="679" y="211"/>
                  </a:lnTo>
                  <a:lnTo>
                    <a:pt x="679" y="113"/>
                  </a:lnTo>
                  <a:lnTo>
                    <a:pt x="835" y="113"/>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grpSp>
    </p:spTree>
    <p:extLst>
      <p:ext uri="{BB962C8B-B14F-4D97-AF65-F5344CB8AC3E}">
        <p14:creationId xmlns:p14="http://schemas.microsoft.com/office/powerpoint/2010/main" val="212106010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Text Placeholder 5"/>
          <p:cNvSpPr txBox="1">
            <a:spLocks/>
          </p:cNvSpPr>
          <p:nvPr>
            <p:custDataLst>
              <p:tags r:id="rId1"/>
            </p:custDataLst>
          </p:nvPr>
        </p:nvSpPr>
        <p:spPr>
          <a:xfrm>
            <a:off x="376237" y="1608896"/>
            <a:ext cx="3605213" cy="3911452"/>
          </a:xfrm>
          <a:prstGeom prst="homePlate">
            <a:avLst>
              <a:gd name="adj" fmla="val 8173"/>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1100" b="0" i="0" u="none" strike="noStrike" kern="1200" cap="none" spc="0" normalizeH="0" baseline="0" noProof="0" dirty="0">
                <a:ln>
                  <a:noFill/>
                </a:ln>
                <a:solidFill>
                  <a:schemeClr val="tx1"/>
                </a:solidFill>
                <a:effectLst/>
                <a:uLnTx/>
                <a:uFillTx/>
                <a:latin typeface="+mj-lt"/>
              </a:rPr>
              <a:t>This is dummy text its not here to be read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1 bullet </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2 bullet</a:t>
            </a:r>
          </a:p>
        </p:txBody>
      </p:sp>
      <p:sp>
        <p:nvSpPr>
          <p:cNvPr id="5" name="Text Placeholder 5"/>
          <p:cNvSpPr txBox="1">
            <a:spLocks/>
          </p:cNvSpPr>
          <p:nvPr/>
        </p:nvSpPr>
        <p:spPr>
          <a:xfrm flipH="1">
            <a:off x="5162549" y="1608028"/>
            <a:ext cx="3605213" cy="3911452"/>
          </a:xfrm>
          <a:prstGeom prst="homePlate">
            <a:avLst>
              <a:gd name="adj" fmla="val 8173"/>
            </a:avLst>
          </a:prstGeom>
          <a:solidFill>
            <a:sysClr val="window" lastClr="FFFFFF"/>
          </a:solidFill>
          <a:ln w="6350">
            <a:solidFill>
              <a:srgbClr val="BBBCBC"/>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1100" b="0" i="0" u="none" strike="noStrike" kern="1200" cap="none" spc="0" normalizeH="0" baseline="0" noProof="0" dirty="0">
                <a:ln>
                  <a:noFill/>
                </a:ln>
                <a:solidFill>
                  <a:schemeClr val="tx1"/>
                </a:solidFill>
                <a:effectLst/>
                <a:uLnTx/>
                <a:uFillTx/>
                <a:latin typeface="+mj-lt"/>
              </a:rPr>
              <a:t>This is dummy text its not here to be read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1 bullet </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100" b="0" i="0" u="none" strike="noStrike" kern="1200" cap="none" spc="0" normalizeH="0" baseline="0" noProof="0" dirty="0">
                <a:ln>
                  <a:noFill/>
                </a:ln>
                <a:solidFill>
                  <a:schemeClr val="tx1"/>
                </a:solidFill>
                <a:effectLst/>
                <a:uLnTx/>
                <a:uFillTx/>
                <a:latin typeface="+mj-lt"/>
              </a:rPr>
              <a:t>This is a level 2 bullet</a:t>
            </a:r>
          </a:p>
        </p:txBody>
      </p:sp>
      <p:sp>
        <p:nvSpPr>
          <p:cNvPr id="6" name="Oval 5"/>
          <p:cNvSpPr>
            <a:spLocks noChangeArrowheads="1"/>
          </p:cNvSpPr>
          <p:nvPr>
            <p:custDataLst>
              <p:tags r:id="rId2"/>
            </p:custDataLst>
          </p:nvPr>
        </p:nvSpPr>
        <p:spPr bwMode="auto">
          <a:xfrm>
            <a:off x="3798888" y="2789754"/>
            <a:ext cx="1546225" cy="1548000"/>
          </a:xfrm>
          <a:prstGeom prst="ellipse">
            <a:avLst/>
          </a:prstGeom>
          <a:solidFill>
            <a:schemeClr val="accent4"/>
          </a:solidFill>
          <a:ln w="6350" algn="ctr">
            <a:noFill/>
            <a:round/>
            <a:headEnd/>
            <a:tailEnd/>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Tree>
    <p:extLst>
      <p:ext uri="{BB962C8B-B14F-4D97-AF65-F5344CB8AC3E}">
        <p14:creationId xmlns:p14="http://schemas.microsoft.com/office/powerpoint/2010/main" val="126806635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3467711" y="3121274"/>
            <a:ext cx="2193925" cy="1017587"/>
          </a:xfrm>
          <a:prstGeom prst="ellipse">
            <a:avLst/>
          </a:prstGeom>
          <a:solidFill>
            <a:schemeClr val="accent1"/>
          </a:solidFill>
          <a:ln w="12700">
            <a:noFill/>
            <a:round/>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400" i="0" u="none" strike="noStrike" kern="0" cap="none" spc="0" normalizeH="0" baseline="0" noProof="0" dirty="0">
                <a:ln>
                  <a:noFill/>
                </a:ln>
                <a:effectLst/>
                <a:uLnTx/>
                <a:uFillTx/>
                <a:latin typeface="+mj-lt"/>
                <a:ea typeface="ＭＳ Ｐゴシック" charset="-128"/>
              </a:rPr>
              <a:t>It all comes </a:t>
            </a:r>
          </a:p>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400" i="0" u="none" strike="noStrike" kern="0" cap="none" spc="0" normalizeH="0" baseline="0" noProof="0" dirty="0">
                <a:ln>
                  <a:noFill/>
                </a:ln>
                <a:effectLst/>
                <a:uLnTx/>
                <a:uFillTx/>
                <a:latin typeface="+mj-lt"/>
                <a:ea typeface="ＭＳ Ｐゴシック" charset="-128"/>
              </a:rPr>
              <a:t>down to this</a:t>
            </a:r>
          </a:p>
        </p:txBody>
      </p:sp>
      <p:sp>
        <p:nvSpPr>
          <p:cNvPr id="22" name="Rectangle 3"/>
          <p:cNvSpPr>
            <a:spLocks noChangeArrowheads="1"/>
          </p:cNvSpPr>
          <p:nvPr/>
        </p:nvSpPr>
        <p:spPr bwMode="auto">
          <a:xfrm>
            <a:off x="3558833" y="5105648"/>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3" name="Rectangle 4"/>
          <p:cNvSpPr>
            <a:spLocks noChangeArrowheads="1"/>
          </p:cNvSpPr>
          <p:nvPr/>
        </p:nvSpPr>
        <p:spPr bwMode="auto">
          <a:xfrm>
            <a:off x="6307367" y="2208143"/>
            <a:ext cx="2011680" cy="731520"/>
          </a:xfrm>
          <a:prstGeom prst="rect">
            <a:avLst/>
          </a:prstGeom>
          <a:solidFill>
            <a:schemeClr val="accent6"/>
          </a:solidFill>
          <a:ln w="19050" algn="ctr">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4" name="Rectangle 5"/>
          <p:cNvSpPr>
            <a:spLocks noChangeArrowheads="1"/>
          </p:cNvSpPr>
          <p:nvPr/>
        </p:nvSpPr>
        <p:spPr bwMode="auto">
          <a:xfrm>
            <a:off x="6279935" y="3267324"/>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5" name="Rectangle 6"/>
          <p:cNvSpPr>
            <a:spLocks noChangeArrowheads="1"/>
          </p:cNvSpPr>
          <p:nvPr/>
        </p:nvSpPr>
        <p:spPr bwMode="auto">
          <a:xfrm>
            <a:off x="837985" y="4445249"/>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6" name="Rectangle 7"/>
          <p:cNvSpPr>
            <a:spLocks noChangeArrowheads="1"/>
          </p:cNvSpPr>
          <p:nvPr/>
        </p:nvSpPr>
        <p:spPr bwMode="auto">
          <a:xfrm>
            <a:off x="6279935" y="4445249"/>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7" name="Rectangle 8"/>
          <p:cNvSpPr>
            <a:spLocks noChangeArrowheads="1"/>
          </p:cNvSpPr>
          <p:nvPr/>
        </p:nvSpPr>
        <p:spPr bwMode="auto">
          <a:xfrm>
            <a:off x="3558833" y="1424236"/>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8" name="Rectangle 9"/>
          <p:cNvSpPr>
            <a:spLocks noChangeArrowheads="1"/>
          </p:cNvSpPr>
          <p:nvPr/>
        </p:nvSpPr>
        <p:spPr bwMode="auto">
          <a:xfrm>
            <a:off x="837985" y="3267324"/>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9" name="Rectangle 10"/>
          <p:cNvSpPr>
            <a:spLocks noChangeArrowheads="1"/>
          </p:cNvSpPr>
          <p:nvPr/>
        </p:nvSpPr>
        <p:spPr bwMode="auto">
          <a:xfrm>
            <a:off x="837985" y="2162423"/>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2849665" y="2528183"/>
            <a:ext cx="939339" cy="742113"/>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2849665" y="3989839"/>
            <a:ext cx="939339" cy="821170"/>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5340343" y="3989839"/>
            <a:ext cx="939592" cy="821170"/>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5340343" y="2573902"/>
            <a:ext cx="967024" cy="696393"/>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4564673" y="2155756"/>
            <a:ext cx="1" cy="965518"/>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4564673" y="4138861"/>
            <a:ext cx="1" cy="966787"/>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2849665" y="3630068"/>
            <a:ext cx="618046" cy="3016"/>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5661636" y="3630068"/>
            <a:ext cx="618299" cy="3016"/>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3467711" y="3121274"/>
            <a:ext cx="2193925" cy="1017587"/>
          </a:xfrm>
          <a:prstGeom prst="ellipse">
            <a:avLst/>
          </a:prstGeom>
          <a:solidFill>
            <a:schemeClr val="accent3"/>
          </a:solidFill>
          <a:ln w="12700">
            <a:noFill/>
            <a:round/>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bg1"/>
                </a:solidFill>
                <a:effectLst/>
                <a:uLnTx/>
                <a:uFillTx/>
                <a:latin typeface="+mj-lt"/>
                <a:ea typeface="ＭＳ Ｐゴシック" charset="-128"/>
              </a:rPr>
              <a:t>It all comes </a:t>
            </a:r>
          </a:p>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bg1"/>
                </a:solidFill>
                <a:effectLst/>
                <a:uLnTx/>
                <a:uFillTx/>
                <a:latin typeface="+mj-lt"/>
                <a:ea typeface="ＭＳ Ｐゴシック" charset="-128"/>
              </a:rPr>
              <a:t>down to this</a:t>
            </a:r>
          </a:p>
        </p:txBody>
      </p:sp>
      <p:sp>
        <p:nvSpPr>
          <p:cNvPr id="22" name="Rectangle 3"/>
          <p:cNvSpPr>
            <a:spLocks noChangeArrowheads="1"/>
          </p:cNvSpPr>
          <p:nvPr/>
        </p:nvSpPr>
        <p:spPr bwMode="auto">
          <a:xfrm>
            <a:off x="3558833" y="5105648"/>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3" name="Rectangle 4"/>
          <p:cNvSpPr>
            <a:spLocks noChangeArrowheads="1"/>
          </p:cNvSpPr>
          <p:nvPr/>
        </p:nvSpPr>
        <p:spPr bwMode="auto">
          <a:xfrm>
            <a:off x="6307367" y="2208143"/>
            <a:ext cx="2011680" cy="731520"/>
          </a:xfrm>
          <a:prstGeom prst="rect">
            <a:avLst/>
          </a:prstGeom>
          <a:solidFill>
            <a:schemeClr val="accent6"/>
          </a:solidFill>
          <a:ln w="19050" algn="ctr">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4" name="Rectangle 5"/>
          <p:cNvSpPr>
            <a:spLocks noChangeArrowheads="1"/>
          </p:cNvSpPr>
          <p:nvPr/>
        </p:nvSpPr>
        <p:spPr bwMode="auto">
          <a:xfrm>
            <a:off x="6279935" y="3267324"/>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5" name="Rectangle 6"/>
          <p:cNvSpPr>
            <a:spLocks noChangeArrowheads="1"/>
          </p:cNvSpPr>
          <p:nvPr/>
        </p:nvSpPr>
        <p:spPr bwMode="auto">
          <a:xfrm>
            <a:off x="837985" y="4445249"/>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6" name="Rectangle 7"/>
          <p:cNvSpPr>
            <a:spLocks noChangeArrowheads="1"/>
          </p:cNvSpPr>
          <p:nvPr/>
        </p:nvSpPr>
        <p:spPr bwMode="auto">
          <a:xfrm>
            <a:off x="6279935" y="4445249"/>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7" name="Rectangle 8"/>
          <p:cNvSpPr>
            <a:spLocks noChangeArrowheads="1"/>
          </p:cNvSpPr>
          <p:nvPr/>
        </p:nvSpPr>
        <p:spPr bwMode="auto">
          <a:xfrm>
            <a:off x="3558833" y="1424236"/>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8" name="Rectangle 9"/>
          <p:cNvSpPr>
            <a:spLocks noChangeArrowheads="1"/>
          </p:cNvSpPr>
          <p:nvPr/>
        </p:nvSpPr>
        <p:spPr bwMode="auto">
          <a:xfrm>
            <a:off x="837985" y="3267324"/>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sp>
        <p:nvSpPr>
          <p:cNvPr id="29" name="Rectangle 10"/>
          <p:cNvSpPr>
            <a:spLocks noChangeArrowheads="1"/>
          </p:cNvSpPr>
          <p:nvPr/>
        </p:nvSpPr>
        <p:spPr bwMode="auto">
          <a:xfrm>
            <a:off x="837985" y="2162423"/>
            <a:ext cx="2011680" cy="731520"/>
          </a:xfrm>
          <a:prstGeom prst="rect">
            <a:avLst/>
          </a:prstGeom>
          <a:solidFill>
            <a:schemeClr val="accent6"/>
          </a:solidFill>
          <a:ln w="19050">
            <a:noFill/>
            <a:miter lim="800000"/>
            <a:headEnd/>
            <a:tailEnd/>
          </a:ln>
        </p:spPr>
        <p:txBody>
          <a:bodyPr lIns="88900" tIns="88900" rIns="88900" bIns="88900" anchor="ctr"/>
          <a:lstStyle/>
          <a:p>
            <a:pPr marL="0" marR="0" lvl="0" indent="0" algn="ctr" defTabSz="954088" eaLnBrk="1" fontAlgn="auto" latinLnBrk="0" hangingPunct="1">
              <a:lnSpc>
                <a:spcPct val="95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2849665" y="2528183"/>
            <a:ext cx="939339" cy="742113"/>
          </a:xfrm>
          <a:prstGeom prst="curvedConnector2">
            <a:avLst/>
          </a:prstGeom>
          <a:noFill/>
          <a:ln w="6350">
            <a:solidFill>
              <a:srgbClr val="53565A"/>
            </a:solidFill>
            <a:round/>
            <a:headEnd/>
            <a:tailEnd type="triangle" w="med" len="med"/>
          </a:ln>
        </p:spPr>
      </p:cxnSp>
      <p:cxnSp>
        <p:nvCxnSpPr>
          <p:cNvPr id="31" name="AutoShape 12"/>
          <p:cNvCxnSpPr>
            <a:cxnSpLocks noChangeShapeType="1"/>
            <a:stCxn id="25" idx="3"/>
            <a:endCxn id="21" idx="3"/>
          </p:cNvCxnSpPr>
          <p:nvPr/>
        </p:nvCxnSpPr>
        <p:spPr bwMode="auto">
          <a:xfrm flipV="1">
            <a:off x="2849665" y="3989839"/>
            <a:ext cx="939339" cy="821170"/>
          </a:xfrm>
          <a:prstGeom prst="curvedConnector2">
            <a:avLst/>
          </a:prstGeom>
          <a:noFill/>
          <a:ln w="6350">
            <a:solidFill>
              <a:srgbClr val="53565A"/>
            </a:solidFill>
            <a:round/>
            <a:headEnd/>
            <a:tailEnd type="triangle" w="med" len="med"/>
          </a:ln>
        </p:spPr>
      </p:cxnSp>
      <p:cxnSp>
        <p:nvCxnSpPr>
          <p:cNvPr id="32" name="AutoShape 13"/>
          <p:cNvCxnSpPr>
            <a:cxnSpLocks noChangeShapeType="1"/>
            <a:stCxn id="26" idx="1"/>
            <a:endCxn id="21" idx="5"/>
          </p:cNvCxnSpPr>
          <p:nvPr/>
        </p:nvCxnSpPr>
        <p:spPr bwMode="auto">
          <a:xfrm rot="10800000">
            <a:off x="5340343" y="3989839"/>
            <a:ext cx="939592" cy="821170"/>
          </a:xfrm>
          <a:prstGeom prst="curvedConnector2">
            <a:avLst/>
          </a:prstGeom>
          <a:noFill/>
          <a:ln w="6350">
            <a:solidFill>
              <a:srgbClr val="53565A"/>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5340343" y="2573902"/>
            <a:ext cx="967024" cy="696393"/>
          </a:xfrm>
          <a:prstGeom prst="curvedConnector2">
            <a:avLst/>
          </a:prstGeom>
          <a:noFill/>
          <a:ln w="6350">
            <a:solidFill>
              <a:srgbClr val="53565A"/>
            </a:solidFill>
            <a:round/>
            <a:headEnd/>
            <a:tailEnd type="triangle" w="med" len="med"/>
          </a:ln>
        </p:spPr>
      </p:cxnSp>
      <p:cxnSp>
        <p:nvCxnSpPr>
          <p:cNvPr id="34" name="AutoShape 15"/>
          <p:cNvCxnSpPr>
            <a:cxnSpLocks noChangeShapeType="1"/>
            <a:stCxn id="27" idx="2"/>
            <a:endCxn id="21" idx="0"/>
          </p:cNvCxnSpPr>
          <p:nvPr/>
        </p:nvCxnSpPr>
        <p:spPr bwMode="auto">
          <a:xfrm>
            <a:off x="4564673" y="2155756"/>
            <a:ext cx="1" cy="965518"/>
          </a:xfrm>
          <a:prstGeom prst="straightConnector1">
            <a:avLst/>
          </a:prstGeom>
          <a:noFill/>
          <a:ln w="6350">
            <a:solidFill>
              <a:srgbClr val="53565A"/>
            </a:solidFill>
            <a:round/>
            <a:headEnd/>
            <a:tailEnd type="triangle" w="med" len="med"/>
          </a:ln>
        </p:spPr>
      </p:cxnSp>
      <p:cxnSp>
        <p:nvCxnSpPr>
          <p:cNvPr id="35" name="AutoShape 16"/>
          <p:cNvCxnSpPr>
            <a:cxnSpLocks noChangeShapeType="1"/>
            <a:stCxn id="22" idx="0"/>
            <a:endCxn id="21" idx="4"/>
          </p:cNvCxnSpPr>
          <p:nvPr/>
        </p:nvCxnSpPr>
        <p:spPr bwMode="auto">
          <a:xfrm flipV="1">
            <a:off x="4564673" y="4138861"/>
            <a:ext cx="1" cy="966787"/>
          </a:xfrm>
          <a:prstGeom prst="straightConnector1">
            <a:avLst/>
          </a:prstGeom>
          <a:noFill/>
          <a:ln w="6350">
            <a:solidFill>
              <a:srgbClr val="53565A"/>
            </a:solidFill>
            <a:round/>
            <a:headEnd/>
            <a:tailEnd type="triangle" w="med" len="med"/>
          </a:ln>
        </p:spPr>
      </p:cxnSp>
      <p:cxnSp>
        <p:nvCxnSpPr>
          <p:cNvPr id="36" name="AutoShape 17"/>
          <p:cNvCxnSpPr>
            <a:cxnSpLocks noChangeShapeType="1"/>
            <a:stCxn id="28" idx="3"/>
            <a:endCxn id="21" idx="2"/>
          </p:cNvCxnSpPr>
          <p:nvPr/>
        </p:nvCxnSpPr>
        <p:spPr bwMode="auto">
          <a:xfrm flipV="1">
            <a:off x="2849665" y="3630068"/>
            <a:ext cx="618046" cy="3016"/>
          </a:xfrm>
          <a:prstGeom prst="straightConnector1">
            <a:avLst/>
          </a:prstGeom>
          <a:noFill/>
          <a:ln w="6350">
            <a:solidFill>
              <a:srgbClr val="53565A"/>
            </a:solidFill>
            <a:round/>
            <a:headEnd/>
            <a:tailEnd type="triangle" w="med" len="med"/>
          </a:ln>
        </p:spPr>
      </p:cxnSp>
      <p:cxnSp>
        <p:nvCxnSpPr>
          <p:cNvPr id="37" name="AutoShape 18"/>
          <p:cNvCxnSpPr>
            <a:cxnSpLocks noChangeShapeType="1"/>
            <a:stCxn id="24" idx="1"/>
            <a:endCxn id="21" idx="6"/>
          </p:cNvCxnSpPr>
          <p:nvPr/>
        </p:nvCxnSpPr>
        <p:spPr bwMode="auto">
          <a:xfrm flipH="1" flipV="1">
            <a:off x="5661636" y="3630068"/>
            <a:ext cx="618299" cy="3016"/>
          </a:xfrm>
          <a:prstGeom prst="straightConnector1">
            <a:avLst/>
          </a:prstGeom>
          <a:noFill/>
          <a:ln w="6350">
            <a:solidFill>
              <a:srgbClr val="53565A"/>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tructured text </a:t>
            </a:r>
            <a:endParaRPr lang="en-GB" dirty="0"/>
          </a:p>
        </p:txBody>
      </p:sp>
    </p:spTree>
    <p:extLst>
      <p:ext uri="{BB962C8B-B14F-4D97-AF65-F5344CB8AC3E}">
        <p14:creationId xmlns:p14="http://schemas.microsoft.com/office/powerpoint/2010/main" val="13554406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Quotes</a:t>
            </a:r>
            <a:endParaRPr lang="en-US" dirty="0"/>
          </a:p>
        </p:txBody>
      </p:sp>
      <p:sp>
        <p:nvSpPr>
          <p:cNvPr id="4" name="Rectangular Callout 3"/>
          <p:cNvSpPr/>
          <p:nvPr/>
        </p:nvSpPr>
        <p:spPr bwMode="gray">
          <a:xfrm>
            <a:off x="376237" y="1611785"/>
            <a:ext cx="3554408" cy="1857388"/>
          </a:xfrm>
          <a:prstGeom prst="wedgeRectCallout">
            <a:avLst>
              <a:gd name="adj1" fmla="val 70017"/>
              <a:gd name="adj2" fmla="val 3316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600" dirty="0">
                <a:solidFill>
                  <a:schemeClr val="tx1"/>
                </a:solidFill>
              </a:rPr>
              <a:t>This is dummy text it is not here to be read it is here to show how this document will look when populated with real text. This is dummy text</a:t>
            </a:r>
          </a:p>
        </p:txBody>
      </p:sp>
      <p:sp>
        <p:nvSpPr>
          <p:cNvPr id="5" name="Rectangular Callout 4"/>
          <p:cNvSpPr/>
          <p:nvPr/>
        </p:nvSpPr>
        <p:spPr bwMode="gray">
          <a:xfrm>
            <a:off x="2357422" y="3947251"/>
            <a:ext cx="3000396" cy="1857388"/>
          </a:xfrm>
          <a:prstGeom prst="wedgeRectCallout">
            <a:avLst>
              <a:gd name="adj1" fmla="val 33700"/>
              <a:gd name="adj2" fmla="val 729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600" dirty="0"/>
              <a:t>This is dummy text it is not here to be read it is here to show how this document will look when populated with real text </a:t>
            </a:r>
          </a:p>
        </p:txBody>
      </p:sp>
      <p:sp>
        <p:nvSpPr>
          <p:cNvPr id="6" name="Rectangular Callout 5"/>
          <p:cNvSpPr/>
          <p:nvPr/>
        </p:nvSpPr>
        <p:spPr bwMode="gray">
          <a:xfrm>
            <a:off x="5703215" y="1611785"/>
            <a:ext cx="3064547" cy="3375680"/>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600" dirty="0">
                <a:solidFill>
                  <a:schemeClr val="tx1"/>
                </a:solidFill>
              </a:rPr>
              <a:t>This is dummy text it is not here to be read it is here to show how this document will look when populated with real text. This is dummy text it is not here to be read it is here to show how this document will look when populated with real text </a:t>
            </a:r>
          </a:p>
        </p:txBody>
      </p:sp>
    </p:spTree>
    <p:extLst>
      <p:ext uri="{BB962C8B-B14F-4D97-AF65-F5344CB8AC3E}">
        <p14:creationId xmlns:p14="http://schemas.microsoft.com/office/powerpoint/2010/main" val="44573503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Quotes</a:t>
            </a:r>
            <a:endParaRPr lang="en-US" dirty="0"/>
          </a:p>
        </p:txBody>
      </p:sp>
      <p:sp>
        <p:nvSpPr>
          <p:cNvPr id="4" name="AutoShape 3"/>
          <p:cNvSpPr>
            <a:spLocks noChangeArrowheads="1"/>
          </p:cNvSpPr>
          <p:nvPr/>
        </p:nvSpPr>
        <p:spPr bwMode="auto">
          <a:xfrm>
            <a:off x="429977" y="1613298"/>
            <a:ext cx="1502687" cy="925513"/>
          </a:xfrm>
          <a:prstGeom prst="wedgeRectCallout">
            <a:avLst>
              <a:gd name="adj1" fmla="val -2578"/>
              <a:gd name="adj2" fmla="val 86212"/>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5" name="AutoShape 4"/>
          <p:cNvSpPr>
            <a:spLocks noChangeArrowheads="1"/>
          </p:cNvSpPr>
          <p:nvPr/>
        </p:nvSpPr>
        <p:spPr bwMode="auto">
          <a:xfrm>
            <a:off x="4485307" y="1793406"/>
            <a:ext cx="1912073" cy="901700"/>
          </a:xfrm>
          <a:prstGeom prst="wedgeRectCallout">
            <a:avLst>
              <a:gd name="adj1" fmla="val -8399"/>
              <a:gd name="adj2" fmla="val 86838"/>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6" name="AutoShape 5"/>
          <p:cNvSpPr>
            <a:spLocks noChangeArrowheads="1"/>
          </p:cNvSpPr>
          <p:nvPr/>
        </p:nvSpPr>
        <p:spPr bwMode="auto">
          <a:xfrm>
            <a:off x="2467274" y="1860081"/>
            <a:ext cx="1502687" cy="569913"/>
          </a:xfrm>
          <a:prstGeom prst="wedgeRectCallout">
            <a:avLst>
              <a:gd name="adj1" fmla="val -29352"/>
              <a:gd name="adj2" fmla="val 92985"/>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7" name="AutoShape 6"/>
          <p:cNvSpPr>
            <a:spLocks noChangeArrowheads="1"/>
          </p:cNvSpPr>
          <p:nvPr/>
        </p:nvSpPr>
        <p:spPr bwMode="auto">
          <a:xfrm>
            <a:off x="1873263" y="2907831"/>
            <a:ext cx="2231555" cy="1203325"/>
          </a:xfrm>
          <a:prstGeom prst="wedgeRectCallout">
            <a:avLst>
              <a:gd name="adj1" fmla="val -2804"/>
              <a:gd name="adj2" fmla="val 70099"/>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8" name="AutoShape 7"/>
          <p:cNvSpPr>
            <a:spLocks noChangeArrowheads="1"/>
          </p:cNvSpPr>
          <p:nvPr/>
        </p:nvSpPr>
        <p:spPr bwMode="auto">
          <a:xfrm>
            <a:off x="4867400" y="3365031"/>
            <a:ext cx="1658414" cy="811213"/>
          </a:xfrm>
          <a:prstGeom prst="wedgeRectCallout">
            <a:avLst>
              <a:gd name="adj1" fmla="val -1535"/>
              <a:gd name="adj2" fmla="val 79408"/>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9" name="AutoShape 8"/>
          <p:cNvSpPr>
            <a:spLocks noChangeArrowheads="1"/>
          </p:cNvSpPr>
          <p:nvPr/>
        </p:nvSpPr>
        <p:spPr bwMode="auto">
          <a:xfrm>
            <a:off x="4994229" y="4622331"/>
            <a:ext cx="3475768" cy="763588"/>
          </a:xfrm>
          <a:prstGeom prst="wedgeRectCallout">
            <a:avLst>
              <a:gd name="adj1" fmla="val -38196"/>
              <a:gd name="adj2" fmla="val 108005"/>
            </a:avLst>
          </a:prstGeom>
          <a:solidFill>
            <a:schemeClr val="tx2"/>
          </a:solidFill>
          <a:ln w="12700" algn="ctr">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10" name="AutoShape 9"/>
          <p:cNvSpPr>
            <a:spLocks noChangeArrowheads="1"/>
          </p:cNvSpPr>
          <p:nvPr/>
        </p:nvSpPr>
        <p:spPr bwMode="auto">
          <a:xfrm>
            <a:off x="7277158" y="3800006"/>
            <a:ext cx="1501082" cy="544513"/>
          </a:xfrm>
          <a:prstGeom prst="wedgeRectCallout">
            <a:avLst>
              <a:gd name="adj1" fmla="val 4143"/>
              <a:gd name="adj2" fmla="val 82652"/>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11" name="AutoShape 10"/>
          <p:cNvSpPr>
            <a:spLocks noChangeArrowheads="1"/>
          </p:cNvSpPr>
          <p:nvPr/>
        </p:nvSpPr>
        <p:spPr bwMode="auto">
          <a:xfrm>
            <a:off x="6903092" y="1607669"/>
            <a:ext cx="1737081" cy="1644650"/>
          </a:xfrm>
          <a:prstGeom prst="wedgeRectCallout">
            <a:avLst>
              <a:gd name="adj1" fmla="val -6094"/>
              <a:gd name="adj2" fmla="val 69728"/>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12" name="AutoShape 11"/>
          <p:cNvSpPr>
            <a:spLocks noChangeArrowheads="1"/>
          </p:cNvSpPr>
          <p:nvPr/>
        </p:nvSpPr>
        <p:spPr bwMode="auto">
          <a:xfrm>
            <a:off x="2547546" y="4468344"/>
            <a:ext cx="2022848" cy="1128712"/>
          </a:xfrm>
          <a:prstGeom prst="wedgeRectCallout">
            <a:avLst>
              <a:gd name="adj1" fmla="val -34846"/>
              <a:gd name="adj2" fmla="val 73032"/>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13" name="AutoShape 12"/>
          <p:cNvSpPr>
            <a:spLocks noChangeArrowheads="1"/>
          </p:cNvSpPr>
          <p:nvPr/>
        </p:nvSpPr>
        <p:spPr bwMode="auto">
          <a:xfrm>
            <a:off x="447637" y="3457106"/>
            <a:ext cx="1067615" cy="695325"/>
          </a:xfrm>
          <a:prstGeom prst="wedgeRectCallout">
            <a:avLst>
              <a:gd name="adj1" fmla="val -34537"/>
              <a:gd name="adj2" fmla="val 91432"/>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
        <p:nvSpPr>
          <p:cNvPr id="14" name="AutoShape 13"/>
          <p:cNvSpPr>
            <a:spLocks noChangeArrowheads="1"/>
          </p:cNvSpPr>
          <p:nvPr/>
        </p:nvSpPr>
        <p:spPr bwMode="auto">
          <a:xfrm>
            <a:off x="365760" y="4728694"/>
            <a:ext cx="1502687" cy="733425"/>
          </a:xfrm>
          <a:prstGeom prst="wedgeRectCallout">
            <a:avLst>
              <a:gd name="adj1" fmla="val -31178"/>
              <a:gd name="adj2" fmla="val 89929"/>
            </a:avLst>
          </a:prstGeom>
          <a:solidFill>
            <a:schemeClr val="tx2"/>
          </a:solidFill>
          <a:ln w="12700">
            <a:noFill/>
            <a:miter lim="800000"/>
            <a:headEnd/>
            <a:tailEnd/>
          </a:ln>
        </p:spPr>
        <p:txBody>
          <a:bodyPr wrap="square" lIns="88900" tIns="88900" rIns="88900" bIns="88900" anchor="ctr"/>
          <a:lstStyle/>
          <a:p>
            <a:pPr lvl="0" fontAlgn="base">
              <a:spcBef>
                <a:spcPct val="0"/>
              </a:spcBef>
              <a:spcAft>
                <a:spcPct val="0"/>
              </a:spcAft>
            </a:pPr>
            <a:r>
              <a:rPr lang="en-US" sz="1100" b="1" dirty="0">
                <a:solidFill>
                  <a:schemeClr val="bg1"/>
                </a:solidFill>
              </a:rPr>
              <a:t>Quote</a:t>
            </a:r>
          </a:p>
          <a:p>
            <a:pPr marL="482600" lvl="4" indent="-101600" fontAlgn="base">
              <a:spcBef>
                <a:spcPct val="0"/>
              </a:spcBef>
              <a:spcAft>
                <a:spcPct val="0"/>
              </a:spcAft>
              <a:buSzPct val="100000"/>
              <a:buFont typeface="Arial"/>
              <a:buChar char="−"/>
            </a:pPr>
            <a:r>
              <a:rPr lang="en-US" sz="900" dirty="0">
                <a:solidFill>
                  <a:schemeClr val="bg1"/>
                </a:solidFill>
              </a:rPr>
              <a:t>Source</a:t>
            </a:r>
            <a:endParaRPr lang="en-US" sz="1600" dirty="0">
              <a:solidFill>
                <a:schemeClr val="bg1"/>
              </a:solidFill>
            </a:endParaRPr>
          </a:p>
        </p:txBody>
      </p:sp>
    </p:spTree>
    <p:extLst>
      <p:ext uri="{BB962C8B-B14F-4D97-AF65-F5344CB8AC3E}">
        <p14:creationId xmlns:p14="http://schemas.microsoft.com/office/powerpoint/2010/main" val="342209653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Quotes</a:t>
            </a:r>
            <a:endParaRPr lang="en-US" dirty="0"/>
          </a:p>
        </p:txBody>
      </p:sp>
      <p:sp>
        <p:nvSpPr>
          <p:cNvPr id="4" name="AutoShape 3"/>
          <p:cNvSpPr>
            <a:spLocks noChangeArrowheads="1"/>
          </p:cNvSpPr>
          <p:nvPr/>
        </p:nvSpPr>
        <p:spPr bwMode="auto">
          <a:xfrm>
            <a:off x="429977" y="1613298"/>
            <a:ext cx="1502687" cy="925513"/>
          </a:xfrm>
          <a:prstGeom prst="wedgeRectCallout">
            <a:avLst>
              <a:gd name="adj1" fmla="val -2578"/>
              <a:gd name="adj2" fmla="val 86212"/>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5" name="AutoShape 4"/>
          <p:cNvSpPr>
            <a:spLocks noChangeArrowheads="1"/>
          </p:cNvSpPr>
          <p:nvPr/>
        </p:nvSpPr>
        <p:spPr bwMode="auto">
          <a:xfrm>
            <a:off x="4485307" y="1793406"/>
            <a:ext cx="1912073" cy="901700"/>
          </a:xfrm>
          <a:prstGeom prst="wedgeRectCallout">
            <a:avLst>
              <a:gd name="adj1" fmla="val -8399"/>
              <a:gd name="adj2" fmla="val 86838"/>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6" name="AutoShape 5"/>
          <p:cNvSpPr>
            <a:spLocks noChangeArrowheads="1"/>
          </p:cNvSpPr>
          <p:nvPr/>
        </p:nvSpPr>
        <p:spPr bwMode="auto">
          <a:xfrm>
            <a:off x="2467274" y="1860081"/>
            <a:ext cx="1502687" cy="569913"/>
          </a:xfrm>
          <a:prstGeom prst="wedgeRectCallout">
            <a:avLst>
              <a:gd name="adj1" fmla="val -29352"/>
              <a:gd name="adj2" fmla="val 92985"/>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7" name="AutoShape 6"/>
          <p:cNvSpPr>
            <a:spLocks noChangeArrowheads="1"/>
          </p:cNvSpPr>
          <p:nvPr/>
        </p:nvSpPr>
        <p:spPr bwMode="auto">
          <a:xfrm>
            <a:off x="1873263" y="2907831"/>
            <a:ext cx="2231555" cy="1203325"/>
          </a:xfrm>
          <a:prstGeom prst="wedgeRectCallout">
            <a:avLst>
              <a:gd name="adj1" fmla="val -2804"/>
              <a:gd name="adj2" fmla="val 70099"/>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8" name="AutoShape 7"/>
          <p:cNvSpPr>
            <a:spLocks noChangeArrowheads="1"/>
          </p:cNvSpPr>
          <p:nvPr/>
        </p:nvSpPr>
        <p:spPr bwMode="auto">
          <a:xfrm>
            <a:off x="4867400" y="3365031"/>
            <a:ext cx="1658414" cy="811213"/>
          </a:xfrm>
          <a:prstGeom prst="wedgeRectCallout">
            <a:avLst>
              <a:gd name="adj1" fmla="val -1535"/>
              <a:gd name="adj2" fmla="val 79408"/>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9" name="AutoShape 8"/>
          <p:cNvSpPr>
            <a:spLocks noChangeArrowheads="1"/>
          </p:cNvSpPr>
          <p:nvPr/>
        </p:nvSpPr>
        <p:spPr bwMode="auto">
          <a:xfrm>
            <a:off x="4994229" y="4622331"/>
            <a:ext cx="3475768" cy="763588"/>
          </a:xfrm>
          <a:prstGeom prst="wedgeRectCallout">
            <a:avLst>
              <a:gd name="adj1" fmla="val -38196"/>
              <a:gd name="adj2" fmla="val 108005"/>
            </a:avLst>
          </a:prstGeom>
          <a:solidFill>
            <a:schemeClr val="bg1"/>
          </a:solidFill>
          <a:ln w="6350" algn="ctr">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10" name="AutoShape 9"/>
          <p:cNvSpPr>
            <a:spLocks noChangeArrowheads="1"/>
          </p:cNvSpPr>
          <p:nvPr/>
        </p:nvSpPr>
        <p:spPr bwMode="auto">
          <a:xfrm>
            <a:off x="7277158" y="3800006"/>
            <a:ext cx="1501082" cy="544513"/>
          </a:xfrm>
          <a:prstGeom prst="wedgeRectCallout">
            <a:avLst>
              <a:gd name="adj1" fmla="val 4143"/>
              <a:gd name="adj2" fmla="val 82652"/>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11" name="AutoShape 10"/>
          <p:cNvSpPr>
            <a:spLocks noChangeArrowheads="1"/>
          </p:cNvSpPr>
          <p:nvPr/>
        </p:nvSpPr>
        <p:spPr bwMode="auto">
          <a:xfrm>
            <a:off x="6903092" y="1607669"/>
            <a:ext cx="1737081" cy="1644650"/>
          </a:xfrm>
          <a:prstGeom prst="wedgeRectCallout">
            <a:avLst>
              <a:gd name="adj1" fmla="val -6094"/>
              <a:gd name="adj2" fmla="val 69728"/>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12" name="AutoShape 11"/>
          <p:cNvSpPr>
            <a:spLocks noChangeArrowheads="1"/>
          </p:cNvSpPr>
          <p:nvPr/>
        </p:nvSpPr>
        <p:spPr bwMode="auto">
          <a:xfrm>
            <a:off x="2547546" y="4468344"/>
            <a:ext cx="2022848" cy="1128712"/>
          </a:xfrm>
          <a:prstGeom prst="wedgeRectCallout">
            <a:avLst>
              <a:gd name="adj1" fmla="val -34846"/>
              <a:gd name="adj2" fmla="val 73032"/>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13" name="AutoShape 12"/>
          <p:cNvSpPr>
            <a:spLocks noChangeArrowheads="1"/>
          </p:cNvSpPr>
          <p:nvPr/>
        </p:nvSpPr>
        <p:spPr bwMode="auto">
          <a:xfrm>
            <a:off x="447637" y="3457106"/>
            <a:ext cx="1067615" cy="695325"/>
          </a:xfrm>
          <a:prstGeom prst="wedgeRectCallout">
            <a:avLst>
              <a:gd name="adj1" fmla="val -34537"/>
              <a:gd name="adj2" fmla="val 91432"/>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
        <p:nvSpPr>
          <p:cNvPr id="14" name="AutoShape 13"/>
          <p:cNvSpPr>
            <a:spLocks noChangeArrowheads="1"/>
          </p:cNvSpPr>
          <p:nvPr/>
        </p:nvSpPr>
        <p:spPr bwMode="auto">
          <a:xfrm>
            <a:off x="365760" y="4728694"/>
            <a:ext cx="1502687" cy="733425"/>
          </a:xfrm>
          <a:prstGeom prst="wedgeRectCallout">
            <a:avLst>
              <a:gd name="adj1" fmla="val -31178"/>
              <a:gd name="adj2" fmla="val 89929"/>
            </a:avLst>
          </a:prstGeom>
          <a:solidFill>
            <a:schemeClr val="bg1"/>
          </a:solidFill>
          <a:ln w="6350">
            <a:solidFill>
              <a:srgbClr val="BBBCBC"/>
            </a:solidFill>
            <a:miter lim="800000"/>
            <a:headEnd/>
            <a:tailEnd/>
          </a:ln>
        </p:spPr>
        <p:txBody>
          <a:bodyPr wrap="square" lIns="88900" tIns="88900" rIns="88900" bIns="88900" anchor="ctr">
            <a:noAutofit/>
          </a:bodyPr>
          <a:lstStyle/>
          <a:p>
            <a:pPr lvl="0" fontAlgn="base">
              <a:spcBef>
                <a:spcPct val="0"/>
              </a:spcBef>
              <a:spcAft>
                <a:spcPct val="0"/>
              </a:spcAft>
            </a:pPr>
            <a:r>
              <a:rPr lang="en-US" sz="1100" b="1" dirty="0"/>
              <a:t>Quote</a:t>
            </a:r>
          </a:p>
          <a:p>
            <a:pPr marL="482600" lvl="4" indent="-101600" fontAlgn="base">
              <a:spcBef>
                <a:spcPct val="0"/>
              </a:spcBef>
              <a:spcAft>
                <a:spcPct val="0"/>
              </a:spcAft>
              <a:buSzPct val="100000"/>
              <a:buFont typeface="Arial"/>
              <a:buChar char="−"/>
            </a:pPr>
            <a:r>
              <a:rPr lang="en-US" sz="900" dirty="0"/>
              <a:t>Source</a:t>
            </a:r>
            <a:endParaRPr lang="en-US" sz="1600" dirty="0"/>
          </a:p>
        </p:txBody>
      </p:sp>
    </p:spTree>
    <p:extLst>
      <p:ext uri="{BB962C8B-B14F-4D97-AF65-F5344CB8AC3E}">
        <p14:creationId xmlns:p14="http://schemas.microsoft.com/office/powerpoint/2010/main" val="116387360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rees</a:t>
            </a:r>
          </a:p>
        </p:txBody>
      </p:sp>
    </p:spTree>
    <p:extLst>
      <p:ext uri="{BB962C8B-B14F-4D97-AF65-F5344CB8AC3E}">
        <p14:creationId xmlns:p14="http://schemas.microsoft.com/office/powerpoint/2010/main" val="5191968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Blue, one level plus text</a:t>
            </a:r>
            <a:endParaRPr lang="en-US" dirty="0"/>
          </a:p>
        </p:txBody>
      </p:sp>
      <p:sp>
        <p:nvSpPr>
          <p:cNvPr id="610305" name="Title 28"/>
          <p:cNvSpPr>
            <a:spLocks noGrp="1"/>
          </p:cNvSpPr>
          <p:nvPr>
            <p:ph type="title"/>
          </p:nvPr>
        </p:nvSpPr>
        <p:spPr/>
        <p:txBody>
          <a:bodyPr/>
          <a:lstStyle/>
          <a:p>
            <a:r>
              <a:rPr lang="en-US"/>
              <a:t>Logic trees</a:t>
            </a:r>
            <a:endParaRPr lang="en-US" dirty="0"/>
          </a:p>
        </p:txBody>
      </p:sp>
      <p:sp>
        <p:nvSpPr>
          <p:cNvPr id="23" name="Text Placeholder 5"/>
          <p:cNvSpPr txBox="1">
            <a:spLocks/>
          </p:cNvSpPr>
          <p:nvPr/>
        </p:nvSpPr>
        <p:spPr>
          <a:xfrm>
            <a:off x="4664156" y="1611785"/>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1913378" y="1977544"/>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1913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1913378" y="3885720"/>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1913378" y="3885720"/>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358898" y="3519960"/>
            <a:ext cx="1554480" cy="731520"/>
          </a:xfrm>
          <a:prstGeom prst="rect">
            <a:avLst/>
          </a:prstGeom>
          <a:solidFill>
            <a:schemeClr val="accent3"/>
          </a:solidFill>
          <a:ln w="12700" algn="ctr">
            <a:noFill/>
            <a:miter lim="800000"/>
            <a:headEnd type="none" w="sm" len="sm"/>
            <a:tailEnd type="none" w="med" len="lg"/>
          </a:ln>
        </p:spPr>
        <p:txBody>
          <a:bodyPr lIns="88900" tIns="88900" rIns="88900" bIns="88900" anchor="ctr"/>
          <a:lstStyle/>
          <a:p>
            <a:pPr>
              <a:defRPr/>
            </a:pPr>
            <a:r>
              <a:rPr lang="en-US" altLang="ja-JP" sz="1200" dirty="0">
                <a:solidFill>
                  <a:schemeClr val="bg1"/>
                </a:solidFill>
                <a:ea typeface="ＭＳ Ｐゴシック" pitchFamily="50" charset="-128"/>
              </a:rPr>
              <a:t>Text</a:t>
            </a:r>
          </a:p>
        </p:txBody>
      </p:sp>
      <p:sp>
        <p:nvSpPr>
          <p:cNvPr id="5" name="Rectangle 4"/>
          <p:cNvSpPr>
            <a:spLocks noChangeArrowheads="1"/>
          </p:cNvSpPr>
          <p:nvPr/>
        </p:nvSpPr>
        <p:spPr bwMode="auto">
          <a:xfrm>
            <a:off x="2919476" y="1611785"/>
            <a:ext cx="1554480" cy="731520"/>
          </a:xfrm>
          <a:prstGeom prst="rect">
            <a:avLst/>
          </a:prstGeom>
          <a:solidFill>
            <a:schemeClr val="bg2"/>
          </a:solidFill>
          <a:ln w="12700" algn="ctr">
            <a:no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6" name="Rectangle 5"/>
          <p:cNvSpPr>
            <a:spLocks noChangeArrowheads="1"/>
          </p:cNvSpPr>
          <p:nvPr/>
        </p:nvSpPr>
        <p:spPr bwMode="auto">
          <a:xfrm>
            <a:off x="2919476" y="2883902"/>
            <a:ext cx="1554480" cy="731520"/>
          </a:xfrm>
          <a:prstGeom prst="rect">
            <a:avLst/>
          </a:prstGeom>
          <a:solidFill>
            <a:schemeClr val="bg2"/>
          </a:solidFill>
          <a:ln w="12700" algn="ctr">
            <a:no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7" name="Rectangle 6"/>
          <p:cNvSpPr>
            <a:spLocks noChangeArrowheads="1"/>
          </p:cNvSpPr>
          <p:nvPr/>
        </p:nvSpPr>
        <p:spPr bwMode="auto">
          <a:xfrm>
            <a:off x="2919476" y="4156019"/>
            <a:ext cx="1554480" cy="731520"/>
          </a:xfrm>
          <a:prstGeom prst="rect">
            <a:avLst/>
          </a:prstGeom>
          <a:solidFill>
            <a:schemeClr val="bg2"/>
          </a:solidFill>
          <a:ln w="12700" algn="ctr">
            <a:no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8" name="Rectangle 7"/>
          <p:cNvSpPr>
            <a:spLocks noChangeArrowheads="1"/>
          </p:cNvSpPr>
          <p:nvPr/>
        </p:nvSpPr>
        <p:spPr bwMode="auto">
          <a:xfrm>
            <a:off x="2919476" y="5428135"/>
            <a:ext cx="1554480" cy="731520"/>
          </a:xfrm>
          <a:prstGeom prst="rect">
            <a:avLst/>
          </a:prstGeom>
          <a:solidFill>
            <a:schemeClr val="bg2"/>
          </a:solidFill>
          <a:ln w="12700" algn="ctr">
            <a:no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19" name="Text Placeholder 5"/>
          <p:cNvSpPr txBox="1">
            <a:spLocks/>
          </p:cNvSpPr>
          <p:nvPr/>
        </p:nvSpPr>
        <p:spPr>
          <a:xfrm>
            <a:off x="4664156" y="2883902"/>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20" name="Text Placeholder 5"/>
          <p:cNvSpPr txBox="1">
            <a:spLocks/>
          </p:cNvSpPr>
          <p:nvPr/>
        </p:nvSpPr>
        <p:spPr>
          <a:xfrm>
            <a:off x="4664156" y="4156019"/>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21" name="Text Placeholder 5"/>
          <p:cNvSpPr txBox="1">
            <a:spLocks/>
          </p:cNvSpPr>
          <p:nvPr/>
        </p:nvSpPr>
        <p:spPr>
          <a:xfrm>
            <a:off x="4664156" y="5428135"/>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18" name="Text Box 12"/>
          <p:cNvSpPr txBox="1">
            <a:spLocks noChangeArrowheads="1"/>
          </p:cNvSpPr>
          <p:nvPr/>
        </p:nvSpPr>
        <p:spPr bwMode="auto">
          <a:xfrm>
            <a:off x="5954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Tip! </a:t>
            </a: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White, 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23" name="Text Placeholder 5"/>
          <p:cNvSpPr txBox="1">
            <a:spLocks/>
          </p:cNvSpPr>
          <p:nvPr/>
        </p:nvSpPr>
        <p:spPr>
          <a:xfrm>
            <a:off x="4664156" y="1611785"/>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1913378" y="1977544"/>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1913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1913378" y="3885720"/>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1913378" y="3885720"/>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358898" y="3519960"/>
            <a:ext cx="1554480" cy="731520"/>
          </a:xfrm>
          <a:prstGeom prst="rect">
            <a:avLst/>
          </a:prstGeom>
          <a:solidFill>
            <a:schemeClr val="bg1"/>
          </a:solidFill>
          <a:ln w="3175" algn="ctr">
            <a:solidFill>
              <a:schemeClr val="accent3">
                <a:lumMod val="75000"/>
              </a:schemeClr>
            </a:solidFill>
            <a:miter lim="800000"/>
            <a:headEnd type="none" w="sm" len="sm"/>
            <a:tailEnd type="none" w="med" len="lg"/>
          </a:ln>
        </p:spPr>
        <p:txBody>
          <a:bodyPr lIns="88900" tIns="88900" rIns="88900" bIns="88900" anchor="ctr"/>
          <a:lstStyle/>
          <a:p>
            <a:pPr>
              <a:defRPr/>
            </a:pPr>
            <a:r>
              <a:rPr lang="en-US" altLang="ja-JP" sz="1200" dirty="0">
                <a:solidFill>
                  <a:schemeClr val="accent3">
                    <a:lumMod val="75000"/>
                  </a:schemeClr>
                </a:solidFill>
                <a:ea typeface="ＭＳ Ｐゴシック" pitchFamily="50" charset="-128"/>
              </a:rPr>
              <a:t>Text</a:t>
            </a:r>
          </a:p>
        </p:txBody>
      </p:sp>
      <p:sp>
        <p:nvSpPr>
          <p:cNvPr id="5" name="Rectangle 4"/>
          <p:cNvSpPr>
            <a:spLocks noChangeArrowheads="1"/>
          </p:cNvSpPr>
          <p:nvPr/>
        </p:nvSpPr>
        <p:spPr bwMode="auto">
          <a:xfrm>
            <a:off x="2919476" y="1611785"/>
            <a:ext cx="1554480" cy="731520"/>
          </a:xfrm>
          <a:prstGeom prst="rect">
            <a:avLst/>
          </a:prstGeom>
          <a:solidFill>
            <a:schemeClr val="bg1"/>
          </a:solidFill>
          <a:ln w="3175" algn="ctr">
            <a:solidFill>
              <a:srgbClr val="BBBCBC"/>
            </a:solid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6" name="Rectangle 5"/>
          <p:cNvSpPr>
            <a:spLocks noChangeArrowheads="1"/>
          </p:cNvSpPr>
          <p:nvPr/>
        </p:nvSpPr>
        <p:spPr bwMode="auto">
          <a:xfrm>
            <a:off x="2919476" y="2883902"/>
            <a:ext cx="1554480" cy="731520"/>
          </a:xfrm>
          <a:prstGeom prst="rect">
            <a:avLst/>
          </a:prstGeom>
          <a:solidFill>
            <a:schemeClr val="bg1"/>
          </a:solidFill>
          <a:ln w="3175" algn="ctr">
            <a:solidFill>
              <a:srgbClr val="BBBCBC"/>
            </a:solid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7" name="Rectangle 6"/>
          <p:cNvSpPr>
            <a:spLocks noChangeArrowheads="1"/>
          </p:cNvSpPr>
          <p:nvPr/>
        </p:nvSpPr>
        <p:spPr bwMode="auto">
          <a:xfrm>
            <a:off x="2919476" y="4156019"/>
            <a:ext cx="1554480" cy="731520"/>
          </a:xfrm>
          <a:prstGeom prst="rect">
            <a:avLst/>
          </a:prstGeom>
          <a:solidFill>
            <a:schemeClr val="bg1"/>
          </a:solidFill>
          <a:ln w="3175" algn="ctr">
            <a:solidFill>
              <a:srgbClr val="BBBCBC"/>
            </a:solid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8" name="Rectangle 7"/>
          <p:cNvSpPr>
            <a:spLocks noChangeArrowheads="1"/>
          </p:cNvSpPr>
          <p:nvPr/>
        </p:nvSpPr>
        <p:spPr bwMode="auto">
          <a:xfrm>
            <a:off x="2919476" y="5428135"/>
            <a:ext cx="1554480" cy="731520"/>
          </a:xfrm>
          <a:prstGeom prst="rect">
            <a:avLst/>
          </a:prstGeom>
          <a:solidFill>
            <a:schemeClr val="bg1"/>
          </a:solidFill>
          <a:ln w="3175" algn="ctr">
            <a:solidFill>
              <a:srgbClr val="BBBCBC"/>
            </a:solidFill>
            <a:miter lim="800000"/>
            <a:headEnd type="none" w="sm" len="sm"/>
            <a:tailEnd type="none" w="med" len="lg"/>
          </a:ln>
        </p:spPr>
        <p:txBody>
          <a:bodyPr lIns="88900" tIns="88900" rIns="88900" bIns="88900" anchor="ctr"/>
          <a:lstStyle/>
          <a:p>
            <a:pPr>
              <a:defRPr/>
            </a:pPr>
            <a:r>
              <a:rPr lang="en-US" altLang="ja-JP" sz="1200" dirty="0">
                <a:ea typeface="ＭＳ Ｐゴシック" pitchFamily="50" charset="-128"/>
              </a:rPr>
              <a:t>Text</a:t>
            </a:r>
          </a:p>
        </p:txBody>
      </p:sp>
      <p:sp>
        <p:nvSpPr>
          <p:cNvPr id="19" name="Text Placeholder 5"/>
          <p:cNvSpPr txBox="1">
            <a:spLocks/>
          </p:cNvSpPr>
          <p:nvPr/>
        </p:nvSpPr>
        <p:spPr>
          <a:xfrm>
            <a:off x="4664156" y="2883902"/>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20" name="Text Placeholder 5"/>
          <p:cNvSpPr txBox="1">
            <a:spLocks/>
          </p:cNvSpPr>
          <p:nvPr/>
        </p:nvSpPr>
        <p:spPr>
          <a:xfrm>
            <a:off x="4664156" y="4156019"/>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21" name="Text Placeholder 5"/>
          <p:cNvSpPr txBox="1">
            <a:spLocks/>
          </p:cNvSpPr>
          <p:nvPr/>
        </p:nvSpPr>
        <p:spPr>
          <a:xfrm>
            <a:off x="4664156" y="5428135"/>
            <a:ext cx="4114800" cy="58477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100" dirty="0">
                <a:solidFill>
                  <a:schemeClr val="tx1"/>
                </a:solidFill>
              </a:rPr>
              <a:t>This is dummy text it is not here to be read</a:t>
            </a:r>
          </a:p>
        </p:txBody>
      </p:sp>
      <p:sp>
        <p:nvSpPr>
          <p:cNvPr id="18" name="Text Box 12"/>
          <p:cNvSpPr txBox="1">
            <a:spLocks noChangeArrowheads="1"/>
          </p:cNvSpPr>
          <p:nvPr/>
        </p:nvSpPr>
        <p:spPr bwMode="auto">
          <a:xfrm>
            <a:off x="5954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Tip! </a:t>
            </a: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3791608" y="1612216"/>
            <a:ext cx="1554480" cy="731520"/>
          </a:xfrm>
          <a:prstGeom prst="rect">
            <a:avLst/>
          </a:prstGeom>
          <a:solidFill>
            <a:schemeClr val="accent4"/>
          </a:solidFill>
          <a:ln w="19050" algn="ctr">
            <a:noFill/>
            <a:miter lim="800000"/>
            <a:headEnd type="none" w="sm" len="sm"/>
            <a:tailEnd type="none" w="sm" len="sm"/>
          </a:ln>
        </p:spPr>
        <p:txBody>
          <a:bodyPr wrap="square" lIns="88900" tIns="88900" rIns="88900" bIns="88900" anchor="ctr"/>
          <a:lstStyle/>
          <a:p>
            <a:pPr algn="ctr" eaLnBrk="1" hangingPunct="1">
              <a:spcBef>
                <a:spcPts val="200"/>
              </a:spcBef>
              <a:defRPr/>
            </a:pPr>
            <a:r>
              <a:rPr lang="en-GB" altLang="ja-JP" sz="1200" dirty="0">
                <a:solidFill>
                  <a:schemeClr val="bg1"/>
                </a:solidFill>
                <a:ea typeface="ＭＳ Ｐゴシック" pitchFamily="50" charset="-128"/>
                <a:cs typeface="Arial" pitchFamily="34" charset="0"/>
              </a:rPr>
              <a:t>Text</a:t>
            </a:r>
          </a:p>
        </p:txBody>
      </p:sp>
      <p:sp>
        <p:nvSpPr>
          <p:cNvPr id="31" name="Rectangle 30"/>
          <p:cNvSpPr>
            <a:spLocks noChangeArrowheads="1"/>
          </p:cNvSpPr>
          <p:nvPr/>
        </p:nvSpPr>
        <p:spPr bwMode="auto">
          <a:xfrm>
            <a:off x="365760"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2" name="Rectangle 31"/>
          <p:cNvSpPr>
            <a:spLocks noChangeArrowheads="1"/>
          </p:cNvSpPr>
          <p:nvPr/>
        </p:nvSpPr>
        <p:spPr bwMode="auto">
          <a:xfrm>
            <a:off x="1317879"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3" name="Rectangle 32"/>
          <p:cNvSpPr>
            <a:spLocks noChangeArrowheads="1"/>
          </p:cNvSpPr>
          <p:nvPr/>
        </p:nvSpPr>
        <p:spPr bwMode="auto">
          <a:xfrm>
            <a:off x="2269998"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4" name="Rectangle 33"/>
          <p:cNvSpPr>
            <a:spLocks noChangeArrowheads="1"/>
          </p:cNvSpPr>
          <p:nvPr/>
        </p:nvSpPr>
        <p:spPr bwMode="auto">
          <a:xfrm>
            <a:off x="3222117"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5" name="Rectangle 34"/>
          <p:cNvSpPr>
            <a:spLocks noChangeArrowheads="1"/>
          </p:cNvSpPr>
          <p:nvPr/>
        </p:nvSpPr>
        <p:spPr bwMode="auto">
          <a:xfrm>
            <a:off x="4174236"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6" name="Rectangle 35"/>
          <p:cNvSpPr>
            <a:spLocks noChangeArrowheads="1"/>
          </p:cNvSpPr>
          <p:nvPr/>
        </p:nvSpPr>
        <p:spPr bwMode="auto">
          <a:xfrm>
            <a:off x="5126355"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7" name="Rectangle 36"/>
          <p:cNvSpPr>
            <a:spLocks noChangeArrowheads="1"/>
          </p:cNvSpPr>
          <p:nvPr/>
        </p:nvSpPr>
        <p:spPr bwMode="auto">
          <a:xfrm>
            <a:off x="6078474"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8" name="Rectangle 37"/>
          <p:cNvSpPr>
            <a:spLocks noChangeArrowheads="1"/>
          </p:cNvSpPr>
          <p:nvPr/>
        </p:nvSpPr>
        <p:spPr bwMode="auto">
          <a:xfrm>
            <a:off x="7030593"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39" name="Rectangle 38"/>
          <p:cNvSpPr>
            <a:spLocks noChangeArrowheads="1"/>
          </p:cNvSpPr>
          <p:nvPr/>
        </p:nvSpPr>
        <p:spPr bwMode="auto">
          <a:xfrm>
            <a:off x="936790" y="3205685"/>
            <a:ext cx="1554480" cy="731520"/>
          </a:xfrm>
          <a:prstGeom prst="rect">
            <a:avLst/>
          </a:prstGeom>
          <a:solidFill>
            <a:schemeClr val="tx2"/>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40" name="Rectangle 39"/>
          <p:cNvSpPr>
            <a:spLocks noChangeArrowheads="1"/>
          </p:cNvSpPr>
          <p:nvPr/>
        </p:nvSpPr>
        <p:spPr bwMode="auto">
          <a:xfrm>
            <a:off x="3791608" y="3205685"/>
            <a:ext cx="1554480" cy="731520"/>
          </a:xfrm>
          <a:prstGeom prst="rect">
            <a:avLst/>
          </a:prstGeom>
          <a:solidFill>
            <a:schemeClr val="tx2"/>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
        <p:nvSpPr>
          <p:cNvPr id="41" name="Rectangle 40"/>
          <p:cNvSpPr>
            <a:spLocks noChangeArrowheads="1"/>
          </p:cNvSpPr>
          <p:nvPr/>
        </p:nvSpPr>
        <p:spPr bwMode="auto">
          <a:xfrm>
            <a:off x="6649694" y="3205685"/>
            <a:ext cx="1554480" cy="731520"/>
          </a:xfrm>
          <a:prstGeom prst="rect">
            <a:avLst/>
          </a:prstGeom>
          <a:solidFill>
            <a:schemeClr val="tx2"/>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2710465" y="1347301"/>
            <a:ext cx="861949" cy="2854818"/>
          </a:xfrm>
          <a:prstGeom prst="bentConnector3">
            <a:avLst>
              <a:gd name="adj1" fmla="val 50000"/>
            </a:avLst>
          </a:prstGeom>
          <a:noFill/>
          <a:ln w="6350">
            <a:solidFill>
              <a:srgbClr val="BBBCBC"/>
            </a:solidFill>
            <a:miter lim="800000"/>
            <a:headEnd/>
            <a:tailEnd/>
          </a:ln>
        </p:spPr>
      </p:cxnSp>
      <p:cxnSp>
        <p:nvCxnSpPr>
          <p:cNvPr id="43" name="AutoShape 16"/>
          <p:cNvCxnSpPr>
            <a:cxnSpLocks noChangeShapeType="1"/>
            <a:stCxn id="30" idx="2"/>
            <a:endCxn id="41" idx="0"/>
          </p:cNvCxnSpPr>
          <p:nvPr/>
        </p:nvCxnSpPr>
        <p:spPr bwMode="auto">
          <a:xfrm rot="16200000" flipH="1">
            <a:off x="5566917" y="1345667"/>
            <a:ext cx="861949" cy="2858086"/>
          </a:xfrm>
          <a:prstGeom prst="bentConnector3">
            <a:avLst>
              <a:gd name="adj1" fmla="val 50000"/>
            </a:avLst>
          </a:prstGeom>
          <a:noFill/>
          <a:ln w="6350">
            <a:solidFill>
              <a:srgbClr val="BBBCBC"/>
            </a:solidFill>
            <a:miter lim="800000"/>
            <a:headEnd/>
            <a:tailEnd/>
          </a:ln>
        </p:spPr>
      </p:cxnSp>
      <p:cxnSp>
        <p:nvCxnSpPr>
          <p:cNvPr id="44" name="AutoShape 17"/>
          <p:cNvCxnSpPr>
            <a:cxnSpLocks noChangeShapeType="1"/>
            <a:stCxn id="40" idx="0"/>
            <a:endCxn id="30" idx="2"/>
          </p:cNvCxnSpPr>
          <p:nvPr/>
        </p:nvCxnSpPr>
        <p:spPr bwMode="auto">
          <a:xfrm flipV="1">
            <a:off x="4568848" y="2343736"/>
            <a:ext cx="0" cy="861949"/>
          </a:xfrm>
          <a:prstGeom prst="straightConnector1">
            <a:avLst/>
          </a:prstGeom>
          <a:noFill/>
          <a:ln w="6350">
            <a:solidFill>
              <a:srgbClr val="BBBCBC"/>
            </a:solidFill>
            <a:round/>
            <a:headEnd/>
            <a:tailEnd/>
          </a:ln>
        </p:spPr>
      </p:cxnSp>
      <p:cxnSp>
        <p:nvCxnSpPr>
          <p:cNvPr id="45" name="AutoShape 18"/>
          <p:cNvCxnSpPr>
            <a:cxnSpLocks noChangeShapeType="1"/>
            <a:stCxn id="31" idx="0"/>
            <a:endCxn id="39" idx="2"/>
          </p:cNvCxnSpPr>
          <p:nvPr/>
        </p:nvCxnSpPr>
        <p:spPr bwMode="auto">
          <a:xfrm rot="5400000" flipH="1" flipV="1">
            <a:off x="807803" y="3892927"/>
            <a:ext cx="861949" cy="950506"/>
          </a:xfrm>
          <a:prstGeom prst="bentConnector3">
            <a:avLst>
              <a:gd name="adj1" fmla="val 50000"/>
            </a:avLst>
          </a:prstGeom>
          <a:noFill/>
          <a:ln w="6350">
            <a:solidFill>
              <a:srgbClr val="BBBCBC"/>
            </a:solidFill>
            <a:miter lim="800000"/>
            <a:headEnd/>
            <a:tailEnd/>
          </a:ln>
        </p:spPr>
      </p:cxnSp>
      <p:cxnSp>
        <p:nvCxnSpPr>
          <p:cNvPr id="46" name="AutoShape 19"/>
          <p:cNvCxnSpPr>
            <a:cxnSpLocks noChangeShapeType="1"/>
            <a:stCxn id="39" idx="2"/>
            <a:endCxn id="33" idx="0"/>
          </p:cNvCxnSpPr>
          <p:nvPr/>
        </p:nvCxnSpPr>
        <p:spPr bwMode="auto">
          <a:xfrm rot="16200000" flipH="1">
            <a:off x="1759922" y="3891313"/>
            <a:ext cx="861949" cy="953732"/>
          </a:xfrm>
          <a:prstGeom prst="bentConnector3">
            <a:avLst>
              <a:gd name="adj1" fmla="val 50000"/>
            </a:avLst>
          </a:prstGeom>
          <a:noFill/>
          <a:ln w="6350">
            <a:solidFill>
              <a:srgbClr val="BBBCBC"/>
            </a:solidFill>
            <a:miter lim="800000"/>
            <a:headEnd/>
            <a:tailEnd/>
          </a:ln>
        </p:spPr>
      </p:cxnSp>
      <p:cxnSp>
        <p:nvCxnSpPr>
          <p:cNvPr id="47" name="AutoShape 20"/>
          <p:cNvCxnSpPr>
            <a:cxnSpLocks noChangeShapeType="1"/>
            <a:stCxn id="34" idx="0"/>
            <a:endCxn id="40" idx="2"/>
          </p:cNvCxnSpPr>
          <p:nvPr/>
        </p:nvCxnSpPr>
        <p:spPr bwMode="auto">
          <a:xfrm rot="5400000" flipH="1" flipV="1">
            <a:off x="3663390" y="3893697"/>
            <a:ext cx="861949" cy="948967"/>
          </a:xfrm>
          <a:prstGeom prst="bentConnector3">
            <a:avLst>
              <a:gd name="adj1" fmla="val 50000"/>
            </a:avLst>
          </a:prstGeom>
          <a:noFill/>
          <a:ln w="6350">
            <a:solidFill>
              <a:srgbClr val="BBBCBC"/>
            </a:solidFill>
            <a:miter lim="800000"/>
            <a:headEnd/>
            <a:tailEnd/>
          </a:ln>
        </p:spPr>
      </p:cxnSp>
      <p:cxnSp>
        <p:nvCxnSpPr>
          <p:cNvPr id="48" name="AutoShape 21"/>
          <p:cNvCxnSpPr>
            <a:cxnSpLocks noChangeShapeType="1"/>
            <a:stCxn id="40" idx="2"/>
            <a:endCxn id="36" idx="0"/>
          </p:cNvCxnSpPr>
          <p:nvPr/>
        </p:nvCxnSpPr>
        <p:spPr bwMode="auto">
          <a:xfrm rot="16200000" flipH="1">
            <a:off x="4615509" y="3890543"/>
            <a:ext cx="861949" cy="955271"/>
          </a:xfrm>
          <a:prstGeom prst="bentConnector3">
            <a:avLst>
              <a:gd name="adj1" fmla="val 50000"/>
            </a:avLst>
          </a:prstGeom>
          <a:noFill/>
          <a:ln w="6350">
            <a:solidFill>
              <a:srgbClr val="BBBCBC"/>
            </a:solidFill>
            <a:miter lim="800000"/>
            <a:headEnd/>
            <a:tailEnd/>
          </a:ln>
        </p:spPr>
      </p:cxnSp>
      <p:cxnSp>
        <p:nvCxnSpPr>
          <p:cNvPr id="49" name="AutoShape 22"/>
          <p:cNvCxnSpPr>
            <a:cxnSpLocks noChangeShapeType="1"/>
            <a:stCxn id="37" idx="0"/>
            <a:endCxn id="41" idx="2"/>
          </p:cNvCxnSpPr>
          <p:nvPr/>
        </p:nvCxnSpPr>
        <p:spPr bwMode="auto">
          <a:xfrm rot="5400000" flipH="1" flipV="1">
            <a:off x="6520612" y="3892832"/>
            <a:ext cx="861949" cy="950696"/>
          </a:xfrm>
          <a:prstGeom prst="bentConnector3">
            <a:avLst>
              <a:gd name="adj1" fmla="val 50000"/>
            </a:avLst>
          </a:prstGeom>
          <a:noFill/>
          <a:ln w="6350">
            <a:solidFill>
              <a:srgbClr val="BBBCBC"/>
            </a:solidFill>
            <a:miter lim="800000"/>
            <a:headEnd/>
            <a:tailEnd/>
          </a:ln>
        </p:spPr>
      </p:cxnSp>
      <p:cxnSp>
        <p:nvCxnSpPr>
          <p:cNvPr id="50" name="AutoShape 23"/>
          <p:cNvCxnSpPr>
            <a:cxnSpLocks noChangeShapeType="1"/>
            <a:stCxn id="41" idx="2"/>
            <a:endCxn id="54" idx="0"/>
          </p:cNvCxnSpPr>
          <p:nvPr/>
        </p:nvCxnSpPr>
        <p:spPr bwMode="auto">
          <a:xfrm rot="16200000" flipH="1">
            <a:off x="7472731" y="3891408"/>
            <a:ext cx="861949" cy="953542"/>
          </a:xfrm>
          <a:prstGeom prst="bentConnector3">
            <a:avLst>
              <a:gd name="adj1" fmla="val 50000"/>
            </a:avLst>
          </a:prstGeom>
          <a:noFill/>
          <a:ln w="6350">
            <a:solidFill>
              <a:srgbClr val="BBBCBC"/>
            </a:solidFill>
            <a:miter lim="800000"/>
            <a:headEnd/>
            <a:tailEnd/>
          </a:ln>
        </p:spPr>
      </p:cxnSp>
      <p:cxnSp>
        <p:nvCxnSpPr>
          <p:cNvPr id="51" name="AutoShape 24"/>
          <p:cNvCxnSpPr>
            <a:cxnSpLocks noChangeShapeType="1"/>
            <a:stCxn id="32" idx="0"/>
            <a:endCxn id="39" idx="2"/>
          </p:cNvCxnSpPr>
          <p:nvPr/>
        </p:nvCxnSpPr>
        <p:spPr bwMode="auto">
          <a:xfrm flipH="1" flipV="1">
            <a:off x="1714030" y="3937205"/>
            <a:ext cx="1613" cy="861949"/>
          </a:xfrm>
          <a:prstGeom prst="straightConnector1">
            <a:avLst/>
          </a:prstGeom>
          <a:noFill/>
          <a:ln w="6350">
            <a:solidFill>
              <a:srgbClr val="BBBCBC"/>
            </a:solidFill>
            <a:round/>
            <a:headEnd/>
            <a:tailEnd/>
          </a:ln>
        </p:spPr>
      </p:cxnSp>
      <p:cxnSp>
        <p:nvCxnSpPr>
          <p:cNvPr id="52" name="AutoShape 25"/>
          <p:cNvCxnSpPr>
            <a:cxnSpLocks noChangeShapeType="1"/>
            <a:stCxn id="35" idx="0"/>
            <a:endCxn id="40" idx="2"/>
          </p:cNvCxnSpPr>
          <p:nvPr/>
        </p:nvCxnSpPr>
        <p:spPr bwMode="auto">
          <a:xfrm flipH="1" flipV="1">
            <a:off x="4568848" y="3937205"/>
            <a:ext cx="3152" cy="861949"/>
          </a:xfrm>
          <a:prstGeom prst="straightConnector1">
            <a:avLst/>
          </a:prstGeom>
          <a:noFill/>
          <a:ln w="6350">
            <a:solidFill>
              <a:srgbClr val="BBBCBC"/>
            </a:solidFill>
            <a:round/>
            <a:headEnd/>
            <a:tailEnd/>
          </a:ln>
        </p:spPr>
      </p:cxnSp>
      <p:cxnSp>
        <p:nvCxnSpPr>
          <p:cNvPr id="53" name="AutoShape 26"/>
          <p:cNvCxnSpPr>
            <a:cxnSpLocks noChangeShapeType="1"/>
            <a:stCxn id="38" idx="0"/>
            <a:endCxn id="41" idx="2"/>
          </p:cNvCxnSpPr>
          <p:nvPr/>
        </p:nvCxnSpPr>
        <p:spPr bwMode="auto">
          <a:xfrm flipH="1" flipV="1">
            <a:off x="7426934" y="3937205"/>
            <a:ext cx="1423" cy="861949"/>
          </a:xfrm>
          <a:prstGeom prst="straightConnector1">
            <a:avLst/>
          </a:prstGeom>
          <a:noFill/>
          <a:ln w="6350">
            <a:solidFill>
              <a:srgbClr val="BBBCBC"/>
            </a:solidFill>
            <a:miter lim="800000"/>
            <a:headEnd/>
            <a:tailEnd/>
          </a:ln>
        </p:spPr>
      </p:cxnSp>
      <p:sp>
        <p:nvSpPr>
          <p:cNvPr id="54" name="Rectangle 53"/>
          <p:cNvSpPr>
            <a:spLocks noChangeArrowheads="1"/>
          </p:cNvSpPr>
          <p:nvPr/>
        </p:nvSpPr>
        <p:spPr bwMode="auto">
          <a:xfrm>
            <a:off x="7982712" y="4799154"/>
            <a:ext cx="795528"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solidFill>
                  <a:schemeClr val="bg1"/>
                </a:solidFill>
                <a:ea typeface="ＭＳ Ｐゴシック" pitchFamily="50" charset="-128"/>
                <a:cs typeface="Arial" pitchFamily="34" charset="0"/>
              </a:rPr>
              <a:t>Text</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3791608" y="1612216"/>
            <a:ext cx="1554480" cy="731520"/>
          </a:xfrm>
          <a:prstGeom prst="rect">
            <a:avLst/>
          </a:prstGeom>
          <a:solidFill>
            <a:schemeClr val="accent5"/>
          </a:solidFill>
          <a:ln w="19050" algn="ctr">
            <a:noFill/>
            <a:miter lim="800000"/>
            <a:headEnd type="none" w="sm" len="sm"/>
            <a:tailEnd type="none" w="sm" len="sm"/>
          </a:ln>
        </p:spPr>
        <p:txBody>
          <a:bodyPr wrap="square" lIns="88900" tIns="88900" rIns="88900" bIns="88900" anchor="ctr"/>
          <a:lstStyle/>
          <a:p>
            <a:pPr algn="ctr" eaLnBrk="1" hangingPunct="1">
              <a:spcBef>
                <a:spcPts val="200"/>
              </a:spcBef>
              <a:defRPr/>
            </a:pPr>
            <a:r>
              <a:rPr lang="en-GB" altLang="ja-JP" sz="1200" dirty="0">
                <a:ea typeface="ＭＳ Ｐゴシック" pitchFamily="50" charset="-128"/>
                <a:cs typeface="Arial" pitchFamily="34" charset="0"/>
              </a:rPr>
              <a:t>Text</a:t>
            </a:r>
          </a:p>
        </p:txBody>
      </p:sp>
      <p:sp>
        <p:nvSpPr>
          <p:cNvPr id="31" name="Rectangle 30"/>
          <p:cNvSpPr>
            <a:spLocks noChangeArrowheads="1"/>
          </p:cNvSpPr>
          <p:nvPr/>
        </p:nvSpPr>
        <p:spPr bwMode="auto">
          <a:xfrm>
            <a:off x="365760"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2" name="Rectangle 31"/>
          <p:cNvSpPr>
            <a:spLocks noChangeArrowheads="1"/>
          </p:cNvSpPr>
          <p:nvPr/>
        </p:nvSpPr>
        <p:spPr bwMode="auto">
          <a:xfrm>
            <a:off x="1317879"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3" name="Rectangle 32"/>
          <p:cNvSpPr>
            <a:spLocks noChangeArrowheads="1"/>
          </p:cNvSpPr>
          <p:nvPr/>
        </p:nvSpPr>
        <p:spPr bwMode="auto">
          <a:xfrm>
            <a:off x="2269998"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4" name="Rectangle 33"/>
          <p:cNvSpPr>
            <a:spLocks noChangeArrowheads="1"/>
          </p:cNvSpPr>
          <p:nvPr/>
        </p:nvSpPr>
        <p:spPr bwMode="auto">
          <a:xfrm>
            <a:off x="3222117"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5" name="Rectangle 34"/>
          <p:cNvSpPr>
            <a:spLocks noChangeArrowheads="1"/>
          </p:cNvSpPr>
          <p:nvPr/>
        </p:nvSpPr>
        <p:spPr bwMode="auto">
          <a:xfrm>
            <a:off x="4174236"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6" name="Rectangle 35"/>
          <p:cNvSpPr>
            <a:spLocks noChangeArrowheads="1"/>
          </p:cNvSpPr>
          <p:nvPr/>
        </p:nvSpPr>
        <p:spPr bwMode="auto">
          <a:xfrm>
            <a:off x="5126355"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7" name="Rectangle 36"/>
          <p:cNvSpPr>
            <a:spLocks noChangeArrowheads="1"/>
          </p:cNvSpPr>
          <p:nvPr/>
        </p:nvSpPr>
        <p:spPr bwMode="auto">
          <a:xfrm>
            <a:off x="6078474"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8" name="Rectangle 37"/>
          <p:cNvSpPr>
            <a:spLocks noChangeArrowheads="1"/>
          </p:cNvSpPr>
          <p:nvPr/>
        </p:nvSpPr>
        <p:spPr bwMode="auto">
          <a:xfrm>
            <a:off x="7030593"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9" name="Rectangle 38"/>
          <p:cNvSpPr>
            <a:spLocks noChangeArrowheads="1"/>
          </p:cNvSpPr>
          <p:nvPr/>
        </p:nvSpPr>
        <p:spPr bwMode="auto">
          <a:xfrm>
            <a:off x="936790" y="3205685"/>
            <a:ext cx="1554480"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40" name="Rectangle 39"/>
          <p:cNvSpPr>
            <a:spLocks noChangeArrowheads="1"/>
          </p:cNvSpPr>
          <p:nvPr/>
        </p:nvSpPr>
        <p:spPr bwMode="auto">
          <a:xfrm>
            <a:off x="3791608" y="3205685"/>
            <a:ext cx="1554480"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41" name="Rectangle 40"/>
          <p:cNvSpPr>
            <a:spLocks noChangeArrowheads="1"/>
          </p:cNvSpPr>
          <p:nvPr/>
        </p:nvSpPr>
        <p:spPr bwMode="auto">
          <a:xfrm>
            <a:off x="6649694" y="3205685"/>
            <a:ext cx="1554480" cy="731520"/>
          </a:xfrm>
          <a:prstGeom prst="rect">
            <a:avLst/>
          </a:prstGeom>
          <a:solidFill>
            <a:schemeClr val="accent3"/>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2710465" y="1347301"/>
            <a:ext cx="861949" cy="2854818"/>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5566917" y="1345667"/>
            <a:ext cx="861949" cy="2858086"/>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4568848" y="2343736"/>
            <a:ext cx="0" cy="861949"/>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807803" y="3892927"/>
            <a:ext cx="861949" cy="950506"/>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1759922" y="3891313"/>
            <a:ext cx="861949" cy="953732"/>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3663390" y="3893697"/>
            <a:ext cx="861949" cy="948967"/>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4615509" y="3890543"/>
            <a:ext cx="861949" cy="955271"/>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6520612" y="3892832"/>
            <a:ext cx="861949" cy="950696"/>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7472731" y="3891408"/>
            <a:ext cx="861949" cy="953542"/>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1714030" y="3937205"/>
            <a:ext cx="1613" cy="861949"/>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4568848" y="3937205"/>
            <a:ext cx="3152" cy="861949"/>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7426934" y="3937205"/>
            <a:ext cx="1423" cy="861949"/>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7982712" y="4799154"/>
            <a:ext cx="795528" cy="731520"/>
          </a:xfrm>
          <a:prstGeom prst="rect">
            <a:avLst/>
          </a:prstGeom>
          <a:solidFill>
            <a:schemeClr val="bg2">
              <a:lumMod val="60000"/>
              <a:lumOff val="40000"/>
            </a:schemeClr>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Hypothesis tree</a:t>
            </a:r>
            <a:endParaRPr lang="en-US" dirty="0"/>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365760" y="1611785"/>
            <a:ext cx="1920240" cy="365760"/>
          </a:xfrm>
          <a:prstGeom prst="rect">
            <a:avLst/>
          </a:prstGeom>
          <a:solidFill>
            <a:schemeClr val="accent3"/>
          </a:solidFill>
          <a:ln w="12700" algn="ctr">
            <a:noFill/>
            <a:miter lim="800000"/>
            <a:headEnd/>
            <a:tailEnd type="none" w="sm" len="med"/>
          </a:ln>
        </p:spPr>
        <p:txBody>
          <a:bodyPr lIns="88900" tIns="88900" rIns="88900" bIns="88900" anchor="ctr" anchorCtr="0"/>
          <a:lstStyle/>
          <a:p>
            <a:pPr defTabSz="957263" eaLnBrk="1" hangingPunct="1">
              <a:spcBef>
                <a:spcPts val="200"/>
              </a:spcBef>
            </a:pPr>
            <a:r>
              <a:rPr lang="en-US" sz="1200" dirty="0">
                <a:ea typeface="+mn-ea"/>
                <a:cs typeface="Arial" pitchFamily="34" charset="0"/>
              </a:rPr>
              <a:t>Introduction</a:t>
            </a:r>
          </a:p>
        </p:txBody>
      </p:sp>
      <p:sp>
        <p:nvSpPr>
          <p:cNvPr id="25" name="Rectangle 11"/>
          <p:cNvSpPr>
            <a:spLocks noChangeArrowheads="1"/>
          </p:cNvSpPr>
          <p:nvPr/>
        </p:nvSpPr>
        <p:spPr bwMode="auto">
          <a:xfrm>
            <a:off x="365760" y="1965797"/>
            <a:ext cx="1920240" cy="1020512"/>
          </a:xfrm>
          <a:prstGeom prst="rect">
            <a:avLst/>
          </a:prstGeom>
          <a:solidFill>
            <a:schemeClr val="bg2"/>
          </a:solidFill>
          <a:ln w="12700" algn="ctr">
            <a:noFill/>
            <a:miter lim="800000"/>
            <a:headEnd/>
            <a:tailEnd/>
          </a:ln>
        </p:spPr>
        <p:txBody>
          <a:bodyPr lIns="88900" tIns="88900" rIns="88900" bIns="88900" anchor="t" anchorCtr="0"/>
          <a:lstStyle/>
          <a:p>
            <a:pPr marL="114300" lvl="1" indent="-114300" defTabSz="957263" eaLnBrk="1" hangingPunct="1">
              <a:spcBef>
                <a:spcPts val="200"/>
              </a:spcBef>
              <a:spcAft>
                <a:spcPts val="300"/>
              </a:spcAft>
              <a:buSzPct val="100000"/>
              <a:buFont typeface="Arial"/>
              <a:buChar char="•"/>
            </a:pPr>
            <a:r>
              <a:rPr lang="en-US" sz="1100" dirty="0">
                <a:cs typeface="Arial" pitchFamily="34" charset="0"/>
              </a:rPr>
              <a:t>Situation: Text</a:t>
            </a:r>
          </a:p>
          <a:p>
            <a:pPr marL="114300" lvl="1" indent="-114300" defTabSz="957263" eaLnBrk="1" hangingPunct="1">
              <a:spcBef>
                <a:spcPts val="200"/>
              </a:spcBef>
              <a:spcAft>
                <a:spcPts val="300"/>
              </a:spcAft>
              <a:buSzPct val="100000"/>
              <a:buFont typeface="Arial"/>
              <a:buChar char="•"/>
            </a:pPr>
            <a:r>
              <a:rPr lang="en-US" sz="1100" dirty="0">
                <a:cs typeface="Arial" pitchFamily="34" charset="0"/>
              </a:rPr>
              <a:t>Complication: Text</a:t>
            </a:r>
          </a:p>
          <a:p>
            <a:pPr marL="114300" lvl="1" indent="-114300" defTabSz="957263" eaLnBrk="1" hangingPunct="1">
              <a:spcBef>
                <a:spcPts val="200"/>
              </a:spcBef>
              <a:spcAft>
                <a:spcPts val="300"/>
              </a:spcAft>
              <a:buSzPct val="100000"/>
              <a:buFont typeface="Arial"/>
              <a:buChar char="•"/>
            </a:pPr>
            <a:r>
              <a:rPr lang="en-US" sz="1100" dirty="0">
                <a:cs typeface="Arial" pitchFamily="34" charset="0"/>
              </a:rPr>
              <a:t>Question: Text</a:t>
            </a:r>
          </a:p>
        </p:txBody>
      </p:sp>
      <p:sp>
        <p:nvSpPr>
          <p:cNvPr id="27" name="Text Box 10"/>
          <p:cNvSpPr txBox="1">
            <a:spLocks noChangeArrowheads="1"/>
          </p:cNvSpPr>
          <p:nvPr/>
        </p:nvSpPr>
        <p:spPr bwMode="auto">
          <a:xfrm>
            <a:off x="36576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p>
        </p:txBody>
      </p:sp>
      <p:sp>
        <p:nvSpPr>
          <p:cNvPr id="28" name="Rectangle 11"/>
          <p:cNvSpPr>
            <a:spLocks noChangeArrowheads="1"/>
          </p:cNvSpPr>
          <p:nvPr/>
        </p:nvSpPr>
        <p:spPr bwMode="auto">
          <a:xfrm>
            <a:off x="365125"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29" name="Text Box 10"/>
          <p:cNvSpPr txBox="1">
            <a:spLocks noChangeArrowheads="1"/>
          </p:cNvSpPr>
          <p:nvPr/>
        </p:nvSpPr>
        <p:spPr bwMode="auto">
          <a:xfrm>
            <a:off x="2529840" y="1611785"/>
            <a:ext cx="6245352" cy="365760"/>
          </a:xfrm>
          <a:prstGeom prst="rect">
            <a:avLst/>
          </a:prstGeom>
          <a:solidFill>
            <a:schemeClr val="accent3"/>
          </a:solidFill>
          <a:ln w="12700" algn="ctr">
            <a:noFill/>
            <a:miter lim="800000"/>
            <a:headEnd/>
            <a:tailEnd type="none" w="sm" len="med"/>
          </a:ln>
        </p:spPr>
        <p:txBody>
          <a:bodyPr lIns="88900" tIns="88900" rIns="88900" bIns="88900" anchor="ctr" anchorCtr="0"/>
          <a:lstStyle/>
          <a:p>
            <a:pPr defTabSz="957263" eaLnBrk="1" hangingPunct="1">
              <a:spcBef>
                <a:spcPts val="200"/>
              </a:spcBef>
            </a:pPr>
            <a:r>
              <a:rPr lang="en-US" sz="1200" dirty="0">
                <a:ea typeface="+mn-ea"/>
                <a:cs typeface="Arial" pitchFamily="34" charset="0"/>
              </a:rPr>
              <a:t>Answer</a:t>
            </a:r>
          </a:p>
        </p:txBody>
      </p:sp>
      <p:sp>
        <p:nvSpPr>
          <p:cNvPr id="30" name="Rectangle 11"/>
          <p:cNvSpPr>
            <a:spLocks noChangeArrowheads="1"/>
          </p:cNvSpPr>
          <p:nvPr/>
        </p:nvSpPr>
        <p:spPr bwMode="auto">
          <a:xfrm>
            <a:off x="2529840" y="1965797"/>
            <a:ext cx="6245352" cy="1020512"/>
          </a:xfrm>
          <a:prstGeom prst="rect">
            <a:avLst/>
          </a:prstGeom>
          <a:solidFill>
            <a:schemeClr val="bg2"/>
          </a:solidFill>
          <a:ln w="12700" algn="ctr">
            <a:noFill/>
            <a:miter lim="800000"/>
            <a:headEnd/>
            <a:tailEnd/>
          </a:ln>
        </p:spPr>
        <p:txBody>
          <a:bodyPr lIns="88900" tIns="88900" rIns="88900" bIns="88900" anchor="t" anchorCtr="0"/>
          <a:lstStyle/>
          <a:p>
            <a:pPr defTabSz="957263" eaLnBrk="1" hangingPunct="1">
              <a:spcBef>
                <a:spcPts val="200"/>
              </a:spcBef>
              <a:spcAft>
                <a:spcPts val="300"/>
              </a:spcAft>
            </a:pPr>
            <a:r>
              <a:rPr lang="fr-FR" sz="1100" dirty="0">
                <a:ea typeface="+mn-ea"/>
                <a:cs typeface="Arial" pitchFamily="34" charset="0"/>
              </a:rPr>
              <a:t>Main hypothesis</a:t>
            </a:r>
          </a:p>
        </p:txBody>
      </p:sp>
      <p:sp>
        <p:nvSpPr>
          <p:cNvPr id="31" name="Text Box 10"/>
          <p:cNvSpPr txBox="1">
            <a:spLocks noChangeArrowheads="1"/>
          </p:cNvSpPr>
          <p:nvPr/>
        </p:nvSpPr>
        <p:spPr bwMode="auto">
          <a:xfrm>
            <a:off x="252984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5" name="Rectangle 11"/>
          <p:cNvSpPr>
            <a:spLocks noChangeArrowheads="1"/>
          </p:cNvSpPr>
          <p:nvPr/>
        </p:nvSpPr>
        <p:spPr bwMode="auto">
          <a:xfrm>
            <a:off x="2529417"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36" name="Text Box 10"/>
          <p:cNvSpPr txBox="1">
            <a:spLocks noChangeArrowheads="1"/>
          </p:cNvSpPr>
          <p:nvPr/>
        </p:nvSpPr>
        <p:spPr bwMode="auto">
          <a:xfrm>
            <a:off x="469392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7" name="Rectangle 11"/>
          <p:cNvSpPr>
            <a:spLocks noChangeArrowheads="1"/>
          </p:cNvSpPr>
          <p:nvPr/>
        </p:nvSpPr>
        <p:spPr bwMode="auto">
          <a:xfrm>
            <a:off x="4693709"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38" name="Text Box 10"/>
          <p:cNvSpPr txBox="1">
            <a:spLocks noChangeArrowheads="1"/>
          </p:cNvSpPr>
          <p:nvPr/>
        </p:nvSpPr>
        <p:spPr bwMode="auto">
          <a:xfrm>
            <a:off x="685800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9" name="Rectangle 11"/>
          <p:cNvSpPr>
            <a:spLocks noChangeArrowheads="1"/>
          </p:cNvSpPr>
          <p:nvPr/>
        </p:nvSpPr>
        <p:spPr bwMode="auto">
          <a:xfrm>
            <a:off x="6858000"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40" name="Text Placeholder 31"/>
          <p:cNvSpPr txBox="1">
            <a:spLocks/>
          </p:cNvSpPr>
          <p:nvPr/>
        </p:nvSpPr>
        <p:spPr bwMode="auto">
          <a:xfrm>
            <a:off x="36576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7" name="Isosceles Triangle 6"/>
          <p:cNvSpPr/>
          <p:nvPr/>
        </p:nvSpPr>
        <p:spPr bwMode="gray">
          <a:xfrm rot="5400000">
            <a:off x="2270760" y="2430333"/>
            <a:ext cx="274320" cy="91440"/>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252984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45" name="Text Placeholder 31"/>
          <p:cNvSpPr txBox="1">
            <a:spLocks/>
          </p:cNvSpPr>
          <p:nvPr/>
        </p:nvSpPr>
        <p:spPr bwMode="auto">
          <a:xfrm>
            <a:off x="469392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46" name="Text Placeholder 31"/>
          <p:cNvSpPr txBox="1">
            <a:spLocks/>
          </p:cNvSpPr>
          <p:nvPr/>
        </p:nvSpPr>
        <p:spPr bwMode="auto">
          <a:xfrm>
            <a:off x="685800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a:t>Executive summary tree</a:t>
            </a:r>
            <a:endParaRPr lang="en-US" dirty="0"/>
          </a:p>
        </p:txBody>
      </p:sp>
      <p:sp>
        <p:nvSpPr>
          <p:cNvPr id="617473" name="Title 1"/>
          <p:cNvSpPr>
            <a:spLocks noGrp="1"/>
          </p:cNvSpPr>
          <p:nvPr>
            <p:ph type="title"/>
          </p:nvPr>
        </p:nvSpPr>
        <p:spPr/>
        <p:txBody>
          <a:bodyPr/>
          <a:lstStyle/>
          <a:p>
            <a:r>
              <a:rPr lang="en-US"/>
              <a:t>Logic trees </a:t>
            </a:r>
            <a:endParaRPr lang="en-US" dirty="0"/>
          </a:p>
        </p:txBody>
      </p:sp>
      <p:sp>
        <p:nvSpPr>
          <p:cNvPr id="27" name="Text Box 10"/>
          <p:cNvSpPr txBox="1">
            <a:spLocks noChangeArrowheads="1"/>
          </p:cNvSpPr>
          <p:nvPr/>
        </p:nvSpPr>
        <p:spPr bwMode="auto">
          <a:xfrm>
            <a:off x="36576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p>
        </p:txBody>
      </p:sp>
      <p:sp>
        <p:nvSpPr>
          <p:cNvPr id="28" name="Rectangle 11"/>
          <p:cNvSpPr>
            <a:spLocks noChangeArrowheads="1"/>
          </p:cNvSpPr>
          <p:nvPr/>
        </p:nvSpPr>
        <p:spPr bwMode="auto">
          <a:xfrm>
            <a:off x="365125"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29" name="Text Box 10"/>
          <p:cNvSpPr txBox="1">
            <a:spLocks noChangeArrowheads="1"/>
          </p:cNvSpPr>
          <p:nvPr/>
        </p:nvSpPr>
        <p:spPr bwMode="auto">
          <a:xfrm>
            <a:off x="365760" y="1611785"/>
            <a:ext cx="8412480" cy="365760"/>
          </a:xfrm>
          <a:prstGeom prst="rect">
            <a:avLst/>
          </a:prstGeom>
          <a:solidFill>
            <a:schemeClr val="accent3"/>
          </a:solidFill>
          <a:ln w="12700" algn="ctr">
            <a:noFill/>
            <a:miter lim="800000"/>
            <a:headEnd/>
            <a:tailEnd type="none" w="sm" len="med"/>
          </a:ln>
        </p:spPr>
        <p:txBody>
          <a:bodyPr lIns="88900" tIns="88900" rIns="88900" bIns="88900" anchor="ctr" anchorCtr="0"/>
          <a:lstStyle/>
          <a:p>
            <a:pPr defTabSz="957263" eaLnBrk="1" hangingPunct="1">
              <a:spcBef>
                <a:spcPts val="200"/>
              </a:spcBef>
            </a:pPr>
            <a:r>
              <a:rPr lang="en-US" sz="1200" dirty="0">
                <a:ea typeface="+mn-ea"/>
                <a:cs typeface="Arial" pitchFamily="34" charset="0"/>
              </a:rPr>
              <a:t>Report title</a:t>
            </a:r>
          </a:p>
        </p:txBody>
      </p:sp>
      <p:sp>
        <p:nvSpPr>
          <p:cNvPr id="30" name="Rectangle 11"/>
          <p:cNvSpPr>
            <a:spLocks noChangeArrowheads="1"/>
          </p:cNvSpPr>
          <p:nvPr/>
        </p:nvSpPr>
        <p:spPr bwMode="auto">
          <a:xfrm>
            <a:off x="365760" y="1965797"/>
            <a:ext cx="8412480" cy="1020512"/>
          </a:xfrm>
          <a:prstGeom prst="rect">
            <a:avLst/>
          </a:prstGeom>
          <a:solidFill>
            <a:schemeClr val="bg2"/>
          </a:solidFill>
          <a:ln w="12700" algn="ctr">
            <a:noFill/>
            <a:miter lim="800000"/>
            <a:headEnd/>
            <a:tailEnd/>
          </a:ln>
        </p:spPr>
        <p:txBody>
          <a:bodyPr lIns="88900" tIns="88900" rIns="88900" bIns="88900" anchor="t" anchorCtr="0"/>
          <a:lstStyle/>
          <a:p>
            <a:pPr defTabSz="957263" eaLnBrk="1" hangingPunct="1">
              <a:spcBef>
                <a:spcPts val="200"/>
              </a:spcBef>
              <a:spcAft>
                <a:spcPts val="300"/>
              </a:spcAft>
            </a:pPr>
            <a:r>
              <a:rPr lang="fr-FR" sz="1100" dirty="0">
                <a:ea typeface="+mn-ea"/>
                <a:cs typeface="Arial" pitchFamily="34" charset="0"/>
              </a:rPr>
              <a:t>Main conclusion</a:t>
            </a:r>
          </a:p>
        </p:txBody>
      </p:sp>
      <p:sp>
        <p:nvSpPr>
          <p:cNvPr id="31" name="Text Box 10"/>
          <p:cNvSpPr txBox="1">
            <a:spLocks noChangeArrowheads="1"/>
          </p:cNvSpPr>
          <p:nvPr/>
        </p:nvSpPr>
        <p:spPr bwMode="auto">
          <a:xfrm>
            <a:off x="252984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2" name="Rectangle 11"/>
          <p:cNvSpPr>
            <a:spLocks noChangeArrowheads="1"/>
          </p:cNvSpPr>
          <p:nvPr/>
        </p:nvSpPr>
        <p:spPr bwMode="auto">
          <a:xfrm>
            <a:off x="2529417"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33" name="Text Box 10"/>
          <p:cNvSpPr txBox="1">
            <a:spLocks noChangeArrowheads="1"/>
          </p:cNvSpPr>
          <p:nvPr/>
        </p:nvSpPr>
        <p:spPr bwMode="auto">
          <a:xfrm>
            <a:off x="469392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4" name="Rectangle 11"/>
          <p:cNvSpPr>
            <a:spLocks noChangeArrowheads="1"/>
          </p:cNvSpPr>
          <p:nvPr/>
        </p:nvSpPr>
        <p:spPr bwMode="auto">
          <a:xfrm>
            <a:off x="4693709"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35" name="Text Box 10"/>
          <p:cNvSpPr txBox="1">
            <a:spLocks noChangeArrowheads="1"/>
          </p:cNvSpPr>
          <p:nvPr/>
        </p:nvSpPr>
        <p:spPr bwMode="auto">
          <a:xfrm>
            <a:off x="6858000" y="3114621"/>
            <a:ext cx="1920240" cy="365760"/>
          </a:xfrm>
          <a:prstGeom prst="rect">
            <a:avLst/>
          </a:prstGeom>
          <a:solidFill>
            <a:schemeClr val="accent3"/>
          </a:solidFill>
          <a:ln w="12700" algn="ctr">
            <a:noFill/>
            <a:miter lim="800000"/>
            <a:headEnd/>
            <a:tailEnd type="none" w="sm" len="med"/>
          </a:ln>
        </p:spPr>
        <p:txBody>
          <a:bodyPr lIns="88900" tIns="88900" rIns="88900" bIns="88900" anchor="t" anchorCtr="0"/>
          <a:lstStyle/>
          <a:p>
            <a:pPr defTabSz="957263" eaLnBrk="1" hangingPunct="1">
              <a:spcBef>
                <a:spcPts val="200"/>
              </a:spcBef>
            </a:pPr>
            <a:r>
              <a:rPr lang="en-US" sz="1200" dirty="0">
                <a:ea typeface="+mn-ea"/>
                <a:cs typeface="Arial" pitchFamily="34" charset="0"/>
              </a:rPr>
              <a:t>Chapter X</a:t>
            </a:r>
            <a:endParaRPr lang="en-US" sz="1400" dirty="0">
              <a:ea typeface="+mn-ea"/>
              <a:cs typeface="Arial" pitchFamily="34" charset="0"/>
            </a:endParaRPr>
          </a:p>
        </p:txBody>
      </p:sp>
      <p:sp>
        <p:nvSpPr>
          <p:cNvPr id="36" name="Rectangle 11"/>
          <p:cNvSpPr>
            <a:spLocks noChangeArrowheads="1"/>
          </p:cNvSpPr>
          <p:nvPr/>
        </p:nvSpPr>
        <p:spPr bwMode="auto">
          <a:xfrm>
            <a:off x="6858000" y="3472834"/>
            <a:ext cx="1920240" cy="591195"/>
          </a:xfrm>
          <a:prstGeom prst="rect">
            <a:avLst/>
          </a:prstGeom>
          <a:solidFill>
            <a:schemeClr val="bg2"/>
          </a:solidFill>
          <a:ln w="12700" algn="ctr">
            <a:noFill/>
            <a:miter lim="800000"/>
            <a:headEnd/>
            <a:tailEnd/>
          </a:ln>
        </p:spPr>
        <p:txBody>
          <a:bodyPr lIns="88900" tIns="88900" rIns="88900" bIns="88900" anchor="t"/>
          <a:lstStyle/>
          <a:p>
            <a:pPr defTabSz="957998" eaLnBrk="1" hangingPunct="1">
              <a:spcBef>
                <a:spcPts val="200"/>
              </a:spcBef>
              <a:spcAft>
                <a:spcPts val="300"/>
              </a:spcAft>
              <a:defRPr/>
            </a:pPr>
            <a:r>
              <a:rPr lang="en-US" sz="1100" kern="0" dirty="0">
                <a:ea typeface="+mn-ea"/>
                <a:cs typeface="Arial" pitchFamily="34" charset="0"/>
              </a:rPr>
              <a:t>Supporting </a:t>
            </a:r>
            <a:r>
              <a:rPr lang="en-US" sz="1100" dirty="0">
                <a:ea typeface="+mn-ea"/>
                <a:cs typeface="Arial" pitchFamily="34" charset="0"/>
              </a:rPr>
              <a:t>hypothesis</a:t>
            </a:r>
            <a:endParaRPr lang="en-US" sz="1100" kern="0" dirty="0">
              <a:ea typeface="+mn-ea"/>
              <a:cs typeface="Arial" pitchFamily="34" charset="0"/>
            </a:endParaRPr>
          </a:p>
        </p:txBody>
      </p:sp>
      <p:sp>
        <p:nvSpPr>
          <p:cNvPr id="37" name="Text Placeholder 31"/>
          <p:cNvSpPr txBox="1">
            <a:spLocks/>
          </p:cNvSpPr>
          <p:nvPr/>
        </p:nvSpPr>
        <p:spPr bwMode="auto">
          <a:xfrm>
            <a:off x="36576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39" name="Text Placeholder 31"/>
          <p:cNvSpPr txBox="1">
            <a:spLocks/>
          </p:cNvSpPr>
          <p:nvPr/>
        </p:nvSpPr>
        <p:spPr bwMode="auto">
          <a:xfrm>
            <a:off x="252984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40" name="Text Placeholder 31"/>
          <p:cNvSpPr txBox="1">
            <a:spLocks/>
          </p:cNvSpPr>
          <p:nvPr/>
        </p:nvSpPr>
        <p:spPr bwMode="auto">
          <a:xfrm>
            <a:off x="469392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
        <p:nvSpPr>
          <p:cNvPr id="41" name="Text Placeholder 31"/>
          <p:cNvSpPr txBox="1">
            <a:spLocks/>
          </p:cNvSpPr>
          <p:nvPr/>
        </p:nvSpPr>
        <p:spPr bwMode="auto">
          <a:xfrm>
            <a:off x="6858000" y="4118810"/>
            <a:ext cx="1920240" cy="20047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100" dirty="0"/>
              <a:t>This is a level 1 bullet</a:t>
            </a:r>
          </a:p>
          <a:p>
            <a:pPr marL="254000" lvl="2" indent="-114300">
              <a:buFont typeface="Arial"/>
              <a:buChar char="−"/>
            </a:pPr>
            <a:r>
              <a:rPr lang="en-US" dirty="0"/>
              <a:t>This is a level 2 bullet</a:t>
            </a:r>
          </a:p>
          <a:p>
            <a:pPr marL="393700" lvl="3" indent="-114300">
              <a:buSzPct val="100000"/>
              <a:buFont typeface="Arial"/>
              <a:buChar char="◦"/>
            </a:pPr>
            <a:r>
              <a:rPr lang="en-US" sz="1000" dirty="0"/>
              <a:t>This is a level 3 bullet</a:t>
            </a:r>
          </a:p>
        </p:txBody>
      </p:sp>
    </p:spTree>
    <p:extLst>
      <p:ext uri="{BB962C8B-B14F-4D97-AF65-F5344CB8AC3E}">
        <p14:creationId xmlns:p14="http://schemas.microsoft.com/office/powerpoint/2010/main" val="22572492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GB"/>
              <a:t>Page subtitle</a:t>
            </a:r>
            <a:endParaRPr lang="en-GB" dirty="0"/>
          </a:p>
        </p:txBody>
      </p:sp>
      <p:sp>
        <p:nvSpPr>
          <p:cNvPr id="15" name="Title 14"/>
          <p:cNvSpPr>
            <a:spLocks noGrp="1"/>
          </p:cNvSpPr>
          <p:nvPr>
            <p:ph type="title"/>
          </p:nvPr>
        </p:nvSpPr>
        <p:spPr/>
        <p:txBody>
          <a:bodyPr/>
          <a:lstStyle/>
          <a:p>
            <a:r>
              <a:rPr lang="en-US"/>
              <a:t>Agenda</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1673497743"/>
              </p:ext>
            </p:extLst>
          </p:nvPr>
        </p:nvGraphicFramePr>
        <p:xfrm>
          <a:off x="374904" y="1463040"/>
          <a:ext cx="8394191" cy="4221818"/>
        </p:xfrm>
        <a:graphic>
          <a:graphicData uri="http://schemas.openxmlformats.org/drawingml/2006/table">
            <a:tbl>
              <a:tblPr/>
              <a:tblGrid>
                <a:gridCol w="2285605">
                  <a:extLst>
                    <a:ext uri="{9D8B030D-6E8A-4147-A177-3AD203B41FA5}">
                      <a16:colId xmlns:a16="http://schemas.microsoft.com/office/drawing/2014/main" val="20000"/>
                    </a:ext>
                  </a:extLst>
                </a:gridCol>
                <a:gridCol w="2285605">
                  <a:extLst>
                    <a:ext uri="{9D8B030D-6E8A-4147-A177-3AD203B41FA5}">
                      <a16:colId xmlns:a16="http://schemas.microsoft.com/office/drawing/2014/main" val="20001"/>
                    </a:ext>
                  </a:extLst>
                </a:gridCol>
                <a:gridCol w="1978947">
                  <a:extLst>
                    <a:ext uri="{9D8B030D-6E8A-4147-A177-3AD203B41FA5}">
                      <a16:colId xmlns:a16="http://schemas.microsoft.com/office/drawing/2014/main" val="20002"/>
                    </a:ext>
                  </a:extLst>
                </a:gridCol>
                <a:gridCol w="1844034">
                  <a:extLst>
                    <a:ext uri="{9D8B030D-6E8A-4147-A177-3AD203B41FA5}">
                      <a16:colId xmlns:a16="http://schemas.microsoft.com/office/drawing/2014/main" val="20003"/>
                    </a:ext>
                  </a:extLst>
                </a:gridCol>
              </a:tblGrid>
              <a:tr h="402994">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0" u="none" strike="noStrike" cap="none" normalizeH="0" baseline="0" dirty="0">
                          <a:ln>
                            <a:noFill/>
                          </a:ln>
                          <a:solidFill>
                            <a:schemeClr val="accent1"/>
                          </a:solidFill>
                          <a:effectLst/>
                          <a:latin typeface="+mn-lt"/>
                        </a:rPr>
                        <a:t>Topic</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Content</a:t>
                      </a:r>
                      <a:endParaRPr kumimoji="0" lang="en-US" sz="1200" b="0"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Person responsible</a:t>
                      </a:r>
                      <a:endParaRPr kumimoji="0" lang="en-US" sz="1200" b="0"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Timing</a:t>
                      </a:r>
                      <a:endParaRPr kumimoji="0" lang="en-US" sz="1200" b="0"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i="0" u="none" strike="noStrike" cap="none" normalizeH="0" baseline="0" dirty="0">
                          <a:ln>
                            <a:noFill/>
                          </a:ln>
                          <a:solidFill>
                            <a:schemeClr val="tx1"/>
                          </a:solidFill>
                          <a:effectLst/>
                          <a:latin typeface="+mn-lt"/>
                        </a:rPr>
                        <a:t>Break</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a.m. – 0:00 a.m.</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i="0" u="none" strike="noStrike" cap="none" normalizeH="0" baseline="0" dirty="0">
                          <a:ln>
                            <a:noFill/>
                          </a:ln>
                          <a:solidFill>
                            <a:schemeClr val="tx1"/>
                          </a:solidFill>
                          <a:effectLst/>
                          <a:latin typeface="+mn-lt"/>
                        </a:rPr>
                        <a:t>Lunch</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p.m. – 0:00 p.m.</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a:ln>
                            <a:noFill/>
                          </a:ln>
                          <a:solidFill>
                            <a:schemeClr val="tx1"/>
                          </a:solidFill>
                          <a:effectLst/>
                          <a:latin typeface="+mn-lt"/>
                        </a:rPr>
                        <a:t>Subject</a:t>
                      </a:r>
                      <a:endParaRPr kumimoji="0" lang="en-US" sz="10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a:ln>
                            <a:noFill/>
                          </a:ln>
                          <a:solidFill>
                            <a:schemeClr val="tx1"/>
                          </a:solidFill>
                          <a:effectLst/>
                          <a:uLnTx/>
                          <a:uFillTx/>
                          <a:latin typeface="+mn-lt"/>
                        </a:rPr>
                        <a:t>Bullet level 1</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u="none" strike="noStrike" kern="1200" cap="none" normalizeH="0" baseline="0" dirty="0">
                          <a:ln>
                            <a:noFill/>
                          </a:ln>
                          <a:solidFill>
                            <a:schemeClr val="tx1"/>
                          </a:solidFill>
                          <a:effectLst/>
                          <a:latin typeface="+mn-lt"/>
                        </a:rPr>
                        <a:t>Name</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000" u="none" strike="noStrike" kern="1200" cap="none" normalizeH="0" baseline="0" dirty="0">
                          <a:ln>
                            <a:noFill/>
                          </a:ln>
                          <a:solidFill>
                            <a:schemeClr val="tx1"/>
                          </a:solidFill>
                          <a:effectLst/>
                          <a:latin typeface="+mn-lt"/>
                        </a:rPr>
                        <a:t>0:00 p.m. – 0:00 p.m.</a:t>
                      </a: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97355294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365125" y="3374233"/>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sp>
        <p:nvSpPr>
          <p:cNvPr id="97" name="Rectangle 96"/>
          <p:cNvSpPr>
            <a:spLocks noChangeArrowheads="1"/>
          </p:cNvSpPr>
          <p:nvPr/>
        </p:nvSpPr>
        <p:spPr bwMode="auto">
          <a:xfrm>
            <a:off x="2179257" y="239544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sp>
        <p:nvSpPr>
          <p:cNvPr id="98" name="Rectangle 97"/>
          <p:cNvSpPr>
            <a:spLocks noChangeArrowheads="1"/>
          </p:cNvSpPr>
          <p:nvPr/>
        </p:nvSpPr>
        <p:spPr bwMode="auto">
          <a:xfrm>
            <a:off x="2179257"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sp>
        <p:nvSpPr>
          <p:cNvPr id="99" name="Rectangle 98"/>
          <p:cNvSpPr>
            <a:spLocks noChangeArrowheads="1"/>
          </p:cNvSpPr>
          <p:nvPr/>
        </p:nvSpPr>
        <p:spPr bwMode="auto">
          <a:xfrm>
            <a:off x="3993388"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sp>
        <p:nvSpPr>
          <p:cNvPr id="100" name="Rectangle 99"/>
          <p:cNvSpPr>
            <a:spLocks noChangeArrowheads="1"/>
          </p:cNvSpPr>
          <p:nvPr/>
        </p:nvSpPr>
        <p:spPr bwMode="auto">
          <a:xfrm>
            <a:off x="3993388" y="3565558"/>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1736725" y="2669765"/>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1736725" y="3648553"/>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3550857" y="3839878"/>
            <a:ext cx="442531" cy="787463"/>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3550857" y="4627341"/>
            <a:ext cx="442531"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3993388" y="277809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sp>
        <p:nvSpPr>
          <p:cNvPr id="106" name="Rectangle 105"/>
          <p:cNvSpPr>
            <a:spLocks noChangeArrowheads="1"/>
          </p:cNvSpPr>
          <p:nvPr/>
        </p:nvSpPr>
        <p:spPr bwMode="auto">
          <a:xfrm>
            <a:off x="3993388" y="199063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3550857" y="2264952"/>
            <a:ext cx="442531" cy="404813"/>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3550857" y="2669765"/>
            <a:ext cx="442531" cy="382650"/>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3993388" y="5140486"/>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3550857" y="4627341"/>
            <a:ext cx="442531"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5855259" y="1704583"/>
            <a:ext cx="321690"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7007441" y="1704583"/>
            <a:ext cx="321690"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8159624" y="1704583"/>
            <a:ext cx="321690"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9" name="Rectangle 15"/>
          <p:cNvSpPr>
            <a:spLocks noChangeArrowheads="1"/>
          </p:cNvSpPr>
          <p:nvPr/>
        </p:nvSpPr>
        <p:spPr bwMode="gray">
          <a:xfrm>
            <a:off x="5558905" y="1348792"/>
            <a:ext cx="3200400" cy="178767"/>
          </a:xfrm>
          <a:prstGeom prst="rect">
            <a:avLst/>
          </a:prstGeom>
          <a:noFill/>
          <a:ln w="9525" algn="ctr">
            <a:noFill/>
            <a:miter lim="800000"/>
            <a:headEnd/>
            <a:tailEnd/>
          </a:ln>
        </p:spPr>
        <p:txBody>
          <a:bodyPr wrap="square" lIns="0" tIns="0" rIns="0" bIns="0">
            <a:spAutoFit/>
          </a:bodyPr>
          <a:lstStyle/>
          <a:p>
            <a:pPr eaLnBrk="1" hangingPunct="1">
              <a:lnSpc>
                <a:spcPct val="106000"/>
              </a:lnSpc>
              <a:spcBef>
                <a:spcPct val="20000"/>
              </a:spcBef>
              <a:buClr>
                <a:srgbClr val="002776"/>
              </a:buClr>
            </a:pPr>
            <a:r>
              <a:rPr lang="en-GB" sz="1200" dirty="0">
                <a:ea typeface="+mn-ea"/>
                <a:cs typeface="Arial" pitchFamily="34" charset="0"/>
              </a:rPr>
              <a:t>Unit or additional information</a:t>
            </a:r>
          </a:p>
        </p:txBody>
      </p:sp>
      <p:grpSp>
        <p:nvGrpSpPr>
          <p:cNvPr id="130" name="Group 129"/>
          <p:cNvGrpSpPr/>
          <p:nvPr/>
        </p:nvGrpSpPr>
        <p:grpSpPr>
          <a:xfrm>
            <a:off x="6062360" y="5856845"/>
            <a:ext cx="2385686" cy="226386"/>
            <a:chOff x="5831034" y="6058564"/>
            <a:chExt cx="3418448"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134" name="Text Box 26"/>
            <p:cNvSpPr txBox="1">
              <a:spLocks noChangeArrowheads="1"/>
            </p:cNvSpPr>
            <p:nvPr/>
          </p:nvSpPr>
          <p:spPr bwMode="auto">
            <a:xfrm>
              <a:off x="6220002" y="6128416"/>
              <a:ext cx="7120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1"/>
              <a:ext cx="677598"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1"/>
              <a:ext cx="81541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8165417"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39" name="AutoShape 11"/>
          <p:cNvSpPr>
            <a:spLocks noChangeArrowheads="1"/>
          </p:cNvSpPr>
          <p:nvPr/>
        </p:nvSpPr>
        <p:spPr bwMode="gray">
          <a:xfrm rot="10800000">
            <a:off x="7013234"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0" name="AutoShape 11"/>
          <p:cNvSpPr>
            <a:spLocks noChangeArrowheads="1"/>
          </p:cNvSpPr>
          <p:nvPr/>
        </p:nvSpPr>
        <p:spPr bwMode="gray">
          <a:xfrm rot="10800000">
            <a:off x="5861052"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1" name="AutoShape 11"/>
          <p:cNvSpPr>
            <a:spLocks noChangeArrowheads="1"/>
          </p:cNvSpPr>
          <p:nvPr/>
        </p:nvSpPr>
        <p:spPr bwMode="gray">
          <a:xfrm rot="10800000">
            <a:off x="8165417"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2" name="AutoShape 11"/>
          <p:cNvSpPr>
            <a:spLocks noChangeArrowheads="1"/>
          </p:cNvSpPr>
          <p:nvPr/>
        </p:nvSpPr>
        <p:spPr bwMode="gray">
          <a:xfrm rot="10800000">
            <a:off x="7013235"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3" name="AutoShape 11"/>
          <p:cNvSpPr>
            <a:spLocks noChangeArrowheads="1"/>
          </p:cNvSpPr>
          <p:nvPr/>
        </p:nvSpPr>
        <p:spPr bwMode="gray">
          <a:xfrm rot="10800000">
            <a:off x="5861053"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4" name="AutoShape 11"/>
          <p:cNvSpPr>
            <a:spLocks noChangeArrowheads="1"/>
          </p:cNvSpPr>
          <p:nvPr/>
        </p:nvSpPr>
        <p:spPr bwMode="gray">
          <a:xfrm>
            <a:off x="5856704"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5" name="AutoShape 11"/>
          <p:cNvSpPr>
            <a:spLocks noChangeArrowheads="1"/>
          </p:cNvSpPr>
          <p:nvPr/>
        </p:nvSpPr>
        <p:spPr bwMode="gray">
          <a:xfrm>
            <a:off x="7008886"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6" name="AutoShape 11"/>
          <p:cNvSpPr>
            <a:spLocks noChangeArrowheads="1"/>
          </p:cNvSpPr>
          <p:nvPr/>
        </p:nvSpPr>
        <p:spPr bwMode="gray">
          <a:xfrm>
            <a:off x="8161069"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7" name="AutoShape 11"/>
          <p:cNvSpPr>
            <a:spLocks noChangeArrowheads="1"/>
          </p:cNvSpPr>
          <p:nvPr/>
        </p:nvSpPr>
        <p:spPr bwMode="gray">
          <a:xfrm rot="16200000">
            <a:off x="5863333"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8" name="AutoShape 11"/>
          <p:cNvSpPr>
            <a:spLocks noChangeArrowheads="1"/>
          </p:cNvSpPr>
          <p:nvPr/>
        </p:nvSpPr>
        <p:spPr bwMode="gray">
          <a:xfrm rot="16200000">
            <a:off x="7015515"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9" name="AutoShape 11"/>
          <p:cNvSpPr>
            <a:spLocks noChangeArrowheads="1"/>
          </p:cNvSpPr>
          <p:nvPr/>
        </p:nvSpPr>
        <p:spPr bwMode="gray">
          <a:xfrm rot="16200000">
            <a:off x="8167698"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0" name="AutoShape 11"/>
          <p:cNvSpPr>
            <a:spLocks noChangeArrowheads="1"/>
          </p:cNvSpPr>
          <p:nvPr/>
        </p:nvSpPr>
        <p:spPr bwMode="gray">
          <a:xfrm rot="16200000">
            <a:off x="5863333"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1" name="AutoShape 11"/>
          <p:cNvSpPr>
            <a:spLocks noChangeArrowheads="1"/>
          </p:cNvSpPr>
          <p:nvPr/>
        </p:nvSpPr>
        <p:spPr bwMode="gray">
          <a:xfrm rot="16200000">
            <a:off x="7015515"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2" name="AutoShape 11"/>
          <p:cNvSpPr>
            <a:spLocks noChangeArrowheads="1"/>
          </p:cNvSpPr>
          <p:nvPr/>
        </p:nvSpPr>
        <p:spPr bwMode="gray">
          <a:xfrm rot="16200000">
            <a:off x="8167698"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1737669" y="4112944"/>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1737669" y="2542398"/>
            <a:ext cx="842018" cy="1570546"/>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1737669" y="3327671"/>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1737669" y="4112945"/>
            <a:ext cx="842018" cy="1570545"/>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5950428" y="6157055"/>
            <a:ext cx="1321653" cy="185415"/>
            <a:chOff x="6817465" y="6022432"/>
            <a:chExt cx="2281261" cy="320040"/>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222523" y="6049642"/>
              <a:ext cx="749827"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484476" y="6049642"/>
              <a:ext cx="614250"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8288698" y="2382378"/>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37" name="Oval 36"/>
          <p:cNvSpPr>
            <a:spLocks noChangeArrowheads="1"/>
          </p:cNvSpPr>
          <p:nvPr/>
        </p:nvSpPr>
        <p:spPr bwMode="auto">
          <a:xfrm>
            <a:off x="7362755" y="2382378"/>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8" name="Oval 47"/>
          <p:cNvSpPr>
            <a:spLocks noChangeArrowheads="1"/>
          </p:cNvSpPr>
          <p:nvPr/>
        </p:nvSpPr>
        <p:spPr bwMode="auto">
          <a:xfrm>
            <a:off x="6436810" y="2382378"/>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59" name="Oval 58"/>
          <p:cNvSpPr>
            <a:spLocks noChangeArrowheads="1"/>
          </p:cNvSpPr>
          <p:nvPr/>
        </p:nvSpPr>
        <p:spPr bwMode="auto">
          <a:xfrm>
            <a:off x="5510865" y="2382378"/>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70" name="Oval 69"/>
          <p:cNvSpPr>
            <a:spLocks noChangeArrowheads="1"/>
          </p:cNvSpPr>
          <p:nvPr/>
        </p:nvSpPr>
        <p:spPr bwMode="auto">
          <a:xfrm>
            <a:off x="4584920" y="2382378"/>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 name="Rectangle 3"/>
          <p:cNvSpPr>
            <a:spLocks noChangeArrowheads="1"/>
          </p:cNvSpPr>
          <p:nvPr/>
        </p:nvSpPr>
        <p:spPr bwMode="auto">
          <a:xfrm>
            <a:off x="366069" y="3838624"/>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2579687" y="5409169"/>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2579687" y="4623897"/>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2579687" y="2268078"/>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2579687" y="3053351"/>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2579687" y="3838624"/>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8128678" y="1973965"/>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7202732" y="1973965"/>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6276788" y="1973965"/>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5350844" y="1973965"/>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4424900" y="1973965"/>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4483100" y="1622329"/>
            <a:ext cx="4297680" cy="195759"/>
          </a:xfrm>
          <a:prstGeom prst="rect">
            <a:avLst/>
          </a:prstGeom>
          <a:noFill/>
          <a:ln w="9525" algn="ctr">
            <a:noFill/>
            <a:miter lim="800000"/>
            <a:headEnd/>
            <a:tailEnd/>
          </a:ln>
        </p:spPr>
        <p:txBody>
          <a:bodyPr wrap="square" lIns="0" tIns="0" rIns="0" bIns="0">
            <a:spAutoFit/>
          </a:bodyPr>
          <a:lstStyle/>
          <a:p>
            <a:pPr eaLnBrk="1" hangingPunct="1">
              <a:lnSpc>
                <a:spcPct val="106000"/>
              </a:lnSpc>
              <a:spcBef>
                <a:spcPct val="20000"/>
              </a:spcBef>
              <a:buClr>
                <a:srgbClr val="002776"/>
              </a:buClr>
            </a:pPr>
            <a:r>
              <a:rPr lang="en-GB" sz="1200" dirty="0">
                <a:ea typeface="+mn-ea"/>
                <a:cs typeface="Arial" pitchFamily="34" charset="0"/>
              </a:rPr>
              <a:t>Unit or additional information</a:t>
            </a:r>
          </a:p>
        </p:txBody>
      </p:sp>
      <p:sp>
        <p:nvSpPr>
          <p:cNvPr id="117" name="Oval 19"/>
          <p:cNvSpPr>
            <a:spLocks noChangeArrowheads="1"/>
          </p:cNvSpPr>
          <p:nvPr/>
        </p:nvSpPr>
        <p:spPr bwMode="auto">
          <a:xfrm>
            <a:off x="8288698" y="5523469"/>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8" name="Oval 117"/>
          <p:cNvSpPr>
            <a:spLocks noChangeArrowheads="1"/>
          </p:cNvSpPr>
          <p:nvPr/>
        </p:nvSpPr>
        <p:spPr bwMode="auto">
          <a:xfrm>
            <a:off x="7362755" y="5523469"/>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9" name="Oval 118"/>
          <p:cNvSpPr>
            <a:spLocks noChangeArrowheads="1"/>
          </p:cNvSpPr>
          <p:nvPr/>
        </p:nvSpPr>
        <p:spPr bwMode="auto">
          <a:xfrm>
            <a:off x="6436810" y="5523469"/>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0" name="Oval 119"/>
          <p:cNvSpPr>
            <a:spLocks noChangeArrowheads="1"/>
          </p:cNvSpPr>
          <p:nvPr/>
        </p:nvSpPr>
        <p:spPr bwMode="auto">
          <a:xfrm>
            <a:off x="5510865" y="5523469"/>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1" name="Oval 120"/>
          <p:cNvSpPr>
            <a:spLocks noChangeArrowheads="1"/>
          </p:cNvSpPr>
          <p:nvPr/>
        </p:nvSpPr>
        <p:spPr bwMode="auto">
          <a:xfrm>
            <a:off x="4584920" y="5523469"/>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grpSp>
        <p:nvGrpSpPr>
          <p:cNvPr id="19" name="Group 18"/>
          <p:cNvGrpSpPr/>
          <p:nvPr/>
        </p:nvGrpSpPr>
        <p:grpSpPr>
          <a:xfrm>
            <a:off x="8288698" y="3167651"/>
            <a:ext cx="320040" cy="320040"/>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2" name="Group 21"/>
          <p:cNvGrpSpPr/>
          <p:nvPr/>
        </p:nvGrpSpPr>
        <p:grpSpPr>
          <a:xfrm>
            <a:off x="7362755" y="3167651"/>
            <a:ext cx="320040" cy="320040"/>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5" name="Group 24"/>
          <p:cNvGrpSpPr/>
          <p:nvPr/>
        </p:nvGrpSpPr>
        <p:grpSpPr>
          <a:xfrm>
            <a:off x="6436810" y="3167651"/>
            <a:ext cx="320040" cy="320040"/>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84" name="Group 619583"/>
          <p:cNvGrpSpPr/>
          <p:nvPr/>
        </p:nvGrpSpPr>
        <p:grpSpPr>
          <a:xfrm>
            <a:off x="5510865" y="3167651"/>
            <a:ext cx="320040" cy="320040"/>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0" name="Group 619589"/>
          <p:cNvGrpSpPr/>
          <p:nvPr/>
        </p:nvGrpSpPr>
        <p:grpSpPr>
          <a:xfrm>
            <a:off x="4584920" y="3167651"/>
            <a:ext cx="320040" cy="320040"/>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3" name="Group 619592"/>
          <p:cNvGrpSpPr/>
          <p:nvPr/>
        </p:nvGrpSpPr>
        <p:grpSpPr>
          <a:xfrm>
            <a:off x="8288698" y="3952924"/>
            <a:ext cx="320040" cy="320040"/>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6" name="Group 619595"/>
          <p:cNvGrpSpPr/>
          <p:nvPr/>
        </p:nvGrpSpPr>
        <p:grpSpPr>
          <a:xfrm>
            <a:off x="7362755" y="3952924"/>
            <a:ext cx="320040" cy="320040"/>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1" name="Group 619600"/>
          <p:cNvGrpSpPr/>
          <p:nvPr/>
        </p:nvGrpSpPr>
        <p:grpSpPr>
          <a:xfrm>
            <a:off x="6436810" y="3952924"/>
            <a:ext cx="320040" cy="320040"/>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4" name="Group 619603"/>
          <p:cNvGrpSpPr/>
          <p:nvPr/>
        </p:nvGrpSpPr>
        <p:grpSpPr>
          <a:xfrm>
            <a:off x="5510865" y="3952924"/>
            <a:ext cx="320040" cy="320040"/>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0" name="Group 619609"/>
          <p:cNvGrpSpPr/>
          <p:nvPr/>
        </p:nvGrpSpPr>
        <p:grpSpPr>
          <a:xfrm>
            <a:off x="4584920" y="3952924"/>
            <a:ext cx="320040" cy="320040"/>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3" name="Group 619612"/>
          <p:cNvGrpSpPr/>
          <p:nvPr/>
        </p:nvGrpSpPr>
        <p:grpSpPr>
          <a:xfrm>
            <a:off x="8288698" y="4738197"/>
            <a:ext cx="320040" cy="320040"/>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4" name="Group 33"/>
          <p:cNvGrpSpPr/>
          <p:nvPr/>
        </p:nvGrpSpPr>
        <p:grpSpPr>
          <a:xfrm>
            <a:off x="7362755" y="4738197"/>
            <a:ext cx="320040" cy="320040"/>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5" name="Group 44"/>
          <p:cNvGrpSpPr/>
          <p:nvPr/>
        </p:nvGrpSpPr>
        <p:grpSpPr>
          <a:xfrm>
            <a:off x="6436810" y="4738197"/>
            <a:ext cx="320040" cy="320040"/>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6" name="Group 55"/>
          <p:cNvGrpSpPr/>
          <p:nvPr/>
        </p:nvGrpSpPr>
        <p:grpSpPr>
          <a:xfrm>
            <a:off x="5510865" y="4738197"/>
            <a:ext cx="320040" cy="320040"/>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8" name="Group 77"/>
          <p:cNvGrpSpPr/>
          <p:nvPr/>
        </p:nvGrpSpPr>
        <p:grpSpPr>
          <a:xfrm>
            <a:off x="4584920" y="4738197"/>
            <a:ext cx="320040" cy="320040"/>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7" name="Straight Connector 26"/>
          <p:cNvCxnSpPr>
            <a:stCxn id="4" idx="3"/>
            <a:endCxn id="9" idx="1"/>
          </p:cNvCxnSpPr>
          <p:nvPr/>
        </p:nvCxnSpPr>
        <p:spPr>
          <a:xfrm>
            <a:off x="1737669" y="4112944"/>
            <a:ext cx="842018"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1736862" y="2653346"/>
            <a:ext cx="643541" cy="1147763"/>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1736862" y="3801109"/>
            <a:ext cx="643541" cy="1147762"/>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3752003" y="1889759"/>
            <a:ext cx="643541" cy="763587"/>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3752003" y="2653346"/>
            <a:ext cx="643541"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3752003" y="2653346"/>
            <a:ext cx="643541" cy="76517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3752003" y="4183696"/>
            <a:ext cx="643541" cy="76517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3752003" y="4948871"/>
            <a:ext cx="643541"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3752003" y="4948871"/>
            <a:ext cx="643541" cy="76517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365262" y="3526789"/>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2380403" y="2379026"/>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2380403" y="4674551"/>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4395544" y="1615439"/>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4395544" y="2379026"/>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4395544" y="3144201"/>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4395544" y="3909376"/>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4395544" y="4674551"/>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4395544" y="5439726"/>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5870448" y="1615439"/>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5870448" y="238029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5870448" y="3145153"/>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5870448" y="3910010"/>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5870448" y="4674867"/>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5870448" y="543972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964795" y="1611544"/>
            <a:ext cx="7386637" cy="366712"/>
          </a:xfrm>
          <a:prstGeom prst="homePlate">
            <a:avLst>
              <a:gd name="adj" fmla="val 58990"/>
            </a:avLst>
          </a:prstGeom>
          <a:solidFill>
            <a:schemeClr val="accent6"/>
          </a:solidFill>
          <a:ln w="12700" algn="ctr">
            <a:noFill/>
            <a:miter lim="800000"/>
            <a:headEnd/>
            <a:tailEnd/>
          </a:ln>
        </p:spPr>
        <p:txBody>
          <a:bodyPr lIns="36000" tIns="36000" rIns="36000" bIns="36000" anchor="ctr"/>
          <a:lstStyle/>
          <a:p>
            <a:pPr algn="ctr">
              <a:defRPr/>
            </a:pPr>
            <a:r>
              <a:rPr lang="en-US" sz="1400" dirty="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3569629" y="2304912"/>
            <a:ext cx="460057" cy="590118"/>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3569628" y="2895030"/>
            <a:ext cx="460058"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3569629" y="2895030"/>
            <a:ext cx="460057" cy="590118"/>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3569628" y="4075266"/>
            <a:ext cx="460058" cy="590118"/>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3569628" y="4665384"/>
            <a:ext cx="460057"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3569629" y="4665384"/>
            <a:ext cx="460057" cy="590120"/>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2062074" y="2895030"/>
            <a:ext cx="410274" cy="885178"/>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2062074" y="3780208"/>
            <a:ext cx="410274" cy="88517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5176137" y="2030592"/>
            <a:ext cx="2962975" cy="365760"/>
          </a:xfrm>
          <a:prstGeom prst="rect">
            <a:avLst/>
          </a:prstGeom>
          <a:solidFill>
            <a:schemeClr val="accent3"/>
          </a:solidFill>
          <a:ln w="12700" algn="ctr">
            <a:noFill/>
            <a:miter lim="800000"/>
            <a:headEnd/>
            <a:tailEnd type="none" w="sm" len="med"/>
          </a:ln>
        </p:spPr>
        <p:txBody>
          <a:bodyPr lIns="88900" tIns="88900" rIns="88900" bIns="88900" anchor="ctr" anchorCtr="0"/>
          <a:lstStyle/>
          <a:p>
            <a:pPr defTabSz="957263"/>
            <a:r>
              <a:rPr lang="en-US" sz="1200" dirty="0"/>
              <a:t>Text</a:t>
            </a:r>
          </a:p>
        </p:txBody>
      </p:sp>
      <p:sp>
        <p:nvSpPr>
          <p:cNvPr id="38" name="Text Placeholder 5"/>
          <p:cNvSpPr txBox="1">
            <a:spLocks/>
          </p:cNvSpPr>
          <p:nvPr/>
        </p:nvSpPr>
        <p:spPr>
          <a:xfrm>
            <a:off x="5176137" y="2387868"/>
            <a:ext cx="2962975" cy="1371600"/>
          </a:xfrm>
          <a:prstGeom prst="rect">
            <a:avLst/>
          </a:prstGeom>
          <a:solidFill>
            <a:schemeClr val="bg2"/>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5" name="Text Box 10"/>
          <p:cNvSpPr txBox="1">
            <a:spLocks noChangeArrowheads="1"/>
          </p:cNvSpPr>
          <p:nvPr/>
        </p:nvSpPr>
        <p:spPr bwMode="auto">
          <a:xfrm>
            <a:off x="5176137" y="3805163"/>
            <a:ext cx="2962975" cy="365760"/>
          </a:xfrm>
          <a:prstGeom prst="rect">
            <a:avLst/>
          </a:prstGeom>
          <a:solidFill>
            <a:schemeClr val="accent3"/>
          </a:solidFill>
          <a:ln w="12700" algn="ctr">
            <a:noFill/>
            <a:miter lim="800000"/>
            <a:headEnd/>
            <a:tailEnd type="none" w="sm" len="med"/>
          </a:ln>
        </p:spPr>
        <p:txBody>
          <a:bodyPr lIns="88900" tIns="88900" rIns="88900" bIns="88900" anchor="ctr" anchorCtr="0"/>
          <a:lstStyle/>
          <a:p>
            <a:pPr defTabSz="957263"/>
            <a:r>
              <a:rPr lang="en-US" sz="1200" dirty="0"/>
              <a:t>Text</a:t>
            </a:r>
          </a:p>
        </p:txBody>
      </p:sp>
      <p:sp>
        <p:nvSpPr>
          <p:cNvPr id="46" name="Text Placeholder 5"/>
          <p:cNvSpPr txBox="1">
            <a:spLocks/>
          </p:cNvSpPr>
          <p:nvPr/>
        </p:nvSpPr>
        <p:spPr>
          <a:xfrm>
            <a:off x="5176137" y="4158224"/>
            <a:ext cx="2962975" cy="1371600"/>
          </a:xfrm>
          <a:prstGeom prst="rect">
            <a:avLst/>
          </a:prstGeom>
          <a:solidFill>
            <a:schemeClr val="bg2"/>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10" name="Rectangle 3"/>
          <p:cNvSpPr>
            <a:spLocks noChangeArrowheads="1"/>
          </p:cNvSpPr>
          <p:nvPr/>
        </p:nvSpPr>
        <p:spPr bwMode="auto">
          <a:xfrm>
            <a:off x="964794" y="3505888"/>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3" name="Rectangle 6"/>
          <p:cNvSpPr>
            <a:spLocks noChangeArrowheads="1"/>
          </p:cNvSpPr>
          <p:nvPr/>
        </p:nvSpPr>
        <p:spPr bwMode="auto">
          <a:xfrm>
            <a:off x="2472348" y="4391064"/>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4" name="Rectangle 7"/>
          <p:cNvSpPr>
            <a:spLocks noChangeArrowheads="1"/>
          </p:cNvSpPr>
          <p:nvPr/>
        </p:nvSpPr>
        <p:spPr bwMode="auto">
          <a:xfrm>
            <a:off x="2472348" y="2620710"/>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5" name="Rectangle 8"/>
          <p:cNvSpPr>
            <a:spLocks noChangeArrowheads="1"/>
          </p:cNvSpPr>
          <p:nvPr/>
        </p:nvSpPr>
        <p:spPr bwMode="auto">
          <a:xfrm>
            <a:off x="4029686" y="2620710"/>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6" name="Rectangle 9"/>
          <p:cNvSpPr>
            <a:spLocks noChangeArrowheads="1"/>
          </p:cNvSpPr>
          <p:nvPr/>
        </p:nvSpPr>
        <p:spPr bwMode="auto">
          <a:xfrm>
            <a:off x="4029686" y="3800946"/>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7" name="Rectangle 10"/>
          <p:cNvSpPr>
            <a:spLocks noChangeArrowheads="1"/>
          </p:cNvSpPr>
          <p:nvPr/>
        </p:nvSpPr>
        <p:spPr bwMode="auto">
          <a:xfrm>
            <a:off x="4029685" y="3210828"/>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8" name="Rectangle 11"/>
          <p:cNvSpPr>
            <a:spLocks noChangeArrowheads="1"/>
          </p:cNvSpPr>
          <p:nvPr/>
        </p:nvSpPr>
        <p:spPr bwMode="auto">
          <a:xfrm>
            <a:off x="4029685" y="2030592"/>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19" name="Rectangle 12"/>
          <p:cNvSpPr>
            <a:spLocks noChangeArrowheads="1"/>
          </p:cNvSpPr>
          <p:nvPr/>
        </p:nvSpPr>
        <p:spPr bwMode="auto">
          <a:xfrm>
            <a:off x="4029685" y="4981184"/>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20" name="Rectangle 13"/>
          <p:cNvSpPr>
            <a:spLocks noChangeArrowheads="1"/>
          </p:cNvSpPr>
          <p:nvPr/>
        </p:nvSpPr>
        <p:spPr bwMode="auto">
          <a:xfrm>
            <a:off x="4029685" y="4391064"/>
            <a:ext cx="109728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sz="1200" dirty="0">
                <a:ea typeface="ＭＳ Ｐゴシック" pitchFamily="50" charset="-128"/>
                <a:cs typeface="Arial" pitchFamily="34" charset="0"/>
              </a:rPr>
              <a:t>Text</a:t>
            </a:r>
            <a:endParaRPr lang="en-US" altLang="ja-JP" sz="1200" dirty="0">
              <a:ea typeface="ＭＳ Ｐゴシック" pitchFamily="50" charset="-128"/>
              <a:cs typeface="Arial" pitchFamily="34" charset="0"/>
            </a:endParaRPr>
          </a:p>
        </p:txBody>
      </p:sp>
      <p:sp>
        <p:nvSpPr>
          <p:cNvPr id="40" name="AutoShape 4"/>
          <p:cNvSpPr>
            <a:spLocks noChangeArrowheads="1"/>
          </p:cNvSpPr>
          <p:nvPr/>
        </p:nvSpPr>
        <p:spPr bwMode="auto">
          <a:xfrm flipH="1">
            <a:off x="752476" y="5594823"/>
            <a:ext cx="7386637" cy="366712"/>
          </a:xfrm>
          <a:prstGeom prst="homePlate">
            <a:avLst>
              <a:gd name="adj" fmla="val 58990"/>
            </a:avLst>
          </a:prstGeom>
          <a:solidFill>
            <a:schemeClr val="accent6"/>
          </a:solidFill>
          <a:ln w="12700" algn="ctr">
            <a:noFill/>
            <a:miter lim="800000"/>
            <a:headEnd/>
            <a:tailEnd/>
          </a:ln>
        </p:spPr>
        <p:txBody>
          <a:bodyPr lIns="36000" tIns="36000" rIns="36000" bIns="36000" anchor="ctr"/>
          <a:lstStyle/>
          <a:p>
            <a:pPr algn="ctr">
              <a:defRPr/>
            </a:pPr>
            <a:r>
              <a:rPr lang="en-US" sz="1400" dirty="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3926318" y="2654934"/>
            <a:ext cx="812864" cy="476250"/>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3926318" y="3131185"/>
            <a:ext cx="812864" cy="581025"/>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3926318" y="4699634"/>
            <a:ext cx="812864" cy="565150"/>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3926318" y="5264785"/>
            <a:ext cx="812864" cy="442913"/>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1741854" y="3131184"/>
            <a:ext cx="812864" cy="1049338"/>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1741854" y="4180522"/>
            <a:ext cx="812864" cy="1084262"/>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6110783" y="1889758"/>
            <a:ext cx="812863" cy="76517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6110783" y="2651758"/>
            <a:ext cx="812863" cy="3175"/>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6110783" y="2654935"/>
            <a:ext cx="812863" cy="75882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1797685" y="3961066"/>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2" name="Text Box 30"/>
          <p:cNvSpPr txBox="1">
            <a:spLocks noChangeArrowheads="1"/>
          </p:cNvSpPr>
          <p:nvPr/>
        </p:nvSpPr>
        <p:spPr bwMode="auto">
          <a:xfrm>
            <a:off x="3963825" y="2911728"/>
            <a:ext cx="327974"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dirty="0">
                <a:ea typeface="ＭＳ Ｐゴシック" charset="-128"/>
              </a:rPr>
              <a:t>Text</a:t>
            </a:r>
          </a:p>
        </p:txBody>
      </p:sp>
      <p:sp>
        <p:nvSpPr>
          <p:cNvPr id="622623" name="Text Box 31"/>
          <p:cNvSpPr txBox="1">
            <a:spLocks noChangeArrowheads="1"/>
          </p:cNvSpPr>
          <p:nvPr/>
        </p:nvSpPr>
        <p:spPr bwMode="auto">
          <a:xfrm>
            <a:off x="3986748" y="5054472"/>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4" name="Text Box 32"/>
          <p:cNvSpPr txBox="1">
            <a:spLocks noChangeArrowheads="1"/>
          </p:cNvSpPr>
          <p:nvPr/>
        </p:nvSpPr>
        <p:spPr bwMode="auto">
          <a:xfrm>
            <a:off x="6168312" y="2435478"/>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5" name="Text Box 33"/>
          <p:cNvSpPr txBox="1">
            <a:spLocks noChangeArrowheads="1"/>
          </p:cNvSpPr>
          <p:nvPr/>
        </p:nvSpPr>
        <p:spPr bwMode="auto">
          <a:xfrm>
            <a:off x="6168312" y="4425314"/>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6" name="Text Box 34"/>
          <p:cNvSpPr txBox="1">
            <a:spLocks noChangeArrowheads="1"/>
          </p:cNvSpPr>
          <p:nvPr/>
        </p:nvSpPr>
        <p:spPr bwMode="auto">
          <a:xfrm>
            <a:off x="6168312" y="5469953"/>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8" name="Text Box 36"/>
          <p:cNvSpPr txBox="1">
            <a:spLocks noChangeArrowheads="1"/>
          </p:cNvSpPr>
          <p:nvPr/>
        </p:nvSpPr>
        <p:spPr bwMode="auto">
          <a:xfrm>
            <a:off x="6168312" y="3474465"/>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0" name="Text Box 38"/>
          <p:cNvSpPr txBox="1">
            <a:spLocks noChangeArrowheads="1"/>
          </p:cNvSpPr>
          <p:nvPr/>
        </p:nvSpPr>
        <p:spPr bwMode="auto">
          <a:xfrm>
            <a:off x="8358374" y="1652015"/>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1" name="Text Box 39"/>
          <p:cNvSpPr txBox="1">
            <a:spLocks noChangeArrowheads="1"/>
          </p:cNvSpPr>
          <p:nvPr/>
        </p:nvSpPr>
        <p:spPr bwMode="auto">
          <a:xfrm>
            <a:off x="8358374" y="2395727"/>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2" name="Text Box 40"/>
          <p:cNvSpPr txBox="1">
            <a:spLocks noChangeArrowheads="1"/>
          </p:cNvSpPr>
          <p:nvPr/>
        </p:nvSpPr>
        <p:spPr bwMode="auto">
          <a:xfrm>
            <a:off x="8358374" y="3176015"/>
            <a:ext cx="282129"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4" name="Rectangle 3"/>
          <p:cNvSpPr>
            <a:spLocks noChangeArrowheads="1"/>
          </p:cNvSpPr>
          <p:nvPr/>
        </p:nvSpPr>
        <p:spPr bwMode="auto">
          <a:xfrm>
            <a:off x="370254" y="390620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5" name="Rectangle 4"/>
          <p:cNvSpPr>
            <a:spLocks noChangeArrowheads="1"/>
          </p:cNvSpPr>
          <p:nvPr/>
        </p:nvSpPr>
        <p:spPr bwMode="auto">
          <a:xfrm>
            <a:off x="2554718" y="28568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6" name="Rectangle 5"/>
          <p:cNvSpPr>
            <a:spLocks noChangeArrowheads="1"/>
          </p:cNvSpPr>
          <p:nvPr/>
        </p:nvSpPr>
        <p:spPr bwMode="auto">
          <a:xfrm>
            <a:off x="2554718" y="49904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7" name="Rectangle 6"/>
          <p:cNvSpPr>
            <a:spLocks noChangeArrowheads="1"/>
          </p:cNvSpPr>
          <p:nvPr/>
        </p:nvSpPr>
        <p:spPr bwMode="auto">
          <a:xfrm>
            <a:off x="4739182" y="23806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8" name="Rectangle 7"/>
          <p:cNvSpPr>
            <a:spLocks noChangeArrowheads="1"/>
          </p:cNvSpPr>
          <p:nvPr/>
        </p:nvSpPr>
        <p:spPr bwMode="auto">
          <a:xfrm>
            <a:off x="4739182" y="343788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9" name="Rectangle 8"/>
          <p:cNvSpPr>
            <a:spLocks noChangeArrowheads="1"/>
          </p:cNvSpPr>
          <p:nvPr/>
        </p:nvSpPr>
        <p:spPr bwMode="auto">
          <a:xfrm>
            <a:off x="4739182" y="44253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10" name="Rectangle 9"/>
          <p:cNvSpPr>
            <a:spLocks noChangeArrowheads="1"/>
          </p:cNvSpPr>
          <p:nvPr/>
        </p:nvSpPr>
        <p:spPr bwMode="auto">
          <a:xfrm>
            <a:off x="4739182" y="5433377"/>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17" name="Rectangle 16"/>
          <p:cNvSpPr>
            <a:spLocks noChangeArrowheads="1"/>
          </p:cNvSpPr>
          <p:nvPr/>
        </p:nvSpPr>
        <p:spPr bwMode="auto">
          <a:xfrm>
            <a:off x="6923645" y="1615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18" name="Rectangle 17"/>
          <p:cNvSpPr>
            <a:spLocks noChangeArrowheads="1"/>
          </p:cNvSpPr>
          <p:nvPr/>
        </p:nvSpPr>
        <p:spPr bwMode="auto">
          <a:xfrm>
            <a:off x="6923645" y="2377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19" name="Rectangle 18"/>
          <p:cNvSpPr>
            <a:spLocks noChangeArrowheads="1"/>
          </p:cNvSpPr>
          <p:nvPr/>
        </p:nvSpPr>
        <p:spPr bwMode="auto">
          <a:xfrm>
            <a:off x="6923645" y="3139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ea typeface="ＭＳ Ｐゴシック" pitchFamily="50" charset="-128"/>
                <a:cs typeface="Arial" pitchFamily="34" charset="0"/>
              </a:rPr>
              <a:t>Text</a:t>
            </a:r>
          </a:p>
        </p:txBody>
      </p:sp>
      <p:sp>
        <p:nvSpPr>
          <p:cNvPr id="47" name="AutoShape 112"/>
          <p:cNvSpPr>
            <a:spLocks noChangeArrowheads="1"/>
          </p:cNvSpPr>
          <p:nvPr/>
        </p:nvSpPr>
        <p:spPr bwMode="grayWhite">
          <a:xfrm>
            <a:off x="1803749" y="4201987"/>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48" name="AutoShape 110"/>
          <p:cNvSpPr>
            <a:spLocks noChangeArrowheads="1"/>
          </p:cNvSpPr>
          <p:nvPr/>
        </p:nvSpPr>
        <p:spPr bwMode="grayWhite">
          <a:xfrm>
            <a:off x="3992812" y="5286249"/>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49" name="AutoShape 110"/>
          <p:cNvSpPr>
            <a:spLocks noChangeArrowheads="1"/>
          </p:cNvSpPr>
          <p:nvPr/>
        </p:nvSpPr>
        <p:spPr bwMode="grayWhite">
          <a:xfrm>
            <a:off x="6174376" y="3686938"/>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
        <p:nvSpPr>
          <p:cNvPr id="50" name="AutoShape 112"/>
          <p:cNvSpPr>
            <a:spLocks noChangeArrowheads="1"/>
          </p:cNvSpPr>
          <p:nvPr/>
        </p:nvSpPr>
        <p:spPr bwMode="grayWhite">
          <a:xfrm>
            <a:off x="3992812" y="315264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1" name="AutoShape 112"/>
          <p:cNvSpPr>
            <a:spLocks noChangeArrowheads="1"/>
          </p:cNvSpPr>
          <p:nvPr/>
        </p:nvSpPr>
        <p:spPr bwMode="grayWhite">
          <a:xfrm>
            <a:off x="6174376" y="267639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2" name="AutoShape 112"/>
          <p:cNvSpPr>
            <a:spLocks noChangeArrowheads="1"/>
          </p:cNvSpPr>
          <p:nvPr/>
        </p:nvSpPr>
        <p:spPr bwMode="grayWhite">
          <a:xfrm>
            <a:off x="8364438" y="1846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3" name="AutoShape 112"/>
          <p:cNvSpPr>
            <a:spLocks noChangeArrowheads="1"/>
          </p:cNvSpPr>
          <p:nvPr/>
        </p:nvSpPr>
        <p:spPr bwMode="grayWhite">
          <a:xfrm>
            <a:off x="8364438" y="3370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6" name="AutoShape 110"/>
          <p:cNvSpPr>
            <a:spLocks noChangeArrowheads="1"/>
          </p:cNvSpPr>
          <p:nvPr/>
        </p:nvSpPr>
        <p:spPr bwMode="grayWhite">
          <a:xfrm>
            <a:off x="6174376" y="465607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7" name="AutoShape 110"/>
          <p:cNvSpPr>
            <a:spLocks noChangeArrowheads="1"/>
          </p:cNvSpPr>
          <p:nvPr/>
        </p:nvSpPr>
        <p:spPr bwMode="grayWhite">
          <a:xfrm>
            <a:off x="8364438" y="2623602"/>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8" name="AutoShape 110"/>
          <p:cNvSpPr>
            <a:spLocks noChangeArrowheads="1"/>
          </p:cNvSpPr>
          <p:nvPr/>
        </p:nvSpPr>
        <p:spPr bwMode="grayWhite">
          <a:xfrm>
            <a:off x="6174376" y="5682426"/>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4572000" y="2430251"/>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3794760" y="1611314"/>
            <a:ext cx="1554480" cy="818937"/>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Sponsor</a:t>
              </a:r>
            </a:p>
          </p:txBody>
        </p:sp>
        <p:sp>
          <p:nvSpPr>
            <p:cNvPr id="46" name="Rectangle 45"/>
            <p:cNvSpPr/>
            <p:nvPr/>
          </p:nvSpPr>
          <p:spPr bwMode="gray">
            <a:xfrm>
              <a:off x="3794760" y="2064491"/>
              <a:ext cx="155448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p:txBody>
        </p:sp>
      </p:grpSp>
      <p:grpSp>
        <p:nvGrpSpPr>
          <p:cNvPr id="47" name="Group 46"/>
          <p:cNvGrpSpPr/>
          <p:nvPr/>
        </p:nvGrpSpPr>
        <p:grpSpPr>
          <a:xfrm>
            <a:off x="3794760" y="2598620"/>
            <a:ext cx="1554480" cy="1001817"/>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49" name="Rectangle 48"/>
            <p:cNvSpPr/>
            <p:nvPr/>
          </p:nvSpPr>
          <p:spPr bwMode="gray">
            <a:xfrm>
              <a:off x="3794760" y="2970843"/>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5509260" y="2598620"/>
            <a:ext cx="1554480" cy="1001817"/>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QA</a:t>
              </a:r>
            </a:p>
          </p:txBody>
        </p:sp>
        <p:sp>
          <p:nvSpPr>
            <p:cNvPr id="52" name="Rectangle 51"/>
            <p:cNvSpPr/>
            <p:nvPr/>
          </p:nvSpPr>
          <p:spPr bwMode="gray">
            <a:xfrm>
              <a:off x="5504815" y="2970843"/>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Short description</a:t>
              </a:r>
            </a:p>
          </p:txBody>
        </p:sp>
      </p:grpSp>
      <p:grpSp>
        <p:nvGrpSpPr>
          <p:cNvPr id="53" name="Group 52"/>
          <p:cNvGrpSpPr/>
          <p:nvPr/>
        </p:nvGrpSpPr>
        <p:grpSpPr>
          <a:xfrm>
            <a:off x="5509260" y="3768806"/>
            <a:ext cx="1554480" cy="100181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MO</a:t>
              </a:r>
            </a:p>
          </p:txBody>
        </p:sp>
        <p:sp>
          <p:nvSpPr>
            <p:cNvPr id="55" name="Rectangle 54"/>
            <p:cNvSpPr/>
            <p:nvPr/>
          </p:nvSpPr>
          <p:spPr bwMode="gray">
            <a:xfrm>
              <a:off x="5504815" y="4076368"/>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2080260" y="3768806"/>
            <a:ext cx="1554480" cy="100181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58" name="Rectangle 57"/>
            <p:cNvSpPr/>
            <p:nvPr/>
          </p:nvSpPr>
          <p:spPr bwMode="gray">
            <a:xfrm>
              <a:off x="3794760" y="4076368"/>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3794760" y="3768806"/>
            <a:ext cx="1554480" cy="100181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Subject experts</a:t>
              </a:r>
            </a:p>
          </p:txBody>
        </p:sp>
        <p:sp>
          <p:nvSpPr>
            <p:cNvPr id="61" name="Rectangle 60"/>
            <p:cNvSpPr/>
            <p:nvPr/>
          </p:nvSpPr>
          <p:spPr bwMode="gray">
            <a:xfrm>
              <a:off x="2084705" y="4076368"/>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365760" y="4938990"/>
            <a:ext cx="1554480" cy="100181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64" name="Rectangle 63"/>
            <p:cNvSpPr/>
            <p:nvPr/>
          </p:nvSpPr>
          <p:spPr bwMode="gray">
            <a:xfrm>
              <a:off x="374650" y="5351197"/>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2080260" y="4938990"/>
            <a:ext cx="1554480" cy="100181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67" name="Rectangle 66"/>
            <p:cNvSpPr/>
            <p:nvPr/>
          </p:nvSpPr>
          <p:spPr bwMode="gray">
            <a:xfrm>
              <a:off x="2084705" y="5351197"/>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3794760" y="4938990"/>
            <a:ext cx="1554480" cy="100181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5509260" y="4938990"/>
            <a:ext cx="1554480" cy="100181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3" name="Rectangle 72"/>
            <p:cNvSpPr/>
            <p:nvPr/>
          </p:nvSpPr>
          <p:spPr bwMode="gray">
            <a:xfrm>
              <a:off x="5504815" y="5351197"/>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7223760" y="4938990"/>
            <a:ext cx="1554480" cy="100181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6" name="Rectangle 75"/>
            <p:cNvSpPr/>
            <p:nvPr/>
          </p:nvSpPr>
          <p:spPr bwMode="gray">
            <a:xfrm>
              <a:off x="7214870" y="5351197"/>
              <a:ext cx="155448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4572000" y="4770622"/>
            <a:ext cx="0"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4572000" y="3600437"/>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5345066" y="1657185"/>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5345066"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3630566"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53450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36305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6202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2773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8" name="Elbow Connector 137"/>
          <p:cNvCxnSpPr>
            <a:stCxn id="93" idx="2"/>
            <a:endCxn id="243790" idx="0"/>
          </p:cNvCxnSpPr>
          <p:nvPr/>
        </p:nvCxnSpPr>
        <p:spPr>
          <a:xfrm rot="16200000" flipH="1">
            <a:off x="5827436" y="1134727"/>
            <a:ext cx="517442" cy="3028314"/>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sp>
        <p:nvSpPr>
          <p:cNvPr id="243800" name="Text Box 10"/>
          <p:cNvSpPr txBox="1">
            <a:spLocks noChangeArrowheads="1"/>
          </p:cNvSpPr>
          <p:nvPr/>
        </p:nvSpPr>
        <p:spPr bwMode="auto">
          <a:xfrm>
            <a:off x="1784389" y="1962978"/>
            <a:ext cx="1554480"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09" name="Rectangle 108"/>
          <p:cNvSpPr>
            <a:spLocks noChangeArrowheads="1"/>
          </p:cNvSpPr>
          <p:nvPr/>
        </p:nvSpPr>
        <p:spPr bwMode="auto">
          <a:xfrm>
            <a:off x="1784389" y="2236333"/>
            <a:ext cx="1554480" cy="502920"/>
          </a:xfrm>
          <a:prstGeom prst="rect">
            <a:avLst/>
          </a:prstGeom>
          <a:solidFill>
            <a:schemeClr val="bg2"/>
          </a:solidFill>
          <a:ln w="12700" algn="ctr">
            <a:noFill/>
            <a:miter lim="800000"/>
            <a:headEnd/>
            <a:tailEnd/>
          </a:ln>
        </p:spPr>
        <p:txBody>
          <a:bodyPr lIns="88900" tIns="88900" rIns="88900" bIns="88900" anchor="t"/>
          <a:lstStyle/>
          <a:p>
            <a:pPr defTabSz="957998">
              <a:spcBef>
                <a:spcPts val="300"/>
              </a:spcBef>
              <a:spcAft>
                <a:spcPts val="0"/>
              </a:spcAft>
              <a:defRPr/>
            </a:pPr>
            <a:r>
              <a:rPr lang="en-US" sz="1000" dirty="0">
                <a:latin typeface="Arial"/>
                <a:cs typeface="+mn-cs"/>
              </a:rPr>
              <a:t>Text</a:t>
            </a:r>
          </a:p>
        </p:txBody>
      </p:sp>
      <p:cxnSp>
        <p:nvCxnSpPr>
          <p:cNvPr id="16" name="AutoShape 16"/>
          <p:cNvCxnSpPr>
            <a:cxnSpLocks noChangeShapeType="1"/>
            <a:stCxn id="93" idx="2"/>
            <a:endCxn id="109" idx="3"/>
          </p:cNvCxnSpPr>
          <p:nvPr/>
        </p:nvCxnSpPr>
        <p:spPr bwMode="auto">
          <a:xfrm rot="5400000">
            <a:off x="3906620" y="1822413"/>
            <a:ext cx="97630" cy="1233131"/>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763828" y="3621373"/>
            <a:ext cx="327497" cy="437450"/>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4572001" y="2390163"/>
            <a:ext cx="1248553"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2600430" y="936035"/>
            <a:ext cx="517442" cy="342569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3676099" y="2011704"/>
            <a:ext cx="517442" cy="1274361"/>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4751767" y="2210395"/>
            <a:ext cx="517442" cy="876977"/>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2943974" y="3613605"/>
            <a:ext cx="290921" cy="416411"/>
          </a:xfrm>
          <a:prstGeom prst="bentConnector4">
            <a:avLst>
              <a:gd name="adj1" fmla="val 26426"/>
              <a:gd name="adj2" fmla="val 151743"/>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5105831" y="3624124"/>
            <a:ext cx="290921" cy="395372"/>
          </a:xfrm>
          <a:prstGeom prst="bentConnector4">
            <a:avLst>
              <a:gd name="adj1" fmla="val 26426"/>
              <a:gd name="adj2" fmla="val 154496"/>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7267689" y="3634645"/>
            <a:ext cx="290921" cy="374331"/>
          </a:xfrm>
          <a:prstGeom prst="bentConnector4">
            <a:avLst>
              <a:gd name="adj1" fmla="val 26426"/>
              <a:gd name="adj2" fmla="val 15755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3794760" y="1608965"/>
            <a:ext cx="1554480" cy="274320"/>
          </a:xfrm>
          <a:prstGeom prst="rect">
            <a:avLst/>
          </a:prstGeom>
          <a:solidFill>
            <a:schemeClr val="accent1"/>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93" name="Rectangle 92"/>
          <p:cNvSpPr>
            <a:spLocks noChangeArrowheads="1"/>
          </p:cNvSpPr>
          <p:nvPr/>
        </p:nvSpPr>
        <p:spPr bwMode="auto">
          <a:xfrm>
            <a:off x="3794760" y="1887243"/>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798" name="Text Box 10"/>
          <p:cNvSpPr txBox="1">
            <a:spLocks noChangeArrowheads="1"/>
          </p:cNvSpPr>
          <p:nvPr/>
        </p:nvSpPr>
        <p:spPr bwMode="auto">
          <a:xfrm>
            <a:off x="5820553" y="1962978"/>
            <a:ext cx="1554480"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3" name="Rectangle 112"/>
          <p:cNvSpPr>
            <a:spLocks noChangeArrowheads="1"/>
          </p:cNvSpPr>
          <p:nvPr/>
        </p:nvSpPr>
        <p:spPr bwMode="auto">
          <a:xfrm>
            <a:off x="5820553" y="2236333"/>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cxnSp>
        <p:nvCxnSpPr>
          <p:cNvPr id="142" name="AutoShape 17"/>
          <p:cNvCxnSpPr>
            <a:cxnSpLocks noChangeShapeType="1"/>
            <a:stCxn id="122" idx="1"/>
            <a:endCxn id="114" idx="1"/>
          </p:cNvCxnSpPr>
          <p:nvPr/>
        </p:nvCxnSpPr>
        <p:spPr bwMode="auto">
          <a:xfrm rot="10800000" flipV="1">
            <a:off x="708851" y="4003847"/>
            <a:ext cx="12700" cy="722376"/>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708851" y="4726223"/>
            <a:ext cx="12700" cy="722376"/>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7225983" y="4707935"/>
            <a:ext cx="12700" cy="740664"/>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5053605" y="4707935"/>
            <a:ext cx="12700" cy="740664"/>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2881228" y="4707935"/>
            <a:ext cx="12700" cy="740664"/>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7225983" y="3967271"/>
            <a:ext cx="12700" cy="740664"/>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5053605" y="3967271"/>
            <a:ext cx="12700" cy="740664"/>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2881228" y="3967271"/>
            <a:ext cx="12700" cy="740664"/>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7225983" y="5311439"/>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07" name="Rectangle 106"/>
          <p:cNvSpPr>
            <a:spLocks noChangeArrowheads="1"/>
          </p:cNvSpPr>
          <p:nvPr/>
        </p:nvSpPr>
        <p:spPr bwMode="auto">
          <a:xfrm>
            <a:off x="7225983" y="5586250"/>
            <a:ext cx="1554480" cy="365760"/>
          </a:xfrm>
          <a:prstGeom prst="rect">
            <a:avLst/>
          </a:prstGeom>
          <a:solidFill>
            <a:schemeClr val="bg2"/>
          </a:solidFill>
          <a:ln w="12700" algn="ctr">
            <a:noFill/>
            <a:miter lim="800000"/>
            <a:headEnd/>
            <a:tailEnd/>
          </a:ln>
        </p:spPr>
        <p:txBody>
          <a:bodyPr lIns="88900" tIns="88900" rIns="88900" bIns="88900" anchor="t"/>
          <a:lstStyle/>
          <a:p>
            <a:pPr defTabSz="957998">
              <a:spcBef>
                <a:spcPts val="300"/>
              </a:spcBef>
              <a:spcAft>
                <a:spcPts val="0"/>
              </a:spcAft>
              <a:defRPr/>
            </a:pPr>
            <a:r>
              <a:rPr lang="en-US" sz="1000" dirty="0">
                <a:latin typeface="Arial"/>
                <a:cs typeface="+mn-cs"/>
              </a:rPr>
              <a:t>Text</a:t>
            </a:r>
          </a:p>
        </p:txBody>
      </p:sp>
      <p:sp>
        <p:nvSpPr>
          <p:cNvPr id="116" name="Text Box 10"/>
          <p:cNvSpPr txBox="1">
            <a:spLocks noChangeArrowheads="1"/>
          </p:cNvSpPr>
          <p:nvPr/>
        </p:nvSpPr>
        <p:spPr bwMode="auto">
          <a:xfrm>
            <a:off x="7225983" y="4570775"/>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7" name="Rectangle 116"/>
          <p:cNvSpPr>
            <a:spLocks noChangeArrowheads="1"/>
          </p:cNvSpPr>
          <p:nvPr/>
        </p:nvSpPr>
        <p:spPr bwMode="auto">
          <a:xfrm>
            <a:off x="7225983" y="4845586"/>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24" name="Text Box 10"/>
          <p:cNvSpPr txBox="1">
            <a:spLocks noChangeArrowheads="1"/>
          </p:cNvSpPr>
          <p:nvPr/>
        </p:nvSpPr>
        <p:spPr bwMode="auto">
          <a:xfrm>
            <a:off x="7225983" y="3830111"/>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25" name="Rectangle 124"/>
          <p:cNvSpPr>
            <a:spLocks noChangeArrowheads="1"/>
          </p:cNvSpPr>
          <p:nvPr/>
        </p:nvSpPr>
        <p:spPr bwMode="auto">
          <a:xfrm>
            <a:off x="7225983" y="4104922"/>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804" name="Text Box 10"/>
          <p:cNvSpPr txBox="1">
            <a:spLocks noChangeArrowheads="1"/>
          </p:cNvSpPr>
          <p:nvPr/>
        </p:nvSpPr>
        <p:spPr bwMode="auto">
          <a:xfrm>
            <a:off x="708851" y="5311439"/>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55" name="Rectangle 154"/>
          <p:cNvSpPr>
            <a:spLocks noChangeArrowheads="1"/>
          </p:cNvSpPr>
          <p:nvPr/>
        </p:nvSpPr>
        <p:spPr bwMode="auto">
          <a:xfrm>
            <a:off x="708851" y="5586250"/>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08" name="Text Box 10"/>
          <p:cNvSpPr txBox="1">
            <a:spLocks noChangeArrowheads="1"/>
          </p:cNvSpPr>
          <p:nvPr/>
        </p:nvSpPr>
        <p:spPr bwMode="auto">
          <a:xfrm>
            <a:off x="5053605" y="5311439"/>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0" name="Rectangle 109"/>
          <p:cNvSpPr>
            <a:spLocks noChangeArrowheads="1"/>
          </p:cNvSpPr>
          <p:nvPr/>
        </p:nvSpPr>
        <p:spPr bwMode="auto">
          <a:xfrm>
            <a:off x="5053605" y="5586250"/>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11" name="Text Box 10"/>
          <p:cNvSpPr txBox="1">
            <a:spLocks noChangeArrowheads="1"/>
          </p:cNvSpPr>
          <p:nvPr/>
        </p:nvSpPr>
        <p:spPr bwMode="auto">
          <a:xfrm>
            <a:off x="2881228" y="5311439"/>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2" name="Rectangle 111"/>
          <p:cNvSpPr>
            <a:spLocks noChangeArrowheads="1"/>
          </p:cNvSpPr>
          <p:nvPr/>
        </p:nvSpPr>
        <p:spPr bwMode="auto">
          <a:xfrm>
            <a:off x="2881228" y="5586250"/>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14" name="Text Box 10"/>
          <p:cNvSpPr txBox="1">
            <a:spLocks noChangeArrowheads="1"/>
          </p:cNvSpPr>
          <p:nvPr/>
        </p:nvSpPr>
        <p:spPr bwMode="auto">
          <a:xfrm>
            <a:off x="708851" y="4589063"/>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5" name="Rectangle 114"/>
          <p:cNvSpPr>
            <a:spLocks noChangeArrowheads="1"/>
          </p:cNvSpPr>
          <p:nvPr/>
        </p:nvSpPr>
        <p:spPr bwMode="auto">
          <a:xfrm>
            <a:off x="708851" y="4845586"/>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18" name="Text Box 10"/>
          <p:cNvSpPr txBox="1">
            <a:spLocks noChangeArrowheads="1"/>
          </p:cNvSpPr>
          <p:nvPr/>
        </p:nvSpPr>
        <p:spPr bwMode="auto">
          <a:xfrm>
            <a:off x="5053605" y="4570775"/>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19" name="Rectangle 118"/>
          <p:cNvSpPr>
            <a:spLocks noChangeArrowheads="1"/>
          </p:cNvSpPr>
          <p:nvPr/>
        </p:nvSpPr>
        <p:spPr bwMode="auto">
          <a:xfrm>
            <a:off x="5053605" y="4845586"/>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20" name="Text Box 10"/>
          <p:cNvSpPr txBox="1">
            <a:spLocks noChangeArrowheads="1"/>
          </p:cNvSpPr>
          <p:nvPr/>
        </p:nvSpPr>
        <p:spPr bwMode="auto">
          <a:xfrm>
            <a:off x="2881228" y="4570775"/>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21" name="Rectangle 120"/>
          <p:cNvSpPr>
            <a:spLocks noChangeArrowheads="1"/>
          </p:cNvSpPr>
          <p:nvPr/>
        </p:nvSpPr>
        <p:spPr bwMode="auto">
          <a:xfrm>
            <a:off x="2881228" y="4845586"/>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22" name="Text Box 10"/>
          <p:cNvSpPr txBox="1">
            <a:spLocks noChangeArrowheads="1"/>
          </p:cNvSpPr>
          <p:nvPr/>
        </p:nvSpPr>
        <p:spPr bwMode="auto">
          <a:xfrm>
            <a:off x="708851" y="3866687"/>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23" name="Rectangle 122"/>
          <p:cNvSpPr>
            <a:spLocks noChangeArrowheads="1"/>
          </p:cNvSpPr>
          <p:nvPr/>
        </p:nvSpPr>
        <p:spPr bwMode="auto">
          <a:xfrm>
            <a:off x="708851" y="4141498"/>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27" name="Text Box 10"/>
          <p:cNvSpPr txBox="1">
            <a:spLocks noChangeArrowheads="1"/>
          </p:cNvSpPr>
          <p:nvPr/>
        </p:nvSpPr>
        <p:spPr bwMode="auto">
          <a:xfrm>
            <a:off x="5053605" y="3830111"/>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28" name="Rectangle 127"/>
          <p:cNvSpPr>
            <a:spLocks noChangeArrowheads="1"/>
          </p:cNvSpPr>
          <p:nvPr/>
        </p:nvSpPr>
        <p:spPr bwMode="auto">
          <a:xfrm>
            <a:off x="5053605" y="4104922"/>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130" name="Text Box 10"/>
          <p:cNvSpPr txBox="1">
            <a:spLocks noChangeArrowheads="1"/>
          </p:cNvSpPr>
          <p:nvPr/>
        </p:nvSpPr>
        <p:spPr bwMode="auto">
          <a:xfrm>
            <a:off x="2881228" y="3830111"/>
            <a:ext cx="155448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131" name="Rectangle 130"/>
          <p:cNvSpPr>
            <a:spLocks noChangeArrowheads="1"/>
          </p:cNvSpPr>
          <p:nvPr/>
        </p:nvSpPr>
        <p:spPr bwMode="auto">
          <a:xfrm>
            <a:off x="2881228" y="4104922"/>
            <a:ext cx="1554480" cy="36576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796" name="Text Box 10"/>
          <p:cNvSpPr txBox="1">
            <a:spLocks noChangeArrowheads="1"/>
          </p:cNvSpPr>
          <p:nvPr/>
        </p:nvSpPr>
        <p:spPr bwMode="auto">
          <a:xfrm>
            <a:off x="369061" y="2907605"/>
            <a:ext cx="155448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97" name="Rectangle 96"/>
          <p:cNvSpPr>
            <a:spLocks noChangeArrowheads="1"/>
          </p:cNvSpPr>
          <p:nvPr/>
        </p:nvSpPr>
        <p:spPr bwMode="auto">
          <a:xfrm>
            <a:off x="369061" y="3173430"/>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794" name="Text Box 10"/>
          <p:cNvSpPr txBox="1">
            <a:spLocks noChangeArrowheads="1"/>
          </p:cNvSpPr>
          <p:nvPr/>
        </p:nvSpPr>
        <p:spPr bwMode="auto">
          <a:xfrm>
            <a:off x="4671737" y="2907605"/>
            <a:ext cx="155448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100" name="Rectangle 99"/>
          <p:cNvSpPr>
            <a:spLocks noChangeArrowheads="1"/>
          </p:cNvSpPr>
          <p:nvPr/>
        </p:nvSpPr>
        <p:spPr bwMode="auto">
          <a:xfrm>
            <a:off x="4671737" y="3173430"/>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792" name="Text Box 10"/>
          <p:cNvSpPr txBox="1">
            <a:spLocks noChangeArrowheads="1"/>
          </p:cNvSpPr>
          <p:nvPr/>
        </p:nvSpPr>
        <p:spPr bwMode="auto">
          <a:xfrm>
            <a:off x="2520399" y="2907605"/>
            <a:ext cx="155448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103" name="Rectangle 102"/>
          <p:cNvSpPr>
            <a:spLocks noChangeArrowheads="1"/>
          </p:cNvSpPr>
          <p:nvPr/>
        </p:nvSpPr>
        <p:spPr bwMode="auto">
          <a:xfrm>
            <a:off x="2520399" y="3173430"/>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243790" name="Text Box 10"/>
          <p:cNvSpPr txBox="1">
            <a:spLocks noChangeArrowheads="1"/>
          </p:cNvSpPr>
          <p:nvPr/>
        </p:nvSpPr>
        <p:spPr bwMode="auto">
          <a:xfrm>
            <a:off x="6823074" y="2907605"/>
            <a:ext cx="155448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106" name="Rectangle 105"/>
          <p:cNvSpPr>
            <a:spLocks noChangeArrowheads="1"/>
          </p:cNvSpPr>
          <p:nvPr/>
        </p:nvSpPr>
        <p:spPr bwMode="auto">
          <a:xfrm>
            <a:off x="6823074" y="3173430"/>
            <a:ext cx="1554480" cy="50292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cxnSp>
        <p:nvCxnSpPr>
          <p:cNvPr id="10" name="AutoShape 9"/>
          <p:cNvCxnSpPr>
            <a:cxnSpLocks noChangeShapeType="1"/>
            <a:stCxn id="35" idx="0"/>
            <a:endCxn id="34" idx="2"/>
          </p:cNvCxnSpPr>
          <p:nvPr/>
        </p:nvCxnSpPr>
        <p:spPr bwMode="auto">
          <a:xfrm rot="5400000" flipH="1" flipV="1">
            <a:off x="2931244" y="1247275"/>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5699585" y="1290521"/>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4563857" y="2426250"/>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609268" y="3733363"/>
            <a:ext cx="2286000" cy="6882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30" name="Text Box 10"/>
          <p:cNvSpPr txBox="1">
            <a:spLocks noChangeArrowheads="1"/>
          </p:cNvSpPr>
          <p:nvPr/>
        </p:nvSpPr>
        <p:spPr bwMode="auto">
          <a:xfrm>
            <a:off x="3420857" y="1611785"/>
            <a:ext cx="228600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t>Label</a:t>
            </a:r>
          </a:p>
        </p:txBody>
      </p:sp>
      <p:sp>
        <p:nvSpPr>
          <p:cNvPr id="34" name="Rectangle 33"/>
          <p:cNvSpPr>
            <a:spLocks noChangeArrowheads="1"/>
          </p:cNvSpPr>
          <p:nvPr/>
        </p:nvSpPr>
        <p:spPr bwMode="auto">
          <a:xfrm>
            <a:off x="3420857" y="1877610"/>
            <a:ext cx="2286000" cy="54864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35" name="Text Box 10"/>
          <p:cNvSpPr txBox="1">
            <a:spLocks noChangeArrowheads="1"/>
          </p:cNvSpPr>
          <p:nvPr/>
        </p:nvSpPr>
        <p:spPr bwMode="auto">
          <a:xfrm>
            <a:off x="609268"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36" name="Rectangle 35"/>
          <p:cNvSpPr>
            <a:spLocks noChangeArrowheads="1"/>
          </p:cNvSpPr>
          <p:nvPr/>
        </p:nvSpPr>
        <p:spPr bwMode="auto">
          <a:xfrm>
            <a:off x="609268" y="3154698"/>
            <a:ext cx="2286000" cy="54864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39" name="Text Box 10"/>
          <p:cNvSpPr txBox="1">
            <a:spLocks noChangeArrowheads="1"/>
          </p:cNvSpPr>
          <p:nvPr/>
        </p:nvSpPr>
        <p:spPr bwMode="auto">
          <a:xfrm>
            <a:off x="3420857"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40" name="Rectangle 39"/>
          <p:cNvSpPr>
            <a:spLocks noChangeArrowheads="1"/>
          </p:cNvSpPr>
          <p:nvPr/>
        </p:nvSpPr>
        <p:spPr bwMode="auto">
          <a:xfrm>
            <a:off x="3420857" y="3154698"/>
            <a:ext cx="2286000" cy="548640"/>
          </a:xfrm>
          <a:prstGeom prst="rect">
            <a:avLst/>
          </a:prstGeom>
          <a:solidFill>
            <a:schemeClr val="bg2"/>
          </a:solidFill>
          <a:ln w="12700" algn="ctr">
            <a:noFill/>
            <a:miter lim="800000"/>
            <a:headEnd/>
            <a:tailEnd/>
          </a:ln>
        </p:spPr>
        <p:txBody>
          <a:bodyPr lIns="88900" tIns="88900" rIns="88900" bIns="88900" anchor="t"/>
          <a:lstStyle/>
          <a:p>
            <a:pPr marL="359623" indent="-359623" defTabSz="957998">
              <a:spcBef>
                <a:spcPts val="300"/>
              </a:spcBef>
              <a:spcAft>
                <a:spcPts val="0"/>
              </a:spcAft>
              <a:defRPr/>
            </a:pPr>
            <a:r>
              <a:rPr lang="en-US" sz="1000" dirty="0">
                <a:latin typeface="Arial"/>
                <a:cs typeface="+mn-cs"/>
              </a:rPr>
              <a:t>Text</a:t>
            </a:r>
          </a:p>
        </p:txBody>
      </p:sp>
      <p:sp>
        <p:nvSpPr>
          <p:cNvPr id="41" name="Text Box 10"/>
          <p:cNvSpPr txBox="1">
            <a:spLocks noChangeArrowheads="1"/>
          </p:cNvSpPr>
          <p:nvPr/>
        </p:nvSpPr>
        <p:spPr bwMode="auto">
          <a:xfrm>
            <a:off x="6145950"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rPr>
              <a:t>Label</a:t>
            </a:r>
          </a:p>
        </p:txBody>
      </p:sp>
      <p:sp>
        <p:nvSpPr>
          <p:cNvPr id="42" name="Rectangle 41"/>
          <p:cNvSpPr>
            <a:spLocks noChangeArrowheads="1"/>
          </p:cNvSpPr>
          <p:nvPr/>
        </p:nvSpPr>
        <p:spPr bwMode="auto">
          <a:xfrm>
            <a:off x="6145950" y="3154698"/>
            <a:ext cx="2286000" cy="548640"/>
          </a:xfrm>
          <a:prstGeom prst="rect">
            <a:avLst/>
          </a:prstGeom>
          <a:solidFill>
            <a:schemeClr val="bg2"/>
          </a:solidFill>
          <a:ln w="12700" algn="ctr">
            <a:noFill/>
            <a:miter lim="800000"/>
            <a:headEnd/>
            <a:tailEnd/>
          </a:ln>
        </p:spPr>
        <p:txBody>
          <a:bodyPr lIns="88900" tIns="88900" rIns="88900" bIns="88900" anchor="t"/>
          <a:lstStyle/>
          <a:p>
            <a:pPr defTabSz="957998">
              <a:spcBef>
                <a:spcPts val="300"/>
              </a:spcBef>
              <a:spcAft>
                <a:spcPts val="0"/>
              </a:spcAft>
              <a:defRPr/>
            </a:pPr>
            <a:r>
              <a:rPr lang="en-US" sz="1000" dirty="0">
                <a:latin typeface="Arial"/>
                <a:cs typeface="+mn-cs"/>
              </a:rPr>
              <a:t>Text</a:t>
            </a:r>
          </a:p>
        </p:txBody>
      </p:sp>
      <p:sp>
        <p:nvSpPr>
          <p:cNvPr id="43" name="Text Placeholder 5"/>
          <p:cNvSpPr txBox="1">
            <a:spLocks/>
          </p:cNvSpPr>
          <p:nvPr/>
        </p:nvSpPr>
        <p:spPr>
          <a:xfrm>
            <a:off x="3420857" y="3733363"/>
            <a:ext cx="2286000" cy="6882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4" name="Text Placeholder 5"/>
          <p:cNvSpPr txBox="1">
            <a:spLocks/>
          </p:cNvSpPr>
          <p:nvPr/>
        </p:nvSpPr>
        <p:spPr>
          <a:xfrm>
            <a:off x="6145950" y="3733363"/>
            <a:ext cx="2286000" cy="6882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Tree>
    <p:extLst>
      <p:ext uri="{BB962C8B-B14F-4D97-AF65-F5344CB8AC3E}">
        <p14:creationId xmlns:p14="http://schemas.microsoft.com/office/powerpoint/2010/main" val="191465205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sp>
        <p:nvSpPr>
          <p:cNvPr id="6" name="Rectangle 5"/>
          <p:cNvSpPr/>
          <p:nvPr/>
        </p:nvSpPr>
        <p:spPr>
          <a:xfrm>
            <a:off x="395999" y="3487725"/>
            <a:ext cx="1494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7" name="Rectangle 6"/>
          <p:cNvSpPr/>
          <p:nvPr/>
        </p:nvSpPr>
        <p:spPr>
          <a:xfrm>
            <a:off x="3042000" y="3487725"/>
            <a:ext cx="1494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8" name="Rectangle 7"/>
          <p:cNvSpPr/>
          <p:nvPr/>
        </p:nvSpPr>
        <p:spPr>
          <a:xfrm>
            <a:off x="3042000" y="2083725"/>
            <a:ext cx="1494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9" name="Rectangle 8"/>
          <p:cNvSpPr/>
          <p:nvPr/>
        </p:nvSpPr>
        <p:spPr>
          <a:xfrm>
            <a:off x="3042000" y="4891725"/>
            <a:ext cx="1494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0" name="Rectangle 9"/>
          <p:cNvSpPr/>
          <p:nvPr/>
        </p:nvSpPr>
        <p:spPr>
          <a:xfrm>
            <a:off x="5670000" y="1723725"/>
            <a:ext cx="2610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1" name="Rectangle 10"/>
          <p:cNvSpPr/>
          <p:nvPr/>
        </p:nvSpPr>
        <p:spPr>
          <a:xfrm>
            <a:off x="5670000" y="2389725"/>
            <a:ext cx="2610000" cy="522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2" name="Rectangle 11"/>
          <p:cNvSpPr/>
          <p:nvPr/>
        </p:nvSpPr>
        <p:spPr>
          <a:xfrm>
            <a:off x="5670000" y="3145153"/>
            <a:ext cx="2610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3" name="Rectangle 12"/>
          <p:cNvSpPr/>
          <p:nvPr/>
        </p:nvSpPr>
        <p:spPr>
          <a:xfrm>
            <a:off x="5670000" y="3811153"/>
            <a:ext cx="2610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nvGrpSpPr>
          <p:cNvPr id="17" name="Group 16"/>
          <p:cNvGrpSpPr/>
          <p:nvPr/>
        </p:nvGrpSpPr>
        <p:grpSpPr>
          <a:xfrm>
            <a:off x="5670000" y="4567725"/>
            <a:ext cx="2610000" cy="1188000"/>
            <a:chOff x="5670000" y="4471284"/>
            <a:chExt cx="2610000" cy="1188000"/>
          </a:xfrm>
        </p:grpSpPr>
        <p:sp>
          <p:nvSpPr>
            <p:cNvPr id="15" name="Rectangle 14"/>
            <p:cNvSpPr/>
            <p:nvPr/>
          </p:nvSpPr>
          <p:spPr>
            <a:xfrm>
              <a:off x="5670000" y="4471284"/>
              <a:ext cx="2610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6" name="Rectangle 15"/>
            <p:cNvSpPr/>
            <p:nvPr/>
          </p:nvSpPr>
          <p:spPr>
            <a:xfrm>
              <a:off x="5670000" y="5137284"/>
              <a:ext cx="2610000" cy="522000"/>
            </a:xfrm>
            <a:prstGeom prst="rect">
              <a:avLst/>
            </a:prstGeom>
            <a:noFill/>
            <a:ln w="63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cxnSp>
        <p:nvCxnSpPr>
          <p:cNvPr id="19" name="Elbow Connector 18"/>
          <p:cNvCxnSpPr>
            <a:stCxn id="6" idx="3"/>
            <a:endCxn id="8" idx="1"/>
          </p:cNvCxnSpPr>
          <p:nvPr/>
        </p:nvCxnSpPr>
        <p:spPr>
          <a:xfrm flipV="1">
            <a:off x="1889999" y="2344725"/>
            <a:ext cx="1152001" cy="14040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8" idx="3"/>
            <a:endCxn id="10" idx="1"/>
          </p:cNvCxnSpPr>
          <p:nvPr/>
        </p:nvCxnSpPr>
        <p:spPr>
          <a:xfrm flipV="1">
            <a:off x="4536000" y="1984725"/>
            <a:ext cx="1134000" cy="3600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3"/>
          </p:cNvCxnSpPr>
          <p:nvPr/>
        </p:nvCxnSpPr>
        <p:spPr>
          <a:xfrm flipV="1">
            <a:off x="4536000" y="3388725"/>
            <a:ext cx="1134000" cy="3600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flipV="1">
            <a:off x="4536000" y="4782009"/>
            <a:ext cx="1134000" cy="3600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6" idx="3"/>
            <a:endCxn id="9" idx="1"/>
          </p:cNvCxnSpPr>
          <p:nvPr/>
        </p:nvCxnSpPr>
        <p:spPr>
          <a:xfrm>
            <a:off x="1889999" y="3748725"/>
            <a:ext cx="1152001" cy="14040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endCxn id="16" idx="1"/>
          </p:cNvCxnSpPr>
          <p:nvPr/>
        </p:nvCxnSpPr>
        <p:spPr>
          <a:xfrm>
            <a:off x="4536000" y="5140020"/>
            <a:ext cx="1134000" cy="354705"/>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7" idx="3"/>
            <a:endCxn id="13" idx="1"/>
          </p:cNvCxnSpPr>
          <p:nvPr/>
        </p:nvCxnSpPr>
        <p:spPr>
          <a:xfrm>
            <a:off x="4536000" y="3748725"/>
            <a:ext cx="1134000" cy="323428"/>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a:off x="4536000" y="2343631"/>
            <a:ext cx="1134000" cy="354705"/>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6" idx="3"/>
            <a:endCxn id="7" idx="1"/>
          </p:cNvCxnSpPr>
          <p:nvPr/>
        </p:nvCxnSpPr>
        <p:spPr>
          <a:xfrm>
            <a:off x="1889999" y="3748725"/>
            <a:ext cx="1152001"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392680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a:stCxn id="12" idx="3"/>
            <a:endCxn id="11" idx="1"/>
          </p:cNvCxnSpPr>
          <p:nvPr/>
        </p:nvCxnSpPr>
        <p:spPr>
          <a:xfrm>
            <a:off x="3649500" y="4311000"/>
            <a:ext cx="18405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6" idx="3"/>
            <a:endCxn id="15" idx="1"/>
          </p:cNvCxnSpPr>
          <p:nvPr/>
        </p:nvCxnSpPr>
        <p:spPr>
          <a:xfrm>
            <a:off x="1962000" y="5409000"/>
            <a:ext cx="52290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6" idx="2"/>
            <a:endCxn id="9" idx="0"/>
          </p:cNvCxnSpPr>
          <p:nvPr/>
        </p:nvCxnSpPr>
        <p:spPr>
          <a:xfrm>
            <a:off x="4563000" y="2592000"/>
            <a:ext cx="9000" cy="234000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7" idx="3"/>
            <a:endCxn id="10" idx="1"/>
          </p:cNvCxnSpPr>
          <p:nvPr/>
        </p:nvCxnSpPr>
        <p:spPr>
          <a:xfrm>
            <a:off x="5346000" y="3213000"/>
            <a:ext cx="1440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sp>
        <p:nvSpPr>
          <p:cNvPr id="6" name="Rectangle 5"/>
          <p:cNvSpPr/>
          <p:nvPr/>
        </p:nvSpPr>
        <p:spPr>
          <a:xfrm>
            <a:off x="3780000" y="1638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Sponsor</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7" name="Rectangle 6"/>
          <p:cNvSpPr/>
          <p:nvPr/>
        </p:nvSpPr>
        <p:spPr>
          <a:xfrm>
            <a:off x="3780000" y="2736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Management</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8" name="Rectangle 7"/>
          <p:cNvSpPr/>
          <p:nvPr/>
        </p:nvSpPr>
        <p:spPr>
          <a:xfrm>
            <a:off x="37800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Management</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9" name="Rectangle 8"/>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bg1"/>
                </a:solidFill>
              </a:rPr>
              <a:t>Workstream</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p:txBody>
      </p:sp>
      <p:sp>
        <p:nvSpPr>
          <p:cNvPr id="10" name="Rectangle 9"/>
          <p:cNvSpPr/>
          <p:nvPr/>
        </p:nvSpPr>
        <p:spPr>
          <a:xfrm>
            <a:off x="5490000" y="2736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QA</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11" name="Rectangle 10"/>
          <p:cNvSpPr/>
          <p:nvPr/>
        </p:nvSpPr>
        <p:spPr>
          <a:xfrm>
            <a:off x="54900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PMO</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12" name="Rectangle 11"/>
          <p:cNvSpPr/>
          <p:nvPr/>
        </p:nvSpPr>
        <p:spPr>
          <a:xfrm>
            <a:off x="20835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a:solidFill>
                  <a:schemeClr val="tx1"/>
                </a:solidFill>
              </a:rPr>
              <a:t>Subject experts</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a:p>
            <a:pPr>
              <a:lnSpc>
                <a:spcPct val="110000"/>
              </a:lnSpc>
            </a:pPr>
            <a:r>
              <a:rPr lang="en-GB" sz="1100" dirty="0">
                <a:solidFill>
                  <a:schemeClr val="tx1"/>
                </a:solidFill>
              </a:rPr>
              <a:t>Name Surname</a:t>
            </a:r>
          </a:p>
        </p:txBody>
      </p:sp>
      <p:sp>
        <p:nvSpPr>
          <p:cNvPr id="13" name="Rectangle 12"/>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err="1">
                <a:solidFill>
                  <a:schemeClr val="bg1"/>
                </a:solidFill>
              </a:rPr>
              <a:t>Workstream</a:t>
            </a:r>
            <a:endParaRPr lang="en-GB" sz="1100" b="1" dirty="0">
              <a:solidFill>
                <a:schemeClr val="bg1"/>
              </a:solidFill>
            </a:endParaRP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p:txBody>
      </p:sp>
      <p:sp>
        <p:nvSpPr>
          <p:cNvPr id="14" name="Rectangle 13"/>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err="1">
                <a:solidFill>
                  <a:schemeClr val="bg1"/>
                </a:solidFill>
              </a:rPr>
              <a:t>Workstream</a:t>
            </a:r>
            <a:endParaRPr lang="en-GB" sz="1100" b="1" dirty="0">
              <a:solidFill>
                <a:schemeClr val="bg1"/>
              </a:solidFill>
            </a:endParaRP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p:txBody>
      </p:sp>
      <p:sp>
        <p:nvSpPr>
          <p:cNvPr id="15" name="Rectangle 14"/>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err="1">
                <a:solidFill>
                  <a:schemeClr val="bg1"/>
                </a:solidFill>
              </a:rPr>
              <a:t>Workstream</a:t>
            </a:r>
            <a:endParaRPr lang="en-GB" sz="1100" b="1" dirty="0">
              <a:solidFill>
                <a:schemeClr val="bg1"/>
              </a:solidFill>
            </a:endParaRP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p:txBody>
      </p:sp>
      <p:sp>
        <p:nvSpPr>
          <p:cNvPr id="16" name="Rectangle 15"/>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100" b="1" dirty="0" err="1">
                <a:solidFill>
                  <a:schemeClr val="bg1"/>
                </a:solidFill>
              </a:rPr>
              <a:t>Workstream</a:t>
            </a:r>
            <a:endParaRPr lang="en-GB" sz="1100" b="1" dirty="0">
              <a:solidFill>
                <a:schemeClr val="bg1"/>
              </a:solidFill>
            </a:endParaRP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a:p>
            <a:pPr>
              <a:lnSpc>
                <a:spcPct val="110000"/>
              </a:lnSpc>
            </a:pPr>
            <a:r>
              <a:rPr lang="en-GB" sz="1100" dirty="0">
                <a:solidFill>
                  <a:schemeClr val="bg1"/>
                </a:solidFill>
              </a:rPr>
              <a:t>Name Surname</a:t>
            </a:r>
          </a:p>
        </p:txBody>
      </p:sp>
    </p:spTree>
    <p:extLst>
      <p:ext uri="{BB962C8B-B14F-4D97-AF65-F5344CB8AC3E}">
        <p14:creationId xmlns:p14="http://schemas.microsoft.com/office/powerpoint/2010/main" val="13315884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sp>
        <p:nvSpPr>
          <p:cNvPr id="3" name="Title 2"/>
          <p:cNvSpPr>
            <a:spLocks noGrp="1"/>
          </p:cNvSpPr>
          <p:nvPr>
            <p:ph type="title"/>
          </p:nvPr>
        </p:nvSpPr>
        <p:spPr/>
        <p:txBody>
          <a:bodyPr/>
          <a:lstStyle/>
          <a:p>
            <a:r>
              <a:rPr lang="en-US" dirty="0"/>
              <a:t>Tables</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218667913"/>
              </p:ext>
            </p:extLst>
          </p:nvPr>
        </p:nvGraphicFramePr>
        <p:xfrm>
          <a:off x="390525" y="2052638"/>
          <a:ext cx="8359584" cy="3797452"/>
        </p:xfrm>
        <a:graphic>
          <a:graphicData uri="http://schemas.openxmlformats.org/drawingml/2006/table">
            <a:tbl>
              <a:tblPr firstRow="1" bandRow="1">
                <a:tableStyleId>{5C22544A-7EE6-4342-B048-85BDC9FD1C3A}</a:tableStyleId>
              </a:tblPr>
              <a:tblGrid>
                <a:gridCol w="2180761">
                  <a:extLst>
                    <a:ext uri="{9D8B030D-6E8A-4147-A177-3AD203B41FA5}">
                      <a16:colId xmlns:a16="http://schemas.microsoft.com/office/drawing/2014/main" val="20000"/>
                    </a:ext>
                  </a:extLst>
                </a:gridCol>
                <a:gridCol w="6178823">
                  <a:extLst>
                    <a:ext uri="{9D8B030D-6E8A-4147-A177-3AD203B41FA5}">
                      <a16:colId xmlns:a16="http://schemas.microsoft.com/office/drawing/2014/main" val="20001"/>
                    </a:ext>
                  </a:extLst>
                </a:gridCol>
              </a:tblGrid>
              <a:tr h="500400">
                <a:tc>
                  <a:txBody>
                    <a:bodyPr/>
                    <a:lstStyle/>
                    <a:p>
                      <a:pPr marL="0" indent="0">
                        <a:lnSpc>
                          <a:spcPct val="110000"/>
                        </a:lnSpc>
                        <a:buFont typeface="Arial" panose="020B0604020202020204" pitchFamily="34" charset="0"/>
                        <a:buNone/>
                      </a:pPr>
                      <a:r>
                        <a:rPr lang="en-US" sz="1200" b="0" dirty="0">
                          <a:solidFill>
                            <a:schemeClr val="accent1"/>
                          </a:solidFill>
                          <a:latin typeface="+mn-lt"/>
                        </a:rPr>
                        <a:t>Column heading, </a:t>
                      </a:r>
                      <a:r>
                        <a:rPr lang="en-US" sz="1200" b="0" dirty="0">
                          <a:solidFill>
                            <a:schemeClr val="accent1"/>
                          </a:solidFill>
                        </a:rPr>
                        <a:t>Verdana</a:t>
                      </a:r>
                      <a:endParaRPr lang="en-US" sz="1200" b="0" dirty="0">
                        <a:solidFill>
                          <a:schemeClr val="accent1"/>
                        </a:solidFill>
                        <a:latin typeface="+mn-lt"/>
                      </a:endParaRPr>
                    </a:p>
                  </a:txBody>
                  <a:tcPr marL="91561" marR="91561"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dirty="0">
                          <a:solidFill>
                            <a:schemeClr val="accent1"/>
                          </a:solidFill>
                          <a:latin typeface="+mn-lt"/>
                        </a:rPr>
                        <a:t>Column heading,</a:t>
                      </a:r>
                      <a:r>
                        <a:rPr lang="en-GB" sz="1200" b="0" baseline="0" dirty="0">
                          <a:solidFill>
                            <a:schemeClr val="accent1"/>
                          </a:solidFill>
                          <a:latin typeface="+mn-lt"/>
                        </a:rPr>
                        <a:t> </a:t>
                      </a:r>
                      <a:r>
                        <a:rPr lang="en-US" sz="1200" b="0" dirty="0">
                          <a:solidFill>
                            <a:schemeClr val="accent1"/>
                          </a:solidFill>
                        </a:rPr>
                        <a:t>Verdana</a:t>
                      </a:r>
                      <a:endParaRPr lang="en-GB" sz="1200" b="0" dirty="0">
                        <a:solidFill>
                          <a:schemeClr val="accent1"/>
                        </a:solidFill>
                        <a:latin typeface="+mn-lt"/>
                      </a:endParaRPr>
                    </a:p>
                  </a:txBody>
                  <a:tcPr marL="91561" marR="91561"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100" b="0" dirty="0">
                          <a:solidFill>
                            <a:schemeClr val="tx1"/>
                          </a:solidFill>
                          <a:latin typeface="+mn-lt"/>
                        </a:rPr>
                        <a:t>Row</a:t>
                      </a:r>
                      <a:r>
                        <a:rPr lang="en-US" sz="1100" b="0" baseline="0" dirty="0">
                          <a:solidFill>
                            <a:schemeClr val="tx1"/>
                          </a:solidFill>
                          <a:latin typeface="+mn-lt"/>
                        </a:rPr>
                        <a:t> title</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1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a:solidFill>
                            <a:schemeClr val="tx1"/>
                          </a:solidFill>
                          <a:latin typeface="+mn-lt"/>
                        </a:rPr>
                        <a:t>This is dummy text it is not here to be read this is dummy text</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100" b="0" dirty="0">
                          <a:solidFill>
                            <a:schemeClr val="tx1"/>
                          </a:solidFill>
                          <a:latin typeface="+mn-lt"/>
                        </a:rPr>
                        <a:t>Row</a:t>
                      </a:r>
                      <a:r>
                        <a:rPr lang="en-US" sz="1100" b="0" baseline="0" dirty="0">
                          <a:solidFill>
                            <a:schemeClr val="tx1"/>
                          </a:solidFill>
                          <a:latin typeface="+mn-lt"/>
                        </a:rPr>
                        <a:t> title</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1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a:solidFill>
                            <a:schemeClr val="tx1"/>
                          </a:solidFill>
                          <a:latin typeface="+mn-lt"/>
                          <a:ea typeface="+mn-ea"/>
                          <a:cs typeface="+mn-cs"/>
                        </a:rPr>
                        <a:t>This is dummy text it is not here to be read this is dummy text</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100" b="0" dirty="0">
                          <a:solidFill>
                            <a:schemeClr val="tx1"/>
                          </a:solidFill>
                          <a:latin typeface="+mn-lt"/>
                        </a:rPr>
                        <a:t>Row</a:t>
                      </a:r>
                      <a:r>
                        <a:rPr lang="en-US" sz="1100" b="0" baseline="0" dirty="0">
                          <a:solidFill>
                            <a:schemeClr val="tx1"/>
                          </a:solidFill>
                          <a:latin typeface="+mn-lt"/>
                        </a:rPr>
                        <a:t> title</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1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a:solidFill>
                            <a:schemeClr val="tx1"/>
                          </a:solidFill>
                          <a:latin typeface="+mn-lt"/>
                          <a:ea typeface="+mn-ea"/>
                          <a:cs typeface="+mn-cs"/>
                        </a:rPr>
                        <a:t>This is dummy text it is not here to be read this is dummy text</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100" b="0" dirty="0">
                          <a:solidFill>
                            <a:schemeClr val="tx1"/>
                          </a:solidFill>
                          <a:latin typeface="+mn-lt"/>
                        </a:rPr>
                        <a:t>Row</a:t>
                      </a:r>
                      <a:r>
                        <a:rPr lang="en-US" sz="1100" b="0" baseline="0" dirty="0">
                          <a:solidFill>
                            <a:schemeClr val="tx1"/>
                          </a:solidFill>
                          <a:latin typeface="+mn-lt"/>
                        </a:rPr>
                        <a:t> title</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1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a:solidFill>
                            <a:schemeClr val="tx1"/>
                          </a:solidFill>
                          <a:latin typeface="+mn-lt"/>
                          <a:ea typeface="+mn-ea"/>
                          <a:cs typeface="+mn-cs"/>
                        </a:rPr>
                        <a:t>This is dummy text it is not here to be read this is dummy text</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type="body" sz="quarter" idx="18"/>
          </p:nvPr>
        </p:nvSpPr>
        <p:spPr/>
        <p:txBody>
          <a:bodyPr/>
          <a:lstStyle/>
          <a:p>
            <a:r>
              <a:rPr lang="en-US"/>
              <a:t>Table title runs here</a:t>
            </a:r>
          </a:p>
          <a:p>
            <a:endParaRPr lang="en-US" dirty="0"/>
          </a:p>
        </p:txBody>
      </p:sp>
      <p:sp>
        <p:nvSpPr>
          <p:cNvPr id="37" name="Text Placeholder 36"/>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197123796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bwMode="gray">
          <a:xfrm>
            <a:off x="3033265" y="2970978"/>
            <a:ext cx="0" cy="32353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1924287" y="4715969"/>
            <a:ext cx="1116000" cy="2376"/>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sp>
        <p:nvSpPr>
          <p:cNvPr id="68" name="Text Placeholder 65"/>
          <p:cNvSpPr txBox="1">
            <a:spLocks/>
          </p:cNvSpPr>
          <p:nvPr/>
        </p:nvSpPr>
        <p:spPr bwMode="gray">
          <a:xfrm>
            <a:off x="5704319" y="1969954"/>
            <a:ext cx="3142798" cy="100584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100" dirty="0"/>
              <a:t>Make key decisions, sign-off on major deliverables and act on recommendations</a:t>
            </a:r>
          </a:p>
          <a:p>
            <a:pPr marL="101600" lvl="1" indent="-101600">
              <a:spcBef>
                <a:spcPts val="300"/>
              </a:spcBef>
              <a:buSzPct val="100000"/>
              <a:buFont typeface="Arial"/>
              <a:buChar char="•"/>
            </a:pPr>
            <a:r>
              <a:rPr lang="en-US" sz="1100" dirty="0"/>
              <a:t>Identify and assign appropriate resources to the project</a:t>
            </a:r>
          </a:p>
        </p:txBody>
      </p:sp>
      <p:sp>
        <p:nvSpPr>
          <p:cNvPr id="72" name="Text Placeholder 65"/>
          <p:cNvSpPr txBox="1">
            <a:spLocks/>
          </p:cNvSpPr>
          <p:nvPr/>
        </p:nvSpPr>
        <p:spPr bwMode="gray">
          <a:xfrm>
            <a:off x="5704319" y="3092456"/>
            <a:ext cx="3142797" cy="100584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100" dirty="0"/>
              <a:t>Ensure objectives are met within timing and scope outlined by the Steering Committee</a:t>
            </a:r>
          </a:p>
          <a:p>
            <a:pPr marL="101600" lvl="1" indent="-101600">
              <a:spcBef>
                <a:spcPts val="300"/>
              </a:spcBef>
              <a:buSzPct val="100000"/>
              <a:buFont typeface="Arial"/>
              <a:buChar char="•"/>
            </a:pPr>
            <a:r>
              <a:rPr lang="en-US" sz="1100" dirty="0"/>
              <a:t>Manage day-to-day activities — project committee</a:t>
            </a:r>
          </a:p>
        </p:txBody>
      </p:sp>
      <p:sp>
        <p:nvSpPr>
          <p:cNvPr id="73" name="Text Placeholder 65"/>
          <p:cNvSpPr txBox="1">
            <a:spLocks/>
          </p:cNvSpPr>
          <p:nvPr/>
        </p:nvSpPr>
        <p:spPr bwMode="gray">
          <a:xfrm>
            <a:off x="5704320" y="4214958"/>
            <a:ext cx="2788920" cy="100584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100" dirty="0"/>
              <a:t>Provide insight into ...</a:t>
            </a:r>
          </a:p>
          <a:p>
            <a:pPr marL="101600" lvl="1" indent="-101600">
              <a:spcBef>
                <a:spcPts val="300"/>
              </a:spcBef>
              <a:buSzPct val="100000"/>
              <a:buFont typeface="Arial"/>
              <a:buChar char="•"/>
            </a:pPr>
            <a:r>
              <a:rPr lang="en-US" sz="1100" dirty="0"/>
              <a:t>Support team on ...</a:t>
            </a:r>
          </a:p>
        </p:txBody>
      </p:sp>
      <p:sp>
        <p:nvSpPr>
          <p:cNvPr id="74" name="Rectangle 73"/>
          <p:cNvSpPr/>
          <p:nvPr/>
        </p:nvSpPr>
        <p:spPr bwMode="gray">
          <a:xfrm>
            <a:off x="4378440" y="1969954"/>
            <a:ext cx="1188720"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tx1"/>
                </a:solidFill>
              </a:rPr>
              <a:t>Steering committee</a:t>
            </a:r>
          </a:p>
        </p:txBody>
      </p:sp>
      <p:sp>
        <p:nvSpPr>
          <p:cNvPr id="75" name="Rectangle 74"/>
          <p:cNvSpPr/>
          <p:nvPr/>
        </p:nvSpPr>
        <p:spPr bwMode="gray">
          <a:xfrm>
            <a:off x="4378440" y="3092456"/>
            <a:ext cx="1188720" cy="1005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bg1"/>
                </a:solidFill>
              </a:rPr>
              <a:t>Project management</a:t>
            </a:r>
          </a:p>
        </p:txBody>
      </p:sp>
      <p:sp>
        <p:nvSpPr>
          <p:cNvPr id="76" name="Rectangle 75"/>
          <p:cNvSpPr/>
          <p:nvPr/>
        </p:nvSpPr>
        <p:spPr bwMode="gray">
          <a:xfrm>
            <a:off x="4378440" y="4214958"/>
            <a:ext cx="1188720" cy="1005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tx1"/>
                </a:solidFill>
              </a:rPr>
              <a:t>Subject experts</a:t>
            </a:r>
          </a:p>
        </p:txBody>
      </p:sp>
      <p:sp>
        <p:nvSpPr>
          <p:cNvPr id="77" name="Rectangle 76"/>
          <p:cNvSpPr/>
          <p:nvPr/>
        </p:nvSpPr>
        <p:spPr bwMode="gray">
          <a:xfrm>
            <a:off x="4378440" y="5337459"/>
            <a:ext cx="1188720" cy="1005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bg1"/>
                </a:solidFill>
              </a:rPr>
              <a:t>Project team</a:t>
            </a:r>
          </a:p>
        </p:txBody>
      </p:sp>
      <p:sp>
        <p:nvSpPr>
          <p:cNvPr id="78" name="Text Placeholder 65"/>
          <p:cNvSpPr txBox="1">
            <a:spLocks/>
          </p:cNvSpPr>
          <p:nvPr/>
        </p:nvSpPr>
        <p:spPr bwMode="gray">
          <a:xfrm>
            <a:off x="5704320" y="5337459"/>
            <a:ext cx="2788920" cy="100584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100" dirty="0"/>
              <a:t>Interface with ...</a:t>
            </a:r>
          </a:p>
          <a:p>
            <a:pPr marL="101600" lvl="1" indent="-101600">
              <a:spcBef>
                <a:spcPts val="300"/>
              </a:spcBef>
              <a:buSzPct val="100000"/>
              <a:buFont typeface="Arial"/>
              <a:buChar char="•"/>
            </a:pPr>
            <a:r>
              <a:rPr lang="en-US" sz="1100" dirty="0"/>
              <a:t>Analyze ...</a:t>
            </a:r>
          </a:p>
          <a:p>
            <a:pPr marL="101600" lvl="1" indent="-101600">
              <a:spcBef>
                <a:spcPts val="300"/>
              </a:spcBef>
              <a:buSzPct val="100000"/>
              <a:buFont typeface="Arial"/>
              <a:buChar char="•"/>
            </a:pPr>
            <a:r>
              <a:rPr lang="en-US" sz="1100" dirty="0"/>
              <a:t>Prepare deliverables draft recommendations</a:t>
            </a:r>
          </a:p>
        </p:txBody>
      </p:sp>
      <p:sp>
        <p:nvSpPr>
          <p:cNvPr id="79" name="Rectangle 2"/>
          <p:cNvSpPr txBox="1">
            <a:spLocks noChangeArrowheads="1"/>
          </p:cNvSpPr>
          <p:nvPr/>
        </p:nvSpPr>
        <p:spPr bwMode="gray">
          <a:xfrm>
            <a:off x="4378440" y="1611313"/>
            <a:ext cx="4114800" cy="184666"/>
          </a:xfrm>
          <a:prstGeom prst="rect">
            <a:avLst/>
          </a:prstGeom>
          <a:noFill/>
          <a:ln w="9525">
            <a:noFill/>
            <a:miter lim="800000"/>
            <a:headEnd/>
            <a:tailEnd/>
          </a:ln>
        </p:spPr>
        <p:txBody>
          <a:bodyPr wrap="square" lIns="0" tIns="0" rIns="0" bIns="0">
            <a:spAutoFit/>
          </a:bodyPr>
          <a:lstStyle/>
          <a:p>
            <a:pPr defTabSz="1019175"/>
            <a:r>
              <a:rPr lang="en-US" sz="1200" dirty="0"/>
              <a:t>Responsibilities</a:t>
            </a:r>
          </a:p>
        </p:txBody>
      </p:sp>
      <p:sp>
        <p:nvSpPr>
          <p:cNvPr id="80" name="Rectangle 2"/>
          <p:cNvSpPr txBox="1">
            <a:spLocks noChangeArrowheads="1"/>
          </p:cNvSpPr>
          <p:nvPr/>
        </p:nvSpPr>
        <p:spPr bwMode="gray">
          <a:xfrm>
            <a:off x="376237" y="1611313"/>
            <a:ext cx="4114800" cy="184666"/>
          </a:xfrm>
          <a:prstGeom prst="rect">
            <a:avLst/>
          </a:prstGeom>
          <a:noFill/>
          <a:ln w="9525">
            <a:noFill/>
            <a:miter lim="800000"/>
            <a:headEnd/>
            <a:tailEnd/>
          </a:ln>
        </p:spPr>
        <p:txBody>
          <a:bodyPr wrap="square" lIns="0" tIns="0" rIns="0" bIns="0">
            <a:spAutoFit/>
          </a:bodyPr>
          <a:lstStyle/>
          <a:p>
            <a:pPr defTabSz="1019175"/>
            <a:r>
              <a:rPr lang="en-US" sz="1200" dirty="0"/>
              <a:t>Role</a:t>
            </a:r>
          </a:p>
        </p:txBody>
      </p:sp>
      <p:cxnSp>
        <p:nvCxnSpPr>
          <p:cNvPr id="53" name="Straight Connector 52"/>
          <p:cNvCxnSpPr>
            <a:stCxn id="33" idx="2"/>
            <a:endCxn id="40" idx="0"/>
          </p:cNvCxnSpPr>
          <p:nvPr/>
        </p:nvCxnSpPr>
        <p:spPr bwMode="gray">
          <a:xfrm>
            <a:off x="3039468" y="4096856"/>
            <a:ext cx="0" cy="1240603"/>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gray">
          <a:xfrm>
            <a:off x="2262228" y="5337459"/>
            <a:ext cx="1554480" cy="100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t>Project team</a:t>
            </a:r>
          </a:p>
          <a:p>
            <a:endParaRPr lang="en-US" sz="1050" b="1" dirty="0"/>
          </a:p>
          <a:p>
            <a:r>
              <a:rPr lang="en-US" sz="1050" dirty="0">
                <a:solidFill>
                  <a:schemeClr val="bg1"/>
                </a:solidFill>
              </a:rPr>
              <a:t>Name Surname</a:t>
            </a:r>
          </a:p>
          <a:p>
            <a:r>
              <a:rPr lang="en-US" sz="1050" dirty="0">
                <a:solidFill>
                  <a:schemeClr val="bg1"/>
                </a:solidFill>
              </a:rPr>
              <a:t>Name Surname</a:t>
            </a:r>
          </a:p>
        </p:txBody>
      </p:sp>
      <p:sp>
        <p:nvSpPr>
          <p:cNvPr id="31" name="Rectangle 30"/>
          <p:cNvSpPr/>
          <p:nvPr/>
        </p:nvSpPr>
        <p:spPr bwMode="gray">
          <a:xfrm>
            <a:off x="2256025" y="1974850"/>
            <a:ext cx="1554480" cy="100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tx1"/>
                </a:solidFill>
              </a:rPr>
              <a:t>Steering committee</a:t>
            </a:r>
          </a:p>
          <a:p>
            <a:endParaRPr lang="en-US" sz="1050" b="1" dirty="0">
              <a:solidFill>
                <a:schemeClr val="tx1"/>
              </a:solidFill>
            </a:endParaRPr>
          </a:p>
          <a:p>
            <a:r>
              <a:rPr lang="en-US" sz="1050" dirty="0">
                <a:solidFill>
                  <a:schemeClr val="tx1"/>
                </a:solidFill>
              </a:rPr>
              <a:t>Name Surname</a:t>
            </a:r>
          </a:p>
          <a:p>
            <a:r>
              <a:rPr lang="en-US" sz="1050" dirty="0">
                <a:solidFill>
                  <a:schemeClr val="tx1"/>
                </a:solidFill>
              </a:rPr>
              <a:t>Name Surname</a:t>
            </a:r>
          </a:p>
        </p:txBody>
      </p:sp>
      <p:sp>
        <p:nvSpPr>
          <p:cNvPr id="33" name="Rectangle 32"/>
          <p:cNvSpPr/>
          <p:nvPr/>
        </p:nvSpPr>
        <p:spPr bwMode="gray">
          <a:xfrm>
            <a:off x="2262228" y="3092456"/>
            <a:ext cx="1554480" cy="100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t>Project management</a:t>
            </a:r>
          </a:p>
          <a:p>
            <a:endParaRPr lang="en-US" sz="1050" b="1" dirty="0"/>
          </a:p>
          <a:p>
            <a:r>
              <a:rPr lang="en-US" sz="1050" dirty="0">
                <a:solidFill>
                  <a:schemeClr val="bg1"/>
                </a:solidFill>
              </a:rPr>
              <a:t>Name Surname</a:t>
            </a:r>
          </a:p>
          <a:p>
            <a:r>
              <a:rPr lang="en-US" sz="1050" dirty="0">
                <a:solidFill>
                  <a:schemeClr val="bg1"/>
                </a:solidFill>
              </a:rPr>
              <a:t>Name Surname</a:t>
            </a:r>
          </a:p>
        </p:txBody>
      </p:sp>
      <p:sp>
        <p:nvSpPr>
          <p:cNvPr id="34" name="Rectangle 33"/>
          <p:cNvSpPr/>
          <p:nvPr/>
        </p:nvSpPr>
        <p:spPr bwMode="gray">
          <a:xfrm>
            <a:off x="376237" y="4216398"/>
            <a:ext cx="1554480" cy="100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50" b="1" dirty="0">
                <a:solidFill>
                  <a:schemeClr val="tx1"/>
                </a:solidFill>
              </a:rPr>
              <a:t>Subject experts</a:t>
            </a:r>
          </a:p>
          <a:p>
            <a:endParaRPr lang="en-US" sz="1050" b="1" dirty="0">
              <a:solidFill>
                <a:schemeClr val="tx1"/>
              </a:solidFill>
            </a:endParaRPr>
          </a:p>
          <a:p>
            <a:r>
              <a:rPr lang="en-US" sz="1050" dirty="0">
                <a:solidFill>
                  <a:schemeClr val="tx1"/>
                </a:solidFill>
              </a:rPr>
              <a:t>Name Surname</a:t>
            </a:r>
          </a:p>
          <a:p>
            <a:r>
              <a:rPr lang="en-US" sz="1050" dirty="0">
                <a:solidFill>
                  <a:schemeClr val="tx1"/>
                </a:solidFill>
              </a:rPr>
              <a:t>Name Surname</a:t>
            </a:r>
          </a:p>
        </p:txBody>
      </p:sp>
    </p:spTree>
    <p:extLst>
      <p:ext uri="{BB962C8B-B14F-4D97-AF65-F5344CB8AC3E}">
        <p14:creationId xmlns:p14="http://schemas.microsoft.com/office/powerpoint/2010/main" val="131335982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7" name="Group 6"/>
          <p:cNvGrpSpPr/>
          <p:nvPr/>
        </p:nvGrpSpPr>
        <p:grpSpPr>
          <a:xfrm>
            <a:off x="365760" y="2008436"/>
            <a:ext cx="4125912" cy="3423986"/>
            <a:chOff x="374650" y="1980999"/>
            <a:chExt cx="4125912" cy="3451426"/>
          </a:xfrm>
        </p:grpSpPr>
        <p:sp>
          <p:nvSpPr>
            <p:cNvPr id="16" name="Freeform 6"/>
            <p:cNvSpPr>
              <a:spLocks/>
            </p:cNvSpPr>
            <p:nvPr/>
          </p:nvSpPr>
          <p:spPr bwMode="gray">
            <a:xfrm>
              <a:off x="1920207" y="1980999"/>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200" dirty="0"/>
            </a:p>
          </p:txBody>
        </p:sp>
        <p:sp>
          <p:nvSpPr>
            <p:cNvPr id="17" name="Freeform 7"/>
            <p:cNvSpPr>
              <a:spLocks/>
            </p:cNvSpPr>
            <p:nvPr/>
          </p:nvSpPr>
          <p:spPr bwMode="gray">
            <a:xfrm>
              <a:off x="1406497" y="2835139"/>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6">
                <a:lumMod val="20000"/>
                <a:lumOff val="80000"/>
              </a:schemeClr>
            </a:solidFill>
            <a:ln w="12700">
              <a:noFill/>
              <a:round/>
              <a:headEnd/>
              <a:tailEnd/>
            </a:ln>
          </p:spPr>
          <p:txBody>
            <a:bodyPr lIns="0" tIns="0" rIns="0" bIns="0" anchor="ctr"/>
            <a:lstStyle/>
            <a:p>
              <a:pPr algn="ctr" eaLnBrk="0" hangingPunct="0"/>
              <a:endParaRPr lang="en-US" sz="1200" dirty="0"/>
            </a:p>
          </p:txBody>
        </p:sp>
        <p:sp>
          <p:nvSpPr>
            <p:cNvPr id="18" name="Freeform 8"/>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6"/>
            </a:solidFill>
            <a:ln w="12700">
              <a:noFill/>
              <a:round/>
              <a:headEnd/>
              <a:tailEnd/>
            </a:ln>
          </p:spPr>
          <p:txBody>
            <a:bodyPr lIns="0" tIns="0" rIns="0" bIns="0" anchor="ctr"/>
            <a:lstStyle/>
            <a:p>
              <a:pPr algn="ctr" eaLnBrk="0" hangingPunct="0"/>
              <a:endParaRPr lang="en-US" sz="1200" dirty="0"/>
            </a:p>
          </p:txBody>
        </p:sp>
        <p:sp>
          <p:nvSpPr>
            <p:cNvPr id="19" name="Freeform 9"/>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6">
                <a:lumMod val="40000"/>
                <a:lumOff val="60000"/>
              </a:schemeClr>
            </a:solidFill>
            <a:ln w="12700">
              <a:noFill/>
              <a:round/>
              <a:headEnd/>
              <a:tailEnd/>
            </a:ln>
          </p:spPr>
          <p:txBody>
            <a:bodyPr lIns="0" tIns="0" rIns="0" bIns="0" anchor="ctr"/>
            <a:lstStyle/>
            <a:p>
              <a:pPr algn="ctr" eaLnBrk="0" hangingPunct="0"/>
              <a:endParaRPr lang="en-US" sz="1200" dirty="0"/>
            </a:p>
          </p:txBody>
        </p:sp>
        <p:sp>
          <p:nvSpPr>
            <p:cNvPr id="20" name="Text Box 11"/>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200" dirty="0">
                  <a:solidFill>
                    <a:schemeClr val="bg1"/>
                  </a:solidFill>
                </a:rPr>
                <a:t>Text</a:t>
              </a:r>
            </a:p>
          </p:txBody>
        </p:sp>
        <p:sp>
          <p:nvSpPr>
            <p:cNvPr id="21" name="Text Box 15"/>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200" dirty="0"/>
                <a:t>Text</a:t>
              </a:r>
            </a:p>
          </p:txBody>
        </p:sp>
        <p:sp>
          <p:nvSpPr>
            <p:cNvPr id="22" name="Text Box 16"/>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200" dirty="0"/>
                <a:t>Text</a:t>
              </a:r>
            </a:p>
          </p:txBody>
        </p:sp>
        <p:sp>
          <p:nvSpPr>
            <p:cNvPr id="23" name="Text Box 17"/>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200" dirty="0"/>
                <a:t>Text</a:t>
              </a:r>
            </a:p>
          </p:txBody>
        </p:sp>
      </p:grpSp>
      <p:grpSp>
        <p:nvGrpSpPr>
          <p:cNvPr id="6" name="Group 5"/>
          <p:cNvGrpSpPr/>
          <p:nvPr/>
        </p:nvGrpSpPr>
        <p:grpSpPr>
          <a:xfrm>
            <a:off x="4728960" y="2041547"/>
            <a:ext cx="4013183" cy="3390876"/>
            <a:chOff x="4701964" y="2011160"/>
            <a:chExt cx="4013183" cy="3390876"/>
          </a:xfrm>
        </p:grpSpPr>
        <p:sp>
          <p:nvSpPr>
            <p:cNvPr id="29" name="AutoShape 3"/>
            <p:cNvSpPr>
              <a:spLocks noChangeArrowheads="1"/>
            </p:cNvSpPr>
            <p:nvPr/>
          </p:nvSpPr>
          <p:spPr bwMode="gray">
            <a:xfrm>
              <a:off x="4701964" y="3694186"/>
              <a:ext cx="2015944" cy="1707850"/>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t>Text</a:t>
              </a:r>
            </a:p>
          </p:txBody>
        </p:sp>
        <p:sp>
          <p:nvSpPr>
            <p:cNvPr id="30" name="AutoShape 4"/>
            <p:cNvSpPr>
              <a:spLocks noChangeArrowheads="1"/>
            </p:cNvSpPr>
            <p:nvPr/>
          </p:nvSpPr>
          <p:spPr bwMode="gray">
            <a:xfrm>
              <a:off x="6699203" y="3708333"/>
              <a:ext cx="2015944" cy="1693703"/>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t>Text</a:t>
              </a:r>
            </a:p>
          </p:txBody>
        </p:sp>
        <p:sp>
          <p:nvSpPr>
            <p:cNvPr id="31" name="AutoShape 5"/>
            <p:cNvSpPr>
              <a:spLocks noChangeArrowheads="1"/>
            </p:cNvSpPr>
            <p:nvPr/>
          </p:nvSpPr>
          <p:spPr bwMode="gray">
            <a:xfrm>
              <a:off x="5697625" y="2011160"/>
              <a:ext cx="2017537" cy="1703850"/>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fontAlgn="auto">
                <a:spcBef>
                  <a:spcPts val="0"/>
                </a:spcBef>
                <a:spcAft>
                  <a:spcPts val="0"/>
                </a:spcAft>
              </a:pPr>
              <a:r>
                <a:rPr lang="en-US" sz="1200" dirty="0"/>
                <a:t>Text</a:t>
              </a:r>
            </a:p>
          </p:txBody>
        </p:sp>
        <p:sp>
          <p:nvSpPr>
            <p:cNvPr id="32"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fontAlgn="auto">
                <a:spcBef>
                  <a:spcPts val="0"/>
                </a:spcBef>
                <a:spcAft>
                  <a:spcPts val="0"/>
                </a:spcAft>
              </a:pPr>
              <a:r>
                <a:rPr lang="en-US" sz="1200" dirty="0"/>
                <a:t>Text</a:t>
              </a:r>
            </a:p>
          </p:txBody>
        </p:sp>
      </p:grpSp>
      <p:sp>
        <p:nvSpPr>
          <p:cNvPr id="24" name="Text Placeholder 11"/>
          <p:cNvSpPr txBox="1">
            <a:spLocks/>
          </p:cNvSpPr>
          <p:nvPr/>
        </p:nvSpPr>
        <p:spPr bwMode="gray">
          <a:xfrm>
            <a:off x="395288" y="6018237"/>
            <a:ext cx="8412480"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fontAlgn="base"/>
            <a:r>
              <a:rPr lang="en-US" sz="900" dirty="0"/>
              <a:t>Source:</a:t>
            </a:r>
          </a:p>
          <a:p>
            <a:pPr fontAlgn="base"/>
            <a:r>
              <a:rPr lang="en-US" sz="900" dirty="0"/>
              <a:t>Note: </a:t>
            </a:r>
          </a:p>
        </p:txBody>
      </p:sp>
      <p:sp>
        <p:nvSpPr>
          <p:cNvPr id="28" name="Text Placeholder 4"/>
          <p:cNvSpPr txBox="1">
            <a:spLocks/>
          </p:cNvSpPr>
          <p:nvPr/>
        </p:nvSpPr>
        <p:spPr>
          <a:xfrm>
            <a:off x="4755916" y="1700213"/>
            <a:ext cx="3994383" cy="38576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itle runs here</a:t>
            </a:r>
          </a:p>
        </p:txBody>
      </p:sp>
      <p:sp>
        <p:nvSpPr>
          <p:cNvPr id="33" name="Text Placeholder 8"/>
          <p:cNvSpPr txBox="1">
            <a:spLocks/>
          </p:cNvSpPr>
          <p:nvPr/>
        </p:nvSpPr>
        <p:spPr>
          <a:xfrm>
            <a:off x="391081" y="1700213"/>
            <a:ext cx="3989454" cy="38576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Title runs here</a:t>
            </a: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54" name="Group 53"/>
          <p:cNvGrpSpPr/>
          <p:nvPr/>
        </p:nvGrpSpPr>
        <p:grpSpPr>
          <a:xfrm>
            <a:off x="365760" y="2008436"/>
            <a:ext cx="4125912" cy="3423986"/>
            <a:chOff x="374650" y="1980999"/>
            <a:chExt cx="4125912" cy="3451426"/>
          </a:xfrm>
        </p:grpSpPr>
        <p:sp>
          <p:nvSpPr>
            <p:cNvPr id="55" name="Freeform 6"/>
            <p:cNvSpPr>
              <a:spLocks/>
            </p:cNvSpPr>
            <p:nvPr/>
          </p:nvSpPr>
          <p:spPr bwMode="gray">
            <a:xfrm>
              <a:off x="1920207" y="1980999"/>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rgbClr val="0097A9"/>
            </a:solidFill>
            <a:ln w="12700">
              <a:noFill/>
              <a:round/>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sp>
          <p:nvSpPr>
            <p:cNvPr id="56" name="Freeform 7"/>
            <p:cNvSpPr>
              <a:spLocks/>
            </p:cNvSpPr>
            <p:nvPr/>
          </p:nvSpPr>
          <p:spPr bwMode="gray">
            <a:xfrm>
              <a:off x="1406497" y="2835139"/>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rgbClr val="44546A">
                <a:lumMod val="20000"/>
                <a:lumOff val="80000"/>
              </a:srgbClr>
            </a:solidFill>
            <a:ln w="12700">
              <a:noFill/>
              <a:round/>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sp>
          <p:nvSpPr>
            <p:cNvPr id="57" name="Freeform 8"/>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rgbClr val="012169"/>
            </a:solidFill>
            <a:ln w="12700">
              <a:noFill/>
              <a:round/>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sp>
          <p:nvSpPr>
            <p:cNvPr id="58" name="Freeform 9"/>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rgbClr val="44546A">
                <a:lumMod val="60000"/>
                <a:lumOff val="40000"/>
              </a:srgbClr>
            </a:solidFill>
            <a:ln w="12700">
              <a:noFill/>
              <a:round/>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sp>
          <p:nvSpPr>
            <p:cNvPr id="59" name="Text Box 11"/>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Text</a:t>
              </a:r>
            </a:p>
          </p:txBody>
        </p:sp>
        <p:sp>
          <p:nvSpPr>
            <p:cNvPr id="60" name="Text Box 15"/>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sp>
          <p:nvSpPr>
            <p:cNvPr id="61" name="Text Box 16"/>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sp>
          <p:nvSpPr>
            <p:cNvPr id="62" name="Text Box 17"/>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grpSp>
      <p:grpSp>
        <p:nvGrpSpPr>
          <p:cNvPr id="64" name="Group 63"/>
          <p:cNvGrpSpPr/>
          <p:nvPr/>
        </p:nvGrpSpPr>
        <p:grpSpPr>
          <a:xfrm>
            <a:off x="4728960" y="2041547"/>
            <a:ext cx="4013183" cy="3390876"/>
            <a:chOff x="4701964" y="2011160"/>
            <a:chExt cx="4013183" cy="3390876"/>
          </a:xfrm>
        </p:grpSpPr>
        <p:sp>
          <p:nvSpPr>
            <p:cNvPr id="65" name="AutoShape 3"/>
            <p:cNvSpPr>
              <a:spLocks noChangeArrowheads="1"/>
            </p:cNvSpPr>
            <p:nvPr/>
          </p:nvSpPr>
          <p:spPr bwMode="gray">
            <a:xfrm>
              <a:off x="4701964" y="3694186"/>
              <a:ext cx="2015944" cy="1707850"/>
            </a:xfrm>
            <a:prstGeom prst="triangle">
              <a:avLst>
                <a:gd name="adj" fmla="val 50000"/>
              </a:avLst>
            </a:prstGeom>
            <a:solidFill>
              <a:srgbClr val="44546A">
                <a:lumMod val="60000"/>
                <a:lumOff val="40000"/>
              </a:srgbClr>
            </a:solidFill>
            <a:ln w="28575">
              <a:noFill/>
              <a:miter lim="800000"/>
              <a:headEnd/>
              <a:tailEnd/>
            </a:ln>
            <a:effectLst/>
          </p:spPr>
          <p:txBody>
            <a:bodyPr wrap="square"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sp>
          <p:nvSpPr>
            <p:cNvPr id="66" name="AutoShape 4"/>
            <p:cNvSpPr>
              <a:spLocks noChangeArrowheads="1"/>
            </p:cNvSpPr>
            <p:nvPr/>
          </p:nvSpPr>
          <p:spPr bwMode="gray">
            <a:xfrm>
              <a:off x="6699203" y="3708333"/>
              <a:ext cx="2015944" cy="1693703"/>
            </a:xfrm>
            <a:prstGeom prst="triangle">
              <a:avLst>
                <a:gd name="adj" fmla="val 50000"/>
              </a:avLst>
            </a:prstGeom>
            <a:solidFill>
              <a:srgbClr val="44546A">
                <a:lumMod val="60000"/>
                <a:lumOff val="40000"/>
              </a:srgbClr>
            </a:solidFill>
            <a:ln w="28575">
              <a:noFill/>
              <a:miter lim="800000"/>
              <a:headEnd/>
              <a:tailEnd/>
            </a:ln>
            <a:effectLst/>
          </p:spPr>
          <p:txBody>
            <a:bodyPr wrap="square"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sp>
          <p:nvSpPr>
            <p:cNvPr id="67" name="AutoShape 5"/>
            <p:cNvSpPr>
              <a:spLocks noChangeArrowheads="1"/>
            </p:cNvSpPr>
            <p:nvPr/>
          </p:nvSpPr>
          <p:spPr bwMode="gray">
            <a:xfrm>
              <a:off x="5697625" y="2011160"/>
              <a:ext cx="2017537" cy="1703850"/>
            </a:xfrm>
            <a:prstGeom prst="triangle">
              <a:avLst>
                <a:gd name="adj" fmla="val 50000"/>
              </a:avLst>
            </a:prstGeom>
            <a:solidFill>
              <a:srgbClr val="44546A">
                <a:lumMod val="20000"/>
                <a:lumOff val="80000"/>
              </a:srgbClr>
            </a:solidFill>
            <a:ln w="28575">
              <a:noFill/>
              <a:miter lim="800000"/>
              <a:headEnd/>
              <a:tailEnd/>
            </a:ln>
            <a:effectLst/>
          </p:spPr>
          <p:txBody>
            <a:bodyPr wrap="square"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sp>
          <p:nvSpPr>
            <p:cNvPr id="68" name="AutoShape 6"/>
            <p:cNvSpPr>
              <a:spLocks noChangeArrowheads="1"/>
            </p:cNvSpPr>
            <p:nvPr/>
          </p:nvSpPr>
          <p:spPr bwMode="gray">
            <a:xfrm flipV="1">
              <a:off x="5697625" y="3711170"/>
              <a:ext cx="2017537" cy="1675085"/>
            </a:xfrm>
            <a:prstGeom prst="triangle">
              <a:avLst>
                <a:gd name="adj" fmla="val 50000"/>
              </a:avLst>
            </a:prstGeom>
            <a:solidFill>
              <a:srgbClr val="0097A9"/>
            </a:solidFill>
            <a:ln w="28575">
              <a:noFill/>
              <a:miter lim="800000"/>
              <a:headEnd/>
              <a:tailEnd/>
            </a:ln>
            <a:effectLst/>
          </p:spPr>
          <p:txBody>
            <a:bodyPr rot="10800000" wrap="square" lIns="91440" tIns="91440" r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Text</a:t>
              </a:r>
            </a:p>
          </p:txBody>
        </p:sp>
      </p:grpSp>
      <p:sp>
        <p:nvSpPr>
          <p:cNvPr id="75" name="Text Placeholder 11"/>
          <p:cNvSpPr txBox="1">
            <a:spLocks/>
          </p:cNvSpPr>
          <p:nvPr/>
        </p:nvSpPr>
        <p:spPr bwMode="gray">
          <a:xfrm>
            <a:off x="395288" y="6018237"/>
            <a:ext cx="8412480"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fontAlgn="base"/>
            <a:r>
              <a:rPr lang="en-US" sz="900" dirty="0">
                <a:solidFill>
                  <a:schemeClr val="bg1"/>
                </a:solidFill>
              </a:rPr>
              <a:t>Source:</a:t>
            </a:r>
          </a:p>
          <a:p>
            <a:pPr fontAlgn="base"/>
            <a:r>
              <a:rPr lang="en-US" sz="900" dirty="0">
                <a:solidFill>
                  <a:schemeClr val="bg1"/>
                </a:solidFill>
              </a:rPr>
              <a:t>Note: </a:t>
            </a:r>
          </a:p>
        </p:txBody>
      </p:sp>
      <p:sp>
        <p:nvSpPr>
          <p:cNvPr id="82" name="Text Placeholder 4"/>
          <p:cNvSpPr txBox="1">
            <a:spLocks/>
          </p:cNvSpPr>
          <p:nvPr/>
        </p:nvSpPr>
        <p:spPr>
          <a:xfrm>
            <a:off x="4755916" y="1700213"/>
            <a:ext cx="3994383" cy="38576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solidFill>
                  <a:schemeClr val="bg1"/>
                </a:solidFill>
              </a:rPr>
              <a:t>Title runs here</a:t>
            </a:r>
          </a:p>
        </p:txBody>
      </p:sp>
      <p:sp>
        <p:nvSpPr>
          <p:cNvPr id="83" name="Text Placeholder 8"/>
          <p:cNvSpPr txBox="1">
            <a:spLocks/>
          </p:cNvSpPr>
          <p:nvPr/>
        </p:nvSpPr>
        <p:spPr>
          <a:xfrm>
            <a:off x="391081" y="1700213"/>
            <a:ext cx="3989454" cy="38576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solidFill>
                  <a:schemeClr val="bg1"/>
                </a:solidFill>
              </a:rPr>
              <a:t>Title runs here</a:t>
            </a:r>
          </a:p>
        </p:txBody>
      </p:sp>
    </p:spTree>
    <p:extLst>
      <p:ext uri="{BB962C8B-B14F-4D97-AF65-F5344CB8AC3E}">
        <p14:creationId xmlns:p14="http://schemas.microsoft.com/office/powerpoint/2010/main" val="18235012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396000" y="1965705"/>
            <a:ext cx="2250000" cy="645147"/>
          </a:xfrm>
          <a:prstGeom prst="homePlat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Name of phase</a:t>
            </a:r>
          </a:p>
        </p:txBody>
      </p:sp>
      <p:sp>
        <p:nvSpPr>
          <p:cNvPr id="6" name="Chevron 5"/>
          <p:cNvSpPr/>
          <p:nvPr/>
        </p:nvSpPr>
        <p:spPr>
          <a:xfrm>
            <a:off x="2432320" y="1965705"/>
            <a:ext cx="2250000" cy="645147"/>
          </a:xfrm>
          <a:prstGeom prst="chevron">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tx1"/>
                </a:solidFill>
              </a:rPr>
              <a:t>Name of phase</a:t>
            </a:r>
          </a:p>
        </p:txBody>
      </p:sp>
      <p:sp>
        <p:nvSpPr>
          <p:cNvPr id="7" name="Chevron 6"/>
          <p:cNvSpPr/>
          <p:nvPr/>
        </p:nvSpPr>
        <p:spPr>
          <a:xfrm>
            <a:off x="4468640" y="1965705"/>
            <a:ext cx="2250000" cy="645147"/>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Name of phase</a:t>
            </a:r>
          </a:p>
        </p:txBody>
      </p:sp>
      <p:sp>
        <p:nvSpPr>
          <p:cNvPr id="8" name="Chevron 7"/>
          <p:cNvSpPr/>
          <p:nvPr/>
        </p:nvSpPr>
        <p:spPr>
          <a:xfrm>
            <a:off x="6504960" y="1965705"/>
            <a:ext cx="2250000" cy="645147"/>
          </a:xfrm>
          <a:prstGeom prst="chevron">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bg1"/>
                </a:solidFill>
              </a:rPr>
              <a:t>Name of phase</a:t>
            </a:r>
          </a:p>
        </p:txBody>
      </p:sp>
      <p:sp>
        <p:nvSpPr>
          <p:cNvPr id="14" name="Pentagon 13"/>
          <p:cNvSpPr/>
          <p:nvPr/>
        </p:nvSpPr>
        <p:spPr>
          <a:xfrm>
            <a:off x="396000" y="4323302"/>
            <a:ext cx="2250000" cy="645147"/>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accent6"/>
                </a:solidFill>
              </a:rPr>
              <a:t>Name of phase</a:t>
            </a:r>
          </a:p>
        </p:txBody>
      </p:sp>
      <p:sp>
        <p:nvSpPr>
          <p:cNvPr id="15" name="Chevron 14"/>
          <p:cNvSpPr/>
          <p:nvPr/>
        </p:nvSpPr>
        <p:spPr>
          <a:xfrm>
            <a:off x="2432320" y="4323302"/>
            <a:ext cx="2250000" cy="645147"/>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accent2"/>
                </a:solidFill>
              </a:rPr>
              <a:t>Name of phase</a:t>
            </a:r>
          </a:p>
        </p:txBody>
      </p:sp>
      <p:sp>
        <p:nvSpPr>
          <p:cNvPr id="16" name="Chevron 15"/>
          <p:cNvSpPr/>
          <p:nvPr/>
        </p:nvSpPr>
        <p:spPr>
          <a:xfrm>
            <a:off x="4468640" y="4323302"/>
            <a:ext cx="2250000" cy="645147"/>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accent6"/>
                </a:solidFill>
              </a:rPr>
              <a:t>Name of phase</a:t>
            </a:r>
          </a:p>
        </p:txBody>
      </p:sp>
      <p:sp>
        <p:nvSpPr>
          <p:cNvPr id="17" name="Chevron 16"/>
          <p:cNvSpPr/>
          <p:nvPr/>
        </p:nvSpPr>
        <p:spPr>
          <a:xfrm>
            <a:off x="6504960" y="4323302"/>
            <a:ext cx="2250000" cy="645147"/>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dirty="0">
                <a:solidFill>
                  <a:schemeClr val="accent6"/>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sp>
        <p:nvSpPr>
          <p:cNvPr id="2" name="Title 1"/>
          <p:cNvSpPr>
            <a:spLocks noGrp="1"/>
          </p:cNvSpPr>
          <p:nvPr>
            <p:ph type="title"/>
          </p:nvPr>
        </p:nvSpPr>
        <p:spPr/>
        <p:txBody>
          <a:bodyPr/>
          <a:lstStyle/>
          <a:p>
            <a:r>
              <a:rPr lang="en-US" altLang="ja-JP"/>
              <a:t>Bar charts </a:t>
            </a:r>
            <a:endParaRPr lang="en-US"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1369440633"/>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18"/>
          </p:nvPr>
        </p:nvSpPr>
        <p:spPr/>
        <p:txBody>
          <a:bodyPr/>
          <a:lstStyle/>
          <a:p>
            <a:r>
              <a:rPr lang="en-US"/>
              <a:t>Chart title runs here (units)</a:t>
            </a:r>
            <a:endParaRPr lang="en-US" dirty="0"/>
          </a:p>
        </p:txBody>
      </p:sp>
      <p:sp>
        <p:nvSpPr>
          <p:cNvPr id="17" name="Text Placeholder 16"/>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sp>
        <p:nvSpPr>
          <p:cNvPr id="2" name="Title 1"/>
          <p:cNvSpPr>
            <a:spLocks noGrp="1"/>
          </p:cNvSpPr>
          <p:nvPr>
            <p:ph type="title"/>
          </p:nvPr>
        </p:nvSpPr>
        <p:spPr/>
        <p:txBody>
          <a:bodyPr/>
          <a:lstStyle/>
          <a:p>
            <a:r>
              <a:rPr lang="en-US"/>
              <a:t>Horizontal stacked bar chart</a:t>
            </a:r>
            <a:endParaRPr lang="en-US"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677019185"/>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a:t>Chart title runs here (units)</a:t>
            </a:r>
          </a:p>
          <a:p>
            <a:endParaRPr lang="en-US" dirty="0"/>
          </a:p>
        </p:txBody>
      </p:sp>
      <p:sp>
        <p:nvSpPr>
          <p:cNvPr id="3" name="Text Placeholder 2"/>
          <p:cNvSpPr>
            <a:spLocks noGrp="1"/>
          </p:cNvSpPr>
          <p:nvPr>
            <p:ph type="body" sz="quarter" idx="23"/>
          </p:nvPr>
        </p:nvSpPr>
        <p:spPr/>
        <p:txBody>
          <a:bodyPr>
            <a:normAutofit lnSpcReduction="10000"/>
          </a:bodyPr>
          <a:lstStyle/>
          <a:p>
            <a:r>
              <a:rPr lang="en-US"/>
              <a:t>Source:</a:t>
            </a:r>
          </a:p>
          <a:p>
            <a:r>
              <a:rPr lang="en-US"/>
              <a:t>Note:</a:t>
            </a:r>
          </a:p>
          <a:p>
            <a:endParaRPr lang="en-US" dirty="0"/>
          </a:p>
        </p:txBody>
      </p:sp>
    </p:spTree>
    <p:extLst>
      <p:ext uri="{BB962C8B-B14F-4D97-AF65-F5344CB8AC3E}">
        <p14:creationId xmlns:p14="http://schemas.microsoft.com/office/powerpoint/2010/main" val="93274361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7"/>
          <p:cNvGraphicFramePr>
            <a:graphicFrameLocks noGrp="1"/>
          </p:cNvGraphicFramePr>
          <p:nvPr>
            <p:ph type="chart" sz="quarter" idx="21"/>
            <p:extLst>
              <p:ext uri="{D42A27DB-BD31-4B8C-83A1-F6EECF244321}">
                <p14:modId xmlns:p14="http://schemas.microsoft.com/office/powerpoint/2010/main" val="2413710513"/>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Highlight one segment color format (units)</a:t>
            </a:r>
            <a:endParaRPr lang="en-US" dirty="0"/>
          </a:p>
        </p:txBody>
      </p:sp>
      <p:sp>
        <p:nvSpPr>
          <p:cNvPr id="3" name="Text Placeholder 2"/>
          <p:cNvSpPr>
            <a:spLocks noGrp="1"/>
          </p:cNvSpPr>
          <p:nvPr>
            <p:ph type="body" sz="quarter" idx="13"/>
          </p:nvPr>
        </p:nvSpPr>
        <p:spPr/>
        <p:txBody>
          <a:bodyPr/>
          <a:lstStyle/>
          <a:p>
            <a:pPr lvl="0"/>
            <a:r>
              <a:rPr lang="en-US" altLang="ja-JP"/>
              <a:t>Two stacked</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
        <p:nvSpPr>
          <p:cNvPr id="16" name="Text Placeholder 15"/>
          <p:cNvSpPr>
            <a:spLocks noGrp="1"/>
          </p:cNvSpPr>
          <p:nvPr>
            <p:ph type="body" sz="quarter" idx="23"/>
          </p:nvPr>
        </p:nvSpPr>
        <p:spPr/>
        <p:txBody>
          <a:bodyPr>
            <a:normAutofit lnSpcReduction="10000"/>
          </a:bodyPr>
          <a:lstStyle/>
          <a:p>
            <a:r>
              <a:rPr lang="en-US"/>
              <a:t>Source:</a:t>
            </a:r>
          </a:p>
          <a:p>
            <a:r>
              <a:rPr lang="en-US"/>
              <a:t>Note: </a:t>
            </a:r>
            <a:endParaRPr lang="en-US" dirty="0"/>
          </a:p>
        </p:txBody>
      </p:sp>
      <p:graphicFrame>
        <p:nvGraphicFramePr>
          <p:cNvPr id="17" name="Chart Placeholder 7"/>
          <p:cNvGraphicFramePr>
            <a:graphicFrameLocks noGrp="1"/>
          </p:cNvGraphicFramePr>
          <p:nvPr>
            <p:ph type="chart" sz="quarter" idx="24"/>
            <p:extLst>
              <p:ext uri="{D42A27DB-BD31-4B8C-83A1-F6EECF244321}">
                <p14:modId xmlns:p14="http://schemas.microsoft.com/office/powerpoint/2010/main" val="2732241147"/>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a:t>Standard color format (units)</a:t>
            </a:r>
            <a:endParaRPr lang="en-US" dirty="0"/>
          </a:p>
        </p:txBody>
      </p:sp>
    </p:spTree>
    <p:extLst>
      <p:ext uri="{BB962C8B-B14F-4D97-AF65-F5344CB8AC3E}">
        <p14:creationId xmlns:p14="http://schemas.microsoft.com/office/powerpoint/2010/main" val="48544153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3394076850"/>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a:t>Chart title runs here</a:t>
            </a:r>
            <a:endParaRPr lang="en-GB" dirty="0"/>
          </a:p>
        </p:txBody>
      </p:sp>
      <p:sp>
        <p:nvSpPr>
          <p:cNvPr id="5" name="Text Placeholder 4"/>
          <p:cNvSpPr>
            <a:spLocks noGrp="1"/>
          </p:cNvSpPr>
          <p:nvPr>
            <p:ph type="body" sz="quarter" idx="23"/>
          </p:nvPr>
        </p:nvSpPr>
        <p:spPr/>
        <p:txBody>
          <a:bodyPr>
            <a:normAutofit lnSpcReduction="10000"/>
          </a:bodyPr>
          <a:lstStyle/>
          <a:p>
            <a:r>
              <a:rPr lang="en-US"/>
              <a:t>Source:</a:t>
            </a:r>
          </a:p>
          <a:p>
            <a:r>
              <a:rPr lang="en-US"/>
              <a:t>Note:</a:t>
            </a:r>
          </a:p>
          <a:p>
            <a:endParaRPr lang="en-US" dirty="0"/>
          </a:p>
        </p:txBody>
      </p:sp>
    </p:spTree>
    <p:extLst>
      <p:ext uri="{BB962C8B-B14F-4D97-AF65-F5344CB8AC3E}">
        <p14:creationId xmlns:p14="http://schemas.microsoft.com/office/powerpoint/2010/main" val="30630591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96000" y="651600"/>
            <a:ext cx="8352000" cy="757255"/>
          </a:xfrm>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24" name="Chart 23"/>
          <p:cNvGraphicFramePr/>
          <p:nvPr>
            <p:extLst>
              <p:ext uri="{D42A27DB-BD31-4B8C-83A1-F6EECF244321}">
                <p14:modId xmlns:p14="http://schemas.microsoft.com/office/powerpoint/2010/main" val="370748887"/>
              </p:ext>
            </p:extLst>
          </p:nvPr>
        </p:nvGraphicFramePr>
        <p:xfrm>
          <a:off x="365945" y="1956391"/>
          <a:ext cx="1927063" cy="4168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extLst>
              <p:ext uri="{D42A27DB-BD31-4B8C-83A1-F6EECF244321}">
                <p14:modId xmlns:p14="http://schemas.microsoft.com/office/powerpoint/2010/main" val="455069979"/>
              </p:ext>
            </p:extLst>
          </p:nvPr>
        </p:nvGraphicFramePr>
        <p:xfrm>
          <a:off x="2500753" y="1956391"/>
          <a:ext cx="1927063" cy="4168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extLst>
              <p:ext uri="{D42A27DB-BD31-4B8C-83A1-F6EECF244321}">
                <p14:modId xmlns:p14="http://schemas.microsoft.com/office/powerpoint/2010/main" val="2905194593"/>
              </p:ext>
            </p:extLst>
          </p:nvPr>
        </p:nvGraphicFramePr>
        <p:xfrm>
          <a:off x="4635561" y="1956391"/>
          <a:ext cx="1927063" cy="4168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extLst>
              <p:ext uri="{D42A27DB-BD31-4B8C-83A1-F6EECF244321}">
                <p14:modId xmlns:p14="http://schemas.microsoft.com/office/powerpoint/2010/main" val="3608733062"/>
              </p:ext>
            </p:extLst>
          </p:nvPr>
        </p:nvGraphicFramePr>
        <p:xfrm>
          <a:off x="6770370" y="1956391"/>
          <a:ext cx="1927063" cy="4168562"/>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 Placeholder 27"/>
          <p:cNvSpPr txBox="1">
            <a:spLocks/>
          </p:cNvSpPr>
          <p:nvPr/>
        </p:nvSpPr>
        <p:spPr>
          <a:xfrm>
            <a:off x="391081" y="6121013"/>
            <a:ext cx="8359220" cy="256647"/>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21" name="TextBox 20"/>
          <p:cNvSpPr txBox="1"/>
          <p:nvPr/>
        </p:nvSpPr>
        <p:spPr bwMode="gray">
          <a:xfrm>
            <a:off x="2502852" y="1700784"/>
            <a:ext cx="2011680" cy="184666"/>
          </a:xfrm>
          <a:prstGeom prst="rect">
            <a:avLst/>
          </a:prstGeom>
          <a:noFill/>
        </p:spPr>
        <p:txBody>
          <a:bodyPr wrap="square" lIns="0" tIns="0" rIns="0" bIns="0" rtlCol="0">
            <a:spAutoFit/>
          </a:bodyPr>
          <a:lstStyle/>
          <a:p>
            <a:r>
              <a:rPr lang="en-US" sz="1200" dirty="0"/>
              <a:t>Chart title here (units)</a:t>
            </a:r>
          </a:p>
        </p:txBody>
      </p:sp>
      <p:sp>
        <p:nvSpPr>
          <p:cNvPr id="22" name="TextBox 21"/>
          <p:cNvSpPr txBox="1"/>
          <p:nvPr/>
        </p:nvSpPr>
        <p:spPr bwMode="gray">
          <a:xfrm>
            <a:off x="396000" y="1700784"/>
            <a:ext cx="2011680" cy="184666"/>
          </a:xfrm>
          <a:prstGeom prst="rect">
            <a:avLst/>
          </a:prstGeom>
          <a:noFill/>
        </p:spPr>
        <p:txBody>
          <a:bodyPr wrap="square" lIns="0" tIns="0" rIns="0" bIns="0" rtlCol="0">
            <a:spAutoFit/>
          </a:bodyPr>
          <a:lstStyle/>
          <a:p>
            <a:r>
              <a:rPr lang="en-US" sz="1200" dirty="0"/>
              <a:t>Chart title here (units)</a:t>
            </a:r>
          </a:p>
        </p:txBody>
      </p:sp>
      <p:sp>
        <p:nvSpPr>
          <p:cNvPr id="23" name="TextBox 22"/>
          <p:cNvSpPr txBox="1"/>
          <p:nvPr/>
        </p:nvSpPr>
        <p:spPr bwMode="gray">
          <a:xfrm>
            <a:off x="6756082" y="1700784"/>
            <a:ext cx="2011680" cy="184666"/>
          </a:xfrm>
          <a:prstGeom prst="rect">
            <a:avLst/>
          </a:prstGeom>
          <a:noFill/>
        </p:spPr>
        <p:txBody>
          <a:bodyPr wrap="square" lIns="0" tIns="0" rIns="0" bIns="0" rtlCol="0">
            <a:spAutoFit/>
          </a:bodyPr>
          <a:lstStyle/>
          <a:p>
            <a:r>
              <a:rPr lang="en-US" sz="1200" dirty="0"/>
              <a:t>Chart title here (units)</a:t>
            </a:r>
          </a:p>
        </p:txBody>
      </p:sp>
      <p:sp>
        <p:nvSpPr>
          <p:cNvPr id="26" name="TextBox 25"/>
          <p:cNvSpPr txBox="1"/>
          <p:nvPr/>
        </p:nvSpPr>
        <p:spPr bwMode="gray">
          <a:xfrm>
            <a:off x="4629467" y="1700784"/>
            <a:ext cx="2011680" cy="184666"/>
          </a:xfrm>
          <a:prstGeom prst="rect">
            <a:avLst/>
          </a:prstGeom>
          <a:noFill/>
        </p:spPr>
        <p:txBody>
          <a:bodyPr wrap="square" lIns="0" tIns="0" rIns="0" bIns="0" rtlCol="0">
            <a:spAutoFit/>
          </a:bodyPr>
          <a:lstStyle/>
          <a:p>
            <a:r>
              <a:rPr lang="en-US" sz="1200" dirty="0"/>
              <a:t>Chart title here (units)</a:t>
            </a:r>
          </a:p>
        </p:txBody>
      </p:sp>
    </p:spTree>
    <p:extLst>
      <p:ext uri="{BB962C8B-B14F-4D97-AF65-F5344CB8AC3E}">
        <p14:creationId xmlns:p14="http://schemas.microsoft.com/office/powerpoint/2010/main" val="33196078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sp>
        <p:nvSpPr>
          <p:cNvPr id="2" name="Title 1"/>
          <p:cNvSpPr>
            <a:spLocks noGrp="1"/>
          </p:cNvSpPr>
          <p:nvPr>
            <p:ph type="title"/>
          </p:nvPr>
        </p:nvSpPr>
        <p:spPr/>
        <p:txBody>
          <a:bodyPr/>
          <a:lstStyle/>
          <a:p>
            <a:r>
              <a:rPr lang="en-US"/>
              <a:t>Tables</a:t>
            </a:r>
            <a:endParaRPr lang="en-GB"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1441326806"/>
              </p:ext>
            </p:extLst>
          </p:nvPr>
        </p:nvGraphicFramePr>
        <p:xfrm>
          <a:off x="390525" y="2052638"/>
          <a:ext cx="8359584" cy="3729120"/>
        </p:xfrm>
        <a:graphic>
          <a:graphicData uri="http://schemas.openxmlformats.org/drawingml/2006/table">
            <a:tbl>
              <a:tblPr firstRow="1" bandRow="1">
                <a:tableStyleId>{5C22544A-7EE6-4342-B048-85BDC9FD1C3A}</a:tableStyleId>
              </a:tblPr>
              <a:tblGrid>
                <a:gridCol w="2089896">
                  <a:extLst>
                    <a:ext uri="{9D8B030D-6E8A-4147-A177-3AD203B41FA5}">
                      <a16:colId xmlns:a16="http://schemas.microsoft.com/office/drawing/2014/main" val="20000"/>
                    </a:ext>
                  </a:extLst>
                </a:gridCol>
                <a:gridCol w="2089896">
                  <a:extLst>
                    <a:ext uri="{9D8B030D-6E8A-4147-A177-3AD203B41FA5}">
                      <a16:colId xmlns:a16="http://schemas.microsoft.com/office/drawing/2014/main" val="20001"/>
                    </a:ext>
                  </a:extLst>
                </a:gridCol>
                <a:gridCol w="2089896">
                  <a:extLst>
                    <a:ext uri="{9D8B030D-6E8A-4147-A177-3AD203B41FA5}">
                      <a16:colId xmlns:a16="http://schemas.microsoft.com/office/drawing/2014/main" val="20002"/>
                    </a:ext>
                  </a:extLst>
                </a:gridCol>
                <a:gridCol w="2089896">
                  <a:extLst>
                    <a:ext uri="{9D8B030D-6E8A-4147-A177-3AD203B41FA5}">
                      <a16:colId xmlns:a16="http://schemas.microsoft.com/office/drawing/2014/main" val="20003"/>
                    </a:ext>
                  </a:extLst>
                </a:gridCol>
              </a:tblGrid>
              <a:tr h="466140">
                <a:tc>
                  <a:txBody>
                    <a:bodyPr/>
                    <a:lstStyle/>
                    <a:p>
                      <a:r>
                        <a:rPr lang="en-GB" sz="1200" b="0" dirty="0">
                          <a:solidFill>
                            <a:schemeClr val="accent1"/>
                          </a:solidFill>
                        </a:rPr>
                        <a:t>Section 1</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Section 2</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Section 3</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Section 4</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a:t>
                      </a:r>
                      <a:r>
                        <a:rPr lang="en-GB" sz="1000" baseline="0" dirty="0">
                          <a:solidFill>
                            <a:schemeClr val="tx1"/>
                          </a:solidFill>
                        </a:rPr>
                        <a:t> her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dirty="0">
                          <a:solidFill>
                            <a:schemeClr val="tx1"/>
                          </a:solidFill>
                        </a:rPr>
                        <a:t>Result</a:t>
                      </a:r>
                      <a:r>
                        <a:rPr lang="en-GB" sz="1000" baseline="0" dirty="0">
                          <a:solidFill>
                            <a:schemeClr val="tx1"/>
                          </a:solidFill>
                        </a:rPr>
                        <a:t> 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a:t>
                      </a:r>
                      <a:r>
                        <a:rPr lang="en-GB" sz="1000" baseline="0" dirty="0">
                          <a:solidFill>
                            <a:schemeClr val="tx1"/>
                          </a:solidFill>
                        </a:rPr>
                        <a:t> 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3</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4</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type="body" sz="quarter" idx="18"/>
          </p:nvPr>
        </p:nvSpPr>
        <p:spPr/>
        <p:txBody>
          <a:bodyPr/>
          <a:lstStyle/>
          <a:p>
            <a:r>
              <a:rPr lang="en-US"/>
              <a:t>Table title runs here</a:t>
            </a:r>
            <a:endParaRPr lang="en-US" dirty="0"/>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12" name="Chart Placeholder 11"/>
          <p:cNvGraphicFramePr>
            <a:graphicFrameLocks noGrp="1"/>
          </p:cNvGraphicFramePr>
          <p:nvPr>
            <p:ph type="chart" sz="quarter" idx="15"/>
            <p:extLst>
              <p:ext uri="{D42A27DB-BD31-4B8C-83A1-F6EECF244321}">
                <p14:modId xmlns:p14="http://schemas.microsoft.com/office/powerpoint/2010/main" val="2329552881"/>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a:t>Chart title runs here (units)</a:t>
            </a:r>
            <a:endParaRPr lang="en-US" dirty="0"/>
          </a:p>
        </p:txBody>
      </p:sp>
      <p:sp>
        <p:nvSpPr>
          <p:cNvPr id="14" name="Text Placeholder 13"/>
          <p:cNvSpPr>
            <a:spLocks noGrp="1"/>
          </p:cNvSpPr>
          <p:nvPr>
            <p:ph type="body" sz="quarter" idx="23"/>
          </p:nvPr>
        </p:nvSpPr>
        <p:spPr/>
        <p:txBody>
          <a:bodyPr>
            <a:normAutofit lnSpcReduction="10000"/>
          </a:bodyPr>
          <a:lstStyle/>
          <a:p>
            <a:r>
              <a:rPr lang="en-US"/>
              <a:t>Source:</a:t>
            </a:r>
          </a:p>
          <a:p>
            <a:r>
              <a:rPr lang="en-US"/>
              <a:t>Note: </a:t>
            </a:r>
            <a:endParaRPr lang="en-US" dirty="0"/>
          </a:p>
        </p:txBody>
      </p:sp>
    </p:spTree>
    <p:extLst>
      <p:ext uri="{BB962C8B-B14F-4D97-AF65-F5344CB8AC3E}">
        <p14:creationId xmlns:p14="http://schemas.microsoft.com/office/powerpoint/2010/main" val="341914068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96000" y="651600"/>
            <a:ext cx="8352000" cy="757255"/>
          </a:xfrm>
        </p:spPr>
        <p:txBody>
          <a:bodyPr/>
          <a:lstStyle/>
          <a:p>
            <a:r>
              <a:rPr lang="en-GB"/>
              <a:t>Two </a:t>
            </a:r>
            <a:r>
              <a:rPr lang="en-US"/>
              <a:t>color</a:t>
            </a:r>
            <a:r>
              <a:rPr lang="en-GB"/>
              <a:t> only</a:t>
            </a:r>
            <a:endParaRPr lang="en-GB" dirty="0"/>
          </a:p>
        </p:txBody>
      </p:sp>
      <p:sp>
        <p:nvSpPr>
          <p:cNvPr id="2" name="Title 1"/>
          <p:cNvSpPr>
            <a:spLocks noGrp="1"/>
          </p:cNvSpPr>
          <p:nvPr>
            <p:ph type="title"/>
          </p:nvPr>
        </p:nvSpPr>
        <p:spPr/>
        <p:txBody>
          <a:bodyPr/>
          <a:lstStyle/>
          <a:p>
            <a:r>
              <a:rPr lang="en-US"/>
              <a:t>Tornado chart</a:t>
            </a:r>
            <a:endParaRPr lang="en-US" dirty="0"/>
          </a:p>
        </p:txBody>
      </p:sp>
      <p:graphicFrame>
        <p:nvGraphicFramePr>
          <p:cNvPr id="39" name="Chart Placeholder 38"/>
          <p:cNvGraphicFramePr>
            <a:graphicFrameLocks noGrp="1"/>
          </p:cNvGraphicFramePr>
          <p:nvPr>
            <p:ph type="chart" sz="quarter" idx="15"/>
            <p:extLst>
              <p:ext uri="{D42A27DB-BD31-4B8C-83A1-F6EECF244321}">
                <p14:modId xmlns:p14="http://schemas.microsoft.com/office/powerpoint/2010/main" val="3274150211"/>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a:t>Chart title runs here (units)</a:t>
            </a:r>
          </a:p>
          <a:p>
            <a:endParaRPr lang="en-US" dirty="0"/>
          </a:p>
        </p:txBody>
      </p:sp>
      <p:sp>
        <p:nvSpPr>
          <p:cNvPr id="4" name="Text Placeholder 3"/>
          <p:cNvSpPr>
            <a:spLocks noGrp="1"/>
          </p:cNvSpPr>
          <p:nvPr>
            <p:ph type="body" sz="quarter" idx="23"/>
          </p:nvPr>
        </p:nvSpPr>
        <p:spPr/>
        <p:txBody>
          <a:bodyPr>
            <a:normAutofit lnSpcReduction="10000"/>
          </a:bodyPr>
          <a:lstStyle/>
          <a:p>
            <a:r>
              <a:rPr lang="en-US"/>
              <a:t>Source:</a:t>
            </a:r>
          </a:p>
          <a:p>
            <a:r>
              <a:rPr lang="en-US"/>
              <a:t>Note:</a:t>
            </a:r>
          </a:p>
          <a:p>
            <a:endParaRPr lang="en-US" dirty="0"/>
          </a:p>
        </p:txBody>
      </p:sp>
      <p:sp>
        <p:nvSpPr>
          <p:cNvPr id="17" name="Rectangle 16"/>
          <p:cNvSpPr>
            <a:spLocks noChangeArrowheads="1"/>
          </p:cNvSpPr>
          <p:nvPr/>
        </p:nvSpPr>
        <p:spPr bwMode="gray">
          <a:xfrm>
            <a:off x="396000" y="2178662"/>
            <a:ext cx="1371600" cy="153888"/>
          </a:xfrm>
          <a:prstGeom prst="rect">
            <a:avLst/>
          </a:prstGeom>
          <a:noFill/>
          <a:ln w="25400">
            <a:noFill/>
            <a:miter lim="800000"/>
            <a:headEnd/>
            <a:tailEnd/>
          </a:ln>
        </p:spPr>
        <p:txBody>
          <a:bodyPr lIns="0" tIns="0" rIns="0" bIns="0" anchor="ctr">
            <a:noAutofit/>
          </a:bodyPr>
          <a:lstStyle/>
          <a:p>
            <a:pPr marR="0" lvl="0" eaLnBrk="0" fontAlgn="base" hangingPunct="0">
              <a:lnSpc>
                <a:spcPct val="100000"/>
              </a:lnSpc>
              <a:spcBef>
                <a:spcPct val="50000"/>
              </a:spcBef>
              <a:spcAft>
                <a:spcPct val="0"/>
              </a:spcAft>
              <a:buClrTx/>
              <a:buSzTx/>
              <a:tabLst/>
            </a:pPr>
            <a:r>
              <a:rPr lang="en-US" sz="900" dirty="0">
                <a:solidFill>
                  <a:srgbClr val="53565A"/>
                </a:solidFill>
                <a:cs typeface="Arial" pitchFamily="34" charset="0"/>
              </a:rPr>
              <a:t>Label on the outside</a:t>
            </a:r>
          </a:p>
        </p:txBody>
      </p:sp>
      <p:sp>
        <p:nvSpPr>
          <p:cNvPr id="30" name="Rectangle 29"/>
          <p:cNvSpPr>
            <a:spLocks noChangeArrowheads="1"/>
          </p:cNvSpPr>
          <p:nvPr/>
        </p:nvSpPr>
        <p:spPr bwMode="gray">
          <a:xfrm>
            <a:off x="396000" y="4996590"/>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1" name="Rectangle 30"/>
          <p:cNvSpPr>
            <a:spLocks noChangeArrowheads="1"/>
          </p:cNvSpPr>
          <p:nvPr/>
        </p:nvSpPr>
        <p:spPr bwMode="gray">
          <a:xfrm>
            <a:off x="396000" y="4594028"/>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2" name="Rectangle 31"/>
          <p:cNvSpPr>
            <a:spLocks noChangeArrowheads="1"/>
          </p:cNvSpPr>
          <p:nvPr/>
        </p:nvSpPr>
        <p:spPr bwMode="gray">
          <a:xfrm>
            <a:off x="396000" y="4191467"/>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3" name="Rectangle 32"/>
          <p:cNvSpPr>
            <a:spLocks noChangeArrowheads="1"/>
          </p:cNvSpPr>
          <p:nvPr/>
        </p:nvSpPr>
        <p:spPr bwMode="gray">
          <a:xfrm>
            <a:off x="396000" y="3788906"/>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4" name="Rectangle 33"/>
          <p:cNvSpPr>
            <a:spLocks noChangeArrowheads="1"/>
          </p:cNvSpPr>
          <p:nvPr/>
        </p:nvSpPr>
        <p:spPr bwMode="gray">
          <a:xfrm>
            <a:off x="396000" y="3386345"/>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5" name="Rectangle 34"/>
          <p:cNvSpPr>
            <a:spLocks noChangeArrowheads="1"/>
          </p:cNvSpPr>
          <p:nvPr/>
        </p:nvSpPr>
        <p:spPr bwMode="gray">
          <a:xfrm>
            <a:off x="396000" y="2983784"/>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
        <p:nvSpPr>
          <p:cNvPr id="36" name="Rectangle 35"/>
          <p:cNvSpPr>
            <a:spLocks noChangeArrowheads="1"/>
          </p:cNvSpPr>
          <p:nvPr/>
        </p:nvSpPr>
        <p:spPr bwMode="gray">
          <a:xfrm>
            <a:off x="396000" y="2581223"/>
            <a:ext cx="1371600" cy="153888"/>
          </a:xfrm>
          <a:prstGeom prst="rect">
            <a:avLst/>
          </a:prstGeom>
          <a:noFill/>
          <a:ln w="25400">
            <a:noFill/>
            <a:miter lim="800000"/>
            <a:headEnd/>
            <a:tailEnd/>
          </a:ln>
        </p:spPr>
        <p:txBody>
          <a:bodyPr lIns="0" tIns="0" rIns="0" bIns="0" anchor="ctr">
            <a:noAutofit/>
          </a:bodyPr>
          <a:lstStyle/>
          <a:p>
            <a:pPr marR="0" lvl="0" indent="0" eaLnBrk="0" fontAlgn="base" hangingPunct="0">
              <a:lnSpc>
                <a:spcPct val="100000"/>
              </a:lnSpc>
              <a:spcBef>
                <a:spcPct val="50000"/>
              </a:spcBef>
              <a:spcAft>
                <a:spcPct val="0"/>
              </a:spcAft>
              <a:buClrTx/>
              <a:buSzTx/>
              <a:buFontTx/>
              <a:buNone/>
              <a:tabLst/>
            </a:pPr>
            <a:r>
              <a:rPr lang="en-US" sz="900" dirty="0">
                <a:solidFill>
                  <a:srgbClr val="53565A"/>
                </a:solidFill>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highlight </a:t>
            </a:r>
            <a:r>
              <a:rPr lang="en-US"/>
              <a:t>color</a:t>
            </a:r>
            <a:endParaRPr lang="en-US" dirty="0"/>
          </a:p>
        </p:txBody>
      </p:sp>
      <p:sp>
        <p:nvSpPr>
          <p:cNvPr id="3" name="Title 2"/>
          <p:cNvSpPr>
            <a:spLocks noGrp="1"/>
          </p:cNvSpPr>
          <p:nvPr>
            <p:ph type="title"/>
          </p:nvPr>
        </p:nvSpPr>
        <p:spPr/>
        <p:txBody>
          <a:bodyPr/>
          <a:lstStyle/>
          <a:p>
            <a:r>
              <a:rPr lang="en-GB"/>
              <a:t>Column chart</a:t>
            </a:r>
            <a:endParaRPr lang="en-GB" dirty="0"/>
          </a:p>
        </p:txBody>
      </p:sp>
      <p:graphicFrame>
        <p:nvGraphicFramePr>
          <p:cNvPr id="23" name="Chart Placeholder 9"/>
          <p:cNvGraphicFramePr>
            <a:graphicFrameLocks noGrp="1"/>
          </p:cNvGraphicFramePr>
          <p:nvPr>
            <p:ph type="chart" sz="quarter" idx="15"/>
            <p:extLst>
              <p:ext uri="{D42A27DB-BD31-4B8C-83A1-F6EECF244321}">
                <p14:modId xmlns:p14="http://schemas.microsoft.com/office/powerpoint/2010/main" val="1792124813"/>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396000" y="1700213"/>
            <a:ext cx="8352001" cy="357187"/>
          </a:xfrm>
        </p:spPr>
        <p:txBody>
          <a:bodyPr/>
          <a:lstStyle/>
          <a:p>
            <a:r>
              <a:rPr lang="en-GB" dirty="0"/>
              <a:t>Title of the graph goes here</a:t>
            </a:r>
          </a:p>
        </p:txBody>
      </p:sp>
      <p:sp>
        <p:nvSpPr>
          <p:cNvPr id="6" name="Text Placeholder 5"/>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200204950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sp>
        <p:nvSpPr>
          <p:cNvPr id="12" name="Title 11"/>
          <p:cNvSpPr>
            <a:spLocks noGrp="1"/>
          </p:cNvSpPr>
          <p:nvPr>
            <p:ph type="title"/>
          </p:nvPr>
        </p:nvSpPr>
        <p:spPr/>
        <p:txBody>
          <a:bodyPr/>
          <a:lstStyle/>
          <a:p>
            <a:r>
              <a:rPr lang="en-US" altLang="ja-JP"/>
              <a:t>Column chart</a:t>
            </a:r>
            <a:endParaRPr lang="en-US" dirty="0"/>
          </a:p>
        </p:txBody>
      </p:sp>
      <p:graphicFrame>
        <p:nvGraphicFramePr>
          <p:cNvPr id="18" name="Chart Placeholder 17"/>
          <p:cNvGraphicFramePr>
            <a:graphicFrameLocks noGrp="1"/>
          </p:cNvGraphicFramePr>
          <p:nvPr>
            <p:ph type="chart" sz="quarter" idx="15"/>
            <p:extLst>
              <p:ext uri="{D42A27DB-BD31-4B8C-83A1-F6EECF244321}">
                <p14:modId xmlns:p14="http://schemas.microsoft.com/office/powerpoint/2010/main" val="142305835"/>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a:t>Chart title runs here (units)</a:t>
            </a:r>
            <a:endParaRPr lang="en-US" dirty="0"/>
          </a:p>
        </p:txBody>
      </p:sp>
      <p:sp>
        <p:nvSpPr>
          <p:cNvPr id="28" name="Text Placeholder 27"/>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29" name="TextBox 28"/>
          <p:cNvSpPr txBox="1"/>
          <p:nvPr/>
        </p:nvSpPr>
        <p:spPr bwMode="gray">
          <a:xfrm>
            <a:off x="4816080" y="1700784"/>
            <a:ext cx="3931920" cy="184666"/>
          </a:xfrm>
          <a:prstGeom prst="rect">
            <a:avLst/>
          </a:prstGeom>
          <a:noFill/>
        </p:spPr>
        <p:txBody>
          <a:bodyPr wrap="square" lIns="0" tIns="0" rIns="0" bIns="0" rtlCol="0">
            <a:spAutoFit/>
          </a:bodyPr>
          <a:lstStyle/>
          <a:p>
            <a:r>
              <a:rPr lang="en-US" sz="1200" dirty="0"/>
              <a:t>Chart title runs here (units)</a:t>
            </a:r>
          </a:p>
        </p:txBody>
      </p:sp>
      <p:sp>
        <p:nvSpPr>
          <p:cNvPr id="30" name="TextBox 29"/>
          <p:cNvSpPr txBox="1"/>
          <p:nvPr/>
        </p:nvSpPr>
        <p:spPr bwMode="gray">
          <a:xfrm>
            <a:off x="393192" y="1700784"/>
            <a:ext cx="3931920" cy="184666"/>
          </a:xfrm>
          <a:prstGeom prst="rect">
            <a:avLst/>
          </a:prstGeom>
          <a:noFill/>
        </p:spPr>
        <p:txBody>
          <a:bodyPr wrap="square" lIns="0" tIns="0" rIns="0" bIns="0" rtlCol="0">
            <a:spAutoFit/>
          </a:bodyPr>
          <a:lstStyle/>
          <a:p>
            <a:r>
              <a:rPr lang="en-US" sz="1200" dirty="0"/>
              <a:t>Chart title runs here (units)</a:t>
            </a:r>
          </a:p>
        </p:txBody>
      </p:sp>
      <p:graphicFrame>
        <p:nvGraphicFramePr>
          <p:cNvPr id="32" name="Chart Placeholder 9"/>
          <p:cNvGraphicFramePr>
            <a:graphicFrameLocks/>
          </p:cNvGraphicFramePr>
          <p:nvPr>
            <p:extLst>
              <p:ext uri="{D42A27DB-BD31-4B8C-83A1-F6EECF244321}">
                <p14:modId xmlns:p14="http://schemas.microsoft.com/office/powerpoint/2010/main" val="2673820856"/>
              </p:ext>
            </p:extLst>
          </p:nvPr>
        </p:nvGraphicFramePr>
        <p:xfrm>
          <a:off x="365760" y="4279456"/>
          <a:ext cx="3921023" cy="184727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393192" y="3987631"/>
            <a:ext cx="3931920" cy="184666"/>
          </a:xfrm>
          <a:prstGeom prst="rect">
            <a:avLst/>
          </a:prstGeom>
          <a:noFill/>
        </p:spPr>
        <p:txBody>
          <a:bodyPr wrap="square" lIns="0" tIns="0" rIns="0" bIns="0" rtlCol="0">
            <a:spAutoFit/>
          </a:bodyPr>
          <a:lstStyle/>
          <a:p>
            <a:r>
              <a:rPr lang="en-US" sz="12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4078412806"/>
              </p:ext>
            </p:extLst>
          </p:nvPr>
        </p:nvGraphicFramePr>
        <p:xfrm>
          <a:off x="365760" y="1962461"/>
          <a:ext cx="3921023"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1528059797"/>
              </p:ext>
            </p:extLst>
          </p:nvPr>
        </p:nvGraphicFramePr>
        <p:xfrm>
          <a:off x="4826977" y="4279456"/>
          <a:ext cx="3921023" cy="1847271"/>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4816080" y="3987631"/>
            <a:ext cx="3931920" cy="184666"/>
          </a:xfrm>
          <a:prstGeom prst="rect">
            <a:avLst/>
          </a:prstGeom>
          <a:noFill/>
        </p:spPr>
        <p:txBody>
          <a:bodyPr wrap="square" lIns="0" tIns="0" rIns="0" bIns="0" rtlCol="0">
            <a:spAutoFit/>
          </a:bodyPr>
          <a:lstStyle/>
          <a:p>
            <a:r>
              <a:rPr lang="en-US" sz="12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1900971585"/>
              </p:ext>
            </p:extLst>
          </p:nvPr>
        </p:nvGraphicFramePr>
        <p:xfrm>
          <a:off x="4826977" y="1962461"/>
          <a:ext cx="3921023" cy="184727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 Placeholder 27"/>
          <p:cNvSpPr txBox="1">
            <a:spLocks/>
          </p:cNvSpPr>
          <p:nvPr/>
        </p:nvSpPr>
        <p:spPr>
          <a:xfrm>
            <a:off x="391081" y="6121013"/>
            <a:ext cx="8359220" cy="256647"/>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Tree>
    <p:extLst>
      <p:ext uri="{BB962C8B-B14F-4D97-AF65-F5344CB8AC3E}">
        <p14:creationId xmlns:p14="http://schemas.microsoft.com/office/powerpoint/2010/main" val="226135176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sp>
        <p:nvSpPr>
          <p:cNvPr id="2" name="Title 1"/>
          <p:cNvSpPr>
            <a:spLocks noGrp="1"/>
          </p:cNvSpPr>
          <p:nvPr>
            <p:ph type="title"/>
          </p:nvPr>
        </p:nvSpPr>
        <p:spPr/>
        <p:txBody>
          <a:bodyPr/>
          <a:lstStyle/>
          <a:p>
            <a:r>
              <a:rPr lang="en-US" altLang="ja-JP"/>
              <a:t>Column chart </a:t>
            </a:r>
            <a:endParaRPr lang="en-US" dirty="0"/>
          </a:p>
        </p:txBody>
      </p:sp>
      <p:graphicFrame>
        <p:nvGraphicFramePr>
          <p:cNvPr id="20" name="Chart Placeholder 19"/>
          <p:cNvGraphicFramePr>
            <a:graphicFrameLocks noGrp="1"/>
          </p:cNvGraphicFramePr>
          <p:nvPr>
            <p:ph type="chart" sz="quarter" idx="15"/>
            <p:extLst>
              <p:ext uri="{D42A27DB-BD31-4B8C-83A1-F6EECF244321}">
                <p14:modId xmlns:p14="http://schemas.microsoft.com/office/powerpoint/2010/main" val="2500280057"/>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a:t>Chart title runs here (units)</a:t>
            </a:r>
            <a:endParaRPr lang="en-US" dirty="0"/>
          </a:p>
        </p:txBody>
      </p:sp>
      <p:sp>
        <p:nvSpPr>
          <p:cNvPr id="19" name="Text Placeholder 18"/>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268845660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sp>
        <p:nvSpPr>
          <p:cNvPr id="2" name="Title 1"/>
          <p:cNvSpPr>
            <a:spLocks noGrp="1"/>
          </p:cNvSpPr>
          <p:nvPr>
            <p:ph type="title"/>
          </p:nvPr>
        </p:nvSpPr>
        <p:spPr/>
        <p:txBody>
          <a:bodyPr/>
          <a:lstStyle/>
          <a:p>
            <a:r>
              <a:rPr lang="en-US" altLang="ja-JP"/>
              <a:t>Column chart </a:t>
            </a:r>
            <a:endParaRPr lang="en-US" dirty="0"/>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2742123548"/>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rmAutofit lnSpcReduction="10000"/>
          </a:bodyPr>
          <a:lstStyle/>
          <a:p>
            <a:r>
              <a:rPr lang="en-US"/>
              <a:t>Source: </a:t>
            </a:r>
          </a:p>
          <a:p>
            <a:r>
              <a:rPr lang="en-US"/>
              <a:t>Note: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a:xfrm>
            <a:off x="396000" y="295683"/>
            <a:ext cx="8352000" cy="469492"/>
          </a:xfrm>
        </p:spPr>
        <p:txBody>
          <a:bodyPr/>
          <a:lstStyle/>
          <a:p>
            <a:r>
              <a:rPr lang="en-US" altLang="ja-JP"/>
              <a:t>Column charts </a:t>
            </a:r>
            <a:endParaRPr lang="en-US" dirty="0"/>
          </a:p>
        </p:txBody>
      </p:sp>
      <p:graphicFrame>
        <p:nvGraphicFramePr>
          <p:cNvPr id="20" name="Chart 19"/>
          <p:cNvGraphicFramePr/>
          <p:nvPr>
            <p:extLst>
              <p:ext uri="{D42A27DB-BD31-4B8C-83A1-F6EECF244321}">
                <p14:modId xmlns:p14="http://schemas.microsoft.com/office/powerpoint/2010/main" val="2143936361"/>
              </p:ext>
            </p:extLst>
          </p:nvPr>
        </p:nvGraphicFramePr>
        <p:xfrm>
          <a:off x="402336" y="2066192"/>
          <a:ext cx="1950074" cy="4298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3895229049"/>
              </p:ext>
            </p:extLst>
          </p:nvPr>
        </p:nvGraphicFramePr>
        <p:xfrm>
          <a:off x="2534199" y="2066192"/>
          <a:ext cx="1950074" cy="42980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2456146606"/>
              </p:ext>
            </p:extLst>
          </p:nvPr>
        </p:nvGraphicFramePr>
        <p:xfrm>
          <a:off x="6797926" y="2066192"/>
          <a:ext cx="1950074" cy="42980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2092578794"/>
              </p:ext>
            </p:extLst>
          </p:nvPr>
        </p:nvGraphicFramePr>
        <p:xfrm>
          <a:off x="4666062" y="2066192"/>
          <a:ext cx="1950074" cy="42980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2530681" y="1700784"/>
            <a:ext cx="2011680" cy="184666"/>
          </a:xfrm>
          <a:prstGeom prst="rect">
            <a:avLst/>
          </a:prstGeom>
          <a:noFill/>
        </p:spPr>
        <p:txBody>
          <a:bodyPr wrap="square" lIns="0" tIns="0" rIns="0" bIns="0" rtlCol="0">
            <a:spAutoFit/>
          </a:bodyPr>
          <a:lstStyle/>
          <a:p>
            <a:r>
              <a:rPr lang="en-US" sz="1200" dirty="0"/>
              <a:t>Chart title here (units)</a:t>
            </a:r>
          </a:p>
        </p:txBody>
      </p:sp>
      <p:sp>
        <p:nvSpPr>
          <p:cNvPr id="28" name="TextBox 27"/>
          <p:cNvSpPr txBox="1"/>
          <p:nvPr/>
        </p:nvSpPr>
        <p:spPr bwMode="gray">
          <a:xfrm>
            <a:off x="396000" y="1700784"/>
            <a:ext cx="2011680" cy="184666"/>
          </a:xfrm>
          <a:prstGeom prst="rect">
            <a:avLst/>
          </a:prstGeom>
          <a:noFill/>
        </p:spPr>
        <p:txBody>
          <a:bodyPr wrap="square" lIns="0" tIns="0" rIns="0" bIns="0" rtlCol="0">
            <a:spAutoFit/>
          </a:bodyPr>
          <a:lstStyle/>
          <a:p>
            <a:r>
              <a:rPr lang="en-US" sz="1200" dirty="0"/>
              <a:t>Chart title here (units)</a:t>
            </a:r>
          </a:p>
        </p:txBody>
      </p:sp>
      <p:sp>
        <p:nvSpPr>
          <p:cNvPr id="29" name="TextBox 28"/>
          <p:cNvSpPr txBox="1"/>
          <p:nvPr/>
        </p:nvSpPr>
        <p:spPr bwMode="gray">
          <a:xfrm>
            <a:off x="6800044" y="1700784"/>
            <a:ext cx="2011680" cy="184666"/>
          </a:xfrm>
          <a:prstGeom prst="rect">
            <a:avLst/>
          </a:prstGeom>
          <a:noFill/>
        </p:spPr>
        <p:txBody>
          <a:bodyPr wrap="square" lIns="0" tIns="0" rIns="0" bIns="0" rtlCol="0">
            <a:spAutoFit/>
          </a:bodyPr>
          <a:lstStyle/>
          <a:p>
            <a:r>
              <a:rPr lang="en-US" sz="1200" dirty="0"/>
              <a:t>Chart title here (units)</a:t>
            </a:r>
          </a:p>
        </p:txBody>
      </p:sp>
      <p:sp>
        <p:nvSpPr>
          <p:cNvPr id="30" name="TextBox 29"/>
          <p:cNvSpPr txBox="1"/>
          <p:nvPr/>
        </p:nvSpPr>
        <p:spPr bwMode="gray">
          <a:xfrm>
            <a:off x="4665362" y="1700784"/>
            <a:ext cx="2011680" cy="184666"/>
          </a:xfrm>
          <a:prstGeom prst="rect">
            <a:avLst/>
          </a:prstGeom>
          <a:noFill/>
        </p:spPr>
        <p:txBody>
          <a:bodyPr wrap="square" lIns="0" tIns="0" rIns="0" bIns="0" rtlCol="0">
            <a:spAutoFit/>
          </a:bodyPr>
          <a:lstStyle/>
          <a:p>
            <a:r>
              <a:rPr lang="en-US" sz="12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Multiple</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33" name="Chart Placeholder 32"/>
          <p:cNvGraphicFramePr>
            <a:graphicFrameLocks noGrp="1"/>
          </p:cNvGraphicFramePr>
          <p:nvPr>
            <p:ph type="chart" sz="quarter" idx="15"/>
            <p:extLst>
              <p:ext uri="{D42A27DB-BD31-4B8C-83A1-F6EECF244321}">
                <p14:modId xmlns:p14="http://schemas.microsoft.com/office/powerpoint/2010/main" val="474308310"/>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a:t>Chart title runs here (units)</a:t>
            </a:r>
            <a:endParaRPr lang="en-US" dirty="0"/>
          </a:p>
        </p:txBody>
      </p:sp>
      <p:sp>
        <p:nvSpPr>
          <p:cNvPr id="12" name="Text Placeholder 11"/>
          <p:cNvSpPr>
            <a:spLocks noGrp="1"/>
          </p:cNvSpPr>
          <p:nvPr>
            <p:ph type="body" sz="quarter" idx="23"/>
          </p:nvPr>
        </p:nvSpPr>
        <p:spPr/>
        <p:txBody>
          <a:bodyPr>
            <a:normAutofit lnSpcReduction="10000"/>
          </a:bodyPr>
          <a:lstStyle/>
          <a:p>
            <a:r>
              <a:rPr lang="en-US"/>
              <a:t>Source: </a:t>
            </a:r>
          </a:p>
          <a:p>
            <a:r>
              <a:rPr lang="en-US"/>
              <a:t>Note: </a:t>
            </a:r>
            <a:endParaRPr lang="en-US" dirty="0"/>
          </a:p>
        </p:txBody>
      </p:sp>
      <p:sp>
        <p:nvSpPr>
          <p:cNvPr id="16" name="Text Placeholder 8"/>
          <p:cNvSpPr txBox="1">
            <a:spLocks/>
          </p:cNvSpPr>
          <p:nvPr/>
        </p:nvSpPr>
        <p:spPr>
          <a:xfrm>
            <a:off x="376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kumimoji="0" lang="en-GB" sz="3000" b="0" i="0" u="none" strike="noStrike" kern="1200" cap="none" spc="0" normalizeH="0" baseline="0" noProof="0" dirty="0">
              <a:ln>
                <a:noFill/>
              </a:ln>
              <a:solidFill>
                <a:srgbClr val="81BC00"/>
              </a:solidFill>
              <a:effectLst/>
              <a:uLnTx/>
              <a:uFillTx/>
              <a:latin typeface="Arial"/>
            </a:endParaRPr>
          </a:p>
        </p:txBody>
      </p:sp>
      <p:grpSp>
        <p:nvGrpSpPr>
          <p:cNvPr id="5" name="Group 4"/>
          <p:cNvGrpSpPr/>
          <p:nvPr/>
        </p:nvGrpSpPr>
        <p:grpSpPr>
          <a:xfrm>
            <a:off x="7141758" y="5252705"/>
            <a:ext cx="1174425" cy="342564"/>
            <a:chOff x="7300019" y="5248709"/>
            <a:chExt cx="1174425" cy="342564"/>
          </a:xfrm>
        </p:grpSpPr>
        <p:sp>
          <p:nvSpPr>
            <p:cNvPr id="39" name="Text Box 6"/>
            <p:cNvSpPr txBox="1">
              <a:spLocks noChangeArrowheads="1"/>
            </p:cNvSpPr>
            <p:nvPr/>
          </p:nvSpPr>
          <p:spPr bwMode="gray">
            <a:xfrm>
              <a:off x="7437969" y="543738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1000" b="0" i="0" u="none" strike="noStrike" cap="none" normalizeH="0" baseline="0" dirty="0">
                  <a:ln>
                    <a:noFill/>
                  </a:ln>
                  <a:solidFill>
                    <a:srgbClr val="53565A"/>
                  </a:solidFill>
                  <a:effectLst/>
                  <a:latin typeface="Arial" pitchFamily="34" charset="0"/>
                  <a:cs typeface="Arial" pitchFamily="34" charset="0"/>
                </a:rPr>
                <a:t>Label Outside</a:t>
              </a:r>
            </a:p>
          </p:txBody>
        </p:sp>
        <p:sp>
          <p:nvSpPr>
            <p:cNvPr id="40"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grpSp>
      <p:grpSp>
        <p:nvGrpSpPr>
          <p:cNvPr id="61" name="Group 60"/>
          <p:cNvGrpSpPr/>
          <p:nvPr/>
        </p:nvGrpSpPr>
        <p:grpSpPr>
          <a:xfrm>
            <a:off x="1191584" y="5252705"/>
            <a:ext cx="1174425" cy="342564"/>
            <a:chOff x="7300019" y="5248709"/>
            <a:chExt cx="1174425" cy="342564"/>
          </a:xfrm>
        </p:grpSpPr>
        <p:sp>
          <p:nvSpPr>
            <p:cNvPr id="62" name="Text Box 6"/>
            <p:cNvSpPr txBox="1">
              <a:spLocks noChangeArrowheads="1"/>
            </p:cNvSpPr>
            <p:nvPr/>
          </p:nvSpPr>
          <p:spPr bwMode="gray">
            <a:xfrm>
              <a:off x="7437969" y="543738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1000" b="0" i="0" u="none" strike="noStrike" cap="none" normalizeH="0" baseline="0" dirty="0">
                  <a:ln>
                    <a:noFill/>
                  </a:ln>
                  <a:solidFill>
                    <a:srgbClr val="53565A"/>
                  </a:solidFill>
                  <a:effectLst/>
                  <a:latin typeface="Arial" pitchFamily="34" charset="0"/>
                  <a:cs typeface="Arial" pitchFamily="34" charset="0"/>
                </a:rPr>
                <a:t>Label Outside</a:t>
              </a:r>
            </a:p>
          </p:txBody>
        </p:sp>
        <p:sp>
          <p:nvSpPr>
            <p:cNvPr id="63"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grpSp>
      <p:grpSp>
        <p:nvGrpSpPr>
          <p:cNvPr id="65" name="Group 64"/>
          <p:cNvGrpSpPr/>
          <p:nvPr/>
        </p:nvGrpSpPr>
        <p:grpSpPr>
          <a:xfrm>
            <a:off x="2679128" y="5252705"/>
            <a:ext cx="1174425" cy="342564"/>
            <a:chOff x="7300019" y="5248709"/>
            <a:chExt cx="1174425" cy="342564"/>
          </a:xfrm>
        </p:grpSpPr>
        <p:sp>
          <p:nvSpPr>
            <p:cNvPr id="66" name="Text Box 6"/>
            <p:cNvSpPr txBox="1">
              <a:spLocks noChangeArrowheads="1"/>
            </p:cNvSpPr>
            <p:nvPr/>
          </p:nvSpPr>
          <p:spPr bwMode="gray">
            <a:xfrm>
              <a:off x="7437969" y="543738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1000" b="0" i="0" u="none" strike="noStrike" cap="none" normalizeH="0" baseline="0" dirty="0">
                  <a:ln>
                    <a:noFill/>
                  </a:ln>
                  <a:solidFill>
                    <a:srgbClr val="53565A"/>
                  </a:solidFill>
                  <a:effectLst/>
                  <a:latin typeface="Arial" pitchFamily="34" charset="0"/>
                  <a:cs typeface="Arial" pitchFamily="34" charset="0"/>
                </a:rPr>
                <a:t>Label Outside</a:t>
              </a:r>
            </a:p>
          </p:txBody>
        </p:sp>
        <p:sp>
          <p:nvSpPr>
            <p:cNvPr id="67"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grpSp>
      <p:grpSp>
        <p:nvGrpSpPr>
          <p:cNvPr id="69" name="Group 68"/>
          <p:cNvGrpSpPr/>
          <p:nvPr/>
        </p:nvGrpSpPr>
        <p:grpSpPr>
          <a:xfrm>
            <a:off x="4166671" y="5252705"/>
            <a:ext cx="1174425" cy="342564"/>
            <a:chOff x="7300019" y="5248709"/>
            <a:chExt cx="1174425" cy="342564"/>
          </a:xfrm>
        </p:grpSpPr>
        <p:sp>
          <p:nvSpPr>
            <p:cNvPr id="70" name="Text Box 6"/>
            <p:cNvSpPr txBox="1">
              <a:spLocks noChangeArrowheads="1"/>
            </p:cNvSpPr>
            <p:nvPr/>
          </p:nvSpPr>
          <p:spPr bwMode="gray">
            <a:xfrm>
              <a:off x="7437969" y="543738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1000" b="0" i="0" u="none" strike="noStrike" cap="none" normalizeH="0" baseline="0" dirty="0">
                  <a:ln>
                    <a:noFill/>
                  </a:ln>
                  <a:solidFill>
                    <a:srgbClr val="53565A"/>
                  </a:solidFill>
                  <a:effectLst/>
                  <a:latin typeface="Arial" pitchFamily="34" charset="0"/>
                  <a:cs typeface="Arial" pitchFamily="34" charset="0"/>
                </a:rPr>
                <a:t>Label Outside</a:t>
              </a:r>
            </a:p>
          </p:txBody>
        </p:sp>
        <p:sp>
          <p:nvSpPr>
            <p:cNvPr id="71"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grpSp>
      <p:grpSp>
        <p:nvGrpSpPr>
          <p:cNvPr id="73" name="Group 72"/>
          <p:cNvGrpSpPr/>
          <p:nvPr/>
        </p:nvGrpSpPr>
        <p:grpSpPr>
          <a:xfrm>
            <a:off x="5654214" y="5252705"/>
            <a:ext cx="1174425" cy="342564"/>
            <a:chOff x="7300019" y="5248709"/>
            <a:chExt cx="1174425" cy="342564"/>
          </a:xfrm>
        </p:grpSpPr>
        <p:sp>
          <p:nvSpPr>
            <p:cNvPr id="74" name="Text Box 6"/>
            <p:cNvSpPr txBox="1">
              <a:spLocks noChangeArrowheads="1"/>
            </p:cNvSpPr>
            <p:nvPr/>
          </p:nvSpPr>
          <p:spPr bwMode="gray">
            <a:xfrm>
              <a:off x="7437969" y="543738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1000" b="0" i="0" u="none" strike="noStrike" cap="none" normalizeH="0" baseline="0" dirty="0">
                  <a:ln>
                    <a:noFill/>
                  </a:ln>
                  <a:solidFill>
                    <a:srgbClr val="53565A"/>
                  </a:solidFill>
                  <a:effectLst/>
                  <a:latin typeface="Arial" pitchFamily="34" charset="0"/>
                  <a:cs typeface="Arial" pitchFamily="34" charset="0"/>
                </a:rPr>
                <a:t>Label Outside</a:t>
              </a:r>
            </a:p>
          </p:txBody>
        </p:sp>
        <p:sp>
          <p:nvSpPr>
            <p:cNvPr id="75"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R="0" lvl="0" algn="ctr" defTabSz="914400" rtl="0" eaLnBrk="1" fontAlgn="base" latinLnBrk="0" hangingPunct="1">
                <a:lnSpc>
                  <a:spcPct val="100000"/>
                </a:lnSpc>
                <a:spcBef>
                  <a:spcPct val="0"/>
                </a:spcBef>
                <a:spcAft>
                  <a:spcPct val="0"/>
                </a:spcAft>
                <a:buClrTx/>
                <a:buSzTx/>
                <a:tabLst/>
              </a:pPr>
              <a:r>
                <a:rPr kumimoji="0" lang="en-US" sz="800" b="0" i="0" u="none" strike="noStrike" cap="none" normalizeH="0" baseline="0" dirty="0">
                  <a:ln>
                    <a:noFill/>
                  </a:ln>
                  <a:solidFill>
                    <a:srgbClr val="53565A"/>
                  </a:solidFill>
                  <a:effectLst/>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sp>
        <p:nvSpPr>
          <p:cNvPr id="2" name="Title 1"/>
          <p:cNvSpPr>
            <a:spLocks noGrp="1"/>
          </p:cNvSpPr>
          <p:nvPr>
            <p:ph type="title"/>
          </p:nvPr>
        </p:nvSpPr>
        <p:spPr/>
        <p:txBody>
          <a:bodyPr/>
          <a:lstStyle/>
          <a:p>
            <a:r>
              <a:rPr lang="en-US"/>
              <a:t>Column chart</a:t>
            </a:r>
            <a:br>
              <a:rPr lang="en-US"/>
            </a:br>
            <a:endParaRPr lang="en-US" dirty="0"/>
          </a:p>
        </p:txBody>
      </p:sp>
      <p:graphicFrame>
        <p:nvGraphicFramePr>
          <p:cNvPr id="59" name="Chart Placeholder 58"/>
          <p:cNvGraphicFramePr>
            <a:graphicFrameLocks noGrp="1"/>
          </p:cNvGraphicFramePr>
          <p:nvPr>
            <p:ph type="chart" sz="quarter" idx="15"/>
            <p:extLst>
              <p:ext uri="{D42A27DB-BD31-4B8C-83A1-F6EECF244321}">
                <p14:modId xmlns:p14="http://schemas.microsoft.com/office/powerpoint/2010/main" val="1372700800"/>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3"/>
          <p:cNvSpPr>
            <a:spLocks noGrp="1"/>
          </p:cNvSpPr>
          <p:nvPr>
            <p:ph type="body" sz="quarter" idx="18"/>
          </p:nvPr>
        </p:nvSpPr>
        <p:spPr/>
        <p:txBody>
          <a:bodyPr/>
          <a:lstStyle/>
          <a:p>
            <a:r>
              <a:rPr lang="en-GB"/>
              <a:t>Chart title runs here (units)</a:t>
            </a:r>
            <a:endParaRPr lang="en-US" dirty="0"/>
          </a:p>
        </p:txBody>
      </p:sp>
      <p:sp>
        <p:nvSpPr>
          <p:cNvPr id="7" name="Text Placeholder 6"/>
          <p:cNvSpPr>
            <a:spLocks noGrp="1"/>
          </p:cNvSpPr>
          <p:nvPr>
            <p:ph type="body" sz="quarter" idx="23"/>
          </p:nvPr>
        </p:nvSpPr>
        <p:spPr/>
        <p:txBody>
          <a:bodyPr>
            <a:normAutofit lnSpcReduction="10000"/>
          </a:bodyPr>
          <a:lstStyle/>
          <a:p>
            <a:r>
              <a:rPr lang="en-GB"/>
              <a:t>Source:</a:t>
            </a:r>
          </a:p>
          <a:p>
            <a:r>
              <a:rPr lang="en-GB"/>
              <a:t>Note:</a:t>
            </a:r>
          </a:p>
          <a:p>
            <a:endParaRPr lang="en-GB" dirty="0"/>
          </a:p>
        </p:txBody>
      </p:sp>
    </p:spTree>
    <p:extLst>
      <p:ext uri="{BB962C8B-B14F-4D97-AF65-F5344CB8AC3E}">
        <p14:creationId xmlns:p14="http://schemas.microsoft.com/office/powerpoint/2010/main" val="39564075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sp>
        <p:nvSpPr>
          <p:cNvPr id="2" name="Title 1"/>
          <p:cNvSpPr>
            <a:spLocks noGrp="1"/>
          </p:cNvSpPr>
          <p:nvPr>
            <p:ph type="title"/>
          </p:nvPr>
        </p:nvSpPr>
        <p:spPr/>
        <p:txBody>
          <a:bodyPr/>
          <a:lstStyle/>
          <a:p>
            <a:r>
              <a:rPr lang="en-US"/>
              <a:t>Tables</a:t>
            </a:r>
            <a:endParaRPr lang="en-GB"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2935515838"/>
              </p:ext>
            </p:extLst>
          </p:nvPr>
        </p:nvGraphicFramePr>
        <p:xfrm>
          <a:off x="390525" y="2052638"/>
          <a:ext cx="8359584" cy="3255060"/>
        </p:xfrm>
        <a:graphic>
          <a:graphicData uri="http://schemas.openxmlformats.org/drawingml/2006/table">
            <a:tbl>
              <a:tblPr firstRow="1" bandRow="1">
                <a:tableStyleId>{5C22544A-7EE6-4342-B048-85BDC9FD1C3A}</a:tableStyleId>
              </a:tblPr>
              <a:tblGrid>
                <a:gridCol w="1831234">
                  <a:extLst>
                    <a:ext uri="{9D8B030D-6E8A-4147-A177-3AD203B41FA5}">
                      <a16:colId xmlns:a16="http://schemas.microsoft.com/office/drawing/2014/main" val="20000"/>
                    </a:ext>
                  </a:extLst>
                </a:gridCol>
                <a:gridCol w="3264175">
                  <a:extLst>
                    <a:ext uri="{9D8B030D-6E8A-4147-A177-3AD203B41FA5}">
                      <a16:colId xmlns:a16="http://schemas.microsoft.com/office/drawing/2014/main" val="20001"/>
                    </a:ext>
                  </a:extLst>
                </a:gridCol>
                <a:gridCol w="3264175">
                  <a:extLst>
                    <a:ext uri="{9D8B030D-6E8A-4147-A177-3AD203B41FA5}">
                      <a16:colId xmlns:a16="http://schemas.microsoft.com/office/drawing/2014/main" val="20002"/>
                    </a:ext>
                  </a:extLst>
                </a:gridCol>
              </a:tblGrid>
              <a:tr h="466140">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dirty="0">
                          <a:solidFill>
                            <a:schemeClr val="tx1"/>
                          </a:solidFill>
                        </a:rPr>
                        <a:t>Row description</a:t>
                      </a: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a:solidFill>
                            <a:schemeClr val="tx1"/>
                          </a:solidFill>
                        </a:rPr>
                        <a:t>Row description</a:t>
                      </a:r>
                      <a:endParaRPr lang="en-GB" sz="100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000" dirty="0">
                          <a:solidFill>
                            <a:schemeClr val="tx1"/>
                          </a:solidFill>
                        </a:rPr>
                        <a:t>Row description</a:t>
                      </a: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a:t>Table title runs here</a:t>
            </a:r>
            <a:endParaRPr lang="en-US" dirty="0"/>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graphicFrame>
        <p:nvGraphicFramePr>
          <p:cNvPr id="57" name="Chart Placeholder 42"/>
          <p:cNvGraphicFramePr>
            <a:graphicFrameLocks noGrp="1"/>
          </p:cNvGraphicFramePr>
          <p:nvPr>
            <p:ph type="chart" sz="quarter" idx="21"/>
            <p:extLst>
              <p:ext uri="{D42A27DB-BD31-4B8C-83A1-F6EECF244321}">
                <p14:modId xmlns:p14="http://schemas.microsoft.com/office/powerpoint/2010/main" val="3998169505"/>
              </p:ext>
            </p:extLst>
          </p:nvPr>
        </p:nvGraphicFramePr>
        <p:xfrm>
          <a:off x="4756150" y="2125663"/>
          <a:ext cx="399415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a:t>Highlight one segment color format (units)</a:t>
            </a:r>
            <a:endParaRPr lang="en-US" dirty="0"/>
          </a:p>
        </p:txBody>
      </p:sp>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sp>
        <p:nvSpPr>
          <p:cNvPr id="54" name="Text Placeholder 53"/>
          <p:cNvSpPr>
            <a:spLocks noGrp="1"/>
          </p:cNvSpPr>
          <p:nvPr>
            <p:ph type="body" sz="quarter" idx="23"/>
          </p:nvPr>
        </p:nvSpPr>
        <p:spPr/>
        <p:txBody>
          <a:bodyPr>
            <a:normAutofit lnSpcReduction="10000"/>
          </a:bodyPr>
          <a:lstStyle/>
          <a:p>
            <a:r>
              <a:rPr lang="en-US"/>
              <a:t>Source: </a:t>
            </a:r>
          </a:p>
          <a:p>
            <a:r>
              <a:rPr lang="en-US"/>
              <a:t>Note: </a:t>
            </a:r>
            <a:endParaRPr lang="en-US" dirty="0"/>
          </a:p>
        </p:txBody>
      </p:sp>
      <p:sp>
        <p:nvSpPr>
          <p:cNvPr id="10" name="Text Placeholder 3"/>
          <p:cNvSpPr txBox="1">
            <a:spLocks/>
          </p:cNvSpPr>
          <p:nvPr/>
        </p:nvSpPr>
        <p:spPr>
          <a:xfrm>
            <a:off x="370800" y="1810800"/>
            <a:ext cx="4140000"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638" marR="0" lvl="0" indent="-27463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GB" sz="1800" b="0" i="0" u="none" strike="noStrike" kern="1200" cap="none" spc="0" normalizeH="0" baseline="0" noProof="0" dirty="0">
              <a:ln>
                <a:noFill/>
              </a:ln>
              <a:solidFill>
                <a:srgbClr val="313131"/>
              </a:solidFill>
              <a:effectLst/>
              <a:uLnTx/>
              <a:uFillTx/>
              <a:latin typeface="Arial"/>
            </a:endParaRPr>
          </a:p>
        </p:txBody>
      </p:sp>
    </p:spTree>
    <p:extLst>
      <p:ext uri="{BB962C8B-B14F-4D97-AF65-F5344CB8AC3E}">
        <p14:creationId xmlns:p14="http://schemas.microsoft.com/office/powerpoint/2010/main" val="238215102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Placeholder 42"/>
          <p:cNvGraphicFramePr>
            <a:graphicFrameLocks noGrp="1"/>
          </p:cNvGraphicFramePr>
          <p:nvPr>
            <p:ph type="chart" sz="quarter" idx="21"/>
            <p:extLst>
              <p:ext uri="{D42A27DB-BD31-4B8C-83A1-F6EECF244321}">
                <p14:modId xmlns:p14="http://schemas.microsoft.com/office/powerpoint/2010/main" val="2815326829"/>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GB"/>
              <a:t>Highlight one segment color format (units)</a:t>
            </a:r>
            <a:endParaRPr lang="en-GB" dirty="0"/>
          </a:p>
        </p:txBody>
      </p:sp>
      <p:sp>
        <p:nvSpPr>
          <p:cNvPr id="33" name="Text Placeholder 32"/>
          <p:cNvSpPr>
            <a:spLocks noGrp="1"/>
          </p:cNvSpPr>
          <p:nvPr>
            <p:ph type="body" sz="quarter" idx="13"/>
          </p:nvPr>
        </p:nvSpPr>
        <p:spPr/>
        <p:txBody>
          <a:bodyPr/>
          <a:lstStyle/>
          <a:p>
            <a:r>
              <a:rPr lang="en-GB"/>
              <a:t>Multi </a:t>
            </a:r>
            <a:r>
              <a:rPr lang="en-US"/>
              <a:t>color</a:t>
            </a:r>
            <a:r>
              <a:rPr lang="en-GB"/>
              <a:t> and single highlight </a:t>
            </a:r>
            <a:r>
              <a:rPr lang="en-US"/>
              <a:t>color</a:t>
            </a:r>
            <a:endParaRPr lang="en-US" dirty="0"/>
          </a:p>
        </p:txBody>
      </p:sp>
      <p:sp>
        <p:nvSpPr>
          <p:cNvPr id="2" name="Title 1"/>
          <p:cNvSpPr>
            <a:spLocks noGrp="1"/>
          </p:cNvSpPr>
          <p:nvPr>
            <p:ph type="title"/>
          </p:nvPr>
        </p:nvSpPr>
        <p:spPr/>
        <p:txBody>
          <a:bodyPr/>
          <a:lstStyle/>
          <a:p>
            <a:r>
              <a:rPr lang="en-US"/>
              <a:t>Stacked column charts</a:t>
            </a:r>
            <a:endParaRPr lang="en-US" dirty="0"/>
          </a:p>
        </p:txBody>
      </p:sp>
      <p:sp>
        <p:nvSpPr>
          <p:cNvPr id="22" name="Text Placeholder 21"/>
          <p:cNvSpPr>
            <a:spLocks noGrp="1"/>
          </p:cNvSpPr>
          <p:nvPr>
            <p:ph type="body" sz="quarter" idx="23"/>
          </p:nvPr>
        </p:nvSpPr>
        <p:spPr/>
        <p:txBody>
          <a:bodyPr>
            <a:normAutofit lnSpcReduction="10000"/>
          </a:bodyPr>
          <a:lstStyle/>
          <a:p>
            <a:r>
              <a:rPr lang="en-GB"/>
              <a:t>Source:</a:t>
            </a:r>
          </a:p>
          <a:p>
            <a:r>
              <a:rPr lang="en-GB"/>
              <a:t>Note:</a:t>
            </a:r>
            <a:endParaRPr lang="en-GB" dirty="0"/>
          </a:p>
        </p:txBody>
      </p:sp>
      <p:graphicFrame>
        <p:nvGraphicFramePr>
          <p:cNvPr id="37" name="Chart Placeholder 36"/>
          <p:cNvGraphicFramePr>
            <a:graphicFrameLocks noGrp="1"/>
          </p:cNvGraphicFramePr>
          <p:nvPr>
            <p:ph type="chart" sz="quarter" idx="24"/>
            <p:extLst>
              <p:ext uri="{D42A27DB-BD31-4B8C-83A1-F6EECF244321}">
                <p14:modId xmlns:p14="http://schemas.microsoft.com/office/powerpoint/2010/main" val="276681842"/>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p:cNvSpPr>
            <a:spLocks noGrp="1"/>
          </p:cNvSpPr>
          <p:nvPr>
            <p:ph type="body" sz="quarter" idx="25"/>
          </p:nvPr>
        </p:nvSpPr>
        <p:spPr/>
        <p:txBody>
          <a:bodyPr/>
          <a:lstStyle/>
          <a:p>
            <a:r>
              <a:rPr lang="en-US"/>
              <a:t>Standard color format (units)</a:t>
            </a:r>
          </a:p>
          <a:p>
            <a:endParaRPr lang="en-US" dirty="0"/>
          </a:p>
        </p:txBody>
      </p:sp>
    </p:spTree>
    <p:extLst>
      <p:ext uri="{BB962C8B-B14F-4D97-AF65-F5344CB8AC3E}">
        <p14:creationId xmlns:p14="http://schemas.microsoft.com/office/powerpoint/2010/main" val="31598999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393700" y="1700213"/>
            <a:ext cx="8354300" cy="44208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Text Placeholder 2"/>
          <p:cNvSpPr>
            <a:spLocks noGrp="1"/>
          </p:cNvSpPr>
          <p:nvPr>
            <p:ph type="body" sz="quarter" idx="13"/>
          </p:nvPr>
        </p:nvSpPr>
        <p:spPr/>
        <p:txBody>
          <a:bodyPr/>
          <a:lstStyle/>
          <a:p>
            <a:r>
              <a:rPr lang="en-GB"/>
              <a:t>Multi </a:t>
            </a:r>
            <a:r>
              <a:rPr lang="en-US"/>
              <a:t>colors</a:t>
            </a:r>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sp>
        <p:nvSpPr>
          <p:cNvPr id="8" name="Text Placeholder 7"/>
          <p:cNvSpPr>
            <a:spLocks noGrp="1"/>
          </p:cNvSpPr>
          <p:nvPr>
            <p:ph type="body" sz="quarter" idx="22"/>
          </p:nvPr>
        </p:nvSpPr>
        <p:spPr/>
        <p:txBody>
          <a:bodyPr/>
          <a:lstStyle/>
          <a:p>
            <a:r>
              <a:rPr lang="en-GB"/>
              <a:t>Highlight one segment </a:t>
            </a:r>
            <a:r>
              <a:rPr lang="en-US"/>
              <a:t>color</a:t>
            </a:r>
            <a:r>
              <a:rPr lang="en-GB"/>
              <a:t> format (units)</a:t>
            </a:r>
            <a:endParaRPr lang="en-GB" dirty="0"/>
          </a:p>
        </p:txBody>
      </p:sp>
      <p:sp>
        <p:nvSpPr>
          <p:cNvPr id="18" name="Text Placeholder 17"/>
          <p:cNvSpPr>
            <a:spLocks noGrp="1"/>
          </p:cNvSpPr>
          <p:nvPr>
            <p:ph type="body" sz="quarter" idx="23"/>
          </p:nvPr>
        </p:nvSpPr>
        <p:spPr/>
        <p:txBody>
          <a:bodyPr>
            <a:normAutofit lnSpcReduction="10000"/>
          </a:bodyPr>
          <a:lstStyle/>
          <a:p>
            <a:r>
              <a:rPr lang="en-GB"/>
              <a:t>Source:</a:t>
            </a:r>
          </a:p>
          <a:p>
            <a:r>
              <a:rPr lang="en-GB"/>
              <a:t>Note:</a:t>
            </a:r>
            <a:endParaRPr lang="en-GB" dirty="0"/>
          </a:p>
        </p:txBody>
      </p:sp>
      <p:graphicFrame>
        <p:nvGraphicFramePr>
          <p:cNvPr id="59" name="Content Placeholder 8"/>
          <p:cNvGraphicFramePr>
            <a:graphicFrameLocks noGrp="1"/>
          </p:cNvGraphicFramePr>
          <p:nvPr>
            <p:ph type="chart" sz="quarter" idx="24"/>
            <p:extLst>
              <p:ext uri="{D42A27DB-BD31-4B8C-83A1-F6EECF244321}">
                <p14:modId xmlns:p14="http://schemas.microsoft.com/office/powerpoint/2010/main" val="2679966225"/>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2"/>
          </a:graphicData>
        </a:graphic>
      </p:graphicFrame>
      <p:sp>
        <p:nvSpPr>
          <p:cNvPr id="47" name="Text Placeholder 46"/>
          <p:cNvSpPr>
            <a:spLocks noGrp="1"/>
          </p:cNvSpPr>
          <p:nvPr>
            <p:ph type="body" sz="quarter" idx="25"/>
          </p:nvPr>
        </p:nvSpPr>
        <p:spPr/>
        <p:txBody>
          <a:bodyPr/>
          <a:lstStyle/>
          <a:p>
            <a:r>
              <a:rPr lang="en-US"/>
              <a:t>Standard color format (units)</a:t>
            </a:r>
            <a:endParaRPr lang="en-US" dirty="0"/>
          </a:p>
        </p:txBody>
      </p:sp>
      <p:graphicFrame>
        <p:nvGraphicFramePr>
          <p:cNvPr id="80" name="Chart Placeholder 42"/>
          <p:cNvGraphicFramePr>
            <a:graphicFrameLocks noGrp="1"/>
          </p:cNvGraphicFramePr>
          <p:nvPr>
            <p:ph type="chart" sz="quarter" idx="21"/>
            <p:extLst>
              <p:ext uri="{D42A27DB-BD31-4B8C-83A1-F6EECF244321}">
                <p14:modId xmlns:p14="http://schemas.microsoft.com/office/powerpoint/2010/main" val="1305180195"/>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2710360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Multi </a:t>
            </a:r>
            <a:r>
              <a:rPr lang="en-US"/>
              <a:t>color</a:t>
            </a:r>
            <a:endParaRPr lang="en-US" dirty="0"/>
          </a:p>
        </p:txBody>
      </p:sp>
      <p:sp>
        <p:nvSpPr>
          <p:cNvPr id="2" name="Title 1"/>
          <p:cNvSpPr>
            <a:spLocks noGrp="1"/>
          </p:cNvSpPr>
          <p:nvPr>
            <p:ph type="title"/>
          </p:nvPr>
        </p:nvSpPr>
        <p:spPr/>
        <p:txBody>
          <a:bodyPr/>
          <a:lstStyle/>
          <a:p>
            <a:r>
              <a:rPr lang="en-GB"/>
              <a:t>Area chart</a:t>
            </a:r>
            <a:endParaRPr lang="en-GB"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1954583157"/>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a:t>Chart title runs here</a:t>
            </a:r>
            <a:endParaRPr lang="en-GB" dirty="0"/>
          </a:p>
        </p:txBody>
      </p:sp>
      <p:sp>
        <p:nvSpPr>
          <p:cNvPr id="5" name="Text Placeholder 4"/>
          <p:cNvSpPr>
            <a:spLocks noGrp="1"/>
          </p:cNvSpPr>
          <p:nvPr>
            <p:ph type="body" sz="quarter" idx="23"/>
          </p:nvPr>
        </p:nvSpPr>
        <p:spPr/>
        <p:txBody>
          <a:bodyPr>
            <a:normAutofit lnSpcReduction="10000"/>
          </a:bodyPr>
          <a:lstStyle/>
          <a:p>
            <a:r>
              <a:rPr lang="en-US"/>
              <a:t>Source:</a:t>
            </a:r>
          </a:p>
          <a:p>
            <a:r>
              <a:rPr lang="en-US"/>
              <a:t>Note:</a:t>
            </a:r>
          </a:p>
          <a:p>
            <a:endParaRPr lang="en-US"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0"/>
          </p:nvPr>
        </p:nvSpPr>
        <p:spPr/>
        <p:txBody>
          <a:bodyPr/>
          <a:lstStyle/>
          <a:p>
            <a:pPr lvl="1"/>
            <a:r>
              <a:rPr lang="en-GB"/>
              <a:t>This is a level 1 bullet. This is dummy text it is not here to be read</a:t>
            </a:r>
          </a:p>
          <a:p>
            <a:pPr lvl="1"/>
            <a:r>
              <a:rPr lang="en-GB"/>
              <a:t>This is a level 1 bullet. This is dummy text it is not here to be read</a:t>
            </a:r>
          </a:p>
          <a:p>
            <a:pPr lvl="1"/>
            <a:r>
              <a:rPr lang="en-GB"/>
              <a:t>This is a level 1 bullet. This is dummy text it is not here to be read</a:t>
            </a:r>
          </a:p>
          <a:p>
            <a:pPr lvl="2"/>
            <a:r>
              <a:rPr lang="en-GB"/>
              <a:t>This is a level 2 bullet</a:t>
            </a:r>
          </a:p>
          <a:p>
            <a:pPr lvl="2"/>
            <a:r>
              <a:rPr lang="en-GB"/>
              <a:t>This is a level 2 bullet</a:t>
            </a:r>
          </a:p>
          <a:p>
            <a:pPr lvl="2"/>
            <a:r>
              <a:rPr lang="en-GB"/>
              <a:t>This is a level 2 bullet</a:t>
            </a:r>
            <a:endParaRPr lang="en-GB" dirty="0"/>
          </a:p>
        </p:txBody>
      </p:sp>
      <p:graphicFrame>
        <p:nvGraphicFramePr>
          <p:cNvPr id="38" name="Chart Placeholder 37"/>
          <p:cNvGraphicFramePr>
            <a:graphicFrameLocks noGrp="1"/>
          </p:cNvGraphicFramePr>
          <p:nvPr>
            <p:ph type="chart" sz="quarter" idx="21"/>
            <p:extLst>
              <p:ext uri="{D42A27DB-BD31-4B8C-83A1-F6EECF244321}">
                <p14:modId xmlns:p14="http://schemas.microsoft.com/office/powerpoint/2010/main" val="3281986807"/>
              </p:ext>
            </p:extLst>
          </p:nvPr>
        </p:nvGraphicFramePr>
        <p:xfrm>
          <a:off x="4756150" y="2125663"/>
          <a:ext cx="399415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22"/>
          </p:nvPr>
        </p:nvSpPr>
        <p:spPr/>
        <p:txBody>
          <a:bodyPr/>
          <a:lstStyle/>
          <a:p>
            <a:r>
              <a:rPr lang="en-US" dirty="0"/>
              <a:t>Chart title runs here (units)</a:t>
            </a:r>
          </a:p>
        </p:txBody>
      </p:sp>
      <p:sp>
        <p:nvSpPr>
          <p:cNvPr id="44" name="Text Placeholder 43"/>
          <p:cNvSpPr>
            <a:spLocks noGrp="1"/>
          </p:cNvSpPr>
          <p:nvPr>
            <p:ph type="body" sz="quarter" idx="13"/>
          </p:nvPr>
        </p:nvSpPr>
        <p:spPr/>
        <p:txBody>
          <a:bodyPr/>
          <a:lstStyle/>
          <a:p>
            <a:pPr lvl="0"/>
            <a:r>
              <a:rPr lang="en-US" altLang="ja-JP"/>
              <a:t>Multiple colors</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31" name="Text Placeholder 30"/>
          <p:cNvSpPr>
            <a:spLocks noGrp="1"/>
          </p:cNvSpPr>
          <p:nvPr>
            <p:ph type="body" sz="quarter" idx="23"/>
          </p:nvPr>
        </p:nvSpPr>
        <p:spPr/>
        <p:txBody>
          <a:bodyPr>
            <a:normAutofit lnSpcReduction="10000"/>
          </a:bodyPr>
          <a:lstStyle/>
          <a:p>
            <a:r>
              <a:rPr lang="en-US"/>
              <a:t>Source: </a:t>
            </a:r>
          </a:p>
          <a:p>
            <a:r>
              <a:rPr lang="en-US"/>
              <a:t>Note: </a:t>
            </a:r>
            <a:endParaRPr lang="en-US" dirty="0"/>
          </a:p>
        </p:txBody>
      </p:sp>
      <p:sp>
        <p:nvSpPr>
          <p:cNvPr id="11" name="Text Placeholder 3"/>
          <p:cNvSpPr txBox="1">
            <a:spLocks/>
          </p:cNvSpPr>
          <p:nvPr/>
        </p:nvSpPr>
        <p:spPr>
          <a:xfrm>
            <a:off x="370800" y="1828800"/>
            <a:ext cx="4140000" cy="39296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638" marR="0" lvl="0" indent="-27463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GB" sz="1800" b="0" i="0" u="none" strike="noStrike" kern="1200" cap="none" spc="0" normalizeH="0" baseline="0" noProof="0" dirty="0">
              <a:ln>
                <a:noFill/>
              </a:ln>
              <a:solidFill>
                <a:srgbClr val="313131"/>
              </a:solidFill>
              <a:effectLst/>
              <a:uLnTx/>
              <a:uFillTx/>
              <a:latin typeface="Arial"/>
            </a:endParaRPr>
          </a:p>
        </p:txBody>
      </p:sp>
    </p:spTree>
    <p:extLst>
      <p:ext uri="{BB962C8B-B14F-4D97-AF65-F5344CB8AC3E}">
        <p14:creationId xmlns:p14="http://schemas.microsoft.com/office/powerpoint/2010/main" val="263467750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p:cNvGraphicFramePr>
            <a:graphicFrameLocks noGrp="1"/>
          </p:cNvGraphicFramePr>
          <p:nvPr>
            <p:ph type="chart" sz="quarter" idx="21"/>
            <p:extLst>
              <p:ext uri="{D42A27DB-BD31-4B8C-83A1-F6EECF244321}">
                <p14:modId xmlns:p14="http://schemas.microsoft.com/office/powerpoint/2010/main" val="875175939"/>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22"/>
          </p:nvPr>
        </p:nvSpPr>
        <p:spPr/>
        <p:txBody>
          <a:bodyPr/>
          <a:lstStyle/>
          <a:p>
            <a:r>
              <a:rPr lang="en-US"/>
              <a:t>Highlight one segment color format (units)</a:t>
            </a:r>
            <a:endParaRPr lang="en-US" dirty="0"/>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
        <p:nvSpPr>
          <p:cNvPr id="27" name="Text Placeholder 26"/>
          <p:cNvSpPr>
            <a:spLocks noGrp="1"/>
          </p:cNvSpPr>
          <p:nvPr>
            <p:ph type="body" sz="quarter" idx="23"/>
          </p:nvPr>
        </p:nvSpPr>
        <p:spPr/>
        <p:txBody>
          <a:bodyPr>
            <a:normAutofit lnSpcReduction="10000"/>
          </a:bodyPr>
          <a:lstStyle/>
          <a:p>
            <a:r>
              <a:rPr lang="en-US" dirty="0"/>
              <a:t>Source: </a:t>
            </a:r>
          </a:p>
          <a:p>
            <a:r>
              <a:rPr lang="en-US" dirty="0"/>
              <a:t>Note: </a:t>
            </a:r>
          </a:p>
        </p:txBody>
      </p:sp>
      <p:graphicFrame>
        <p:nvGraphicFramePr>
          <p:cNvPr id="20" name="Chart Placeholder 19"/>
          <p:cNvGraphicFramePr>
            <a:graphicFrameLocks noGrp="1"/>
          </p:cNvGraphicFramePr>
          <p:nvPr>
            <p:ph type="chart" sz="quarter" idx="24"/>
            <p:extLst>
              <p:ext uri="{D42A27DB-BD31-4B8C-83A1-F6EECF244321}">
                <p14:modId xmlns:p14="http://schemas.microsoft.com/office/powerpoint/2010/main" val="2275381663"/>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p:cNvSpPr>
            <a:spLocks noGrp="1"/>
          </p:cNvSpPr>
          <p:nvPr>
            <p:ph type="body" sz="quarter" idx="25"/>
          </p:nvPr>
        </p:nvSpPr>
        <p:spPr/>
        <p:txBody>
          <a:bodyPr/>
          <a:lstStyle/>
          <a:p>
            <a:r>
              <a:rPr lang="en-US"/>
              <a:t>Standard color format (units)</a:t>
            </a:r>
            <a:endParaRPr lang="en-US" dirty="0"/>
          </a:p>
        </p:txBody>
      </p:sp>
    </p:spTree>
    <p:extLst>
      <p:ext uri="{BB962C8B-B14F-4D97-AF65-F5344CB8AC3E}">
        <p14:creationId xmlns:p14="http://schemas.microsoft.com/office/powerpoint/2010/main" val="6447262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1359787520"/>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p:txBody>
          <a:bodyPr/>
          <a:lstStyle/>
          <a:p>
            <a:r>
              <a:rPr lang="en-US"/>
              <a:t>Chart title runs here (units)</a:t>
            </a:r>
            <a:endParaRPr lang="en-US" dirty="0"/>
          </a:p>
        </p:txBody>
      </p:sp>
      <p:sp>
        <p:nvSpPr>
          <p:cNvPr id="2" name="Text Placeholder 1"/>
          <p:cNvSpPr>
            <a:spLocks noGrp="1"/>
          </p:cNvSpPr>
          <p:nvPr>
            <p:ph type="body" sz="quarter" idx="13"/>
          </p:nvPr>
        </p:nvSpPr>
        <p:spPr/>
        <p:txBody>
          <a:bodyPr/>
          <a:lstStyle/>
          <a:p>
            <a:pPr lvl="0"/>
            <a:r>
              <a:rPr lang="en-US" altLang="ja-JP"/>
              <a:t>S</a:t>
            </a:r>
            <a:r>
              <a:rPr lang="en-US"/>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
        <p:nvSpPr>
          <p:cNvPr id="41" name="Text Placeholder 40"/>
          <p:cNvSpPr>
            <a:spLocks noGrp="1"/>
          </p:cNvSpPr>
          <p:nvPr>
            <p:ph type="body" sz="quarter" idx="23"/>
          </p:nvPr>
        </p:nvSpPr>
        <p:spPr/>
        <p:txBody>
          <a:bodyPr>
            <a:normAutofit lnSpcReduction="10000"/>
          </a:bodyPr>
          <a:lstStyle/>
          <a:p>
            <a:r>
              <a:rPr lang="en-US" dirty="0"/>
              <a:t>Source: </a:t>
            </a:r>
          </a:p>
          <a:p>
            <a:r>
              <a:rPr lang="en-US" dirty="0"/>
              <a:t>Note: </a:t>
            </a:r>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3203254235"/>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p:txBody>
          <a:bodyPr/>
          <a:lstStyle/>
          <a:p>
            <a:r>
              <a:rPr lang="en-US"/>
              <a:t>Chart title runs here (units)</a:t>
            </a:r>
            <a:endParaRPr lang="en-US" dirty="0"/>
          </a:p>
        </p:txBody>
      </p:sp>
      <p:grpSp>
        <p:nvGrpSpPr>
          <p:cNvPr id="20" name="Group 19"/>
          <p:cNvGrpSpPr/>
          <p:nvPr/>
        </p:nvGrpSpPr>
        <p:grpSpPr>
          <a:xfrm>
            <a:off x="3713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3142389433"/>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41" name="Text Placeholder 40"/>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2467317004"/>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p:txBody>
          <a:bodyPr/>
          <a:lstStyle/>
          <a:p>
            <a:r>
              <a:rPr lang="en-US" dirty="0"/>
              <a:t>Chart title runs here (units)</a:t>
            </a:r>
          </a:p>
        </p:txBody>
      </p:sp>
      <p:sp>
        <p:nvSpPr>
          <p:cNvPr id="12" name="Title 11"/>
          <p:cNvSpPr>
            <a:spLocks noGrp="1"/>
          </p:cNvSpPr>
          <p:nvPr>
            <p:ph type="title"/>
          </p:nvPr>
        </p:nvSpPr>
        <p:spPr/>
        <p:txBody>
          <a:bodyPr/>
          <a:lstStyle/>
          <a:p>
            <a:r>
              <a:rPr lang="en-US" altLang="ja-JP" dirty="0"/>
              <a:t>Pie charts </a:t>
            </a:r>
            <a:endParaRPr lang="en-US" dirty="0"/>
          </a:p>
        </p:txBody>
      </p:sp>
      <p:grpSp>
        <p:nvGrpSpPr>
          <p:cNvPr id="20" name="Group 19"/>
          <p:cNvGrpSpPr/>
          <p:nvPr/>
        </p:nvGrpSpPr>
        <p:grpSpPr>
          <a:xfrm>
            <a:off x="3713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Placeholder 26"/>
          <p:cNvGraphicFramePr>
            <a:graphicFrameLocks noGrp="1"/>
          </p:cNvGraphicFramePr>
          <p:nvPr>
            <p:ph type="chart" sz="quarter" idx="21"/>
            <p:extLst>
              <p:ext uri="{D42A27DB-BD31-4B8C-83A1-F6EECF244321}">
                <p14:modId xmlns:p14="http://schemas.microsoft.com/office/powerpoint/2010/main" val="371111426"/>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 name="Text Placeholder 1"/>
          <p:cNvSpPr>
            <a:spLocks noGrp="1"/>
          </p:cNvSpPr>
          <p:nvPr>
            <p:ph type="body" sz="quarter" idx="13"/>
          </p:nvPr>
        </p:nvSpPr>
        <p:spPr/>
        <p:txBody>
          <a:bodyPr/>
          <a:lstStyle/>
          <a:p>
            <a:pPr lvl="0"/>
            <a:r>
              <a:rPr lang="en-US" altLang="ja-JP"/>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28" name="Text Placeholder 27"/>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24" name="Chart Placeholder 23"/>
          <p:cNvGraphicFramePr>
            <a:graphicFrameLocks noGrp="1"/>
          </p:cNvGraphicFramePr>
          <p:nvPr>
            <p:ph type="chart" sz="quarter" idx="24"/>
            <p:extLst>
              <p:ext uri="{D42A27DB-BD31-4B8C-83A1-F6EECF244321}">
                <p14:modId xmlns:p14="http://schemas.microsoft.com/office/powerpoint/2010/main" val="3758221787"/>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8"/>
          <p:cNvSpPr>
            <a:spLocks noGrp="1"/>
          </p:cNvSpPr>
          <p:nvPr>
            <p:ph type="body" sz="quarter" idx="25"/>
          </p:nvPr>
        </p:nvSpPr>
        <p:spPr/>
        <p:txBody>
          <a:bodyPr/>
          <a:lstStyle/>
          <a:p>
            <a:r>
              <a:rPr lang="en-US"/>
              <a:t>Chart title runs here (units)</a:t>
            </a:r>
            <a:endParaRPr lang="en-US" dirty="0"/>
          </a:p>
        </p:txBody>
      </p:sp>
      <p:sp>
        <p:nvSpPr>
          <p:cNvPr id="23" name="Text Placeholder 12"/>
          <p:cNvSpPr>
            <a:spLocks/>
          </p:cNvSpPr>
          <p:nvPr>
            <p:custDataLst>
              <p:tags r:id="rId1"/>
            </p:custDataLst>
          </p:nvPr>
        </p:nvSpPr>
        <p:spPr bwMode="auto">
          <a:xfrm>
            <a:off x="7217831" y="2614524"/>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29" name="Text Placeholder 12"/>
          <p:cNvSpPr>
            <a:spLocks/>
          </p:cNvSpPr>
          <p:nvPr>
            <p:custDataLst>
              <p:tags r:id="rId2"/>
            </p:custDataLst>
          </p:nvPr>
        </p:nvSpPr>
        <p:spPr bwMode="auto">
          <a:xfrm>
            <a:off x="7217831" y="3358525"/>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0" name="Text Placeholder 12"/>
          <p:cNvSpPr>
            <a:spLocks/>
          </p:cNvSpPr>
          <p:nvPr>
            <p:custDataLst>
              <p:tags r:id="rId3"/>
            </p:custDataLst>
          </p:nvPr>
        </p:nvSpPr>
        <p:spPr bwMode="auto">
          <a:xfrm>
            <a:off x="7217831" y="4102526"/>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1" name="Text Placeholder 12"/>
          <p:cNvSpPr>
            <a:spLocks/>
          </p:cNvSpPr>
          <p:nvPr>
            <p:custDataLst>
              <p:tags r:id="rId4"/>
            </p:custDataLst>
          </p:nvPr>
        </p:nvSpPr>
        <p:spPr bwMode="auto">
          <a:xfrm>
            <a:off x="7217831" y="4846527"/>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grpSp>
        <p:nvGrpSpPr>
          <p:cNvPr id="3" name="Group 2"/>
          <p:cNvGrpSpPr/>
          <p:nvPr/>
        </p:nvGrpSpPr>
        <p:grpSpPr>
          <a:xfrm>
            <a:off x="3654795" y="2576147"/>
            <a:ext cx="2359142" cy="2690445"/>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182072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Placeholder 9"/>
          <p:cNvGraphicFramePr>
            <a:graphicFrameLocks noGrp="1"/>
          </p:cNvGraphicFramePr>
          <p:nvPr>
            <p:ph type="chart" sz="quarter" idx="21"/>
            <p:extLst>
              <p:ext uri="{D42A27DB-BD31-4B8C-83A1-F6EECF244321}">
                <p14:modId xmlns:p14="http://schemas.microsoft.com/office/powerpoint/2010/main" val="4138061827"/>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 name="Text Placeholder 1"/>
          <p:cNvSpPr>
            <a:spLocks noGrp="1"/>
          </p:cNvSpPr>
          <p:nvPr>
            <p:ph type="body" sz="quarter" idx="13"/>
          </p:nvPr>
        </p:nvSpPr>
        <p:spPr/>
        <p:txBody>
          <a:bodyPr/>
          <a:lstStyle/>
          <a:p>
            <a:pPr lvl="0"/>
            <a:r>
              <a:rPr lang="en-US" altLang="ja-JP"/>
              <a:t>S</a:t>
            </a:r>
            <a:r>
              <a:rPr lang="en-US"/>
              <a:t>tacked </a:t>
            </a:r>
            <a:r>
              <a:rPr lang="en-US" altLang="ja-JP"/>
              <a:t>co</a:t>
            </a:r>
            <a:r>
              <a:rPr lang="en-US"/>
              <a:t>lumn 100%</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7" name="Text Placeholder 16"/>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63" name="Chart Placeholder 23"/>
          <p:cNvGraphicFramePr>
            <a:graphicFrameLocks noGrp="1"/>
          </p:cNvGraphicFramePr>
          <p:nvPr>
            <p:ph type="chart" sz="quarter" idx="24"/>
            <p:extLst>
              <p:ext uri="{D42A27DB-BD31-4B8C-83A1-F6EECF244321}">
                <p14:modId xmlns:p14="http://schemas.microsoft.com/office/powerpoint/2010/main" val="1757035244"/>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a:t>Chart title runs here (units)</a:t>
            </a:r>
            <a:endParaRPr lang="en-US" dirty="0"/>
          </a:p>
        </p:txBody>
      </p:sp>
      <p:grpSp>
        <p:nvGrpSpPr>
          <p:cNvPr id="19" name="Group 18"/>
          <p:cNvGrpSpPr/>
          <p:nvPr/>
        </p:nvGrpSpPr>
        <p:grpSpPr>
          <a:xfrm>
            <a:off x="3648808" y="2268416"/>
            <a:ext cx="1661746" cy="2989384"/>
            <a:chOff x="3410662" y="2154116"/>
            <a:chExt cx="2065433" cy="2989384"/>
          </a:xfrm>
        </p:grpSpPr>
        <p:cxnSp>
          <p:nvCxnSpPr>
            <p:cNvPr id="27" name="Straight Connector 26"/>
            <p:cNvCxnSpPr/>
            <p:nvPr/>
          </p:nvCxnSpPr>
          <p:spPr>
            <a:xfrm flipV="1">
              <a:off x="3421590" y="2154116"/>
              <a:ext cx="2054505" cy="1011115"/>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410662" y="4281854"/>
              <a:ext cx="2043576" cy="86164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10333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 with full column of bullets and dashes</a:t>
            </a:r>
            <a:endParaRPr lang="en-US" dirty="0"/>
          </a:p>
        </p:txBody>
      </p:sp>
      <p:sp>
        <p:nvSpPr>
          <p:cNvPr id="2" name="Title 1"/>
          <p:cNvSpPr>
            <a:spLocks noGrp="1"/>
          </p:cNvSpPr>
          <p:nvPr>
            <p:ph type="title"/>
          </p:nvPr>
        </p:nvSpPr>
        <p:spPr/>
        <p:txBody>
          <a:bodyPr/>
          <a:lstStyle/>
          <a:p>
            <a:r>
              <a:rPr lang="en-US"/>
              <a:t>Tables</a:t>
            </a:r>
            <a:endParaRPr lang="en-GB"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786712772"/>
              </p:ext>
            </p:extLst>
          </p:nvPr>
        </p:nvGraphicFramePr>
        <p:xfrm>
          <a:off x="390525" y="2052638"/>
          <a:ext cx="8359584" cy="3255060"/>
        </p:xfrm>
        <a:graphic>
          <a:graphicData uri="http://schemas.openxmlformats.org/drawingml/2006/table">
            <a:tbl>
              <a:tblPr firstRow="1" bandRow="1">
                <a:tableStyleId>{5C22544A-7EE6-4342-B048-85BDC9FD1C3A}</a:tableStyleId>
              </a:tblPr>
              <a:tblGrid>
                <a:gridCol w="2089896">
                  <a:extLst>
                    <a:ext uri="{9D8B030D-6E8A-4147-A177-3AD203B41FA5}">
                      <a16:colId xmlns:a16="http://schemas.microsoft.com/office/drawing/2014/main" val="20000"/>
                    </a:ext>
                  </a:extLst>
                </a:gridCol>
                <a:gridCol w="2089896">
                  <a:extLst>
                    <a:ext uri="{9D8B030D-6E8A-4147-A177-3AD203B41FA5}">
                      <a16:colId xmlns:a16="http://schemas.microsoft.com/office/drawing/2014/main" val="20001"/>
                    </a:ext>
                  </a:extLst>
                </a:gridCol>
                <a:gridCol w="2089896">
                  <a:extLst>
                    <a:ext uri="{9D8B030D-6E8A-4147-A177-3AD203B41FA5}">
                      <a16:colId xmlns:a16="http://schemas.microsoft.com/office/drawing/2014/main" val="20003"/>
                    </a:ext>
                  </a:extLst>
                </a:gridCol>
                <a:gridCol w="2089896">
                  <a:extLst>
                    <a:ext uri="{9D8B030D-6E8A-4147-A177-3AD203B41FA5}">
                      <a16:colId xmlns:a16="http://schemas.microsoft.com/office/drawing/2014/main" val="20002"/>
                    </a:ext>
                  </a:extLst>
                </a:gridCol>
              </a:tblGrid>
              <a:tr h="466140">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Column heading</a:t>
                      </a: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0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000" b="0" i="0" u="none" strike="noStrike" kern="1200" cap="none" spc="0" normalizeH="0" baseline="0" noProof="0" dirty="0">
                          <a:ln>
                            <a:noFill/>
                          </a:ln>
                          <a:solidFill>
                            <a:schemeClr val="tx1"/>
                          </a:solidFill>
                          <a:effectLst/>
                          <a:uLnTx/>
                          <a:uFillTx/>
                          <a:latin typeface="+mn-lt"/>
                        </a:rPr>
                        <a:t>Level 3 bullet</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a:t>Table title runs here</a:t>
            </a:r>
            <a:endParaRPr lang="en-US" dirty="0"/>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Placeholder 32"/>
          <p:cNvGraphicFramePr>
            <a:graphicFrameLocks noGrp="1"/>
          </p:cNvGraphicFramePr>
          <p:nvPr>
            <p:ph type="chart" sz="quarter" idx="21"/>
            <p:extLst>
              <p:ext uri="{D42A27DB-BD31-4B8C-83A1-F6EECF244321}">
                <p14:modId xmlns:p14="http://schemas.microsoft.com/office/powerpoint/2010/main" val="4167666287"/>
              </p:ext>
            </p:extLst>
          </p:nvPr>
        </p:nvGraphicFramePr>
        <p:xfrm>
          <a:off x="4752975" y="2125663"/>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22"/>
          </p:nvPr>
        </p:nvSpPr>
        <p:spPr/>
        <p:txBody>
          <a:bodyPr/>
          <a:lstStyle/>
          <a:p>
            <a:r>
              <a:rPr lang="en-US"/>
              <a:t>Chart title runs here (units)</a:t>
            </a:r>
            <a:endParaRPr lang="en-US" dirty="0"/>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8" name="Text Placeholder 17"/>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32" name="Chart Placeholder 31"/>
          <p:cNvGraphicFramePr>
            <a:graphicFrameLocks noGrp="1"/>
          </p:cNvGraphicFramePr>
          <p:nvPr>
            <p:ph type="chart" sz="quarter" idx="24"/>
            <p:extLst>
              <p:ext uri="{D42A27DB-BD31-4B8C-83A1-F6EECF244321}">
                <p14:modId xmlns:p14="http://schemas.microsoft.com/office/powerpoint/2010/main" val="4047883112"/>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p:cNvSpPr>
            <a:spLocks noGrp="1"/>
          </p:cNvSpPr>
          <p:nvPr>
            <p:ph type="body" sz="quarter" idx="25"/>
          </p:nvPr>
        </p:nvSpPr>
        <p:spPr/>
        <p:txBody>
          <a:bodyPr/>
          <a:lstStyle/>
          <a:p>
            <a:r>
              <a:rPr lang="en-US"/>
              <a:t>Chart title runs here (units)</a:t>
            </a:r>
            <a:endParaRPr lang="en-US" dirty="0"/>
          </a:p>
        </p:txBody>
      </p:sp>
      <p:sp>
        <p:nvSpPr>
          <p:cNvPr id="10" name="Text Placeholder 8"/>
          <p:cNvSpPr txBox="1">
            <a:spLocks/>
          </p:cNvSpPr>
          <p:nvPr/>
        </p:nvSpPr>
        <p:spPr>
          <a:xfrm>
            <a:off x="376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kumimoji="0" lang="en-GB" sz="3000" b="0" i="0" u="none" strike="noStrike" kern="1200" cap="none" spc="0" normalizeH="0" baseline="0" noProof="0" dirty="0">
              <a:ln>
                <a:noFill/>
              </a:ln>
              <a:solidFill>
                <a:srgbClr val="81BC00"/>
              </a:solidFill>
              <a:effectLst/>
              <a:uLnTx/>
              <a:uFillTx/>
              <a:latin typeface="Arial"/>
            </a:endParaRPr>
          </a:p>
        </p:txBody>
      </p:sp>
      <p:grpSp>
        <p:nvGrpSpPr>
          <p:cNvPr id="43" name="Group 42"/>
          <p:cNvGrpSpPr/>
          <p:nvPr/>
        </p:nvGrpSpPr>
        <p:grpSpPr>
          <a:xfrm>
            <a:off x="2496040" y="2303585"/>
            <a:ext cx="3078283" cy="2971800"/>
            <a:chOff x="2540000" y="2057399"/>
            <a:chExt cx="3190874" cy="2971800"/>
          </a:xfrm>
        </p:grpSpPr>
        <p:cxnSp>
          <p:nvCxnSpPr>
            <p:cNvPr id="27" name="Straight Connector 26"/>
            <p:cNvCxnSpPr/>
            <p:nvPr/>
          </p:nvCxnSpPr>
          <p:spPr>
            <a:xfrm flipV="1">
              <a:off x="2540000" y="2057399"/>
              <a:ext cx="3190874" cy="196275"/>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974109" y="4892253"/>
              <a:ext cx="2747652" cy="13694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5535148" y="5631010"/>
            <a:ext cx="3017520" cy="153888"/>
          </a:xfrm>
          <a:prstGeom prst="rect">
            <a:avLst/>
          </a:prstGeom>
          <a:noFill/>
        </p:spPr>
        <p:txBody>
          <a:bodyPr wrap="square" lIns="0" tIns="0" rIns="0" bIns="0" rtlCol="0" anchor="ctr">
            <a:spAutoFit/>
          </a:bodyPr>
          <a:lstStyle/>
          <a:p>
            <a:pPr algn="ctr">
              <a:spcBef>
                <a:spcPts val="1200"/>
              </a:spcBef>
              <a:buSzPct val="100000"/>
            </a:pPr>
            <a:r>
              <a:rPr lang="en-US" sz="1000" dirty="0">
                <a:solidFill>
                  <a:srgbClr val="53565A"/>
                </a:solidFill>
              </a:rPr>
              <a:t>Axis label</a:t>
            </a:r>
          </a:p>
        </p:txBody>
      </p:sp>
    </p:spTree>
    <p:extLst>
      <p:ext uri="{BB962C8B-B14F-4D97-AF65-F5344CB8AC3E}">
        <p14:creationId xmlns:p14="http://schemas.microsoft.com/office/powerpoint/2010/main" val="230052633"/>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a:t>Multiple colors</a:t>
            </a:r>
            <a:endParaRPr lang="en-US" dirty="0"/>
          </a:p>
        </p:txBody>
      </p:sp>
      <p:sp>
        <p:nvSpPr>
          <p:cNvPr id="10" name="Title 9"/>
          <p:cNvSpPr>
            <a:spLocks noGrp="1"/>
          </p:cNvSpPr>
          <p:nvPr>
            <p:ph type="title"/>
          </p:nvPr>
        </p:nvSpPr>
        <p:spPr/>
        <p:txBody>
          <a:bodyPr/>
          <a:lstStyle/>
          <a:p>
            <a:r>
              <a:rPr lang="en-US"/>
              <a:t>Donut chart</a:t>
            </a:r>
            <a:endParaRPr lang="en-US" dirty="0"/>
          </a:p>
        </p:txBody>
      </p:sp>
      <p:graphicFrame>
        <p:nvGraphicFramePr>
          <p:cNvPr id="37" name="Chart Placeholder 36"/>
          <p:cNvGraphicFramePr>
            <a:graphicFrameLocks noGrp="1"/>
          </p:cNvGraphicFramePr>
          <p:nvPr>
            <p:ph type="chart" sz="quarter" idx="15"/>
            <p:extLst>
              <p:ext uri="{D42A27DB-BD31-4B8C-83A1-F6EECF244321}">
                <p14:modId xmlns:p14="http://schemas.microsoft.com/office/powerpoint/2010/main" val="1393665178"/>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GB"/>
              <a:t>Chart title runs here (units)</a:t>
            </a:r>
            <a:endParaRPr lang="en-GB" dirty="0"/>
          </a:p>
        </p:txBody>
      </p:sp>
      <p:sp>
        <p:nvSpPr>
          <p:cNvPr id="5" name="Text Placeholder 4"/>
          <p:cNvSpPr>
            <a:spLocks noGrp="1"/>
          </p:cNvSpPr>
          <p:nvPr>
            <p:ph type="body" sz="quarter" idx="23"/>
          </p:nvPr>
        </p:nvSpPr>
        <p:spPr/>
        <p:txBody>
          <a:bodyPr>
            <a:normAutofit lnSpcReduction="10000"/>
          </a:bodyPr>
          <a:lstStyle/>
          <a:p>
            <a:r>
              <a:rPr lang="en-US" dirty="0"/>
              <a:t>Source:</a:t>
            </a:r>
          </a:p>
          <a:p>
            <a:r>
              <a:rPr lang="en-US" dirty="0"/>
              <a:t>Note:</a:t>
            </a:r>
          </a:p>
        </p:txBody>
      </p:sp>
    </p:spTree>
    <p:extLst>
      <p:ext uri="{BB962C8B-B14F-4D97-AF65-F5344CB8AC3E}">
        <p14:creationId xmlns:p14="http://schemas.microsoft.com/office/powerpoint/2010/main" val="188498385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type="chart" sz="quarter" idx="15"/>
            <p:extLst>
              <p:ext uri="{D42A27DB-BD31-4B8C-83A1-F6EECF244321}">
                <p14:modId xmlns:p14="http://schemas.microsoft.com/office/powerpoint/2010/main" val="1732512538"/>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type="body" sz="quarter" idx="18"/>
          </p:nvPr>
        </p:nvSpPr>
        <p:spPr/>
        <p:txBody>
          <a:bodyPr/>
          <a:lstStyle/>
          <a:p>
            <a:r>
              <a:rPr lang="en-GB"/>
              <a:t>Chart title runs here (units)</a:t>
            </a:r>
            <a:endParaRPr lang="en-GB" dirty="0"/>
          </a:p>
        </p:txBody>
      </p:sp>
      <p:sp>
        <p:nvSpPr>
          <p:cNvPr id="77" name="Text Placeholder 76"/>
          <p:cNvSpPr>
            <a:spLocks noGrp="1"/>
          </p:cNvSpPr>
          <p:nvPr>
            <p:ph type="body" sz="quarter" idx="23"/>
          </p:nvPr>
        </p:nvSpPr>
        <p:spPr/>
        <p:txBody>
          <a:bodyPr>
            <a:normAutofit lnSpcReduction="10000"/>
          </a:bodyPr>
          <a:lstStyle/>
          <a:p>
            <a:r>
              <a:rPr lang="en-US" dirty="0"/>
              <a:t>Source:</a:t>
            </a:r>
          </a:p>
          <a:p>
            <a:r>
              <a:rPr lang="en-US" dirty="0"/>
              <a:t>Note:</a:t>
            </a:r>
          </a:p>
        </p:txBody>
      </p:sp>
      <p:sp>
        <p:nvSpPr>
          <p:cNvPr id="9" name="Rectangle 8"/>
          <p:cNvSpPr/>
          <p:nvPr/>
        </p:nvSpPr>
        <p:spPr bwMode="gray">
          <a:xfrm>
            <a:off x="390524" y="1404765"/>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Half Frame 2"/>
          <p:cNvSpPr/>
          <p:nvPr/>
        </p:nvSpPr>
        <p:spPr bwMode="gray">
          <a:xfrm rot="18764693">
            <a:off x="4783293" y="2637580"/>
            <a:ext cx="168177" cy="160415"/>
          </a:xfrm>
          <a:prstGeom prst="halfFram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TextBox 10"/>
          <p:cNvSpPr txBox="1"/>
          <p:nvPr/>
        </p:nvSpPr>
        <p:spPr>
          <a:xfrm>
            <a:off x="4917283" y="2555857"/>
            <a:ext cx="750583" cy="316485"/>
          </a:xfrm>
          <a:prstGeom prst="rect">
            <a:avLst/>
          </a:prstGeom>
          <a:noFill/>
        </p:spPr>
        <p:txBody>
          <a:bodyPr wrap="square" lIns="0" tIns="0" rIns="0" bIns="0" rtlCol="0">
            <a:noAutofit/>
          </a:bodyPr>
          <a:lstStyle/>
          <a:p>
            <a:r>
              <a:rPr lang="en-GB" sz="1900" b="1" dirty="0">
                <a:solidFill>
                  <a:schemeClr val="accent1"/>
                </a:solidFill>
              </a:rPr>
              <a:t>84%</a:t>
            </a:r>
            <a:endParaRPr lang="en-GB" sz="1900" dirty="0">
              <a:solidFill>
                <a:schemeClr val="accent1"/>
              </a:solidFill>
            </a:endParaRPr>
          </a:p>
        </p:txBody>
      </p:sp>
    </p:spTree>
    <p:extLst>
      <p:ext uri="{BB962C8B-B14F-4D97-AF65-F5344CB8AC3E}">
        <p14:creationId xmlns:p14="http://schemas.microsoft.com/office/powerpoint/2010/main" val="1928747357"/>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a:t>Multiple donut chart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886809563"/>
              </p:ext>
            </p:extLst>
          </p:nvPr>
        </p:nvGraphicFramePr>
        <p:xfrm>
          <a:off x="393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p:txBody>
          <a:bodyPr/>
          <a:lstStyle/>
          <a:p>
            <a:r>
              <a:rPr lang="en-GB"/>
              <a:t>N America</a:t>
            </a:r>
            <a:endParaRPr lang="en-GB" dirty="0"/>
          </a:p>
        </p:txBody>
      </p:sp>
      <p:graphicFrame>
        <p:nvGraphicFramePr>
          <p:cNvPr id="24" name="Chart Placeholder 15"/>
          <p:cNvGraphicFramePr>
            <a:graphicFrameLocks noGrp="1"/>
          </p:cNvGraphicFramePr>
          <p:nvPr>
            <p:ph type="chart" sz="quarter" idx="19"/>
            <p:extLst/>
          </p:nvPr>
        </p:nvGraphicFramePr>
        <p:xfrm>
          <a:off x="3244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p:txBody>
          <a:bodyPr/>
          <a:lstStyle/>
          <a:p>
            <a:r>
              <a:rPr lang="en-GB"/>
              <a:t>Europe</a:t>
            </a:r>
            <a:endParaRPr lang="en-GB" dirty="0"/>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3296682657"/>
              </p:ext>
            </p:extLst>
          </p:nvPr>
        </p:nvGraphicFramePr>
        <p:xfrm>
          <a:off x="6108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p:txBody>
          <a:bodyPr/>
          <a:lstStyle/>
          <a:p>
            <a:r>
              <a:rPr lang="en-GB"/>
              <a:t>Asia</a:t>
            </a:r>
            <a:endParaRPr lang="en-GB" dirty="0"/>
          </a:p>
        </p:txBody>
      </p:sp>
      <p:sp>
        <p:nvSpPr>
          <p:cNvPr id="4" name="Text Placeholder 3"/>
          <p:cNvSpPr>
            <a:spLocks noGrp="1"/>
          </p:cNvSpPr>
          <p:nvPr>
            <p:ph type="body" sz="quarter" idx="23"/>
          </p:nvPr>
        </p:nvSpPr>
        <p:spPr/>
        <p:txBody>
          <a:bodyPr>
            <a:normAutofit lnSpcReduction="10000"/>
          </a:bodyPr>
          <a:lstStyle/>
          <a:p>
            <a:r>
              <a:rPr lang="en-US"/>
              <a:t>Source:</a:t>
            </a:r>
          </a:p>
          <a:p>
            <a:r>
              <a:rPr lang="en-US"/>
              <a:t>Note:</a:t>
            </a:r>
            <a:endParaRPr lang="en-US" dirty="0"/>
          </a:p>
        </p:txBody>
      </p:sp>
      <p:sp>
        <p:nvSpPr>
          <p:cNvPr id="19" name="TextBox 18"/>
          <p:cNvSpPr txBox="1"/>
          <p:nvPr/>
        </p:nvSpPr>
        <p:spPr bwMode="gray">
          <a:xfrm>
            <a:off x="1019388"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21%</a:t>
            </a:r>
          </a:p>
        </p:txBody>
      </p:sp>
      <p:sp>
        <p:nvSpPr>
          <p:cNvPr id="20" name="TextBox 19"/>
          <p:cNvSpPr txBox="1"/>
          <p:nvPr/>
        </p:nvSpPr>
        <p:spPr bwMode="gray">
          <a:xfrm>
            <a:off x="3865233"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27%</a:t>
            </a:r>
          </a:p>
        </p:txBody>
      </p:sp>
      <p:sp>
        <p:nvSpPr>
          <p:cNvPr id="21" name="TextBox 20"/>
          <p:cNvSpPr txBox="1"/>
          <p:nvPr/>
        </p:nvSpPr>
        <p:spPr bwMode="gray">
          <a:xfrm>
            <a:off x="670816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a:t>Multiple donut chart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61931235"/>
              </p:ext>
            </p:extLst>
          </p:nvPr>
        </p:nvGraphicFramePr>
        <p:xfrm>
          <a:off x="393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82" name="Text Placeholder 81"/>
          <p:cNvSpPr>
            <a:spLocks noGrp="1"/>
          </p:cNvSpPr>
          <p:nvPr>
            <p:ph type="body" sz="quarter" idx="18"/>
          </p:nvPr>
        </p:nvSpPr>
        <p:spPr/>
        <p:txBody>
          <a:bodyPr/>
          <a:lstStyle/>
          <a:p>
            <a:endParaRPr lang="en-US"/>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1878277177"/>
              </p:ext>
            </p:extLst>
          </p:nvPr>
        </p:nvGraphicFramePr>
        <p:xfrm>
          <a:off x="3244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3" name="Text Placeholder 82"/>
          <p:cNvSpPr>
            <a:spLocks noGrp="1"/>
          </p:cNvSpPr>
          <p:nvPr>
            <p:ph type="body" sz="quarter" idx="20"/>
          </p:nvPr>
        </p:nvSpPr>
        <p:spPr/>
        <p:txBody>
          <a:bodyPr/>
          <a:lstStyle/>
          <a:p>
            <a:endParaRPr lang="en-US"/>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1415356514"/>
              </p:ext>
            </p:extLst>
          </p:nvPr>
        </p:nvGraphicFramePr>
        <p:xfrm>
          <a:off x="6108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84" name="Text Placeholder 83"/>
          <p:cNvSpPr>
            <a:spLocks noGrp="1"/>
          </p:cNvSpPr>
          <p:nvPr>
            <p:ph type="body" sz="quarter" idx="22"/>
          </p:nvPr>
        </p:nvSpPr>
        <p:spPr/>
        <p:txBody>
          <a:bodyPr/>
          <a:lstStyle/>
          <a:p>
            <a:endParaRPr lang="en-US"/>
          </a:p>
        </p:txBody>
      </p:sp>
      <p:sp>
        <p:nvSpPr>
          <p:cNvPr id="85" name="Text Placeholder 84"/>
          <p:cNvSpPr>
            <a:spLocks noGrp="1"/>
          </p:cNvSpPr>
          <p:nvPr>
            <p:ph type="body" sz="quarter" idx="23"/>
          </p:nvPr>
        </p:nvSpPr>
        <p:spPr/>
        <p:txBody>
          <a:bodyPr>
            <a:normAutofit lnSpcReduction="10000"/>
          </a:bodyPr>
          <a:lstStyle/>
          <a:p>
            <a:r>
              <a:rPr lang="en-US" dirty="0"/>
              <a:t>Source:</a:t>
            </a:r>
          </a:p>
          <a:p>
            <a:r>
              <a:rPr lang="en-US" dirty="0"/>
              <a:t>Note:</a:t>
            </a:r>
          </a:p>
        </p:txBody>
      </p:sp>
      <p:sp>
        <p:nvSpPr>
          <p:cNvPr id="19" name="TextBox 18"/>
          <p:cNvSpPr txBox="1"/>
          <p:nvPr/>
        </p:nvSpPr>
        <p:spPr bwMode="gray">
          <a:xfrm>
            <a:off x="101938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68%</a:t>
            </a:r>
          </a:p>
        </p:txBody>
      </p:sp>
      <p:sp>
        <p:nvSpPr>
          <p:cNvPr id="20" name="TextBox 19"/>
          <p:cNvSpPr txBox="1"/>
          <p:nvPr/>
        </p:nvSpPr>
        <p:spPr bwMode="gray">
          <a:xfrm>
            <a:off x="3865233"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32%</a:t>
            </a:r>
          </a:p>
        </p:txBody>
      </p:sp>
      <p:sp>
        <p:nvSpPr>
          <p:cNvPr id="21" name="TextBox 20"/>
          <p:cNvSpPr txBox="1"/>
          <p:nvPr/>
        </p:nvSpPr>
        <p:spPr bwMode="gray">
          <a:xfrm>
            <a:off x="6708168"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18%</a:t>
            </a:r>
          </a:p>
        </p:txBody>
      </p:sp>
    </p:spTree>
    <p:extLst>
      <p:ext uri="{BB962C8B-B14F-4D97-AF65-F5344CB8AC3E}">
        <p14:creationId xmlns:p14="http://schemas.microsoft.com/office/powerpoint/2010/main" val="119040444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a:t>Multiple donut chart &amp; icon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286436978"/>
              </p:ext>
            </p:extLst>
          </p:nvPr>
        </p:nvGraphicFramePr>
        <p:xfrm>
          <a:off x="393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37" name="Text Placeholder 36"/>
          <p:cNvSpPr>
            <a:spLocks noGrp="1"/>
          </p:cNvSpPr>
          <p:nvPr>
            <p:ph type="body" sz="quarter" idx="18"/>
          </p:nvPr>
        </p:nvSpPr>
        <p:spPr/>
        <p:txBody>
          <a:bodyPr/>
          <a:lstStyle/>
          <a:p>
            <a:endParaRPr lang="en-US"/>
          </a:p>
        </p:txBody>
      </p:sp>
      <p:graphicFrame>
        <p:nvGraphicFramePr>
          <p:cNvPr id="28" name="Chart Placeholder 15"/>
          <p:cNvGraphicFramePr>
            <a:graphicFrameLocks noGrp="1"/>
          </p:cNvGraphicFramePr>
          <p:nvPr>
            <p:ph type="chart" sz="quarter" idx="19"/>
            <p:extLst>
              <p:ext uri="{D42A27DB-BD31-4B8C-83A1-F6EECF244321}">
                <p14:modId xmlns:p14="http://schemas.microsoft.com/office/powerpoint/2010/main" val="438501740"/>
              </p:ext>
            </p:extLst>
          </p:nvPr>
        </p:nvGraphicFramePr>
        <p:xfrm>
          <a:off x="3244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38" name="Text Placeholder 37"/>
          <p:cNvSpPr>
            <a:spLocks noGrp="1"/>
          </p:cNvSpPr>
          <p:nvPr>
            <p:ph type="body" sz="quarter" idx="20"/>
          </p:nvPr>
        </p:nvSpPr>
        <p:spPr/>
        <p:txBody>
          <a:bodyPr/>
          <a:lstStyle/>
          <a:p>
            <a:endParaRPr lang="en-US"/>
          </a:p>
        </p:txBody>
      </p:sp>
      <p:graphicFrame>
        <p:nvGraphicFramePr>
          <p:cNvPr id="27" name="Chart Placeholder 15"/>
          <p:cNvGraphicFramePr>
            <a:graphicFrameLocks noGrp="1"/>
          </p:cNvGraphicFramePr>
          <p:nvPr>
            <p:ph type="chart" sz="quarter" idx="21"/>
            <p:extLst>
              <p:ext uri="{D42A27DB-BD31-4B8C-83A1-F6EECF244321}">
                <p14:modId xmlns:p14="http://schemas.microsoft.com/office/powerpoint/2010/main" val="2677369690"/>
              </p:ext>
            </p:extLst>
          </p:nvPr>
        </p:nvGraphicFramePr>
        <p:xfrm>
          <a:off x="6108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 Placeholder 38"/>
          <p:cNvSpPr>
            <a:spLocks noGrp="1"/>
          </p:cNvSpPr>
          <p:nvPr>
            <p:ph type="body" sz="quarter" idx="22"/>
          </p:nvPr>
        </p:nvSpPr>
        <p:spPr/>
        <p:txBody>
          <a:bodyPr/>
          <a:lstStyle/>
          <a:p>
            <a:endParaRPr lang="en-US"/>
          </a:p>
        </p:txBody>
      </p:sp>
      <p:sp>
        <p:nvSpPr>
          <p:cNvPr id="40" name="Text Placeholder 39"/>
          <p:cNvSpPr>
            <a:spLocks noGrp="1"/>
          </p:cNvSpPr>
          <p:nvPr>
            <p:ph type="body" sz="quarter" idx="23"/>
          </p:nvPr>
        </p:nvSpPr>
        <p:spPr/>
        <p:txBody>
          <a:bodyPr>
            <a:normAutofit lnSpcReduction="10000"/>
          </a:bodyPr>
          <a:lstStyle/>
          <a:p>
            <a:r>
              <a:rPr lang="en-US" dirty="0"/>
              <a:t>Source:</a:t>
            </a:r>
          </a:p>
          <a:p>
            <a:r>
              <a:rPr lang="en-US" dirty="0"/>
              <a:t>Note:</a:t>
            </a:r>
          </a:p>
        </p:txBody>
      </p:sp>
      <p:grpSp>
        <p:nvGrpSpPr>
          <p:cNvPr id="13" name="Group 12"/>
          <p:cNvGrpSpPr/>
          <p:nvPr/>
        </p:nvGrpSpPr>
        <p:grpSpPr>
          <a:xfrm>
            <a:off x="4202118" y="3136148"/>
            <a:ext cx="754989" cy="1026011"/>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621"/>
          <p:cNvSpPr>
            <a:spLocks noEditPoints="1"/>
          </p:cNvSpPr>
          <p:nvPr/>
        </p:nvSpPr>
        <p:spPr bwMode="auto">
          <a:xfrm>
            <a:off x="1229616" y="3165185"/>
            <a:ext cx="969767" cy="103311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p:cNvGrpSpPr/>
          <p:nvPr/>
        </p:nvGrpSpPr>
        <p:grpSpPr>
          <a:xfrm>
            <a:off x="6615637" y="2848659"/>
            <a:ext cx="1596291" cy="1600988"/>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87540138"/>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sp>
        <p:nvSpPr>
          <p:cNvPr id="16" name="Title 15"/>
          <p:cNvSpPr>
            <a:spLocks noGrp="1"/>
          </p:cNvSpPr>
          <p:nvPr>
            <p:ph type="title"/>
          </p:nvPr>
        </p:nvSpPr>
        <p:spPr/>
        <p:txBody>
          <a:bodyPr/>
          <a:lstStyle/>
          <a:p>
            <a:r>
              <a:rPr lang="en-US"/>
              <a:t>Radar chart</a:t>
            </a:r>
            <a:endParaRPr lang="en-GB" dirty="0"/>
          </a:p>
        </p:txBody>
      </p:sp>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137770835"/>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8"/>
          </p:nvPr>
        </p:nvSpPr>
        <p:spPr/>
        <p:txBody>
          <a:bodyPr/>
          <a:lstStyle/>
          <a:p>
            <a:r>
              <a:rPr lang="en-GB"/>
              <a:t>Chart title runs here (units)</a:t>
            </a:r>
            <a:endParaRPr lang="en-GB" dirty="0"/>
          </a:p>
        </p:txBody>
      </p:sp>
      <p:sp>
        <p:nvSpPr>
          <p:cNvPr id="4" name="Text Placeholder 3"/>
          <p:cNvSpPr>
            <a:spLocks noGrp="1"/>
          </p:cNvSpPr>
          <p:nvPr>
            <p:ph type="body" sz="quarter" idx="23"/>
          </p:nvPr>
        </p:nvSpPr>
        <p:spPr/>
        <p:txBody>
          <a:bodyPr>
            <a:normAutofit lnSpcReduction="10000"/>
          </a:bodyPr>
          <a:lstStyle/>
          <a:p>
            <a:r>
              <a:rPr lang="en-US" dirty="0"/>
              <a:t>Source:</a:t>
            </a:r>
          </a:p>
          <a:p>
            <a:r>
              <a:rPr lang="en-US" dirty="0"/>
              <a:t>Note:</a:t>
            </a:r>
          </a:p>
        </p:txBody>
      </p:sp>
    </p:spTree>
    <p:extLst>
      <p:ext uri="{BB962C8B-B14F-4D97-AF65-F5344CB8AC3E}">
        <p14:creationId xmlns:p14="http://schemas.microsoft.com/office/powerpoint/2010/main" val="178046394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sp>
        <p:nvSpPr>
          <p:cNvPr id="10" name="Title 9"/>
          <p:cNvSpPr>
            <a:spLocks noGrp="1"/>
          </p:cNvSpPr>
          <p:nvPr>
            <p:ph type="title"/>
          </p:nvPr>
        </p:nvSpPr>
        <p:spPr/>
        <p:txBody>
          <a:bodyPr/>
          <a:lstStyle/>
          <a:p>
            <a:r>
              <a:rPr lang="en-US"/>
              <a:t>Radial donut chart</a:t>
            </a:r>
            <a:endParaRPr lang="en-US" dirty="0"/>
          </a:p>
        </p:txBody>
      </p:sp>
      <p:graphicFrame>
        <p:nvGraphicFramePr>
          <p:cNvPr id="21" name="Chart Placeholder 36"/>
          <p:cNvGraphicFramePr>
            <a:graphicFrameLocks noGrp="1"/>
          </p:cNvGraphicFramePr>
          <p:nvPr>
            <p:ph type="chart" sz="quarter" idx="15"/>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18"/>
          </p:nvPr>
        </p:nvSpPr>
        <p:spPr/>
        <p:txBody>
          <a:bodyPr/>
          <a:lstStyle/>
          <a:p>
            <a:r>
              <a:rPr lang="en-GB" dirty="0"/>
              <a:t>Chart title runs here (units)</a:t>
            </a:r>
          </a:p>
        </p:txBody>
      </p:sp>
      <p:sp>
        <p:nvSpPr>
          <p:cNvPr id="8" name="Text Placeholder 7"/>
          <p:cNvSpPr>
            <a:spLocks noGrp="1"/>
          </p:cNvSpPr>
          <p:nvPr>
            <p:ph type="body" sz="quarter" idx="23"/>
          </p:nvPr>
        </p:nvSpPr>
        <p:spPr/>
        <p:txBody>
          <a:bodyPr>
            <a:normAutofit lnSpcReduction="10000"/>
          </a:bodyPr>
          <a:lstStyle/>
          <a:p>
            <a:r>
              <a:rPr lang="en-US" dirty="0"/>
              <a:t>Source:</a:t>
            </a:r>
          </a:p>
          <a:p>
            <a:r>
              <a:rPr lang="en-US" dirty="0"/>
              <a:t>Note:</a:t>
            </a:r>
          </a:p>
        </p:txBody>
      </p:sp>
      <p:grpSp>
        <p:nvGrpSpPr>
          <p:cNvPr id="15" name="Group 14"/>
          <p:cNvGrpSpPr/>
          <p:nvPr/>
        </p:nvGrpSpPr>
        <p:grpSpPr>
          <a:xfrm>
            <a:off x="4787174" y="2871047"/>
            <a:ext cx="880692" cy="316485"/>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900" b="1" dirty="0">
                  <a:solidFill>
                    <a:schemeClr val="accent3"/>
                  </a:solidFill>
                </a:rPr>
                <a:t>58%</a:t>
              </a:r>
              <a:endParaRPr lang="en-GB" sz="1900"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sp>
        <p:nvSpPr>
          <p:cNvPr id="2" name="Title 1"/>
          <p:cNvSpPr>
            <a:spLocks noGrp="1"/>
          </p:cNvSpPr>
          <p:nvPr>
            <p:ph type="title"/>
          </p:nvPr>
        </p:nvSpPr>
        <p:spPr/>
        <p:txBody>
          <a:bodyPr/>
          <a:lstStyle/>
          <a:p>
            <a:r>
              <a:rPr lang="en-GB"/>
              <a:t>Line chart</a:t>
            </a:r>
            <a:endParaRPr lang="en-GB"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2487187894"/>
              </p:ext>
            </p:extLst>
          </p:nvPr>
        </p:nvGraphicFramePr>
        <p:xfrm>
          <a:off x="390525"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a:t>Chart title runs here</a:t>
            </a:r>
            <a:endParaRPr lang="en-GB" dirty="0"/>
          </a:p>
        </p:txBody>
      </p:sp>
      <p:sp>
        <p:nvSpPr>
          <p:cNvPr id="5" name="Text Placeholder 4"/>
          <p:cNvSpPr>
            <a:spLocks noGrp="1"/>
          </p:cNvSpPr>
          <p:nvPr>
            <p:ph type="body" sz="quarter" idx="23"/>
          </p:nvPr>
        </p:nvSpPr>
        <p:spPr/>
        <p:txBody>
          <a:bodyPr>
            <a:normAutofit lnSpcReduction="10000"/>
          </a:bodyPr>
          <a:lstStyle/>
          <a:p>
            <a:r>
              <a:rPr lang="en-US"/>
              <a:t>Source:</a:t>
            </a:r>
          </a:p>
          <a:p>
            <a:r>
              <a:rPr lang="en-US"/>
              <a:t>Note:</a:t>
            </a:r>
          </a:p>
          <a:p>
            <a:endParaRPr lang="en-US" dirty="0"/>
          </a:p>
        </p:txBody>
      </p:sp>
    </p:spTree>
    <p:extLst>
      <p:ext uri="{BB962C8B-B14F-4D97-AF65-F5344CB8AC3E}">
        <p14:creationId xmlns:p14="http://schemas.microsoft.com/office/powerpoint/2010/main" val="322495598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13"/>
          </p:nvPr>
        </p:nvSpPr>
        <p:spPr/>
        <p:txBody>
          <a:bodyPr/>
          <a:lstStyle/>
          <a:p>
            <a:r>
              <a:rPr lang="en-GB"/>
              <a:t>Half page multi </a:t>
            </a:r>
            <a:r>
              <a:rPr lang="en-US"/>
              <a:t>colors</a:t>
            </a:r>
            <a:endParaRPr lang="en-US" dirty="0"/>
          </a:p>
        </p:txBody>
      </p:sp>
      <p:sp>
        <p:nvSpPr>
          <p:cNvPr id="2" name="Title 1"/>
          <p:cNvSpPr>
            <a:spLocks noGrp="1"/>
          </p:cNvSpPr>
          <p:nvPr>
            <p:ph type="title"/>
          </p:nvPr>
        </p:nvSpPr>
        <p:spPr/>
        <p:txBody>
          <a:bodyPr/>
          <a:lstStyle/>
          <a:p>
            <a:r>
              <a:rPr lang="en-US"/>
              <a:t>Line chart</a:t>
            </a:r>
            <a:endParaRPr lang="en-US" dirty="0"/>
          </a:p>
        </p:txBody>
      </p:sp>
      <p:sp>
        <p:nvSpPr>
          <p:cNvPr id="11" name="Text Placeholder 10"/>
          <p:cNvSpPr>
            <a:spLocks noGrp="1"/>
          </p:cNvSpPr>
          <p:nvPr>
            <p:ph type="body" sz="quarter" idx="23"/>
          </p:nvPr>
        </p:nvSpPr>
        <p:spPr/>
        <p:txBody>
          <a:bodyPr>
            <a:normAutofit lnSpcReduction="10000"/>
          </a:bodyPr>
          <a:lstStyle/>
          <a:p>
            <a:r>
              <a:rPr lang="en-US"/>
              <a:t>Source:</a:t>
            </a:r>
          </a:p>
          <a:p>
            <a:r>
              <a:rPr lang="en-US"/>
              <a:t>Note:</a:t>
            </a:r>
            <a:endParaRPr lang="en-US" dirty="0"/>
          </a:p>
        </p:txBody>
      </p:sp>
      <p:sp>
        <p:nvSpPr>
          <p:cNvPr id="17" name="Text Placeholder 16"/>
          <p:cNvSpPr>
            <a:spLocks noGrp="1"/>
          </p:cNvSpPr>
          <p:nvPr>
            <p:ph type="body" sz="quarter" idx="25"/>
          </p:nvPr>
        </p:nvSpPr>
        <p:spPr/>
        <p:txBody>
          <a:bodyPr/>
          <a:lstStyle/>
          <a:p>
            <a:r>
              <a:rPr lang="en-GB"/>
              <a:t>Chart title runs here</a:t>
            </a:r>
            <a:endParaRPr lang="en-GB" dirty="0"/>
          </a:p>
        </p:txBody>
      </p:sp>
      <p:graphicFrame>
        <p:nvGraphicFramePr>
          <p:cNvPr id="19" name="Chart Placeholder 19"/>
          <p:cNvGraphicFramePr>
            <a:graphicFrameLocks noGrp="1"/>
          </p:cNvGraphicFramePr>
          <p:nvPr>
            <p:ph type="chart" sz="quarter" idx="24"/>
            <p:extLst>
              <p:ext uri="{D42A27DB-BD31-4B8C-83A1-F6EECF244321}">
                <p14:modId xmlns:p14="http://schemas.microsoft.com/office/powerpoint/2010/main" val="122445603"/>
              </p:ext>
            </p:extLst>
          </p:nvPr>
        </p:nvGraphicFramePr>
        <p:xfrm>
          <a:off x="395288" y="2125663"/>
          <a:ext cx="3987800" cy="39957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377907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CazfRCO7kaYk3Gr4Oh36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VPdBNQzqUW9XglGqgOU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G1235dyQEyr_3jpFfpt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6fcv5DFwE.1MUXM6fgr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EFjiFdCfEqmoQIchleV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L7l8YLw_Uu8QO35Co6F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riizKSQ90.oYdvQnJzQ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4DA4RkaekOsiw8.soHO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JO.8FnxEkqtoUYkTzi6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LY1Si9U2U.XwSeL30RB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QbQxW9nTUaakkDNRmoQ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MYF2Ctan0uDJsGvc7Mh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HMw1hvomEWdESIVspzL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ol7kdFWD0aIJbq8_Dgs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Cp3ndlS6UyqviHn_lcJ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09Rl0L29Uu7N1dgFOUy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21OXCSKgE.UYJiuVVxc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MQJoLFij0.oIcypXnoR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j_xnRUiOEOxIv7dEO_R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i6FH3CbUa_rnY5WaES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ayLSZBcki2gA0j8LJT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cl4AjHXJE6QMiXU2pQI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jIVhxWTSUS7EZpU_UKV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pVDP1W6.kura4Yeg1_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25vJlh5GEG2W5bpnOKz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dTn8Cenc0.4l7MH0r9e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vSxABgmfkOGTu3H4o20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zmlrSBgDky8_usvsiFd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UMfLAntsUGKilY6Qyl6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q5rHX8ZfUyE.uag9BSw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qcKYhYMk.YUiZlXOGQ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116tXsPjk6O8OMJ.PfQ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gQmxXIEgEivsF3b_VlS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4zo4Z_szUKnYPC3OeJ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5m4.tGny0Som.uqqbOX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mpTWUHMtEK4eIQJzP5i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T1W_JE.dEyxtcpOoHN3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IjeoN58eUqB6XBTcfo9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Un2rd0jfEaVpP.5V02v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EBIEV3_CUedmZN2yqea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9VBLdS3.06Ndlq7GmiV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_iVXfr8IUa1x9CEFURc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6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6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6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6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J1ersE0HUCYr3iPMwagmg"/>
</p:tagLst>
</file>

<file path=ppt/tags/tag7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7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7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7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7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RU49rif3U.sg_r6r1936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8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8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NGsfKMfy0uhUt6koeYuMA"/>
</p:tagLst>
</file>

<file path=ppt/tags/tag9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heme/theme1.xml><?xml version="1.0" encoding="utf-8"?>
<a:theme xmlns:a="http://schemas.openxmlformats.org/drawingml/2006/main" name="Deloitte_US_Onscreen">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Timesaver (002).potx [Read-Only]" id="{2177C670-C261-4F56-93D8-46A744C68AF6}" vid="{F8D9186C-28CA-408B-B08B-345079E04B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rand Refresh 2016</Template>
  <TotalTime>7761</TotalTime>
  <Words>16788</Words>
  <Application>Microsoft Office PowerPoint</Application>
  <PresentationFormat>On-screen Show (4:3)</PresentationFormat>
  <Paragraphs>5208</Paragraphs>
  <Slides>300</Slides>
  <Notes>20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00</vt:i4>
      </vt:variant>
    </vt:vector>
  </HeadingPairs>
  <TitlesOfParts>
    <vt:vector size="310" baseType="lpstr">
      <vt:lpstr>ＭＳ Ｐゴシック</vt:lpstr>
      <vt:lpstr>ＭＳ Ｐゴシック</vt:lpstr>
      <vt:lpstr>Arial</vt:lpstr>
      <vt:lpstr>Open Sans</vt:lpstr>
      <vt:lpstr>Times New Roman</vt:lpstr>
      <vt:lpstr>Verdana</vt:lpstr>
      <vt:lpstr>Wingdings</vt:lpstr>
      <vt:lpstr>Wingdings 2</vt:lpstr>
      <vt:lpstr>Deloitte_US_Onscreen</vt:lpstr>
      <vt:lpstr>think-cell Slide</vt:lpstr>
      <vt:lpstr>Timesaver</vt:lpstr>
      <vt:lpstr>Use this slide to locate charts, then switch to slide sorter mode &amp; copy the charts you need to your document</vt:lpstr>
      <vt:lpstr>Contents</vt:lpstr>
      <vt:lpstr>Structured text </vt:lpstr>
      <vt:lpstr>Agenda</vt:lpstr>
      <vt:lpstr>Tables</vt:lpstr>
      <vt:lpstr>Tables</vt:lpstr>
      <vt:lpstr>Tables</vt:lpstr>
      <vt:lpstr>Tables</vt:lpstr>
      <vt:lpstr>Tables</vt:lpstr>
      <vt:lpstr>Tables</vt:lpstr>
      <vt:lpstr>Flow table</vt:lpstr>
      <vt:lpstr>Flow table on solid background</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 </vt:lpstr>
      <vt:lpstr>Text blocks </vt:lpstr>
      <vt:lpstr>Text blocks</vt:lpstr>
      <vt:lpstr>Text blocks </vt:lpstr>
      <vt:lpstr>Text blocks</vt:lpstr>
      <vt:lpstr>Text blocks</vt:lpstr>
      <vt:lpstr>Text blocks </vt:lpstr>
      <vt:lpstr>Text blocks </vt:lpstr>
      <vt:lpstr>Text blocks </vt:lpstr>
      <vt:lpstr>Text blocks</vt:lpstr>
      <vt:lpstr>Text blocks on solid background</vt:lpstr>
      <vt:lpstr>Quotes</vt:lpstr>
      <vt:lpstr>Quotes</vt:lpstr>
      <vt:lpstr>Quotes</vt:lpstr>
      <vt:lpstr>Trees</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Pyramid diagrams</vt:lpstr>
      <vt:lpstr>Pyramid diagrams on solid background</vt:lpstr>
      <vt:lpstr>Chevrons</vt:lpstr>
      <vt:lpstr>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Pie chart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olumn chart with infographics</vt:lpstr>
      <vt:lpstr>Scatter chart</vt:lpstr>
      <vt:lpstr>Shapes</vt:lpstr>
      <vt:lpstr>Chevrons </vt:lpstr>
      <vt:lpstr>Circles </vt:lpstr>
      <vt:lpstr>Circles </vt:lpstr>
      <vt:lpstr>Circles </vt:lpstr>
      <vt:lpstr>Circles</vt:lpstr>
      <vt:lpstr>Venn diagram</vt:lpstr>
      <vt:lpstr>Venn diagrams</vt:lpstr>
      <vt:lpstr>Spheres </vt:lpstr>
      <vt:lpstr>Spheres</vt:lpstr>
      <vt:lpstr>Spheres </vt:lpstr>
      <vt:lpstr>Spheres</vt:lpstr>
      <vt:lpstr>Spheres</vt:lpstr>
      <vt:lpstr>Spheres </vt:lpstr>
      <vt:lpstr>Spheres </vt:lpstr>
      <vt:lpstr>Spheres</vt:lpstr>
      <vt:lpstr>Boxes</vt:lpstr>
      <vt:lpstr>Boxes</vt:lpstr>
      <vt:lpstr>Triangles </vt:lpstr>
      <vt:lpstr>Triangles</vt:lpstr>
      <vt:lpstr>Puzzles </vt:lpstr>
      <vt:lpstr>Puzzles</vt:lpstr>
      <vt:lpstr>Puzzles</vt:lpstr>
      <vt:lpstr>Others</vt:lpstr>
      <vt:lpstr>Special graphics </vt:lpstr>
      <vt:lpstr>Generic strategy development framework </vt:lpstr>
      <vt:lpstr>Restructuring framework</vt:lpstr>
      <vt:lpstr>Competitive strategy 3.0 framework </vt:lpstr>
      <vt:lpstr>Strategy development</vt:lpstr>
      <vt:lpstr>Strategy development</vt:lpstr>
      <vt:lpstr>Backward strategic planning framework</vt:lpstr>
      <vt:lpstr>Incremental versus dynamic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vt:lpstr>
      <vt:lpstr>Activity map </vt:lpstr>
      <vt:lpstr>Swimlanes</vt:lpstr>
      <vt:lpstr>Process flow</vt:lpstr>
      <vt:lpstr>Process map</vt:lpstr>
      <vt:lpstr>Conceptual charts </vt:lpstr>
      <vt:lpstr>Table with moons</vt:lpstr>
      <vt:lpstr>More moons (a.k.a. Harvey Balls)</vt:lpstr>
      <vt:lpstr>Table with traffic lights</vt:lpstr>
      <vt:lpstr>Heat map</vt:lpstr>
      <vt:lpstr>Table with arrows</vt:lpstr>
      <vt:lpstr>Levels of maturity</vt:lpstr>
      <vt:lpstr>Steps</vt:lpstr>
      <vt:lpstr>Steps </vt:lpstr>
      <vt:lpstr>Steps </vt:lpstr>
      <vt:lpstr>Steps </vt:lpstr>
      <vt:lpstr>Steps</vt:lpstr>
      <vt:lpstr>Diagonal boxes </vt:lpstr>
      <vt:lpstr>Diagonal boxes</vt:lpstr>
      <vt:lpstr>Diagonal boxes </vt:lpstr>
      <vt:lpstr>Diagonal boxes </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Gantt chart or timeline chart</vt:lpstr>
      <vt:lpstr>Calendar</vt:lpstr>
      <vt:lpstr>Calendars</vt:lpstr>
      <vt:lpstr>Calendars</vt:lpstr>
      <vt:lpstr>Curves</vt:lpstr>
      <vt:lpstr>Curves</vt:lpstr>
      <vt:lpstr>Curves</vt:lpstr>
      <vt:lpstr>Curves</vt:lpstr>
      <vt:lpstr>Curves</vt:lpstr>
      <vt:lpstr>Other</vt:lpstr>
      <vt:lpstr>Other</vt:lpstr>
      <vt:lpstr>Other</vt:lpstr>
      <vt:lpstr>Other</vt:lpstr>
      <vt:lpstr>Other</vt:lpstr>
      <vt:lpstr>For country maps, please contact your local general counsel</vt:lpstr>
      <vt:lpstr>Flags</vt:lpstr>
      <vt:lpstr>Infographics</vt:lpstr>
      <vt:lpstr>Process chart</vt:lpstr>
      <vt:lpstr>Process chart</vt:lpstr>
      <vt:lpstr>Process chart</vt:lpstr>
      <vt:lpstr>Process chart</vt:lpstr>
      <vt:lpstr>Timeline</vt:lpstr>
      <vt:lpstr>Process chart</vt:lpstr>
      <vt:lpstr>Icon chart</vt:lpstr>
      <vt:lpstr>Venn diagram</vt:lpstr>
      <vt:lpstr>Venn diagram</vt:lpstr>
      <vt:lpstr>Circle diagram</vt:lpstr>
      <vt:lpstr>Circle diagram</vt:lpstr>
      <vt:lpstr>Icon chart</vt:lpstr>
      <vt:lpstr>Highlight numbers</vt:lpstr>
      <vt:lpstr>Icon graphics</vt:lpstr>
      <vt:lpstr>Tree with accompanying text</vt:lpstr>
      <vt:lpstr>Tree with circular text boxes</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PowerPoint Presentation</vt:lpstr>
      <vt:lpstr>Appendix</vt:lpstr>
      <vt:lpstr>Appendix</vt:lpstr>
      <vt:lpstr>Appendix</vt:lpstr>
      <vt:lpstr>Appendix</vt:lpstr>
      <vt:lpstr>Appendix</vt:lpstr>
      <vt:lpstr>Appendix</vt:lpstr>
      <vt:lpstr>Appendix</vt:lpstr>
      <vt:lpstr>Appendix</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Latta, Steve</dc:creator>
  <cp:lastModifiedBy>Administrator</cp:lastModifiedBy>
  <cp:revision>126</cp:revision>
  <cp:lastPrinted>2014-06-25T02:16:22Z</cp:lastPrinted>
  <dcterms:created xsi:type="dcterms:W3CDTF">2016-04-23T12:13:04Z</dcterms:created>
  <dcterms:modified xsi:type="dcterms:W3CDTF">2019-02-26T16:41:41Z</dcterms:modified>
</cp:coreProperties>
</file>